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5.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6.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7.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8.xml" ContentType="application/vnd.openxmlformats-officedocument.theme+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9.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10.xml" ContentType="application/vnd.openxmlformats-officedocument.theme+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11.xml" ContentType="application/vnd.openxmlformats-officedocument.theme+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theme/theme12.xml" ContentType="application/vnd.openxmlformats-officedocument.theme+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theme/theme13.xml" ContentType="application/vnd.openxmlformats-officedocument.theme+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14.xml" ContentType="application/vnd.openxmlformats-officedocument.theme+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15.xml" ContentType="application/vnd.openxmlformats-officedocument.theme+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16.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theme/theme17.xml" ContentType="application/vnd.openxmlformats-officedocument.theme+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theme/theme18.xml" ContentType="application/vnd.openxmlformats-officedocument.theme+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theme/theme19.xml" ContentType="application/vnd.openxmlformats-officedocument.theme+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theme/theme20.xml" ContentType="application/vnd.openxmlformats-officedocument.theme+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theme/theme21.xml" ContentType="application/vnd.openxmlformats-officedocument.theme+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theme/theme22.xml" ContentType="application/vnd.openxmlformats-officedocument.theme+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theme/theme23.xml" ContentType="application/vnd.openxmlformats-officedocument.theme+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theme/theme24.xml" ContentType="application/vnd.openxmlformats-officedocument.theme+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theme/theme25.xml" ContentType="application/vnd.openxmlformats-officedocument.theme+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theme/theme26.xml" ContentType="application/vnd.openxmlformats-officedocument.theme+xml"/>
  <Override PartName="/ppt/slideLayouts/slideLayout561.xml" ContentType="application/vnd.openxmlformats-officedocument.presentationml.slideLayout+xml"/>
  <Override PartName="/ppt/theme/theme27.xml" ContentType="application/vnd.openxmlformats-officedocument.theme+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theme/theme28.xml" ContentType="application/vnd.openxmlformats-officedocument.theme+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theme/theme29.xml" ContentType="application/vnd.openxmlformats-officedocument.theme+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theme/theme30.xml" ContentType="application/vnd.openxmlformats-officedocument.theme+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theme/theme31.xml" ContentType="application/vnd.openxmlformats-officedocument.theme+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theme/theme32.xml" ContentType="application/vnd.openxmlformats-officedocument.theme+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theme/theme33.xml" ContentType="application/vnd.openxmlformats-officedocument.theme+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theme/theme34.xml" ContentType="application/vnd.openxmlformats-officedocument.theme+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theme/theme35.xml" ContentType="application/vnd.openxmlformats-officedocument.theme+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theme/theme36.xml" ContentType="application/vnd.openxmlformats-officedocument.theme+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theme/theme37.xml" ContentType="application/vnd.openxmlformats-officedocument.theme+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theme/theme38.xml" ContentType="application/vnd.openxmlformats-officedocument.theme+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theme/theme3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theme/theme40.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theme/theme41.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theme/theme42.xml" ContentType="application/vnd.openxmlformats-officedocument.theme+xml"/>
  <Override PartName="/ppt/theme/theme4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13.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14.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15.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16.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17.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18.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19.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22.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23.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24.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notesSlides/notesSlide25.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26.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27.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notesSlides/notesSlide28.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29.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30.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notesSlides/notesSlide31.xml" ContentType="application/vnd.openxmlformats-officedocument.presentationml.notesSlide+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notesSlides/notesSlide32.xml" ContentType="application/vnd.openxmlformats-officedocument.presentationml.notesSlide+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notesSlides/notesSlide33.xml" ContentType="application/vnd.openxmlformats-officedocument.presentationml.notesSlide+xml"/>
  <Override PartName="/ppt/tags/tag166.xml" ContentType="application/vnd.openxmlformats-officedocument.presentationml.tags+xml"/>
  <Override PartName="/ppt/tags/tag167.xml" ContentType="application/vnd.openxmlformats-officedocument.presentationml.tags+xml"/>
  <Override PartName="/ppt/notesSlides/notesSlide34.xml" ContentType="application/vnd.openxmlformats-officedocument.presentationml.notesSlid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notesSlides/notesSlide35.xml" ContentType="application/vnd.openxmlformats-officedocument.presentationml.notesSlid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notesSlides/notesSlide36.xml" ContentType="application/vnd.openxmlformats-officedocument.presentationml.notesSlide+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37.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notesSlides/notesSlide38.xml" ContentType="application/vnd.openxmlformats-officedocument.presentationml.notesSlide+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notesSlides/notesSlide39.xml" ContentType="application/vnd.openxmlformats-officedocument.presentationml.notesSlide+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notesSlides/notesSlide40.xml" ContentType="application/vnd.openxmlformats-officedocument.presentationml.notesSlid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0" r:id="rId3"/>
    <p:sldMasterId id="2147483733" r:id="rId4"/>
    <p:sldMasterId id="2147483763" r:id="rId5"/>
    <p:sldMasterId id="2147483783" r:id="rId6"/>
    <p:sldMasterId id="2147483803" r:id="rId7"/>
    <p:sldMasterId id="2147483823" r:id="rId8"/>
    <p:sldMasterId id="2147483843" r:id="rId9"/>
    <p:sldMasterId id="2147483863" r:id="rId10"/>
    <p:sldMasterId id="2147483883" r:id="rId11"/>
    <p:sldMasterId id="2147483903" r:id="rId12"/>
    <p:sldMasterId id="2147483936" r:id="rId13"/>
    <p:sldMasterId id="2147483969" r:id="rId14"/>
    <p:sldMasterId id="2147484002" r:id="rId15"/>
    <p:sldMasterId id="2147484035" r:id="rId16"/>
    <p:sldMasterId id="2147484054" r:id="rId17"/>
    <p:sldMasterId id="2147484074" r:id="rId18"/>
    <p:sldMasterId id="2147484093" r:id="rId19"/>
    <p:sldMasterId id="2147484113" r:id="rId20"/>
    <p:sldMasterId id="2147484133" r:id="rId21"/>
    <p:sldMasterId id="2147484152" r:id="rId22"/>
    <p:sldMasterId id="2147484172" r:id="rId23"/>
    <p:sldMasterId id="2147484191" r:id="rId24"/>
    <p:sldMasterId id="2147484211" r:id="rId25"/>
    <p:sldMasterId id="2147484228" r:id="rId26"/>
    <p:sldMasterId id="2147484245" r:id="rId27"/>
    <p:sldMasterId id="2147484247" r:id="rId28"/>
    <p:sldMasterId id="2147484264" r:id="rId29"/>
    <p:sldMasterId id="2147484281" r:id="rId30"/>
    <p:sldMasterId id="2147484301" r:id="rId31"/>
    <p:sldMasterId id="2147484321" r:id="rId32"/>
    <p:sldMasterId id="2147484340" r:id="rId33"/>
    <p:sldMasterId id="2147484360" r:id="rId34"/>
    <p:sldMasterId id="2147484379" r:id="rId35"/>
    <p:sldMasterId id="2147484399" r:id="rId36"/>
    <p:sldMasterId id="2147484429" r:id="rId37"/>
    <p:sldMasterId id="2147484449" r:id="rId38"/>
    <p:sldMasterId id="2147484468" r:id="rId39"/>
    <p:sldMasterId id="2147484478" r:id="rId40"/>
    <p:sldMasterId id="2147484492" r:id="rId41"/>
    <p:sldMasterId id="2147484506" r:id="rId42"/>
  </p:sldMasterIdLst>
  <p:notesMasterIdLst>
    <p:notesMasterId r:id="rId156"/>
  </p:notesMasterIdLst>
  <p:sldIdLst>
    <p:sldId id="305" r:id="rId43"/>
    <p:sldId id="419" r:id="rId44"/>
    <p:sldId id="441" r:id="rId45"/>
    <p:sldId id="268" r:id="rId46"/>
    <p:sldId id="418" r:id="rId47"/>
    <p:sldId id="410" r:id="rId48"/>
    <p:sldId id="411" r:id="rId49"/>
    <p:sldId id="412" r:id="rId50"/>
    <p:sldId id="413" r:id="rId51"/>
    <p:sldId id="414" r:id="rId52"/>
    <p:sldId id="415" r:id="rId53"/>
    <p:sldId id="407" r:id="rId54"/>
    <p:sldId id="408" r:id="rId55"/>
    <p:sldId id="409" r:id="rId56"/>
    <p:sldId id="422" r:id="rId57"/>
    <p:sldId id="439" r:id="rId58"/>
    <p:sldId id="438" r:id="rId59"/>
    <p:sldId id="363" r:id="rId60"/>
    <p:sldId id="355" r:id="rId61"/>
    <p:sldId id="356" r:id="rId62"/>
    <p:sldId id="357" r:id="rId63"/>
    <p:sldId id="358" r:id="rId64"/>
    <p:sldId id="359" r:id="rId65"/>
    <p:sldId id="360" r:id="rId66"/>
    <p:sldId id="361" r:id="rId67"/>
    <p:sldId id="362" r:id="rId68"/>
    <p:sldId id="365" r:id="rId69"/>
    <p:sldId id="366" r:id="rId70"/>
    <p:sldId id="367" r:id="rId71"/>
    <p:sldId id="368" r:id="rId72"/>
    <p:sldId id="369" r:id="rId73"/>
    <p:sldId id="370" r:id="rId74"/>
    <p:sldId id="371" r:id="rId75"/>
    <p:sldId id="372" r:id="rId76"/>
    <p:sldId id="373" r:id="rId77"/>
    <p:sldId id="374" r:id="rId78"/>
    <p:sldId id="375" r:id="rId79"/>
    <p:sldId id="376" r:id="rId80"/>
    <p:sldId id="377" r:id="rId81"/>
    <p:sldId id="378" r:id="rId82"/>
    <p:sldId id="379" r:id="rId83"/>
    <p:sldId id="380" r:id="rId84"/>
    <p:sldId id="381" r:id="rId85"/>
    <p:sldId id="382" r:id="rId86"/>
    <p:sldId id="383" r:id="rId87"/>
    <p:sldId id="384" r:id="rId88"/>
    <p:sldId id="385" r:id="rId89"/>
    <p:sldId id="386" r:id="rId90"/>
    <p:sldId id="387" r:id="rId91"/>
    <p:sldId id="393" r:id="rId92"/>
    <p:sldId id="342" r:id="rId93"/>
    <p:sldId id="327" r:id="rId94"/>
    <p:sldId id="343" r:id="rId95"/>
    <p:sldId id="344" r:id="rId96"/>
    <p:sldId id="345" r:id="rId97"/>
    <p:sldId id="346" r:id="rId98"/>
    <p:sldId id="347" r:id="rId99"/>
    <p:sldId id="348" r:id="rId100"/>
    <p:sldId id="349" r:id="rId101"/>
    <p:sldId id="350" r:id="rId102"/>
    <p:sldId id="351" r:id="rId103"/>
    <p:sldId id="352" r:id="rId104"/>
    <p:sldId id="353" r:id="rId105"/>
    <p:sldId id="354" r:id="rId106"/>
    <p:sldId id="328" r:id="rId107"/>
    <p:sldId id="394" r:id="rId108"/>
    <p:sldId id="333" r:id="rId109"/>
    <p:sldId id="329" r:id="rId110"/>
    <p:sldId id="330" r:id="rId111"/>
    <p:sldId id="331" r:id="rId112"/>
    <p:sldId id="332" r:id="rId113"/>
    <p:sldId id="401" r:id="rId114"/>
    <p:sldId id="399" r:id="rId115"/>
    <p:sldId id="400" r:id="rId116"/>
    <p:sldId id="402" r:id="rId117"/>
    <p:sldId id="403" r:id="rId118"/>
    <p:sldId id="404" r:id="rId119"/>
    <p:sldId id="405" r:id="rId120"/>
    <p:sldId id="406" r:id="rId121"/>
    <p:sldId id="388" r:id="rId122"/>
    <p:sldId id="334" r:id="rId123"/>
    <p:sldId id="389" r:id="rId124"/>
    <p:sldId id="390" r:id="rId125"/>
    <p:sldId id="391" r:id="rId126"/>
    <p:sldId id="392" r:id="rId127"/>
    <p:sldId id="335" r:id="rId128"/>
    <p:sldId id="336" r:id="rId129"/>
    <p:sldId id="337" r:id="rId130"/>
    <p:sldId id="338" r:id="rId131"/>
    <p:sldId id="339" r:id="rId132"/>
    <p:sldId id="340" r:id="rId133"/>
    <p:sldId id="395" r:id="rId134"/>
    <p:sldId id="420" r:id="rId135"/>
    <p:sldId id="421" r:id="rId136"/>
    <p:sldId id="397" r:id="rId137"/>
    <p:sldId id="440" r:id="rId138"/>
    <p:sldId id="423" r:id="rId139"/>
    <p:sldId id="424" r:id="rId140"/>
    <p:sldId id="425" r:id="rId141"/>
    <p:sldId id="426" r:id="rId142"/>
    <p:sldId id="427" r:id="rId143"/>
    <p:sldId id="428" r:id="rId144"/>
    <p:sldId id="429" r:id="rId145"/>
    <p:sldId id="430" r:id="rId146"/>
    <p:sldId id="431" r:id="rId147"/>
    <p:sldId id="432" r:id="rId148"/>
    <p:sldId id="433" r:id="rId149"/>
    <p:sldId id="434" r:id="rId150"/>
    <p:sldId id="435" r:id="rId151"/>
    <p:sldId id="436" r:id="rId152"/>
    <p:sldId id="437" r:id="rId153"/>
    <p:sldId id="398" r:id="rId154"/>
    <p:sldId id="326" r:id="rId1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5" autoAdjust="0"/>
    <p:restoredTop sz="94660"/>
  </p:normalViewPr>
  <p:slideViewPr>
    <p:cSldViewPr snapToGrid="0">
      <p:cViewPr varScale="1">
        <p:scale>
          <a:sx n="89" d="100"/>
          <a:sy n="89" d="100"/>
        </p:scale>
        <p:origin x="120" y="1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75.xml"/><Relationship Id="rId21" Type="http://schemas.openxmlformats.org/officeDocument/2006/relationships/slideMaster" Target="slideMasters/slideMaster21.xml"/><Relationship Id="rId42" Type="http://schemas.openxmlformats.org/officeDocument/2006/relationships/slideMaster" Target="slideMasters/slideMaster42.xml"/><Relationship Id="rId63" Type="http://schemas.openxmlformats.org/officeDocument/2006/relationships/slide" Target="slides/slide21.xml"/><Relationship Id="rId84" Type="http://schemas.openxmlformats.org/officeDocument/2006/relationships/slide" Target="slides/slide42.xml"/><Relationship Id="rId138" Type="http://schemas.openxmlformats.org/officeDocument/2006/relationships/slide" Target="slides/slide96.xml"/><Relationship Id="rId159" Type="http://schemas.openxmlformats.org/officeDocument/2006/relationships/theme" Target="theme/theme1.xml"/><Relationship Id="rId107" Type="http://schemas.openxmlformats.org/officeDocument/2006/relationships/slide" Target="slides/slide65.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53" Type="http://schemas.openxmlformats.org/officeDocument/2006/relationships/slide" Target="slides/slide11.xml"/><Relationship Id="rId74" Type="http://schemas.openxmlformats.org/officeDocument/2006/relationships/slide" Target="slides/slide32.xml"/><Relationship Id="rId128" Type="http://schemas.openxmlformats.org/officeDocument/2006/relationships/slide" Target="slides/slide86.xml"/><Relationship Id="rId149" Type="http://schemas.openxmlformats.org/officeDocument/2006/relationships/slide" Target="slides/slide107.xml"/><Relationship Id="rId5" Type="http://schemas.openxmlformats.org/officeDocument/2006/relationships/slideMaster" Target="slideMasters/slideMaster5.xml"/><Relationship Id="rId95" Type="http://schemas.openxmlformats.org/officeDocument/2006/relationships/slide" Target="slides/slide53.xml"/><Relationship Id="rId160" Type="http://schemas.openxmlformats.org/officeDocument/2006/relationships/tableStyles" Target="tableStyles.xml"/><Relationship Id="rId22" Type="http://schemas.openxmlformats.org/officeDocument/2006/relationships/slideMaster" Target="slideMasters/slideMaster22.xml"/><Relationship Id="rId43" Type="http://schemas.openxmlformats.org/officeDocument/2006/relationships/slide" Target="slides/slide1.xml"/><Relationship Id="rId64" Type="http://schemas.openxmlformats.org/officeDocument/2006/relationships/slide" Target="slides/slide22.xml"/><Relationship Id="rId118" Type="http://schemas.openxmlformats.org/officeDocument/2006/relationships/slide" Target="slides/slide76.xml"/><Relationship Id="rId139" Type="http://schemas.openxmlformats.org/officeDocument/2006/relationships/slide" Target="slides/slide97.xml"/><Relationship Id="rId80" Type="http://schemas.openxmlformats.org/officeDocument/2006/relationships/slide" Target="slides/slide38.xml"/><Relationship Id="rId85" Type="http://schemas.openxmlformats.org/officeDocument/2006/relationships/slide" Target="slides/slide43.xml"/><Relationship Id="rId150" Type="http://schemas.openxmlformats.org/officeDocument/2006/relationships/slide" Target="slides/slide108.xml"/><Relationship Id="rId155" Type="http://schemas.openxmlformats.org/officeDocument/2006/relationships/slide" Target="slides/slide11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59" Type="http://schemas.openxmlformats.org/officeDocument/2006/relationships/slide" Target="slides/slide17.xml"/><Relationship Id="rId103" Type="http://schemas.openxmlformats.org/officeDocument/2006/relationships/slide" Target="slides/slide61.xml"/><Relationship Id="rId108" Type="http://schemas.openxmlformats.org/officeDocument/2006/relationships/slide" Target="slides/slide66.xml"/><Relationship Id="rId124" Type="http://schemas.openxmlformats.org/officeDocument/2006/relationships/slide" Target="slides/slide82.xml"/><Relationship Id="rId129" Type="http://schemas.openxmlformats.org/officeDocument/2006/relationships/slide" Target="slides/slide87.xml"/><Relationship Id="rId54" Type="http://schemas.openxmlformats.org/officeDocument/2006/relationships/slide" Target="slides/slide12.xml"/><Relationship Id="rId70" Type="http://schemas.openxmlformats.org/officeDocument/2006/relationships/slide" Target="slides/slide28.xml"/><Relationship Id="rId75" Type="http://schemas.openxmlformats.org/officeDocument/2006/relationships/slide" Target="slides/slide33.xml"/><Relationship Id="rId91" Type="http://schemas.openxmlformats.org/officeDocument/2006/relationships/slide" Target="slides/slide49.xml"/><Relationship Id="rId96" Type="http://schemas.openxmlformats.org/officeDocument/2006/relationships/slide" Target="slides/slide54.xml"/><Relationship Id="rId140" Type="http://schemas.openxmlformats.org/officeDocument/2006/relationships/slide" Target="slides/slide98.xml"/><Relationship Id="rId145" Type="http://schemas.openxmlformats.org/officeDocument/2006/relationships/slide" Target="slides/slide103.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49" Type="http://schemas.openxmlformats.org/officeDocument/2006/relationships/slide" Target="slides/slide7.xml"/><Relationship Id="rId114" Type="http://schemas.openxmlformats.org/officeDocument/2006/relationships/slide" Target="slides/slide72.xml"/><Relationship Id="rId119" Type="http://schemas.openxmlformats.org/officeDocument/2006/relationships/slide" Target="slides/slide77.xml"/><Relationship Id="rId44" Type="http://schemas.openxmlformats.org/officeDocument/2006/relationships/slide" Target="slides/slide2.xml"/><Relationship Id="rId60" Type="http://schemas.openxmlformats.org/officeDocument/2006/relationships/slide" Target="slides/slide18.xml"/><Relationship Id="rId65" Type="http://schemas.openxmlformats.org/officeDocument/2006/relationships/slide" Target="slides/slide23.xml"/><Relationship Id="rId81" Type="http://schemas.openxmlformats.org/officeDocument/2006/relationships/slide" Target="slides/slide39.xml"/><Relationship Id="rId86" Type="http://schemas.openxmlformats.org/officeDocument/2006/relationships/slide" Target="slides/slide44.xml"/><Relationship Id="rId130" Type="http://schemas.openxmlformats.org/officeDocument/2006/relationships/slide" Target="slides/slide88.xml"/><Relationship Id="rId135" Type="http://schemas.openxmlformats.org/officeDocument/2006/relationships/slide" Target="slides/slide93.xml"/><Relationship Id="rId151" Type="http://schemas.openxmlformats.org/officeDocument/2006/relationships/slide" Target="slides/slide109.xml"/><Relationship Id="rId156" Type="http://schemas.openxmlformats.org/officeDocument/2006/relationships/notesMaster" Target="notesMasters/notesMaster1.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109" Type="http://schemas.openxmlformats.org/officeDocument/2006/relationships/slide" Target="slides/slide67.xml"/><Relationship Id="rId34" Type="http://schemas.openxmlformats.org/officeDocument/2006/relationships/slideMaster" Target="slideMasters/slideMaster34.xml"/><Relationship Id="rId50" Type="http://schemas.openxmlformats.org/officeDocument/2006/relationships/slide" Target="slides/slide8.xml"/><Relationship Id="rId55" Type="http://schemas.openxmlformats.org/officeDocument/2006/relationships/slide" Target="slides/slide13.xml"/><Relationship Id="rId76" Type="http://schemas.openxmlformats.org/officeDocument/2006/relationships/slide" Target="slides/slide34.xml"/><Relationship Id="rId97" Type="http://schemas.openxmlformats.org/officeDocument/2006/relationships/slide" Target="slides/slide55.xml"/><Relationship Id="rId104" Type="http://schemas.openxmlformats.org/officeDocument/2006/relationships/slide" Target="slides/slide62.xml"/><Relationship Id="rId120" Type="http://schemas.openxmlformats.org/officeDocument/2006/relationships/slide" Target="slides/slide78.xml"/><Relationship Id="rId125" Type="http://schemas.openxmlformats.org/officeDocument/2006/relationships/slide" Target="slides/slide83.xml"/><Relationship Id="rId141" Type="http://schemas.openxmlformats.org/officeDocument/2006/relationships/slide" Target="slides/slide99.xml"/><Relationship Id="rId146" Type="http://schemas.openxmlformats.org/officeDocument/2006/relationships/slide" Target="slides/slide104.xml"/><Relationship Id="rId7" Type="http://schemas.openxmlformats.org/officeDocument/2006/relationships/slideMaster" Target="slideMasters/slideMaster7.xml"/><Relationship Id="rId71" Type="http://schemas.openxmlformats.org/officeDocument/2006/relationships/slide" Target="slides/slide29.xml"/><Relationship Id="rId92" Type="http://schemas.openxmlformats.org/officeDocument/2006/relationships/slide" Target="slides/slide50.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Master" Target="slideMasters/slideMaster40.xml"/><Relationship Id="rId45" Type="http://schemas.openxmlformats.org/officeDocument/2006/relationships/slide" Target="slides/slide3.xml"/><Relationship Id="rId66" Type="http://schemas.openxmlformats.org/officeDocument/2006/relationships/slide" Target="slides/slide24.xml"/><Relationship Id="rId87" Type="http://schemas.openxmlformats.org/officeDocument/2006/relationships/slide" Target="slides/slide45.xml"/><Relationship Id="rId110" Type="http://schemas.openxmlformats.org/officeDocument/2006/relationships/slide" Target="slides/slide68.xml"/><Relationship Id="rId115" Type="http://schemas.openxmlformats.org/officeDocument/2006/relationships/slide" Target="slides/slide73.xml"/><Relationship Id="rId131" Type="http://schemas.openxmlformats.org/officeDocument/2006/relationships/slide" Target="slides/slide89.xml"/><Relationship Id="rId136" Type="http://schemas.openxmlformats.org/officeDocument/2006/relationships/slide" Target="slides/slide94.xml"/><Relationship Id="rId157" Type="http://schemas.openxmlformats.org/officeDocument/2006/relationships/presProps" Target="presProps.xml"/><Relationship Id="rId61" Type="http://schemas.openxmlformats.org/officeDocument/2006/relationships/slide" Target="slides/slide19.xml"/><Relationship Id="rId82" Type="http://schemas.openxmlformats.org/officeDocument/2006/relationships/slide" Target="slides/slide40.xml"/><Relationship Id="rId152" Type="http://schemas.openxmlformats.org/officeDocument/2006/relationships/slide" Target="slides/slide110.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56" Type="http://schemas.openxmlformats.org/officeDocument/2006/relationships/slide" Target="slides/slide14.xml"/><Relationship Id="rId77" Type="http://schemas.openxmlformats.org/officeDocument/2006/relationships/slide" Target="slides/slide35.xml"/><Relationship Id="rId100" Type="http://schemas.openxmlformats.org/officeDocument/2006/relationships/slide" Target="slides/slide58.xml"/><Relationship Id="rId105" Type="http://schemas.openxmlformats.org/officeDocument/2006/relationships/slide" Target="slides/slide63.xml"/><Relationship Id="rId126" Type="http://schemas.openxmlformats.org/officeDocument/2006/relationships/slide" Target="slides/slide84.xml"/><Relationship Id="rId147" Type="http://schemas.openxmlformats.org/officeDocument/2006/relationships/slide" Target="slides/slide105.xml"/><Relationship Id="rId8" Type="http://schemas.openxmlformats.org/officeDocument/2006/relationships/slideMaster" Target="slideMasters/slideMaster8.xml"/><Relationship Id="rId51" Type="http://schemas.openxmlformats.org/officeDocument/2006/relationships/slide" Target="slides/slide9.xml"/><Relationship Id="rId72" Type="http://schemas.openxmlformats.org/officeDocument/2006/relationships/slide" Target="slides/slide30.xml"/><Relationship Id="rId93" Type="http://schemas.openxmlformats.org/officeDocument/2006/relationships/slide" Target="slides/slide51.xml"/><Relationship Id="rId98" Type="http://schemas.openxmlformats.org/officeDocument/2006/relationships/slide" Target="slides/slide56.xml"/><Relationship Id="rId121" Type="http://schemas.openxmlformats.org/officeDocument/2006/relationships/slide" Target="slides/slide79.xml"/><Relationship Id="rId142" Type="http://schemas.openxmlformats.org/officeDocument/2006/relationships/slide" Target="slides/slide100.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 Target="slides/slide4.xml"/><Relationship Id="rId67" Type="http://schemas.openxmlformats.org/officeDocument/2006/relationships/slide" Target="slides/slide25.xml"/><Relationship Id="rId116" Type="http://schemas.openxmlformats.org/officeDocument/2006/relationships/slide" Target="slides/slide74.xml"/><Relationship Id="rId137" Type="http://schemas.openxmlformats.org/officeDocument/2006/relationships/slide" Target="slides/slide95.xml"/><Relationship Id="rId158" Type="http://schemas.openxmlformats.org/officeDocument/2006/relationships/viewProps" Target="viewProps.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62" Type="http://schemas.openxmlformats.org/officeDocument/2006/relationships/slide" Target="slides/slide20.xml"/><Relationship Id="rId83" Type="http://schemas.openxmlformats.org/officeDocument/2006/relationships/slide" Target="slides/slide41.xml"/><Relationship Id="rId88" Type="http://schemas.openxmlformats.org/officeDocument/2006/relationships/slide" Target="slides/slide46.xml"/><Relationship Id="rId111" Type="http://schemas.openxmlformats.org/officeDocument/2006/relationships/slide" Target="slides/slide69.xml"/><Relationship Id="rId132" Type="http://schemas.openxmlformats.org/officeDocument/2006/relationships/slide" Target="slides/slide90.xml"/><Relationship Id="rId153" Type="http://schemas.openxmlformats.org/officeDocument/2006/relationships/slide" Target="slides/slide111.xml"/><Relationship Id="rId15" Type="http://schemas.openxmlformats.org/officeDocument/2006/relationships/slideMaster" Target="slideMasters/slideMaster15.xml"/><Relationship Id="rId36" Type="http://schemas.openxmlformats.org/officeDocument/2006/relationships/slideMaster" Target="slideMasters/slideMaster36.xml"/><Relationship Id="rId57" Type="http://schemas.openxmlformats.org/officeDocument/2006/relationships/slide" Target="slides/slide15.xml"/><Relationship Id="rId106" Type="http://schemas.openxmlformats.org/officeDocument/2006/relationships/slide" Target="slides/slide64.xml"/><Relationship Id="rId127" Type="http://schemas.openxmlformats.org/officeDocument/2006/relationships/slide" Target="slides/slide85.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52" Type="http://schemas.openxmlformats.org/officeDocument/2006/relationships/slide" Target="slides/slide10.xml"/><Relationship Id="rId73" Type="http://schemas.openxmlformats.org/officeDocument/2006/relationships/slide" Target="slides/slide31.xml"/><Relationship Id="rId78" Type="http://schemas.openxmlformats.org/officeDocument/2006/relationships/slide" Target="slides/slide36.xml"/><Relationship Id="rId94" Type="http://schemas.openxmlformats.org/officeDocument/2006/relationships/slide" Target="slides/slide52.xml"/><Relationship Id="rId99" Type="http://schemas.openxmlformats.org/officeDocument/2006/relationships/slide" Target="slides/slide57.xml"/><Relationship Id="rId101" Type="http://schemas.openxmlformats.org/officeDocument/2006/relationships/slide" Target="slides/slide59.xml"/><Relationship Id="rId122" Type="http://schemas.openxmlformats.org/officeDocument/2006/relationships/slide" Target="slides/slide80.xml"/><Relationship Id="rId143" Type="http://schemas.openxmlformats.org/officeDocument/2006/relationships/slide" Target="slides/slide101.xml"/><Relationship Id="rId148" Type="http://schemas.openxmlformats.org/officeDocument/2006/relationships/slide" Target="slides/slide106.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Master" Target="slideMasters/slideMaster26.xml"/><Relationship Id="rId47" Type="http://schemas.openxmlformats.org/officeDocument/2006/relationships/slide" Target="slides/slide5.xml"/><Relationship Id="rId68" Type="http://schemas.openxmlformats.org/officeDocument/2006/relationships/slide" Target="slides/slide26.xml"/><Relationship Id="rId89" Type="http://schemas.openxmlformats.org/officeDocument/2006/relationships/slide" Target="slides/slide47.xml"/><Relationship Id="rId112" Type="http://schemas.openxmlformats.org/officeDocument/2006/relationships/slide" Target="slides/slide70.xml"/><Relationship Id="rId133" Type="http://schemas.openxmlformats.org/officeDocument/2006/relationships/slide" Target="slides/slide91.xml"/><Relationship Id="rId154" Type="http://schemas.openxmlformats.org/officeDocument/2006/relationships/slide" Target="slides/slide112.xml"/><Relationship Id="rId16" Type="http://schemas.openxmlformats.org/officeDocument/2006/relationships/slideMaster" Target="slideMasters/slideMaster16.xml"/><Relationship Id="rId37" Type="http://schemas.openxmlformats.org/officeDocument/2006/relationships/slideMaster" Target="slideMasters/slideMaster37.xml"/><Relationship Id="rId58" Type="http://schemas.openxmlformats.org/officeDocument/2006/relationships/slide" Target="slides/slide16.xml"/><Relationship Id="rId79" Type="http://schemas.openxmlformats.org/officeDocument/2006/relationships/slide" Target="slides/slide37.xml"/><Relationship Id="rId102" Type="http://schemas.openxmlformats.org/officeDocument/2006/relationships/slide" Target="slides/slide60.xml"/><Relationship Id="rId123" Type="http://schemas.openxmlformats.org/officeDocument/2006/relationships/slide" Target="slides/slide81.xml"/><Relationship Id="rId144" Type="http://schemas.openxmlformats.org/officeDocument/2006/relationships/slide" Target="slides/slide102.xml"/><Relationship Id="rId90" Type="http://schemas.openxmlformats.org/officeDocument/2006/relationships/slide" Target="slides/slide48.xml"/><Relationship Id="rId27" Type="http://schemas.openxmlformats.org/officeDocument/2006/relationships/slideMaster" Target="slideMasters/slideMaster27.xml"/><Relationship Id="rId48" Type="http://schemas.openxmlformats.org/officeDocument/2006/relationships/slide" Target="slides/slide6.xml"/><Relationship Id="rId69" Type="http://schemas.openxmlformats.org/officeDocument/2006/relationships/slide" Target="slides/slide27.xml"/><Relationship Id="rId113" Type="http://schemas.openxmlformats.org/officeDocument/2006/relationships/slide" Target="slides/slide71.xml"/><Relationship Id="rId134" Type="http://schemas.openxmlformats.org/officeDocument/2006/relationships/slide" Target="slides/slide9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16/09/201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msdn.microsoft.com/en-us/library/microsoft.windowsazure.serviceruntime.roleenvironment.getlocalresource.aspx" TargetMode="External"/><Relationship Id="rId2" Type="http://schemas.openxmlformats.org/officeDocument/2006/relationships/slide" Target="../slides/slide44.xml"/><Relationship Id="rId1" Type="http://schemas.openxmlformats.org/officeDocument/2006/relationships/notesMaster" Target="../notesMasters/notesMaster1.xml"/><Relationship Id="rId5" Type="http://schemas.openxmlformats.org/officeDocument/2006/relationships/hyperlink" Target="http://msdn.microsoft.com/en-us/library/microsoft.windowsazure.serviceruntime.localresource.rootpath.aspx" TargetMode="External"/><Relationship Id="rId4" Type="http://schemas.openxmlformats.org/officeDocument/2006/relationships/hyperlink" Target="http://msdn.microsoft.com/en-us/library/microsoft.windowsazure.serviceruntime.localresource.aspx" TargetMode="Externa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26351244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513" y="708025"/>
            <a:ext cx="6300787" cy="3544888"/>
          </a:xfrm>
        </p:spPr>
      </p:sp>
      <p:sp>
        <p:nvSpPr>
          <p:cNvPr id="3" name="Notes Placeholder 2"/>
          <p:cNvSpPr>
            <a:spLocks noGrp="1"/>
          </p:cNvSpPr>
          <p:nvPr>
            <p:ph type="body" idx="1"/>
          </p:nvPr>
        </p:nvSpPr>
        <p:spPr/>
        <p:txBody>
          <a:bodyPr>
            <a:normAutofit/>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r>
              <a:rPr lang="en-US" dirty="0" smtClean="0"/>
              <a:t>Explain the difference</a:t>
            </a:r>
            <a:r>
              <a:rPr lang="en-US" baseline="0" dirty="0" smtClean="0"/>
              <a:t>s between traditional self-hosting and the three options of Windows Azure hosting.</a:t>
            </a:r>
          </a:p>
          <a:p>
            <a:endParaRPr lang="en-US" baseline="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sz="1600" b="1" kern="1200" dirty="0" smtClean="0">
                <a:solidFill>
                  <a:schemeClr val="tx1"/>
                </a:solidFill>
                <a:effectLst/>
                <a:latin typeface="Segoe UI" pitchFamily="34" charset="0"/>
                <a:ea typeface="+mn-ea"/>
                <a:cs typeface="+mn-cs"/>
              </a:rPr>
              <a:t>Notes:</a:t>
            </a:r>
            <a:endParaRPr lang="en-US" sz="1200" b="0" kern="1200" baseline="0" dirty="0" smtClean="0">
              <a:solidFill>
                <a:schemeClr val="tx1"/>
              </a:solidFill>
              <a:effectLst/>
              <a:latin typeface="+mn-lt"/>
              <a:ea typeface="+mn-ea"/>
              <a:cs typeface="+mn-cs"/>
            </a:endParaRPr>
          </a:p>
          <a:p>
            <a:pPr marL="0" marR="0" indent="0" algn="l" defTabSz="1218987"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effectLst/>
                <a:latin typeface="+mn-lt"/>
                <a:ea typeface="+mn-ea"/>
                <a:cs typeface="+mn-cs"/>
              </a:rPr>
              <a:t>In a traditional environment you must manage the full stack. With Windows Azure you can choose a variety of options depending on your needs.</a:t>
            </a:r>
            <a:endParaRPr lang="en-US" sz="16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2365486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normAutofit fontScale="70000" lnSpcReduction="20000"/>
          </a:bodyPr>
          <a:lstStyle/>
          <a:p>
            <a:r>
              <a:rPr lang="en-US" b="1" dirty="0" smtClean="0"/>
              <a:t>Slide Objectives:</a:t>
            </a:r>
          </a:p>
          <a:p>
            <a:pPr marL="173336" indent="-173336">
              <a:buFont typeface="Arial" pitchFamily="34" charset="0"/>
              <a:buChar char="•"/>
            </a:pPr>
            <a:r>
              <a:rPr lang="en-US" b="0" dirty="0" smtClean="0"/>
              <a:t>Explain</a:t>
            </a:r>
            <a:r>
              <a:rPr lang="en-US" b="0" baseline="0" dirty="0" smtClean="0"/>
              <a:t> the differences and relationship between IaaS, PaaS, and SaaS in more detail.</a:t>
            </a:r>
            <a:endParaRPr lang="en-US" b="0" dirty="0" smtClean="0"/>
          </a:p>
          <a:p>
            <a:endParaRPr lang="en-US" b="1" dirty="0" smtClean="0"/>
          </a:p>
          <a:p>
            <a:r>
              <a:rPr lang="en-US" b="1" dirty="0" smtClean="0"/>
              <a:t>Speaking Points:</a:t>
            </a:r>
          </a:p>
          <a:p>
            <a:pPr marL="173336" indent="-173336">
              <a:buFont typeface="Arial" pitchFamily="34" charset="0"/>
              <a:buChar char="•"/>
            </a:pPr>
            <a:r>
              <a:rPr lang="en-US" dirty="0" smtClean="0"/>
              <a:t>Here’s another</a:t>
            </a:r>
            <a:r>
              <a:rPr lang="en-US" baseline="0" dirty="0" smtClean="0"/>
              <a:t> way to look at the cloud services taxonomy and how this taxonomy maps to the components in an IT infrastructure.     </a:t>
            </a:r>
          </a:p>
          <a:p>
            <a:pPr marL="173336" indent="-173336">
              <a:buFont typeface="Arial" pitchFamily="34" charset="0"/>
              <a:buChar char="•"/>
            </a:pPr>
            <a:r>
              <a:rPr lang="en-US" baseline="0" dirty="0" smtClean="0"/>
              <a:t>Packaged Software</a:t>
            </a:r>
          </a:p>
          <a:p>
            <a:pPr marL="388660" lvl="1" indent="-173336"/>
            <a:r>
              <a:rPr lang="en-US" baseline="0" dirty="0" smtClean="0"/>
              <a:t>With packaged software a customer would be responsible for managing the entire stack – ranging from the network connectivity to the applications.  </a:t>
            </a:r>
          </a:p>
          <a:p>
            <a:pPr marL="173336" indent="-173336">
              <a:buFont typeface="Arial" pitchFamily="34" charset="0"/>
              <a:buChar char="•"/>
            </a:pPr>
            <a:r>
              <a:rPr lang="en-US" baseline="0" dirty="0" smtClean="0"/>
              <a:t>IaaS</a:t>
            </a:r>
          </a:p>
          <a:p>
            <a:pPr marL="388660" lvl="1" indent="-173336"/>
            <a:r>
              <a:rPr lang="en-US" baseline="0" dirty="0" smtClean="0"/>
              <a:t>With Infrastructure as a Service, the lower levels of the stack are managed by a vendor.  Some of these components can be provided by traditional </a:t>
            </a:r>
            <a:r>
              <a:rPr lang="en-US" baseline="0" dirty="0" err="1" smtClean="0"/>
              <a:t>hosters</a:t>
            </a:r>
            <a:r>
              <a:rPr lang="en-US" baseline="0" dirty="0" smtClean="0"/>
              <a:t> – in fact most of them have moved to having a virtualized offering.  </a:t>
            </a:r>
          </a:p>
          <a:p>
            <a:pPr marL="388660" lvl="1" indent="-173336"/>
            <a:r>
              <a:rPr lang="en-US" baseline="0" dirty="0" smtClean="0"/>
              <a:t>Very few actually provide an OS</a:t>
            </a:r>
          </a:p>
          <a:p>
            <a:pPr marL="388660" lvl="1" indent="-173336"/>
            <a:r>
              <a:rPr lang="en-US" baseline="0" dirty="0" smtClean="0"/>
              <a:t>The customer is still responsible for managing the OS through the Applications.  </a:t>
            </a:r>
          </a:p>
          <a:p>
            <a:pPr marL="388660" lvl="1" indent="-173336" defTabSz="924421">
              <a:spcAft>
                <a:spcPts val="337"/>
              </a:spcAft>
              <a:defRPr/>
            </a:pPr>
            <a:r>
              <a:rPr lang="en-US" baseline="0" dirty="0" smtClean="0"/>
              <a:t>For the developer, an obvious benefit with IaaS is that it frees the developer from many concerns when provisioning physical or virtual machines. </a:t>
            </a:r>
          </a:p>
          <a:p>
            <a:pPr marL="388660" lvl="1" indent="-173336" defTabSz="924421">
              <a:spcAft>
                <a:spcPts val="337"/>
              </a:spcAft>
              <a:defRPr/>
            </a:pPr>
            <a:r>
              <a:rPr lang="en-US" baseline="0" dirty="0" smtClean="0"/>
              <a:t>This was one of the earliest and primary use cases for Amazon Web Services Elastic Cloud Compute (EC2). </a:t>
            </a:r>
          </a:p>
          <a:p>
            <a:pPr marL="388660" lvl="1" indent="-173336" defTabSz="924421">
              <a:spcAft>
                <a:spcPts val="337"/>
              </a:spcAft>
              <a:defRPr/>
            </a:pPr>
            <a:r>
              <a:rPr lang="en-US" baseline="0" dirty="0" smtClean="0"/>
              <a:t>Developers were able to readily provision virtual machines (AMIs) on EC2, develop and test solutions and, often, run the results ‘in production’. </a:t>
            </a:r>
          </a:p>
          <a:p>
            <a:pPr marL="388660" lvl="1" indent="-173336" defTabSz="924421">
              <a:spcAft>
                <a:spcPts val="337"/>
              </a:spcAft>
              <a:defRPr/>
            </a:pPr>
            <a:r>
              <a:rPr lang="en-US" baseline="0" dirty="0" smtClean="0"/>
              <a:t>The only requirement was a credit card to pay for the services.</a:t>
            </a:r>
          </a:p>
          <a:p>
            <a:pPr marL="173336" indent="-173336">
              <a:buFont typeface="Arial" pitchFamily="34" charset="0"/>
              <a:buChar char="•"/>
            </a:pPr>
            <a:r>
              <a:rPr lang="en-US" baseline="0" dirty="0" smtClean="0"/>
              <a:t>PaaS</a:t>
            </a:r>
          </a:p>
          <a:p>
            <a:pPr marL="388660" lvl="1" indent="-173336"/>
            <a:r>
              <a:rPr lang="en-US" baseline="0" dirty="0" smtClean="0"/>
              <a:t>With Platform as a Service, everything from the network connectivity through the runtime is provided and managed by the platform vendor.  </a:t>
            </a:r>
          </a:p>
          <a:p>
            <a:pPr marL="388660" lvl="1" indent="-173336"/>
            <a:r>
              <a:rPr lang="en-US" baseline="0" dirty="0" smtClean="0"/>
              <a:t>The Windows Azure best fits in this category today.  </a:t>
            </a:r>
          </a:p>
          <a:p>
            <a:pPr marL="388660" lvl="1" indent="-173336"/>
            <a:r>
              <a:rPr lang="en-US" baseline="0" dirty="0" smtClean="0"/>
              <a:t>In fact because we don’t provide access to the underlying virtualization or operating system today, we’re often referred to as not providing IaaS.</a:t>
            </a:r>
          </a:p>
          <a:p>
            <a:pPr marL="388660" lvl="1" indent="-173336"/>
            <a:r>
              <a:rPr lang="en-US" dirty="0" smtClean="0"/>
              <a:t>PaaS offerings</a:t>
            </a:r>
            <a:r>
              <a:rPr lang="en-US" baseline="0" dirty="0" smtClean="0"/>
              <a:t> further reduce the developer burden by additionally supporting the platform runtime and related application services. </a:t>
            </a:r>
          </a:p>
          <a:p>
            <a:pPr marL="388660" lvl="1" indent="-173336"/>
            <a:r>
              <a:rPr lang="en-US" baseline="0" dirty="0" smtClean="0"/>
              <a:t>With PaaS, the developer can, almost immediately, begin creating the business logic for an application. </a:t>
            </a:r>
          </a:p>
          <a:p>
            <a:pPr marL="388660" lvl="1" indent="-173336"/>
            <a:r>
              <a:rPr lang="en-US" baseline="0" dirty="0" smtClean="0"/>
              <a:t>Potentially, the increases in productivity are considerable and, because the hardware and operational aspects of the cloud platform are also managed by the cloud platform provider, applications can quickly be taken from an idea to reality very quickly.</a:t>
            </a:r>
            <a:endParaRPr lang="en-US" dirty="0" smtClean="0"/>
          </a:p>
          <a:p>
            <a:pPr marL="173336" indent="-173336">
              <a:buFont typeface="Arial" pitchFamily="34" charset="0"/>
              <a:buChar char="•"/>
            </a:pPr>
            <a:r>
              <a:rPr lang="en-US" baseline="0" dirty="0" smtClean="0"/>
              <a:t>SaaS</a:t>
            </a:r>
          </a:p>
          <a:p>
            <a:pPr marL="388660" lvl="1" indent="-173336"/>
            <a:r>
              <a:rPr lang="en-US" dirty="0" smtClean="0"/>
              <a:t>Finally, with SaaS,</a:t>
            </a:r>
            <a:r>
              <a:rPr lang="en-US" baseline="0" dirty="0" smtClean="0"/>
              <a:t> a vendor provides the application and abstracts you from all of the underlying components.   </a:t>
            </a:r>
            <a:endParaRPr lang="en-US" dirty="0" smtClean="0"/>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35726246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19221951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17375397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6336694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Windows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1077903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2561646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600" b="0" i="0" kern="1200" dirty="0" smtClean="0">
                <a:solidFill>
                  <a:schemeClr val="tx1"/>
                </a:solidFill>
                <a:effectLst/>
                <a:latin typeface="Segoe UI" pitchFamily="34" charset="0"/>
                <a:ea typeface="+mn-ea"/>
                <a:cs typeface="+mn-cs"/>
              </a:rPr>
              <a:t>The infrastructure of each Windows Azure data center is notionally divided into multiple sections known as fault domains. These sections of the infrastructure (which are not necessarily individual servers or server racks) are designed in such a way that a failure of one fault domain is extremely unlikely to affect any other fault domain. When you deploy a service, the Windows Azure Fabric Controller automatically locates the roles in at least two different fault domains so that a failure in one domain will not affect all instances of your service.</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9765315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657593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 what a scale-out application looks like</a:t>
            </a:r>
          </a:p>
          <a:p>
            <a:pPr marL="0" indent="0">
              <a:buFont typeface="Arial" pitchFamily="34" charset="0"/>
              <a:buNone/>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US" dirty="0" smtClean="0"/>
              <a:t>High scale applications often</a:t>
            </a:r>
            <a:r>
              <a:rPr lang="en-US" baseline="0" dirty="0" smtClean="0"/>
              <a:t> follow this sort of an pattern</a:t>
            </a:r>
          </a:p>
          <a:p>
            <a:pPr marL="171450" indent="-171450">
              <a:buFont typeface="Arial" pitchFamily="34" charset="0"/>
              <a:buChar char="•"/>
            </a:pPr>
            <a:r>
              <a:rPr lang="en-US" baseline="0" dirty="0" smtClean="0"/>
              <a:t>Inbound connectivity comes through a load balancer</a:t>
            </a:r>
          </a:p>
          <a:p>
            <a:pPr marL="384431" lvl="1" indent="-171450">
              <a:buFont typeface="Arial" pitchFamily="34" charset="0"/>
              <a:buChar char="•"/>
            </a:pPr>
            <a:r>
              <a:rPr lang="en-US" baseline="0" dirty="0" smtClean="0"/>
              <a:t>Requests are round robin routed</a:t>
            </a:r>
          </a:p>
          <a:p>
            <a:pPr marL="384431" lvl="1" indent="-171450">
              <a:buFont typeface="Arial" pitchFamily="34" charset="0"/>
              <a:buChar char="•"/>
            </a:pPr>
            <a:r>
              <a:rPr lang="en-US" baseline="0" dirty="0" smtClean="0"/>
              <a:t>Load balancer is typically aware of the state of the web servers (i.e. are they up)</a:t>
            </a:r>
          </a:p>
          <a:p>
            <a:pPr marL="171450" lvl="0" indent="-171450">
              <a:buFont typeface="Arial" pitchFamily="34" charset="0"/>
              <a:buChar char="•"/>
            </a:pPr>
            <a:r>
              <a:rPr lang="en-US" baseline="0" dirty="0" smtClean="0"/>
              <a:t>There are one or more tiers or groups of stateless web or app servers</a:t>
            </a:r>
          </a:p>
          <a:p>
            <a:pPr marL="384431" lvl="1" indent="-171450">
              <a:buFont typeface="Arial" pitchFamily="34" charset="0"/>
              <a:buChar char="•"/>
            </a:pPr>
            <a:r>
              <a:rPr lang="en-US" baseline="0" dirty="0" smtClean="0"/>
              <a:t>By stateless we mean that they do not hold state between client requests</a:t>
            </a:r>
          </a:p>
          <a:p>
            <a:pPr marL="384431" lvl="1" indent="-171450">
              <a:buFont typeface="Arial" pitchFamily="34" charset="0"/>
              <a:buChar char="•"/>
            </a:pPr>
            <a:r>
              <a:rPr lang="en-US" baseline="0" dirty="0" smtClean="0"/>
              <a:t>Stateless means that simple load balancing works – no need for sticky sessions</a:t>
            </a:r>
          </a:p>
          <a:p>
            <a:pPr marL="384431" lvl="1" indent="-171450">
              <a:buFont typeface="Arial" pitchFamily="34" charset="0"/>
              <a:buChar char="•"/>
            </a:pPr>
            <a:r>
              <a:rPr lang="en-US" baseline="0" dirty="0" smtClean="0"/>
              <a:t>Stateless means that the failure of a web server does not cause major issues for application- it is simply removed from the load balancer</a:t>
            </a:r>
          </a:p>
          <a:p>
            <a:pPr marL="171450" lvl="0" indent="-171450">
              <a:buFont typeface="Arial" pitchFamily="34" charset="0"/>
              <a:buChar char="•"/>
            </a:pPr>
            <a:r>
              <a:rPr lang="en-US" baseline="0" dirty="0" smtClean="0"/>
              <a:t>A stateful or storage tier</a:t>
            </a:r>
          </a:p>
          <a:p>
            <a:pPr marL="384431" lvl="1" indent="-171450">
              <a:buFont typeface="Arial" pitchFamily="34" charset="0"/>
              <a:buChar char="•"/>
            </a:pPr>
            <a:r>
              <a:rPr lang="en-US" baseline="0" dirty="0" smtClean="0"/>
              <a:t>This will generally involve some sort of scale out approach for large apps</a:t>
            </a:r>
          </a:p>
          <a:p>
            <a:pPr marL="384431" lvl="1" indent="-171450">
              <a:buFont typeface="Arial" pitchFamily="34" charset="0"/>
              <a:buChar char="•"/>
            </a:pPr>
            <a:r>
              <a:rPr lang="en-US" baseline="0" dirty="0" smtClean="0"/>
              <a:t>Often using partitioned databases</a:t>
            </a:r>
          </a:p>
          <a:p>
            <a:pPr marL="384431" lvl="1" indent="-171450">
              <a:buFont typeface="Arial" pitchFamily="34" charset="0"/>
              <a:buChar char="•"/>
            </a:pPr>
            <a:r>
              <a:rPr lang="en-US" baseline="0" dirty="0" smtClean="0"/>
              <a:t>Often some sort of queuing mechanism</a:t>
            </a:r>
          </a:p>
          <a:p>
            <a:pPr marL="171450" lvl="0" indent="-171450">
              <a:buFont typeface="Arial" pitchFamily="34" charset="0"/>
              <a:buChar char="•"/>
            </a:pPr>
            <a:r>
              <a:rPr lang="en-US" baseline="0" dirty="0" smtClean="0"/>
              <a:t>Applications will often perform processing in the background. </a:t>
            </a:r>
          </a:p>
          <a:p>
            <a:pPr marL="384431" lvl="1" indent="-171450">
              <a:buFont typeface="Arial" pitchFamily="34" charset="0"/>
              <a:buChar char="•"/>
            </a:pPr>
            <a:r>
              <a:rPr lang="en-US" baseline="0" dirty="0" smtClean="0"/>
              <a:t>Improves response time for users</a:t>
            </a:r>
          </a:p>
          <a:p>
            <a:pPr marL="384431" lvl="1" indent="-171450">
              <a:buFont typeface="Arial" pitchFamily="34" charset="0"/>
              <a:buChar char="•"/>
            </a:pPr>
            <a:r>
              <a:rPr lang="en-US" baseline="0" dirty="0" smtClean="0"/>
              <a:t>Allows load peaks to be buffered in queues</a:t>
            </a:r>
          </a:p>
          <a:p>
            <a:pPr marL="212981" lvl="1" indent="0">
              <a:buFont typeface="Arial" pitchFamily="34" charset="0"/>
              <a:buNone/>
            </a:pPr>
            <a:endParaRPr lang="en-US" baseline="0" dirty="0" smtClean="0"/>
          </a:p>
          <a:p>
            <a:pPr marL="212981" lvl="1" indent="0">
              <a:buFont typeface="Arial" pitchFamily="34" charset="0"/>
              <a:buNone/>
            </a:pPr>
            <a:r>
              <a:rPr lang="en-US" b="1" baseline="0" dirty="0" smtClean="0"/>
              <a:t>Windows Azure provides us with a Platform as a Service offering to implement these sorts of applications</a:t>
            </a:r>
          </a:p>
          <a:p>
            <a:pPr marL="0" indent="0">
              <a:buFont typeface="Arial" pitchFamily="34" charset="0"/>
              <a:buNone/>
            </a:pPr>
            <a:endParaRPr lang="en-US" dirty="0" smtClean="0"/>
          </a:p>
          <a:p>
            <a:pPr marL="0" indent="0">
              <a:buFont typeface="Arial" pitchFamily="34" charset="0"/>
              <a:buNone/>
            </a:pPr>
            <a:r>
              <a:rPr lang="en-US" b="1" dirty="0" smtClean="0"/>
              <a:t>Notes</a:t>
            </a:r>
          </a:p>
          <a:p>
            <a:pPr marL="0" indent="0">
              <a:buFont typeface="Arial" pitchFamily="34" charset="0"/>
              <a:buNone/>
            </a:pPr>
            <a:r>
              <a:rPr lang="en-US" b="0" dirty="0" smtClean="0"/>
              <a:t>http://msdn.microsoft.com/en-us/magazine/cc500561.aspx </a:t>
            </a:r>
          </a:p>
          <a:p>
            <a:r>
              <a:rPr lang="en-US" dirty="0" smtClean="0"/>
              <a:t>http://msdn.microsoft.com/en-us/library/ff650667.aspx</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9400068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C38D358-6C7D-4EB9-872B-936D4D97144B}" type="slidenum">
              <a:rPr lang="en-GB" smtClean="0">
                <a:solidFill>
                  <a:prstClr val="black"/>
                </a:solidFill>
              </a:rPr>
              <a:pPr/>
              <a:t>2</a:t>
            </a:fld>
            <a:endParaRPr lang="en-GB">
              <a:solidFill>
                <a:prstClr val="black"/>
              </a:solidFill>
            </a:endParaRPr>
          </a:p>
        </p:txBody>
      </p:sp>
    </p:spTree>
    <p:extLst>
      <p:ext uri="{BB962C8B-B14F-4D97-AF65-F5344CB8AC3E}">
        <p14:creationId xmlns:p14="http://schemas.microsoft.com/office/powerpoint/2010/main" val="19612709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 what a scale-out application looks like</a:t>
            </a:r>
          </a:p>
          <a:p>
            <a:pPr marL="0" indent="0">
              <a:buFont typeface="Arial" pitchFamily="34" charset="0"/>
              <a:buNone/>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US" dirty="0" smtClean="0"/>
              <a:t>High scale applications often</a:t>
            </a:r>
            <a:r>
              <a:rPr lang="en-US" baseline="0" dirty="0" smtClean="0"/>
              <a:t> follow this sort of an pattern</a:t>
            </a:r>
          </a:p>
          <a:p>
            <a:pPr marL="171450" indent="-171450">
              <a:buFont typeface="Arial" pitchFamily="34" charset="0"/>
              <a:buChar char="•"/>
            </a:pPr>
            <a:r>
              <a:rPr lang="en-US" baseline="0" dirty="0" smtClean="0"/>
              <a:t>Inbound connectivity comes through a load balancer</a:t>
            </a:r>
          </a:p>
          <a:p>
            <a:pPr marL="384431" lvl="1" indent="-171450">
              <a:buFont typeface="Arial" pitchFamily="34" charset="0"/>
              <a:buChar char="•"/>
            </a:pPr>
            <a:r>
              <a:rPr lang="en-US" baseline="0" dirty="0" smtClean="0"/>
              <a:t>Requests are round robin routed</a:t>
            </a:r>
          </a:p>
          <a:p>
            <a:pPr marL="384431" lvl="1" indent="-171450">
              <a:buFont typeface="Arial" pitchFamily="34" charset="0"/>
              <a:buChar char="•"/>
            </a:pPr>
            <a:r>
              <a:rPr lang="en-US" baseline="0" dirty="0" smtClean="0"/>
              <a:t>Load balancer is typically aware of the state of the web servers (i.e. are they up)</a:t>
            </a:r>
          </a:p>
          <a:p>
            <a:pPr marL="171450" lvl="0" indent="-171450">
              <a:buFont typeface="Arial" pitchFamily="34" charset="0"/>
              <a:buChar char="•"/>
            </a:pPr>
            <a:r>
              <a:rPr lang="en-US" baseline="0" dirty="0" smtClean="0"/>
              <a:t>There are one or more tiers or groups of stateless web or app servers</a:t>
            </a:r>
          </a:p>
          <a:p>
            <a:pPr marL="384431" lvl="1" indent="-171450">
              <a:buFont typeface="Arial" pitchFamily="34" charset="0"/>
              <a:buChar char="•"/>
            </a:pPr>
            <a:r>
              <a:rPr lang="en-US" baseline="0" dirty="0" smtClean="0"/>
              <a:t>By stateless we mean that they do not hold state between client requests</a:t>
            </a:r>
          </a:p>
          <a:p>
            <a:pPr marL="384431" lvl="1" indent="-171450">
              <a:buFont typeface="Arial" pitchFamily="34" charset="0"/>
              <a:buChar char="•"/>
            </a:pPr>
            <a:r>
              <a:rPr lang="en-US" baseline="0" dirty="0" smtClean="0"/>
              <a:t>Stateless means that simple load balancing works – no need for sticky sessions</a:t>
            </a:r>
          </a:p>
          <a:p>
            <a:pPr marL="384431" lvl="1" indent="-171450">
              <a:buFont typeface="Arial" pitchFamily="34" charset="0"/>
              <a:buChar char="•"/>
            </a:pPr>
            <a:r>
              <a:rPr lang="en-US" baseline="0" dirty="0" smtClean="0"/>
              <a:t>Stateless means that the failure of a web server does not cause major issues for application- it is simply removed from the load balancer</a:t>
            </a:r>
          </a:p>
          <a:p>
            <a:pPr marL="171450" lvl="0" indent="-171450">
              <a:buFont typeface="Arial" pitchFamily="34" charset="0"/>
              <a:buChar char="•"/>
            </a:pPr>
            <a:r>
              <a:rPr lang="en-US" baseline="0" dirty="0" smtClean="0"/>
              <a:t>A stateful or storage tier</a:t>
            </a:r>
          </a:p>
          <a:p>
            <a:pPr marL="384431" lvl="1" indent="-171450">
              <a:buFont typeface="Arial" pitchFamily="34" charset="0"/>
              <a:buChar char="•"/>
            </a:pPr>
            <a:r>
              <a:rPr lang="en-US" baseline="0" dirty="0" smtClean="0"/>
              <a:t>This will generally involve some sort of scale out approach for large apps</a:t>
            </a:r>
          </a:p>
          <a:p>
            <a:pPr marL="384431" lvl="1" indent="-171450">
              <a:buFont typeface="Arial" pitchFamily="34" charset="0"/>
              <a:buChar char="•"/>
            </a:pPr>
            <a:r>
              <a:rPr lang="en-US" baseline="0" dirty="0" smtClean="0"/>
              <a:t>Often using partitioned databases</a:t>
            </a:r>
          </a:p>
          <a:p>
            <a:pPr marL="384431" lvl="1" indent="-171450">
              <a:buFont typeface="Arial" pitchFamily="34" charset="0"/>
              <a:buChar char="•"/>
            </a:pPr>
            <a:r>
              <a:rPr lang="en-US" baseline="0" dirty="0" smtClean="0"/>
              <a:t>Often some sort of queuing mechanism</a:t>
            </a:r>
          </a:p>
          <a:p>
            <a:pPr marL="171450" lvl="0" indent="-171450">
              <a:buFont typeface="Arial" pitchFamily="34" charset="0"/>
              <a:buChar char="•"/>
            </a:pPr>
            <a:r>
              <a:rPr lang="en-US" baseline="0" dirty="0" smtClean="0"/>
              <a:t>Applications will often perform processing in the background. </a:t>
            </a:r>
          </a:p>
          <a:p>
            <a:pPr marL="384431" lvl="1" indent="-171450">
              <a:buFont typeface="Arial" pitchFamily="34" charset="0"/>
              <a:buChar char="•"/>
            </a:pPr>
            <a:r>
              <a:rPr lang="en-US" baseline="0" dirty="0" smtClean="0"/>
              <a:t>Improves response time for users</a:t>
            </a:r>
          </a:p>
          <a:p>
            <a:pPr marL="384431" lvl="1" indent="-171450">
              <a:buFont typeface="Arial" pitchFamily="34" charset="0"/>
              <a:buChar char="•"/>
            </a:pPr>
            <a:r>
              <a:rPr lang="en-US" baseline="0" dirty="0" smtClean="0"/>
              <a:t>Allows load peaks to be buffered in queues</a:t>
            </a:r>
          </a:p>
          <a:p>
            <a:pPr marL="212981" lvl="1" indent="0">
              <a:buFont typeface="Arial" pitchFamily="34" charset="0"/>
              <a:buNone/>
            </a:pPr>
            <a:endParaRPr lang="en-US" baseline="0" dirty="0" smtClean="0"/>
          </a:p>
          <a:p>
            <a:pPr marL="212981" lvl="1" indent="0">
              <a:buFont typeface="Arial" pitchFamily="34" charset="0"/>
              <a:buNone/>
            </a:pPr>
            <a:r>
              <a:rPr lang="en-US" b="1" baseline="0" dirty="0" smtClean="0"/>
              <a:t>Windows Azure provides us with a Platform as a Service offering to implement these sorts of applications</a:t>
            </a:r>
          </a:p>
          <a:p>
            <a:pPr marL="0" indent="0">
              <a:buFont typeface="Arial" pitchFamily="34" charset="0"/>
              <a:buNone/>
            </a:pPr>
            <a:endParaRPr lang="en-US" dirty="0" smtClean="0"/>
          </a:p>
          <a:p>
            <a:pPr marL="0" indent="0">
              <a:buFont typeface="Arial" pitchFamily="34" charset="0"/>
              <a:buNone/>
            </a:pPr>
            <a:r>
              <a:rPr lang="en-US" b="1" dirty="0" smtClean="0"/>
              <a:t>Notes</a:t>
            </a:r>
          </a:p>
          <a:p>
            <a:pPr marL="0" indent="0">
              <a:buFont typeface="Arial" pitchFamily="34" charset="0"/>
              <a:buNone/>
            </a:pPr>
            <a:r>
              <a:rPr lang="en-US" b="0" dirty="0" smtClean="0"/>
              <a:t>http://msdn.microsoft.com/en-us/magazine/cc500561.aspx </a:t>
            </a:r>
          </a:p>
          <a:p>
            <a:r>
              <a:rPr lang="en-US" dirty="0" smtClean="0"/>
              <a:t>http://msdn.microsoft.com/en-us/library/ff650667.aspx</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25650610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3267002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en-US" b="1" dirty="0" smtClean="0"/>
              <a:t>Slide Objective</a:t>
            </a:r>
          </a:p>
          <a:p>
            <a:r>
              <a:rPr lang="en-US" b="0" dirty="0" smtClean="0"/>
              <a:t>Introduce users to the tooling available to work with Windows Azure</a:t>
            </a:r>
          </a:p>
          <a:p>
            <a:endParaRPr lang="en-US" dirty="0" smtClean="0"/>
          </a:p>
          <a:p>
            <a:r>
              <a:rPr lang="en-US" b="1" dirty="0" smtClean="0"/>
              <a:t>Speaker Notes</a:t>
            </a:r>
          </a:p>
          <a:p>
            <a:pPr marL="171450" indent="-171450">
              <a:buFont typeface="Arial" pitchFamily="34" charset="0"/>
              <a:buChar char="•"/>
            </a:pPr>
            <a:r>
              <a:rPr lang="en-US" dirty="0" smtClean="0"/>
              <a:t>Developer SDK is a Cloud in a box,</a:t>
            </a:r>
            <a:r>
              <a:rPr lang="en-US" baseline="0" dirty="0" smtClean="0"/>
              <a:t> allowing you to develop and debug locally without requiring a connection to the cloud. You can do this without Visual Studio as there are command line tools for executing the “cloud in a box” and publishing to the cloud.</a:t>
            </a:r>
          </a:p>
          <a:p>
            <a:pPr marL="171450" indent="-171450">
              <a:buFont typeface="Arial" pitchFamily="34" charset="0"/>
              <a:buChar char="•"/>
            </a:pPr>
            <a:r>
              <a:rPr lang="en-US" baseline="0" dirty="0" smtClean="0"/>
              <a:t>There is also a separate download for the Visual Studio 2008 tools, which provide the VS debugging and templates. This in turn includes the SDK</a:t>
            </a:r>
          </a:p>
          <a:p>
            <a:pPr marL="171450" indent="-171450">
              <a:buFont typeface="Arial" pitchFamily="34" charset="0"/>
              <a:buChar char="•"/>
            </a:pPr>
            <a:r>
              <a:rPr lang="en-US" baseline="0" dirty="0" smtClean="0"/>
              <a:t>Download the VS tools if you use VS. Download the raw SDK if you use alternative platforms (PHP etc…)</a:t>
            </a:r>
          </a:p>
          <a:p>
            <a:pPr marL="171450" indent="-171450">
              <a:buFont typeface="Arial" pitchFamily="34" charset="0"/>
              <a:buChar char="•"/>
            </a:pPr>
            <a:r>
              <a:rPr lang="en-US" baseline="0" dirty="0" smtClean="0"/>
              <a:t>Requirements for Win 7 or Win 2008 are a dependency on IIS7 for the development fabric</a:t>
            </a:r>
          </a:p>
          <a:p>
            <a:pPr marL="171450" indent="-171450">
              <a:buFont typeface="Arial" pitchFamily="34" charset="0"/>
              <a:buChar char="•"/>
            </a:pPr>
            <a:r>
              <a:rPr lang="en-US" baseline="0" dirty="0" smtClean="0"/>
              <a:t>Can install the bits with the Microsoft Web Platform Installer</a:t>
            </a:r>
          </a:p>
          <a:p>
            <a:endParaRPr lang="en-US" baseline="0" dirty="0" smtClean="0"/>
          </a:p>
          <a:p>
            <a:r>
              <a:rPr lang="en-US" b="1" baseline="0" dirty="0" smtClean="0"/>
              <a:t>Notes</a:t>
            </a:r>
          </a:p>
          <a:p>
            <a:r>
              <a:rPr lang="en-NZ" b="0" baseline="0" dirty="0" smtClean="0"/>
              <a:t>Windows Azure Tools for Microsoft Visual Studio includes:</a:t>
            </a:r>
          </a:p>
          <a:p>
            <a:r>
              <a:rPr lang="en-NZ" b="0" baseline="0" dirty="0" smtClean="0"/>
              <a:t>C# and VB Project creation support for creating a Windows Azure Cloud Service solution with multiple roles.</a:t>
            </a:r>
          </a:p>
          <a:p>
            <a:r>
              <a:rPr lang="en-NZ" b="0" baseline="0" dirty="0" smtClean="0"/>
              <a:t>Tools to add and remove roles from the Cloud Service.</a:t>
            </a:r>
          </a:p>
          <a:p>
            <a:r>
              <a:rPr lang="en-NZ" b="0" baseline="0" dirty="0" smtClean="0"/>
              <a:t>Tools to configure each Role.</a:t>
            </a:r>
          </a:p>
          <a:p>
            <a:r>
              <a:rPr lang="en-NZ" b="0" baseline="0" dirty="0" smtClean="0"/>
              <a:t>Integrated local development via the Development Fabric and Development Storage services.</a:t>
            </a:r>
          </a:p>
          <a:p>
            <a:r>
              <a:rPr lang="en-NZ" b="0" baseline="0" dirty="0" smtClean="0"/>
              <a:t>Running and Debugging a Cloud Service in the Development Fabric.</a:t>
            </a:r>
          </a:p>
          <a:p>
            <a:r>
              <a:rPr lang="en-NZ" b="0" baseline="0" dirty="0" smtClean="0"/>
              <a:t>Browsing cloud storage through the Server Explorer</a:t>
            </a:r>
          </a:p>
          <a:p>
            <a:r>
              <a:rPr lang="en-NZ" b="0" baseline="0" dirty="0" smtClean="0"/>
              <a:t>Building and packaging of Cloud Service Packages.</a:t>
            </a:r>
          </a:p>
          <a:p>
            <a:r>
              <a:rPr lang="en-NZ" b="0" baseline="0" dirty="0" smtClean="0"/>
              <a:t>Deploying to the Windows Azure.</a:t>
            </a:r>
          </a:p>
          <a:p>
            <a:r>
              <a:rPr lang="en-NZ" b="0" baseline="0" dirty="0" smtClean="0"/>
              <a:t>Monitoring the state of your services through the Server Explorer.</a:t>
            </a:r>
          </a:p>
          <a:p>
            <a:r>
              <a:rPr lang="en-NZ" b="0" baseline="0" dirty="0" smtClean="0"/>
              <a:t>Debugging in the cloud by retrieving IntelliTrace logs through the Server Explorer.</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512133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pPr marL="171450" indent="-171450">
              <a:buFont typeface="Arial" pitchFamily="34" charset="0"/>
              <a:buChar char="•"/>
            </a:pPr>
            <a:r>
              <a:rPr lang="en-US" b="0" dirty="0" smtClean="0"/>
              <a:t>Understand the role programming model in overview</a:t>
            </a:r>
          </a:p>
          <a:p>
            <a:r>
              <a:rPr lang="en-US" b="1" dirty="0" smtClean="0"/>
              <a:t>Speaker</a:t>
            </a:r>
            <a:r>
              <a:rPr lang="en-US" b="1" baseline="0" dirty="0" smtClean="0"/>
              <a:t> Notes</a:t>
            </a:r>
          </a:p>
          <a:p>
            <a:r>
              <a:rPr lang="en-US" dirty="0" smtClean="0"/>
              <a:t>A role is similar to a windows service. It gets started</a:t>
            </a:r>
            <a:r>
              <a:rPr lang="en-US" baseline="0" dirty="0" smtClean="0"/>
              <a:t> once deployed, and will get stopped when required.</a:t>
            </a:r>
          </a:p>
          <a:p>
            <a:endParaRPr lang="en-US" baseline="0" dirty="0" smtClean="0"/>
          </a:p>
          <a:p>
            <a:r>
              <a:rPr lang="en-US" baseline="0" dirty="0" smtClean="0"/>
              <a:t>It could get stopped because </a:t>
            </a:r>
          </a:p>
          <a:p>
            <a:pPr>
              <a:buFont typeface="Arial" charset="0"/>
              <a:buChar char="•"/>
            </a:pPr>
            <a:r>
              <a:rPr lang="en-US" baseline="0" dirty="0" smtClean="0"/>
              <a:t>we are re-deploying you to a different server</a:t>
            </a:r>
          </a:p>
          <a:p>
            <a:pPr>
              <a:buFont typeface="Arial" charset="0"/>
              <a:buChar char="•"/>
            </a:pPr>
            <a:r>
              <a:rPr lang="en-US" baseline="0" dirty="0" smtClean="0"/>
              <a:t>You actioned the stop from the web-portal</a:t>
            </a:r>
          </a:p>
          <a:p>
            <a:pPr>
              <a:buFont typeface="Arial" charset="0"/>
              <a:buChar char="•"/>
            </a:pPr>
            <a:endParaRPr lang="en-US" baseline="0" dirty="0" smtClean="0"/>
          </a:p>
          <a:p>
            <a:pPr>
              <a:buFont typeface="Arial" charset="0"/>
              <a:buNone/>
            </a:pPr>
            <a:r>
              <a:rPr lang="en-US" dirty="0" smtClean="0"/>
              <a:t>It’s up to you to keep</a:t>
            </a:r>
            <a:r>
              <a:rPr lang="en-US" baseline="0" dirty="0" smtClean="0"/>
              <a:t> running and NEVER return from Start() unless you have been told to stop. Note: you do not need to handle the stop – you can simply “fail”</a:t>
            </a:r>
            <a:endParaRPr lang="en-US" dirty="0" smtClean="0"/>
          </a:p>
          <a:p>
            <a:endParaRPr lang="en-US" b="1" baseline="0" dirty="0" smtClean="0"/>
          </a:p>
          <a:p>
            <a:r>
              <a:rPr lang="en-US" b="1" baseline="0" dirty="0" smtClean="0"/>
              <a:t>Notes</a:t>
            </a:r>
          </a:p>
          <a:p>
            <a:r>
              <a:rPr lang="en-US" b="0" baseline="0" dirty="0" smtClean="0"/>
              <a:t>http://msdn.microsoft.com/en-us/library/ee848065.aspx</a:t>
            </a:r>
          </a:p>
          <a:p>
            <a:r>
              <a:rPr lang="en-US" b="0" baseline="0" dirty="0" smtClean="0"/>
              <a:t>http://blogs.msdn.com/b/jnak/archive/2010/02/11/windows-azure-roleentrypoint-method-call-order.aspx</a:t>
            </a:r>
            <a:r>
              <a:rPr lang="en-US" b="1" baseline="0" dirty="0" smtClean="0"/>
              <a:t>es</a:t>
            </a:r>
            <a:endParaRPr lang="en-US" b="1"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14431902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b="0" dirty="0" smtClean="0"/>
              <a:t>Understand the lifecycle of a Windows Azure role</a:t>
            </a:r>
          </a:p>
          <a:p>
            <a:pPr marL="171450" indent="-171450">
              <a:buFont typeface="Arial" pitchFamily="34" charset="0"/>
              <a:buChar char="•"/>
            </a:pPr>
            <a:r>
              <a:rPr lang="en-US" b="0" dirty="0" smtClean="0"/>
              <a:t>Understand the</a:t>
            </a:r>
            <a:r>
              <a:rPr lang="en-US" b="0" baseline="0" dirty="0" smtClean="0"/>
              <a:t> methods that can be overridden in RoleEntryPoint</a:t>
            </a:r>
          </a:p>
          <a:p>
            <a:pPr marL="171450" indent="-171450">
              <a:buFont typeface="Arial" pitchFamily="34" charset="0"/>
              <a:buChar char="•"/>
            </a:pPr>
            <a:r>
              <a:rPr lang="en-US" b="0" baseline="0" dirty="0" smtClean="0"/>
              <a:t>Understand the events that are raised by role instances when their status is changing</a:t>
            </a:r>
          </a:p>
          <a:p>
            <a:pPr marL="171450" indent="-171450">
              <a:buFont typeface="Arial" pitchFamily="34" charset="0"/>
              <a:buChar char="•"/>
            </a:pPr>
            <a:endParaRPr lang="en-US" b="0" dirty="0" smtClean="0"/>
          </a:p>
          <a:p>
            <a:r>
              <a:rPr lang="en-US" b="1" dirty="0" smtClean="0"/>
              <a:t>Speaker Notes</a:t>
            </a:r>
          </a:p>
          <a:p>
            <a:pPr marL="171450" indent="-171450">
              <a:buFont typeface="Arial" pitchFamily="34" charset="0"/>
              <a:buChar char="•"/>
            </a:pPr>
            <a:r>
              <a:rPr lang="en-US" b="0" dirty="0" smtClean="0"/>
              <a:t>Roles will typically extend RoleEntryPoint</a:t>
            </a:r>
          </a:p>
          <a:p>
            <a:pPr marL="171450" indent="-171450">
              <a:buFont typeface="Arial" pitchFamily="34" charset="0"/>
              <a:buChar char="•"/>
            </a:pPr>
            <a:r>
              <a:rPr lang="en-US" b="0" dirty="0" smtClean="0"/>
              <a:t>The fabric calls RoleEntryPoint methods as it starts and stops a role</a:t>
            </a:r>
          </a:p>
          <a:p>
            <a:pPr marL="384431" lvl="1" indent="-171450">
              <a:buFont typeface="Arial" pitchFamily="34" charset="0"/>
              <a:buChar char="•"/>
            </a:pPr>
            <a:r>
              <a:rPr lang="en-NZ" dirty="0" smtClean="0"/>
              <a:t>WaWorkerHost process is started.</a:t>
            </a:r>
          </a:p>
          <a:p>
            <a:pPr marL="384431" lvl="1" indent="-171450">
              <a:buFont typeface="Arial" pitchFamily="34" charset="0"/>
              <a:buChar char="•"/>
            </a:pPr>
            <a:r>
              <a:rPr lang="en-NZ" dirty="0" smtClean="0"/>
              <a:t>Worker Role assembly is loaded and surfed for a class that derives from RoleEntryPoint. This class is instantiated. </a:t>
            </a:r>
          </a:p>
          <a:p>
            <a:pPr marL="384431" lvl="1" indent="-171450">
              <a:buFont typeface="Arial" pitchFamily="34" charset="0"/>
              <a:buChar char="•"/>
            </a:pPr>
            <a:r>
              <a:rPr lang="en-NZ" dirty="0" smtClean="0"/>
              <a:t>RoleEntryPoint.OnStart() is called. </a:t>
            </a:r>
          </a:p>
          <a:p>
            <a:pPr marL="384431" lvl="1" indent="-171450">
              <a:buFont typeface="Arial" pitchFamily="34" charset="0"/>
              <a:buChar char="•"/>
            </a:pPr>
            <a:r>
              <a:rPr lang="en-NZ" dirty="0" smtClean="0"/>
              <a:t>RoleEntryPoint.Run() is called. </a:t>
            </a:r>
          </a:p>
          <a:p>
            <a:pPr marL="384431" lvl="1" indent="-171450">
              <a:buFont typeface="Arial" pitchFamily="34" charset="0"/>
              <a:buChar char="•"/>
            </a:pPr>
            <a:r>
              <a:rPr lang="en-NZ" dirty="0" smtClean="0"/>
              <a:t>If the RoleEntryPoint.Run() method exits, the RoleEntryPoint.OnStop() method is called . </a:t>
            </a:r>
          </a:p>
          <a:p>
            <a:pPr marL="384431" lvl="1" indent="-171450">
              <a:buFont typeface="Arial" pitchFamily="34" charset="0"/>
              <a:buChar char="•"/>
            </a:pPr>
            <a:r>
              <a:rPr lang="en-NZ" dirty="0" smtClean="0"/>
              <a:t>WaWorkerHost process is stopped. The role will recycle and startup again.</a:t>
            </a:r>
          </a:p>
          <a:p>
            <a:endParaRPr lang="en-US" b="0" dirty="0" smtClean="0"/>
          </a:p>
          <a:p>
            <a:r>
              <a:rPr lang="en-NZ" b="0" dirty="0" smtClean="0"/>
              <a:t>As a role changes state</a:t>
            </a:r>
            <a:r>
              <a:rPr lang="en-NZ" b="0" baseline="0" dirty="0" smtClean="0"/>
              <a:t> it will raise the StatusCheck event.</a:t>
            </a:r>
          </a:p>
          <a:p>
            <a:r>
              <a:rPr lang="en-NZ" b="0" baseline="0" dirty="0" smtClean="0"/>
              <a:t>A status of Busy will mean the load balancer will not route requests to the instance.</a:t>
            </a:r>
            <a:endParaRPr lang="en-US" b="0" dirty="0" smtClean="0"/>
          </a:p>
          <a:p>
            <a:endParaRPr lang="en-US" b="1" dirty="0" smtClean="0"/>
          </a:p>
          <a:p>
            <a:r>
              <a:rPr lang="en-US" b="1" dirty="0" smtClean="0"/>
              <a:t>Note</a:t>
            </a:r>
          </a:p>
          <a:p>
            <a:r>
              <a:rPr lang="en-US" b="0" dirty="0" smtClean="0"/>
              <a:t>http://blogs.msdn.com/b/jnak/archive/2010/02/11/windows-azure-roleentrypoint-method-call-order.aspx</a:t>
            </a:r>
          </a:p>
          <a:p>
            <a:r>
              <a:rPr lang="en-US" b="0" dirty="0" smtClean="0"/>
              <a:t>http://msdn.microsoft.com/en-us/library/ee848065.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8036188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3137563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Windows Azure. At MIX09, we additionally added support for IIS7’s FastCGI capability. As a note, any files that are part of a asp.net project on windows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128366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8188853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5217976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14997276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102817727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6966129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41107311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387051888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6816410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135116504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151924108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33697726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a:t>
            </a:r>
            <a:r>
              <a:rPr lang="en-NZ" b="1" baseline="0" dirty="0" smtClean="0"/>
              <a:t> Objective</a:t>
            </a:r>
          </a:p>
          <a:p>
            <a:r>
              <a:rPr lang="en-NZ" b="0" baseline="0" dirty="0" smtClean="0"/>
              <a:t>To introduce the concept of local storage</a:t>
            </a:r>
          </a:p>
          <a:p>
            <a:r>
              <a:rPr lang="en-NZ" b="1" baseline="0" dirty="0" smtClean="0"/>
              <a:t>Speaker Notes</a:t>
            </a:r>
          </a:p>
          <a:p>
            <a:r>
              <a:rPr lang="en-NZ" dirty="0" smtClean="0"/>
              <a:t>A local storage resource is a reserved directory in the file system of the virtual machine (VM) in which an instance of a role is running. </a:t>
            </a:r>
          </a:p>
          <a:p>
            <a:r>
              <a:rPr lang="en-NZ" dirty="0" smtClean="0"/>
              <a:t>Code running in the instance can write to the local storage resource when it needs to write to or read from to a file. </a:t>
            </a:r>
          </a:p>
          <a:p>
            <a:r>
              <a:rPr lang="en-NZ" dirty="0" smtClean="0"/>
              <a:t>For example, a local storage resource can be used as a temporary folder when manipulating data or generating documents.</a:t>
            </a:r>
          </a:p>
          <a:p>
            <a:endParaRPr lang="en-NZ" b="1" baseline="0" dirty="0" smtClean="0"/>
          </a:p>
          <a:p>
            <a:r>
              <a:rPr lang="en-NZ" b="0" baseline="0" dirty="0" smtClean="0"/>
              <a:t>Local storage is never guaranteed as persistent; CleanOnRoleRecyle = false is useful to minimise need to rebuild cache for example</a:t>
            </a:r>
          </a:p>
          <a:p>
            <a:endParaRPr lang="en-NZ" b="0" baseline="0" dirty="0" smtClean="0"/>
          </a:p>
          <a:p>
            <a:r>
              <a:rPr lang="en-NZ" b="0" baseline="0" dirty="0" smtClean="0"/>
              <a:t>For guaranteed long term drive based storage- e.g. to hold database files. Use Windows Azure Storage Drives</a:t>
            </a:r>
          </a:p>
          <a:p>
            <a:endParaRPr lang="en-NZ" b="1" baseline="0" dirty="0" smtClean="0"/>
          </a:p>
          <a:p>
            <a:r>
              <a:rPr lang="en-NZ" b="1" baseline="0" dirty="0" smtClean="0"/>
              <a:t>Notes</a:t>
            </a:r>
          </a:p>
          <a:p>
            <a:r>
              <a:rPr lang="en-NZ" b="1" dirty="0" smtClean="0"/>
              <a:t>http://msdn.microsoft.com/en-us/library/ee758708.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219951965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a:t>
            </a:r>
            <a:r>
              <a:rPr lang="en-NZ" b="1" baseline="0" dirty="0" smtClean="0"/>
              <a:t> Objective</a:t>
            </a:r>
          </a:p>
          <a:p>
            <a:r>
              <a:rPr lang="en-NZ" b="0" baseline="0" dirty="0" smtClean="0"/>
              <a:t>To show how to implement local storage</a:t>
            </a:r>
          </a:p>
          <a:p>
            <a:r>
              <a:rPr lang="en-NZ" b="1" baseline="0" dirty="0" smtClean="0"/>
              <a:t>Speaker Notes</a:t>
            </a:r>
          </a:p>
          <a:p>
            <a:pPr marL="171450" indent="-171450">
              <a:buFont typeface="Arial" pitchFamily="34" charset="0"/>
              <a:buChar char="•"/>
            </a:pPr>
            <a:r>
              <a:rPr lang="en-NZ" b="0" dirty="0" smtClean="0"/>
              <a:t>To declare a local storage resource within the service definition file</a:t>
            </a:r>
          </a:p>
          <a:p>
            <a:pPr marL="384431" lvl="1" indent="-171450">
              <a:buFont typeface="Arial" pitchFamily="34" charset="0"/>
              <a:buChar char="•"/>
            </a:pPr>
            <a:r>
              <a:rPr lang="en-NZ" b="0" dirty="0" smtClean="0"/>
              <a:t>add the LocalResources element as a child of a WebRole or WorkerRole element</a:t>
            </a:r>
          </a:p>
          <a:p>
            <a:pPr marL="384431" lvl="1" indent="-171450">
              <a:buFont typeface="Arial" pitchFamily="34" charset="0"/>
              <a:buChar char="•"/>
            </a:pPr>
            <a:r>
              <a:rPr lang="en-NZ" b="0" dirty="0" smtClean="0"/>
              <a:t>then add a LocalStorage element to represent the resource. </a:t>
            </a:r>
          </a:p>
          <a:p>
            <a:pPr marL="171450" lvl="0" indent="-171450">
              <a:buFont typeface="Arial" pitchFamily="34" charset="0"/>
              <a:buChar char="•"/>
            </a:pPr>
            <a:r>
              <a:rPr lang="en-NZ" b="0" dirty="0" smtClean="0"/>
              <a:t>The LocalStorage element takes three attributes: </a:t>
            </a:r>
            <a:r>
              <a:rPr lang="en-NZ" b="0" i="1" dirty="0" smtClean="0"/>
              <a:t>name</a:t>
            </a:r>
            <a:r>
              <a:rPr lang="en-NZ" b="0" dirty="0" smtClean="0"/>
              <a:t>, </a:t>
            </a:r>
            <a:r>
              <a:rPr lang="en-NZ" b="0" i="1" dirty="0" smtClean="0"/>
              <a:t>sizeInMB</a:t>
            </a:r>
            <a:r>
              <a:rPr lang="en-NZ" b="0" dirty="0" smtClean="0"/>
              <a:t>, and </a:t>
            </a:r>
            <a:r>
              <a:rPr lang="en-NZ" b="0" i="1" dirty="0" smtClean="0"/>
              <a:t>cleanOnRoleRecycle</a:t>
            </a:r>
            <a:r>
              <a:rPr lang="en-NZ" b="0" dirty="0" smtClean="0"/>
              <a:t>. </a:t>
            </a:r>
          </a:p>
          <a:p>
            <a:pPr marL="384431" lvl="1" indent="-171450">
              <a:buFont typeface="Arial" pitchFamily="34" charset="0"/>
              <a:buChar char="•"/>
            </a:pPr>
            <a:r>
              <a:rPr lang="en-NZ" b="0" dirty="0" smtClean="0"/>
              <a:t>The </a:t>
            </a:r>
            <a:r>
              <a:rPr lang="en-NZ" b="0" i="1" dirty="0" smtClean="0"/>
              <a:t>sizeInMB</a:t>
            </a:r>
            <a:r>
              <a:rPr lang="en-NZ" b="0" dirty="0" smtClean="0"/>
              <a:t> attribute specifies the desired size for this local storage resource. </a:t>
            </a:r>
          </a:p>
          <a:p>
            <a:pPr marL="384431" lvl="1" indent="-171450">
              <a:buFont typeface="Arial" pitchFamily="34" charset="0"/>
              <a:buChar char="•"/>
            </a:pPr>
            <a:r>
              <a:rPr lang="en-NZ" b="0" dirty="0" smtClean="0"/>
              <a:t>The </a:t>
            </a:r>
            <a:r>
              <a:rPr lang="en-NZ" b="0" i="1" dirty="0" smtClean="0"/>
              <a:t>cleanOnRoleRecycle</a:t>
            </a:r>
            <a:r>
              <a:rPr lang="en-NZ" b="0" dirty="0" smtClean="0"/>
              <a:t> attribute specifies whether the local storage resource should be wiped clean when a role instance is recycled, or whether it should be persisted across the role lifecycle; the default value is true.</a:t>
            </a:r>
          </a:p>
          <a:p>
            <a:pPr marL="384431" lvl="1" indent="-171450">
              <a:buFont typeface="Arial" pitchFamily="34" charset="0"/>
              <a:buChar char="•"/>
            </a:pPr>
            <a:endParaRPr lang="en-NZ" b="0" baseline="0" dirty="0" smtClean="0"/>
          </a:p>
          <a:p>
            <a:pPr marL="171450" lvl="0" indent="-171450">
              <a:buFont typeface="Arial" pitchFamily="34" charset="0"/>
              <a:buChar char="•"/>
            </a:pPr>
            <a:r>
              <a:rPr lang="en-NZ" dirty="0" smtClean="0"/>
              <a:t>The Windows Azure Managed Library provides classes for accessing the local storage resource from within code running in a role instance. The </a:t>
            </a:r>
            <a:r>
              <a:rPr lang="en-NZ" dirty="0" smtClean="0">
                <a:hlinkClick r:id="rId3"/>
              </a:rPr>
              <a:t>RoleEnvironment.GetLocalResource</a:t>
            </a:r>
            <a:r>
              <a:rPr lang="en-NZ" dirty="0" smtClean="0"/>
              <a:t> method returns a reference to a named </a:t>
            </a:r>
            <a:r>
              <a:rPr lang="en-NZ" dirty="0" smtClean="0">
                <a:hlinkClick r:id="rId4"/>
              </a:rPr>
              <a:t>LocalResource</a:t>
            </a:r>
            <a:r>
              <a:rPr lang="en-NZ" dirty="0" smtClean="0"/>
              <a:t> object.</a:t>
            </a:r>
          </a:p>
          <a:p>
            <a:pPr marL="171450" lvl="0" indent="-171450">
              <a:buFont typeface="Arial" pitchFamily="34" charset="0"/>
              <a:buChar char="•"/>
            </a:pPr>
            <a:r>
              <a:rPr lang="en-NZ" dirty="0" smtClean="0"/>
              <a:t>Because the </a:t>
            </a:r>
            <a:r>
              <a:rPr lang="en-NZ" b="1" dirty="0" smtClean="0"/>
              <a:t>LocalResource</a:t>
            </a:r>
            <a:r>
              <a:rPr lang="en-NZ" dirty="0" smtClean="0"/>
              <a:t> object represents a directory, you can read from it and write to it using the standard .NET file I/O classes. To determine the path to the local storage resource's directory, use the </a:t>
            </a:r>
            <a:r>
              <a:rPr lang="en-NZ" dirty="0" smtClean="0">
                <a:hlinkClick r:id="rId5"/>
              </a:rPr>
              <a:t>LocalResource.RootPath</a:t>
            </a:r>
            <a:r>
              <a:rPr lang="en-NZ" dirty="0" smtClean="0"/>
              <a:t> property</a:t>
            </a:r>
            <a:endParaRPr lang="en-NZ" b="0" baseline="0" dirty="0" smtClean="0"/>
          </a:p>
          <a:p>
            <a:endParaRPr lang="en-NZ" b="1" baseline="0" dirty="0" smtClean="0"/>
          </a:p>
          <a:p>
            <a:r>
              <a:rPr lang="en-NZ" b="1" baseline="0" dirty="0" smtClean="0"/>
              <a:t>Notes</a:t>
            </a:r>
          </a:p>
          <a:p>
            <a:r>
              <a:rPr lang="en-NZ" b="0" dirty="0" smtClean="0"/>
              <a:t>http://msdn.microsoft.com/en-us/library/ee758708.aspx</a:t>
            </a:r>
          </a:p>
          <a:p>
            <a:endParaRPr lang="en-NZ"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36073457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pPr marL="171450" indent="-171450">
              <a:buFont typeface="Arial" pitchFamily="34" charset="0"/>
              <a:buChar char="•"/>
            </a:pPr>
            <a:r>
              <a:rPr lang="en-US" dirty="0" smtClean="0"/>
              <a:t>Explain Windows Azure specific configuration mechanism</a:t>
            </a:r>
          </a:p>
          <a:p>
            <a:pPr marL="171450" indent="-171450">
              <a:buFont typeface="Arial" pitchFamily="34" charset="0"/>
              <a:buChar char="•"/>
            </a:pPr>
            <a:r>
              <a:rPr lang="en-US" dirty="0" smtClean="0"/>
              <a:t>Contrast with web.config</a:t>
            </a:r>
          </a:p>
          <a:p>
            <a:pPr marL="0" indent="0">
              <a:buFont typeface="Arial" pitchFamily="34" charset="0"/>
              <a:buNone/>
            </a:pPr>
            <a:endParaRPr lang="en-US" b="1" dirty="0" smtClean="0"/>
          </a:p>
          <a:p>
            <a:pPr marL="0" indent="0">
              <a:buFont typeface="Arial" pitchFamily="34" charset="0"/>
              <a:buNone/>
            </a:pPr>
            <a:r>
              <a:rPr lang="en-US" b="1" dirty="0" smtClean="0"/>
              <a:t>Speaker Notes</a:t>
            </a:r>
          </a:p>
          <a:p>
            <a:pPr marL="171450" indent="-171450">
              <a:buFont typeface="Arial" pitchFamily="34" charset="0"/>
              <a:buChar char="•"/>
            </a:pPr>
            <a:r>
              <a:rPr lang="en-NZ" dirty="0" smtClean="0"/>
              <a:t>The service configuration file specifies the number of role instances to deploy for each role in the service, the values of any configuration settings, and the thumbprints for any certificates associated with a role. </a:t>
            </a:r>
          </a:p>
          <a:p>
            <a:pPr marL="171450" indent="-171450">
              <a:buFont typeface="Arial" pitchFamily="34" charset="0"/>
              <a:buChar char="•"/>
            </a:pPr>
            <a:r>
              <a:rPr lang="en-NZ" dirty="0" smtClean="0"/>
              <a:t>The service configuration file specifies the details of the service deployment, including the number of instances of each role to run, the values for configuration settings defined by the model, and the thumbprints of certificates associated with the service. For more information</a:t>
            </a:r>
            <a:endParaRPr lang="en-US" dirty="0" smtClean="0"/>
          </a:p>
          <a:p>
            <a:pPr marL="171450" indent="-171450">
              <a:buFont typeface="Arial" pitchFamily="34" charset="0"/>
              <a:buChar char="•"/>
            </a:pPr>
            <a:r>
              <a:rPr lang="en-US" dirty="0" smtClean="0"/>
              <a:t>Web.config is used today to store configuration for asp.net web sites. Most ASP.NET things</a:t>
            </a:r>
            <a:r>
              <a:rPr lang="en-US" baseline="0" dirty="0" smtClean="0"/>
              <a:t> still require this, e.g. tracing, security etc.</a:t>
            </a:r>
          </a:p>
          <a:p>
            <a:pPr marL="171450" indent="-171450">
              <a:buFont typeface="Arial" pitchFamily="34" charset="0"/>
              <a:buChar char="•"/>
            </a:pPr>
            <a:r>
              <a:rPr lang="en-US" baseline="0" dirty="0" smtClean="0"/>
              <a:t>Web.config cannot be changed once deployed – it’s a static file.</a:t>
            </a:r>
          </a:p>
          <a:p>
            <a:pPr marL="171450" indent="-171450">
              <a:buFont typeface="Arial" pitchFamily="34" charset="0"/>
              <a:buChar char="•"/>
            </a:pPr>
            <a:r>
              <a:rPr lang="en-US" baseline="0" dirty="0" smtClean="0"/>
              <a:t>Instead you should store configuration that will change in the ServiceConfiguration files, and use the RoleEnvironment.GetConfigurationSetting method to read the value. Settings in the ServiceConfiguration file can be changed at runtime without restarting the VM!</a:t>
            </a:r>
          </a:p>
          <a:p>
            <a:pPr marL="171450" indent="-171450">
              <a:buFont typeface="Arial" pitchFamily="34" charset="0"/>
              <a:buChar char="•"/>
            </a:pPr>
            <a:r>
              <a:rPr lang="en-US" baseline="0" dirty="0" smtClean="0"/>
              <a:t>Will still be times when you just use web.config e.g. System.WebServer settings, adding HttpModules and HttpHandlers etc…</a:t>
            </a:r>
          </a:p>
          <a:p>
            <a:pPr marL="171450" indent="-171450">
              <a:buFont typeface="Arial" pitchFamily="34" charset="0"/>
              <a:buChar char="•"/>
            </a:pPr>
            <a:endParaRPr lang="en-US" baseline="0" dirty="0" smtClean="0"/>
          </a:p>
          <a:p>
            <a:pPr marL="0" indent="0">
              <a:buFont typeface="Arial" pitchFamily="34" charset="0"/>
              <a:buNone/>
            </a:pPr>
            <a:r>
              <a:rPr lang="en-US" b="1" baseline="0" dirty="0" smtClean="0"/>
              <a:t>Notes</a:t>
            </a:r>
          </a:p>
          <a:p>
            <a:pPr marL="0" indent="0">
              <a:buFont typeface="Arial" pitchFamily="34" charset="0"/>
              <a:buNone/>
            </a:pPr>
            <a:r>
              <a:rPr lang="en-US" b="0" dirty="0" smtClean="0"/>
              <a:t>http://msdn.microsoft.com/en-us/library/ee758710.aspx </a:t>
            </a:r>
          </a:p>
          <a:p>
            <a:pPr marL="0" indent="0">
              <a:buFont typeface="Arial" pitchFamily="34" charset="0"/>
              <a:buNone/>
            </a:pPr>
            <a:r>
              <a:rPr lang="en-US" b="0" dirty="0" smtClean="0"/>
              <a:t>http://dunnry.com/blog/2009/04/16/WhyDoesWindowsAzureUseACscfgFile.aspx</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10755222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r>
              <a:rPr lang="en-US" b="1" dirty="0" smtClean="0"/>
              <a:t>Slide Objectives:</a:t>
            </a:r>
          </a:p>
          <a:p>
            <a:pPr marL="171450" indent="-171450">
              <a:buFont typeface="Arial" pitchFamily="34" charset="0"/>
              <a:buChar char="•"/>
            </a:pPr>
            <a:r>
              <a:rPr lang="en-US" dirty="0" smtClean="0"/>
              <a:t>Explain</a:t>
            </a:r>
            <a:r>
              <a:rPr lang="en-US" baseline="0" dirty="0" smtClean="0"/>
              <a:t> how Microsoft thinks of the cloud</a:t>
            </a:r>
          </a:p>
          <a:p>
            <a:pPr marL="0" indent="0">
              <a:buFont typeface="Arial" pitchFamily="34" charset="0"/>
              <a:buNone/>
            </a:pPr>
            <a:endParaRPr lang="en-US" baseline="0" dirty="0" smtClean="0"/>
          </a:p>
          <a:p>
            <a:pPr marL="0" indent="0">
              <a:buFont typeface="Arial" pitchFamily="34" charset="0"/>
              <a:buNone/>
            </a:pPr>
            <a:r>
              <a:rPr lang="en-US" b="1" baseline="0" dirty="0" smtClean="0"/>
              <a:t>Speaking Points:</a:t>
            </a:r>
          </a:p>
          <a:p>
            <a:pPr marL="171450" indent="-171450">
              <a:buFont typeface="Arial" pitchFamily="34" charset="0"/>
              <a:buChar char="•"/>
            </a:pPr>
            <a:r>
              <a:rPr lang="en-US" dirty="0" smtClean="0"/>
              <a:t>There</a:t>
            </a:r>
            <a:r>
              <a:rPr lang="en-US" baseline="0" dirty="0" smtClean="0"/>
              <a:t> are numerous terms and definitions floating around in the industry for “the cloud”, “cloud computing”, “cloud services”, etc.</a:t>
            </a:r>
          </a:p>
          <a:p>
            <a:pPr marL="171450" indent="-171450">
              <a:buFont typeface="Arial" pitchFamily="34" charset="0"/>
              <a:buChar char="•"/>
            </a:pPr>
            <a:r>
              <a:rPr lang="en-US" baseline="0" dirty="0" smtClean="0"/>
              <a:t>Microsoft thinks of the cloud as simply an approach to computing that enables applications to be delivered at scale for a variety of workloads and client devices.</a:t>
            </a:r>
            <a:endParaRPr lang="en-US" dirty="0" smtClean="0"/>
          </a:p>
          <a:p>
            <a:pPr marL="171450" indent="-171450">
              <a:buFont typeface="Arial" pitchFamily="34" charset="0"/>
              <a:buChar char="•"/>
            </a:pPr>
            <a:r>
              <a:rPr lang="en-US" dirty="0" smtClean="0"/>
              <a:t>The cloud can help deliver IT as a standardized service…freeing you up to focus on your business</a:t>
            </a:r>
          </a:p>
          <a:p>
            <a:endParaRPr lang="en-US" dirty="0"/>
          </a:p>
        </p:txBody>
      </p:sp>
      <p:sp>
        <p:nvSpPr>
          <p:cNvPr id="4" name="Slide Number Placeholder 3"/>
          <p:cNvSpPr>
            <a:spLocks noGrp="1"/>
          </p:cNvSpPr>
          <p:nvPr>
            <p:ph type="sldNum" sz="quarter" idx="10"/>
          </p:nvPr>
        </p:nvSpPr>
        <p:spPr/>
        <p:txBody>
          <a:bodyPr/>
          <a:lstStyle/>
          <a:p>
            <a:fld id="{4D312BB7-0100-46F5-B6A2-2DDB0C4FB2EB}"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21469087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426338730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403724094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37337507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at a high level how the Windows Azure Platform maps into the high scale archetype </a:t>
            </a:r>
          </a:p>
          <a:p>
            <a:endParaRPr lang="en-US" dirty="0" smtClean="0"/>
          </a:p>
          <a:p>
            <a:r>
              <a:rPr lang="en-US" b="1" dirty="0" smtClean="0"/>
              <a:t>Speaker Notes</a:t>
            </a:r>
          </a:p>
          <a:p>
            <a:r>
              <a:rPr lang="en-US" dirty="0" smtClean="0"/>
              <a:t>Key points</a:t>
            </a:r>
            <a:r>
              <a:rPr lang="en-US" baseline="0" dirty="0" smtClean="0"/>
              <a:t> here are </a:t>
            </a:r>
          </a:p>
          <a:p>
            <a:pPr marL="171450" indent="-171450">
              <a:buFont typeface="Arial" pitchFamily="34" charset="0"/>
              <a:buChar char="•"/>
            </a:pPr>
            <a:r>
              <a:rPr lang="en-US" baseline="0" dirty="0" smtClean="0"/>
              <a:t>that all external connections come through a load balancer THIS INCLUDES STORAGE.</a:t>
            </a:r>
          </a:p>
          <a:p>
            <a:pPr marL="171450" lvl="0" indent="-171450">
              <a:buFont typeface="Arial" pitchFamily="34" charset="0"/>
              <a:buChar char="•"/>
            </a:pPr>
            <a:r>
              <a:rPr lang="en-US" baseline="0" dirty="0" smtClean="0"/>
              <a:t>If you are familiar with the previous model, you will notice that two new features are diagrammed here as well, namely inter-role communication (notice there is no load balancer) and TCP ports directly to Worker Roles (or Web Roles). </a:t>
            </a:r>
          </a:p>
          <a:p>
            <a:pPr marL="171450" lvl="0" indent="-171450">
              <a:buFont typeface="Arial" pitchFamily="34" charset="0"/>
              <a:buChar char="•"/>
            </a:pPr>
            <a:r>
              <a:rPr lang="en-US" baseline="0" dirty="0" smtClean="0"/>
              <a:t>We will still use the storage to communicate async and reliably via queues for a lot of options. </a:t>
            </a:r>
          </a:p>
          <a:p>
            <a:pPr marL="171450" lvl="0" indent="-171450">
              <a:buFont typeface="Arial" pitchFamily="34" charset="0"/>
              <a:buChar char="•"/>
            </a:pPr>
            <a:r>
              <a:rPr lang="en-US" baseline="0" dirty="0" smtClean="0"/>
              <a:t>However, inter-role communication fills in when you need direct synchronous comm.</a:t>
            </a:r>
          </a:p>
          <a:p>
            <a:pPr marL="171450" lvl="0" indent="-171450">
              <a:buFont typeface="Arial" pitchFamily="34" charset="0"/>
              <a:buChar char="•"/>
            </a:pPr>
            <a:endParaRPr lang="en-US" baseline="0" dirty="0" smtClean="0"/>
          </a:p>
          <a:p>
            <a:pPr marL="171450" lvl="0" indent="-171450">
              <a:buFont typeface="Arial" pitchFamily="34" charset="0"/>
              <a:buChar char="•"/>
            </a:pPr>
            <a:r>
              <a:rPr lang="en-US" baseline="0" dirty="0" smtClean="0"/>
              <a:t>The load balancers are a key to Windows Azure.</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135662629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351072290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val="353420584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dirty="0" smtClean="0"/>
              <a:t>Let’s walk through</a:t>
            </a:r>
            <a:r>
              <a:rPr lang="en-US" baseline="0" dirty="0" smtClean="0"/>
              <a:t> some of the building block services that we’re providing and in particular highlight some of the new features of these services.  </a:t>
            </a:r>
          </a:p>
          <a:p>
            <a:pPr marL="171450" indent="-171450">
              <a:buFont typeface="Arial" pitchFamily="34" charset="0"/>
              <a:buChar char="•"/>
            </a:pPr>
            <a:r>
              <a:rPr lang="en-US" baseline="0" dirty="0" smtClean="0"/>
              <a:t>If you’ve been using Windows Azure you maybe familiar with some of these services.  However, there are several new features we’re enabling with all of them.  </a:t>
            </a:r>
          </a:p>
          <a:p>
            <a:pPr marL="171450" indent="-171450">
              <a:buFont typeface="Arial" pitchFamily="34" charset="0"/>
              <a:buChar char="•"/>
            </a:pPr>
            <a:r>
              <a:rPr lang="en-US" baseline="0" dirty="0" smtClean="0"/>
              <a:t>The first one I’m going to talk about is the SQL Database</a:t>
            </a:r>
          </a:p>
          <a:p>
            <a:pPr marL="171450" indent="-171450">
              <a:buFont typeface="Arial" pitchFamily="34" charset="0"/>
              <a:buChar char="•"/>
            </a:pPr>
            <a:r>
              <a:rPr lang="en-US" baseline="0" dirty="0" smtClean="0"/>
              <a:t>SQL Database is a service we’ve had for a while as part of Windows Azure</a:t>
            </a:r>
          </a:p>
          <a:p>
            <a:pPr marL="171450" indent="-171450">
              <a:buFont typeface="Arial" pitchFamily="34" charset="0"/>
              <a:buChar char="•"/>
            </a:pPr>
            <a:r>
              <a:rPr lang="en-US" baseline="0" dirty="0" smtClean="0"/>
              <a:t>It provides a relational SQL Server database engine in the cloud</a:t>
            </a:r>
            <a:endParaRPr lang="en-US" dirty="0" smtClean="0"/>
          </a:p>
          <a:p>
            <a:pPr marL="171450" indent="-171450">
              <a:buFont typeface="Arial" pitchFamily="34" charset="0"/>
              <a:buChar char="•"/>
            </a:pPr>
            <a:r>
              <a:rPr lang="en-US" dirty="0" smtClean="0"/>
              <a:t>We run the SQL engine for you, we do all of the</a:t>
            </a:r>
            <a:r>
              <a:rPr lang="en-US" baseline="0" dirty="0" smtClean="0"/>
              <a:t> clustering and availability work for you, so you don’t have to worry about standing up your own clustered environment. </a:t>
            </a:r>
            <a:endParaRPr lang="en-US" dirty="0" smtClean="0"/>
          </a:p>
          <a:p>
            <a:pPr marL="171450" indent="-171450">
              <a:buFont typeface="Arial" pitchFamily="34" charset="0"/>
              <a:buChar char="•"/>
            </a:pPr>
            <a:r>
              <a:rPr lang="en-US" dirty="0" smtClean="0"/>
              <a:t>It’s a fully managed service</a:t>
            </a:r>
          </a:p>
          <a:p>
            <a:pPr marL="171450" indent="-171450">
              <a:buFont typeface="Arial" pitchFamily="34" charset="0"/>
              <a:buChar char="•"/>
            </a:pPr>
            <a:r>
              <a:rPr lang="en-US" dirty="0" smtClean="0"/>
              <a:t>We</a:t>
            </a:r>
            <a:r>
              <a:rPr lang="en-US" baseline="0" dirty="0" smtClean="0"/>
              <a:t> also apply security patches and monitor the system</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173695438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at</a:t>
            </a:r>
            <a:r>
              <a:rPr lang="en-US" baseline="0" dirty="0" smtClean="0">
                <a:effectLst/>
                <a:latin typeface="Segoe UI" panose="020B0502040204020203" pitchFamily="34" charset="0"/>
              </a:rPr>
              <a:t> while there are physical SQL Server boxes behind the scenes, when connecting to SQL Database, you are not connecting to a physical server, but to a TDS endpoint.</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 key to understanding SQL Database</a:t>
            </a:r>
            <a:r>
              <a:rPr lang="en-US" baseline="0" dirty="0" smtClean="0">
                <a:effectLst/>
                <a:latin typeface="Segoe UI" panose="020B0502040204020203" pitchFamily="34" charset="0"/>
              </a:rPr>
              <a:t> is understanding while SQL Database is SQL Server, we do not interact with them in the same physical manner.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In an on-premises</a:t>
            </a:r>
            <a:r>
              <a:rPr lang="en-US" baseline="0" dirty="0" smtClean="0">
                <a:effectLst/>
                <a:latin typeface="Segoe UI" panose="020B0502040204020203" pitchFamily="34" charset="0"/>
              </a:rPr>
              <a:t> environment, we typically have physical access to the actual </a:t>
            </a:r>
            <a:r>
              <a:rPr lang="en-US" dirty="0" smtClean="0">
                <a:effectLst/>
                <a:latin typeface="Segoe UI" panose="020B0502040204020203" pitchFamily="34" charset="0"/>
              </a:rPr>
              <a:t>SQL Server </a:t>
            </a:r>
            <a:r>
              <a:rPr lang="en-US" dirty="0" err="1" smtClean="0">
                <a:effectLst/>
                <a:latin typeface="Segoe UI" panose="020B0502040204020203" pitchFamily="34" charset="0"/>
              </a:rPr>
              <a:t>server</a:t>
            </a:r>
            <a:r>
              <a:rPr lang="en-US" dirty="0" smtClean="0">
                <a:effectLst/>
                <a:latin typeface="Segoe UI" panose="020B0502040204020203" pitchFamily="34" charset="0"/>
              </a:rPr>
              <a:t>.</a:t>
            </a:r>
            <a:endParaRPr lang="en-US" dirty="0" smtClean="0">
              <a:effectLst/>
            </a:endParaRPr>
          </a:p>
          <a:p>
            <a:pPr rtl="0"/>
            <a:r>
              <a:rPr lang="en-US" dirty="0" smtClean="0">
                <a:effectLst/>
                <a:latin typeface="Segoe UI" panose="020B0502040204020203" pitchFamily="34" charset="0"/>
              </a:rPr>
              <a:t>In</a:t>
            </a:r>
            <a:r>
              <a:rPr lang="en-US" baseline="0" dirty="0" smtClean="0">
                <a:effectLst/>
                <a:latin typeface="Segoe UI" panose="020B0502040204020203" pitchFamily="34" charset="0"/>
              </a:rPr>
              <a:t> Windows Azure, we do not have physical access to the actual serve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It is</a:t>
            </a:r>
            <a:r>
              <a:rPr lang="en-US" baseline="0" dirty="0" smtClean="0">
                <a:effectLst/>
                <a:latin typeface="Segoe UI" panose="020B0502040204020203" pitchFamily="34" charset="0"/>
              </a:rPr>
              <a:t> important that the attendee understands that it IS INDEED SQL Server at the platform layer. There are physical boxes running SQL Server 2012 Enterprise Edition. However, due to the nature of the Azure environment to provide the high-availability and scalability necessary, access to the physical boxes is currently not supported.</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139635803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To understand the actual architecture</a:t>
            </a:r>
            <a:r>
              <a:rPr lang="en-US" baseline="0" dirty="0" smtClean="0">
                <a:effectLst/>
                <a:latin typeface="Segoe UI" panose="020B0502040204020203" pitchFamily="34" charset="0"/>
              </a:rPr>
              <a:t> that provides the enterprise-ready SQL Database servic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Developers have spent years working</a:t>
            </a:r>
            <a:r>
              <a:rPr lang="en-US" baseline="0" dirty="0" smtClean="0">
                <a:effectLst/>
              </a:rPr>
              <a:t> with their technology of choice, and Microsoft wanted to ensure that the technologies and tools you use today will continue to work with SQL Database without learning a whole new set of technologie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Familiar technology</a:t>
            </a:r>
            <a:r>
              <a:rPr lang="en-US" baseline="0" dirty="0" smtClean="0">
                <a:effectLst/>
                <a:latin typeface="Segoe UI" panose="020B0502040204020203" pitchFamily="34" charset="0"/>
              </a:rPr>
              <a:t> and tools</a:t>
            </a:r>
          </a:p>
          <a:p>
            <a:pPr rtl="0"/>
            <a:r>
              <a:rPr lang="en-US" baseline="0" dirty="0" smtClean="0">
                <a:effectLst/>
                <a:latin typeface="Segoe UI" panose="020B0502040204020203" pitchFamily="34" charset="0"/>
              </a:rPr>
              <a:t>Similar architecture as that of on-premises</a:t>
            </a:r>
            <a:endParaRPr lang="en-US" dirty="0" smtClean="0">
              <a:effectLst/>
            </a:endParaRPr>
          </a:p>
          <a:p>
            <a:pPr rtl="0"/>
            <a:r>
              <a:rPr lang="en-US" dirty="0" smtClean="0">
                <a:effectLst/>
                <a:latin typeface="Segoe UI" panose="020B0502040204020203" pitchFamily="34" charset="0"/>
              </a:rPr>
              <a:t>Additional layer providing</a:t>
            </a:r>
            <a:r>
              <a:rPr lang="en-US" baseline="0" dirty="0" smtClean="0">
                <a:effectLst/>
                <a:latin typeface="Segoe UI" panose="020B0502040204020203" pitchFamily="34" charset="0"/>
              </a:rPr>
              <a:t> server and database partitioning, client connection routing, and billing. </a:t>
            </a:r>
          </a:p>
          <a:p>
            <a:pPr rtl="0"/>
            <a:r>
              <a:rPr lang="en-US" baseline="0" dirty="0" smtClean="0">
                <a:effectLst/>
                <a:latin typeface="Segoe UI" panose="020B0502040204020203" pitchFamily="34" charset="0"/>
              </a:rPr>
              <a:t>Same great SQL Server technology on the backend.</a:t>
            </a:r>
          </a:p>
          <a:p>
            <a:pPr rtl="0"/>
            <a:r>
              <a:rPr lang="en-US" baseline="0" dirty="0" smtClean="0">
                <a:effectLst/>
                <a:latin typeface="Segoe UI" panose="020B0502040204020203" pitchFamily="34" charset="0"/>
              </a:rPr>
              <a:t>Additional services (SQL Database Fabric) to ensure SLAs are met and to ensure optimum performanc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b="1" dirty="0" smtClean="0"/>
              <a:t>Client</a:t>
            </a:r>
            <a:r>
              <a:rPr lang="en-US" baseline="0" dirty="0" smtClean="0"/>
              <a:t> - </a:t>
            </a:r>
            <a:r>
              <a:rPr lang="en-US" dirty="0" smtClean="0"/>
              <a:t>The client layer resides closest to your application, and is used by your application to communicate directly with SQL Database. The client layer can reside on-premise in your datacenter or be hosted in Windows Azure. Because SQL Database provides the same tabular data stream (TDS) interface as SQL Server, you can use familiar tools and libraries to build client applications for data that is in the cloud.</a:t>
            </a:r>
          </a:p>
          <a:p>
            <a:endParaRPr lang="en-US" dirty="0" smtClean="0"/>
          </a:p>
          <a:p>
            <a:r>
              <a:rPr lang="en-US" b="1" dirty="0" smtClean="0"/>
              <a:t>Services</a:t>
            </a:r>
            <a:r>
              <a:rPr lang="en-US" dirty="0" smtClean="0"/>
              <a:t> - The services layer functions as a gateway between the client layer and the platform layer, where the data resides. The services layer provides three functions: provisioning, billing and metering, and connection routing. </a:t>
            </a:r>
          </a:p>
          <a:p>
            <a:r>
              <a:rPr lang="en-US" dirty="0" smtClean="0"/>
              <a:t>The services layer provisions the databases that you specify with your Windows Azure platform account. The billing and metering aspect of the services layer enables multi-tenant support by providing monitoring and billing for database usage based on individual Windows Azure platform accounts. SQL Database is built on a scalable platform involving numerous physical servers; this layer handles all the connections routing between your application and the physical servers where your data resides.</a:t>
            </a:r>
          </a:p>
          <a:p>
            <a:endParaRPr lang="en-US" dirty="0" smtClean="0"/>
          </a:p>
          <a:p>
            <a:r>
              <a:rPr lang="en-US" b="1" dirty="0" smtClean="0"/>
              <a:t>Platform</a:t>
            </a:r>
            <a:r>
              <a:rPr lang="en-US" dirty="0" smtClean="0"/>
              <a:t> - The platform layer includes the physical servers and services that support the services layer. The platform layer consists of many instances of SQL Server, each of which is managed by the SQL Database fabric. </a:t>
            </a:r>
          </a:p>
          <a:p>
            <a:r>
              <a:rPr lang="en-US" dirty="0" smtClean="0"/>
              <a:t>The SQL Database fabric is a distributed computing system composed of tightly integrated networks, servers, and storage. It enables automatic failover, load balancing, and automatic replication between physical servers. </a:t>
            </a:r>
          </a:p>
          <a:p>
            <a:r>
              <a:rPr lang="en-US" dirty="0" smtClean="0"/>
              <a:t>Management services monitor the health of individual servers and enable automated installation of service upgrades and software patches. </a:t>
            </a:r>
          </a:p>
          <a:p>
            <a:endParaRPr lang="en-US" dirty="0" smtClean="0"/>
          </a:p>
          <a:p>
            <a:r>
              <a:rPr lang="en-US" b="1" dirty="0" smtClean="0"/>
              <a:t>Infrastructure</a:t>
            </a:r>
            <a:r>
              <a:rPr lang="en-US" baseline="0" dirty="0" smtClean="0"/>
              <a:t> - </a:t>
            </a:r>
            <a:r>
              <a:rPr lang="en-US" dirty="0" smtClean="0"/>
              <a:t>The infrastructure layer represents the IT administration of the physical hardware and operating systems that support the services layer.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val="247440111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overall</a:t>
            </a:r>
            <a:r>
              <a:rPr lang="en-US" baseline="0" dirty="0" smtClean="0">
                <a:effectLst/>
                <a:latin typeface="Segoe UI" panose="020B0502040204020203" pitchFamily="34" charset="0"/>
              </a:rPr>
              <a:t> concepts and benefits of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Let’s clear up</a:t>
            </a:r>
            <a:r>
              <a:rPr lang="en-US" baseline="0" dirty="0" smtClean="0">
                <a:effectLst/>
                <a:latin typeface="Segoe UI" panose="020B0502040204020203" pitchFamily="34" charset="0"/>
              </a:rPr>
              <a:t> any confusion and look at the basics of what SQL Database really is and some of its benefit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The same great SQL Server database technology that you know, love, and use on-premises provided</a:t>
            </a:r>
            <a:r>
              <a:rPr lang="en-US" baseline="0" dirty="0" smtClean="0">
                <a:effectLst/>
                <a:latin typeface="Segoe UI" panose="020B0502040204020203" pitchFamily="34" charset="0"/>
              </a:rPr>
              <a:t> as a service</a:t>
            </a:r>
            <a:endParaRPr lang="en-US" dirty="0" smtClean="0">
              <a:effectLst/>
            </a:endParaRPr>
          </a:p>
          <a:p>
            <a:pPr rtl="0"/>
            <a:r>
              <a:rPr lang="en-US" dirty="0" smtClean="0">
                <a:effectLst/>
                <a:latin typeface="Segoe UI" panose="020B0502040204020203" pitchFamily="34" charset="0"/>
              </a:rPr>
              <a:t>Enterprise-ready</a:t>
            </a:r>
            <a:r>
              <a:rPr lang="en-US" baseline="0" dirty="0" smtClean="0">
                <a:effectLst/>
                <a:latin typeface="Segoe UI" panose="020B0502040204020203" pitchFamily="34" charset="0"/>
              </a:rPr>
              <a:t> </a:t>
            </a:r>
          </a:p>
          <a:p>
            <a:pPr rtl="0"/>
            <a:r>
              <a:rPr lang="en-US" baseline="0" dirty="0" smtClean="0">
                <a:effectLst/>
                <a:latin typeface="Segoe UI" panose="020B0502040204020203" pitchFamily="34" charset="0"/>
              </a:rPr>
              <a:t>Automatic support for High-Availability</a:t>
            </a:r>
          </a:p>
          <a:p>
            <a:pPr rtl="0"/>
            <a:r>
              <a:rPr lang="en-US" baseline="0" dirty="0" smtClean="0">
                <a:effectLst/>
                <a:latin typeface="Segoe UI" panose="020B0502040204020203" pitchFamily="34" charset="0"/>
              </a:rPr>
              <a:t>Designed to scale on-demand to provide the same great elasticity</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High-availability – 3 copies of the database free for the cost of the one database. Always</a:t>
            </a:r>
            <a:r>
              <a:rPr lang="en-US" baseline="0" dirty="0" smtClean="0">
                <a:effectLst/>
                <a:latin typeface="Segoe UI" panose="020B0502040204020203" pitchFamily="34" charset="0"/>
              </a:rPr>
              <a:t> in sync. The cost to do this on-premises isn’t cheap. This is </a:t>
            </a:r>
            <a:r>
              <a:rPr lang="en-US" b="1" baseline="0" dirty="0" smtClean="0">
                <a:effectLst/>
                <a:latin typeface="Segoe UI" panose="020B0502040204020203" pitchFamily="34" charset="0"/>
              </a:rPr>
              <a:t>FREE</a:t>
            </a:r>
            <a:r>
              <a:rPr lang="en-US" baseline="0" dirty="0" smtClean="0">
                <a:effectLst/>
                <a:latin typeface="Segoe UI" panose="020B0502040204020203" pitchFamily="34" charset="0"/>
              </a:rPr>
              <a:t> in SQL Database.</a:t>
            </a:r>
          </a:p>
          <a:p>
            <a:pPr rtl="0"/>
            <a:r>
              <a:rPr lang="en-US" baseline="0" dirty="0" smtClean="0">
                <a:effectLst/>
                <a:latin typeface="Segoe UI" panose="020B0502040204020203" pitchFamily="34" charset="0"/>
              </a:rPr>
              <a:t>Scalability using SQL Federation (discussed later in the presentation).</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25958862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normAutofit fontScale="62500" lnSpcReduction="20000"/>
          </a:bodyPr>
          <a:lstStyle/>
          <a:p>
            <a:r>
              <a:rPr lang="en-US" sz="1100" b="1" kern="1200" dirty="0" smtClean="0">
                <a:solidFill>
                  <a:schemeClr val="tx1"/>
                </a:solidFill>
                <a:effectLst/>
                <a:latin typeface="Segoe UI" pitchFamily="34" charset="0"/>
                <a:ea typeface="+mn-ea"/>
                <a:cs typeface="+mn-cs"/>
              </a:rPr>
              <a:t>Key Points: </a:t>
            </a:r>
            <a:endParaRPr lang="en-US" sz="1100" kern="1200" dirty="0" smtClean="0">
              <a:solidFill>
                <a:schemeClr val="tx1"/>
              </a:solidFill>
              <a:effectLst/>
              <a:latin typeface="Segoe UI" pitchFamily="34" charset="0"/>
              <a:ea typeface="+mn-ea"/>
              <a:cs typeface="+mn-cs"/>
            </a:endParaRPr>
          </a:p>
          <a:p>
            <a:pPr lvl="0"/>
            <a:r>
              <a:rPr lang="en-US" sz="1100" kern="1200" dirty="0" smtClean="0">
                <a:solidFill>
                  <a:schemeClr val="tx1"/>
                </a:solidFill>
                <a:effectLst/>
                <a:latin typeface="Segoe UI" pitchFamily="34" charset="0"/>
                <a:ea typeface="+mn-ea"/>
                <a:cs typeface="+mn-cs"/>
              </a:rPr>
              <a:t>The Cloud is Here – this is what it’s all about:</a:t>
            </a:r>
          </a:p>
          <a:p>
            <a:pPr lvl="0"/>
            <a:r>
              <a:rPr lang="en-US" sz="1100" kern="1200" dirty="0" smtClean="0">
                <a:solidFill>
                  <a:schemeClr val="tx1"/>
                </a:solidFill>
                <a:effectLst/>
                <a:latin typeface="Segoe UI" pitchFamily="34" charset="0"/>
                <a:ea typeface="+mn-ea"/>
                <a:cs typeface="+mn-cs"/>
              </a:rPr>
              <a:t>Attributes:  Pooled Resources, Self Service, Elastic, Usage Based</a:t>
            </a:r>
          </a:p>
          <a:p>
            <a:pPr lvl="0"/>
            <a:r>
              <a:rPr lang="en-US" sz="1100" kern="1200" dirty="0" smtClean="0">
                <a:solidFill>
                  <a:schemeClr val="tx1"/>
                </a:solidFill>
                <a:effectLst/>
                <a:latin typeface="Segoe UI" pitchFamily="34" charset="0"/>
                <a:ea typeface="+mn-ea"/>
                <a:cs typeface="+mn-cs"/>
              </a:rPr>
              <a:t>Benefits: Focus, Agility, Economics</a:t>
            </a:r>
          </a:p>
          <a:p>
            <a:r>
              <a:rPr lang="en-US" sz="1100" b="1" kern="1200" dirty="0" smtClean="0">
                <a:solidFill>
                  <a:schemeClr val="tx1"/>
                </a:solidFill>
                <a:effectLst/>
                <a:latin typeface="Segoe UI" pitchFamily="34" charset="0"/>
                <a:ea typeface="+mn-ea"/>
                <a:cs typeface="+mn-cs"/>
              </a:rPr>
              <a:t> </a:t>
            </a:r>
            <a:endParaRPr lang="en-US" sz="1100" kern="1200" dirty="0" smtClean="0">
              <a:solidFill>
                <a:schemeClr val="tx1"/>
              </a:solidFill>
              <a:effectLst/>
              <a:latin typeface="Segoe UI" pitchFamily="34" charset="0"/>
              <a:ea typeface="+mn-ea"/>
              <a:cs typeface="+mn-cs"/>
            </a:endParaRPr>
          </a:p>
          <a:p>
            <a:r>
              <a:rPr lang="en-US" sz="1100" b="1" kern="1200" dirty="0" smtClean="0">
                <a:solidFill>
                  <a:schemeClr val="tx1"/>
                </a:solidFill>
                <a:effectLst/>
                <a:latin typeface="Segoe UI" pitchFamily="34" charset="0"/>
                <a:ea typeface="+mn-ea"/>
                <a:cs typeface="+mn-cs"/>
              </a:rPr>
              <a:t>Talk Track:</a:t>
            </a:r>
            <a:r>
              <a:rPr lang="en-US" sz="1100" kern="1200" dirty="0" smtClean="0">
                <a:solidFill>
                  <a:schemeClr val="tx1"/>
                </a:solidFill>
                <a:effectLst/>
                <a:latin typeface="Segoe UI" pitchFamily="34" charset="0"/>
                <a:ea typeface="+mn-ea"/>
                <a:cs typeface="+mn-cs"/>
              </a:rPr>
              <a:t> </a:t>
            </a:r>
          </a:p>
          <a:p>
            <a:r>
              <a:rPr lang="en-US" sz="1100" kern="1200" dirty="0" smtClean="0">
                <a:solidFill>
                  <a:schemeClr val="tx1"/>
                </a:solidFill>
                <a:effectLst/>
                <a:latin typeface="Segoe UI" pitchFamily="34" charset="0"/>
                <a:ea typeface="+mn-ea"/>
                <a:cs typeface="+mn-cs"/>
              </a:rPr>
              <a:t>Today, cloud computing is changing the very definition of IT.  And so the conversation needs to change as well.  Yesterday, the conversation was about consolidation and cost.  Today, the conversation is about the new breed of benefits that cloud computing delivers. It’s all about transforming the way IT serves your business by harnessing a new breed of power.  Microsoft is the only company that brings all of the pieces together in an integrated, comprehensive way.  With our long-term vision to change the world through computing, we help every customer transform the datacenter of today into the private cloud of tomorrow, with a pathway to the public cloud and beyond. </a:t>
            </a:r>
          </a:p>
          <a:p>
            <a:r>
              <a:rPr lang="en-US" sz="1100" kern="1200" dirty="0" smtClean="0">
                <a:solidFill>
                  <a:schemeClr val="tx1"/>
                </a:solidFill>
                <a:effectLst/>
                <a:latin typeface="Segoe UI" pitchFamily="34" charset="0"/>
                <a:ea typeface="+mn-ea"/>
                <a:cs typeface="+mn-cs"/>
              </a:rPr>
              <a:t> </a:t>
            </a:r>
          </a:p>
          <a:p>
            <a:r>
              <a:rPr lang="en-US" sz="1100" kern="1200" dirty="0" smtClean="0">
                <a:solidFill>
                  <a:schemeClr val="tx1"/>
                </a:solidFill>
                <a:effectLst/>
                <a:latin typeface="Segoe UI" pitchFamily="34" charset="0"/>
                <a:ea typeface="+mn-ea"/>
                <a:cs typeface="+mn-cs"/>
              </a:rPr>
              <a:t>With that said – cloud computing is the on-demand delivery of applications as standardized IT services, and inherently has four key attributes:</a:t>
            </a:r>
          </a:p>
          <a:p>
            <a:r>
              <a:rPr lang="en-US" sz="1100" kern="1200" dirty="0" smtClean="0">
                <a:solidFill>
                  <a:schemeClr val="tx1"/>
                </a:solidFill>
                <a:effectLst/>
                <a:latin typeface="Segoe UI" pitchFamily="34" charset="0"/>
                <a:ea typeface="+mn-ea"/>
                <a:cs typeface="+mn-cs"/>
              </a:rPr>
              <a:t> </a:t>
            </a:r>
          </a:p>
          <a:p>
            <a:pPr lvl="0"/>
            <a:r>
              <a:rPr lang="en-US" sz="1100" b="1" kern="1200" dirty="0" smtClean="0">
                <a:solidFill>
                  <a:schemeClr val="tx1"/>
                </a:solidFill>
                <a:effectLst/>
                <a:latin typeface="Segoe UI" pitchFamily="34" charset="0"/>
                <a:ea typeface="+mn-ea"/>
                <a:cs typeface="+mn-cs"/>
              </a:rPr>
              <a:t>Pooled Resources</a:t>
            </a:r>
            <a:r>
              <a:rPr lang="en-US" sz="1100" kern="1200" dirty="0" smtClean="0">
                <a:solidFill>
                  <a:schemeClr val="tx1"/>
                </a:solidFill>
                <a:effectLst/>
                <a:latin typeface="Segoe UI" pitchFamily="34" charset="0"/>
                <a:ea typeface="+mn-ea"/>
                <a:cs typeface="+mn-cs"/>
              </a:rPr>
              <a:t>: As I mentioned earlier, we often hear that cloud computing is just big </a:t>
            </a:r>
            <a:r>
              <a:rPr lang="en-US" sz="1100" kern="1200" dirty="0" err="1" smtClean="0">
                <a:solidFill>
                  <a:schemeClr val="tx1"/>
                </a:solidFill>
                <a:effectLst/>
                <a:latin typeface="Segoe UI" pitchFamily="34" charset="0"/>
                <a:ea typeface="+mn-ea"/>
                <a:cs typeface="+mn-cs"/>
              </a:rPr>
              <a:t>virt</a:t>
            </a:r>
            <a:r>
              <a:rPr lang="en-US" sz="1100" kern="1200" dirty="0" smtClean="0">
                <a:solidFill>
                  <a:schemeClr val="tx1"/>
                </a:solidFill>
                <a:effectLst/>
                <a:latin typeface="Segoe UI" pitchFamily="34" charset="0"/>
                <a:ea typeface="+mn-ea"/>
                <a:cs typeface="+mn-cs"/>
              </a:rPr>
              <a:t>.  It’s not.  Cloud Computing uses virtualization but it adds significantly to virtualization.  It pools those resources together and allows you to dynamically provision and scale applications.  </a:t>
            </a:r>
          </a:p>
          <a:p>
            <a:pPr lvl="0"/>
            <a:r>
              <a:rPr lang="en-US" sz="1100" b="1" kern="1200" dirty="0" smtClean="0">
                <a:solidFill>
                  <a:schemeClr val="tx1"/>
                </a:solidFill>
                <a:effectLst/>
                <a:latin typeface="Segoe UI" pitchFamily="34" charset="0"/>
                <a:ea typeface="+mn-ea"/>
                <a:cs typeface="+mn-cs"/>
              </a:rPr>
              <a:t>Self Service</a:t>
            </a:r>
            <a:r>
              <a:rPr lang="en-US" sz="1100" kern="1200" dirty="0" smtClean="0">
                <a:solidFill>
                  <a:schemeClr val="tx1"/>
                </a:solidFill>
                <a:effectLst/>
                <a:latin typeface="Segoe UI" pitchFamily="34" charset="0"/>
                <a:ea typeface="+mn-ea"/>
                <a:cs typeface="+mn-cs"/>
              </a:rPr>
              <a:t>: Once you pool your resource, Cloud Computing provides a self service way for the business to get at those resources or more specifically by providing self-service IT infrastructure to business units and departments with an SLA. This forces service-level discussion and removes the burden to procure, provision and manage infrastructure on a per application, ad-hoc basis </a:t>
            </a:r>
          </a:p>
          <a:p>
            <a:pPr lvl="0"/>
            <a:r>
              <a:rPr lang="en-US" sz="1100" b="1" kern="1200" dirty="0" smtClean="0">
                <a:solidFill>
                  <a:schemeClr val="tx1"/>
                </a:solidFill>
                <a:effectLst/>
                <a:latin typeface="Segoe UI" pitchFamily="34" charset="0"/>
                <a:ea typeface="+mn-ea"/>
                <a:cs typeface="+mn-cs"/>
              </a:rPr>
              <a:t>Elastic – </a:t>
            </a:r>
            <a:r>
              <a:rPr lang="en-US" sz="1100" kern="1200" dirty="0" smtClean="0">
                <a:solidFill>
                  <a:schemeClr val="tx1"/>
                </a:solidFill>
                <a:effectLst/>
                <a:latin typeface="Segoe UI" pitchFamily="34" charset="0"/>
                <a:ea typeface="+mn-ea"/>
                <a:cs typeface="+mn-cs"/>
              </a:rPr>
              <a:t>Scale up (or scale down) dynamically as resource needs change, enabling faster delivery of capacity.</a:t>
            </a:r>
          </a:p>
          <a:p>
            <a:pPr lvl="0"/>
            <a:r>
              <a:rPr lang="en-US" sz="1100" b="1" kern="1200" dirty="0" smtClean="0">
                <a:solidFill>
                  <a:schemeClr val="tx1"/>
                </a:solidFill>
                <a:effectLst/>
                <a:latin typeface="Segoe UI" pitchFamily="34" charset="0"/>
                <a:ea typeface="+mn-ea"/>
                <a:cs typeface="+mn-cs"/>
              </a:rPr>
              <a:t>Usage Based – </a:t>
            </a:r>
            <a:r>
              <a:rPr lang="en-US" sz="1100" kern="1200" dirty="0" smtClean="0">
                <a:solidFill>
                  <a:schemeClr val="tx1"/>
                </a:solidFill>
                <a:effectLst/>
                <a:latin typeface="Segoe UI" pitchFamily="34" charset="0"/>
                <a:ea typeface="+mn-ea"/>
                <a:cs typeface="+mn-cs"/>
              </a:rPr>
              <a:t>Paying for only what you use, when you need to use it </a:t>
            </a:r>
          </a:p>
          <a:p>
            <a:r>
              <a:rPr lang="en-US" sz="1100" kern="1200" dirty="0" smtClean="0">
                <a:solidFill>
                  <a:schemeClr val="tx1"/>
                </a:solidFill>
                <a:effectLst/>
                <a:latin typeface="Segoe UI" pitchFamily="34" charset="0"/>
                <a:ea typeface="+mn-ea"/>
                <a:cs typeface="+mn-cs"/>
              </a:rPr>
              <a:t>I am sure just hearing the attributes the benefits are crystalizing for each of you but I do want to spend a few minutes talking about the biggest benefits from our perspective:</a:t>
            </a:r>
          </a:p>
          <a:p>
            <a:pPr lvl="0"/>
            <a:r>
              <a:rPr lang="en-US" sz="1100" b="1" kern="1200" dirty="0" smtClean="0">
                <a:solidFill>
                  <a:schemeClr val="tx1"/>
                </a:solidFill>
                <a:effectLst/>
                <a:latin typeface="Segoe UI" pitchFamily="34" charset="0"/>
                <a:ea typeface="+mn-ea"/>
                <a:cs typeface="+mn-cs"/>
              </a:rPr>
              <a:t>Focus</a:t>
            </a:r>
            <a:r>
              <a:rPr lang="en-US" sz="1100" kern="1200" dirty="0" smtClean="0">
                <a:solidFill>
                  <a:schemeClr val="tx1"/>
                </a:solidFill>
                <a:effectLst/>
                <a:latin typeface="Segoe UI" pitchFamily="34" charset="0"/>
                <a:ea typeface="+mn-ea"/>
                <a:cs typeface="+mn-cs"/>
              </a:rPr>
              <a:t>:  This is about having more people able to focus on higher-level parts of the stack, managing those applications SLAs, rolling out new applications, not having to worry about the underlying infrastructure</a:t>
            </a:r>
          </a:p>
          <a:p>
            <a:pPr lvl="0"/>
            <a:r>
              <a:rPr lang="en-US" sz="1100" b="1" kern="1200" dirty="0" smtClean="0">
                <a:solidFill>
                  <a:schemeClr val="tx1"/>
                </a:solidFill>
                <a:effectLst/>
                <a:latin typeface="Segoe UI" pitchFamily="34" charset="0"/>
                <a:ea typeface="+mn-ea"/>
                <a:cs typeface="+mn-cs"/>
              </a:rPr>
              <a:t>Agility</a:t>
            </a:r>
            <a:r>
              <a:rPr lang="en-US" sz="1100" kern="1200" dirty="0" smtClean="0">
                <a:solidFill>
                  <a:schemeClr val="tx1"/>
                </a:solidFill>
                <a:effectLst/>
                <a:latin typeface="Segoe UI" pitchFamily="34" charset="0"/>
                <a:ea typeface="+mn-ea"/>
                <a:cs typeface="+mn-cs"/>
              </a:rPr>
              <a:t>:  This is not only about being able to deliver the applications more quickly to your users and to your customers, but also being able to respond to changes in demand. So, the next time the marketing department launches a campaign, doesn't tell anybody, your public website is underwater, it's very easy to scale that out quickly to meet that demand.</a:t>
            </a:r>
          </a:p>
          <a:p>
            <a:r>
              <a:rPr lang="en-US" sz="1100" b="1" kern="1200" dirty="0" smtClean="0">
                <a:solidFill>
                  <a:schemeClr val="tx1"/>
                </a:solidFill>
                <a:effectLst/>
                <a:latin typeface="Segoe UI" pitchFamily="34" charset="0"/>
                <a:ea typeface="+mn-ea"/>
                <a:cs typeface="+mn-cs"/>
              </a:rPr>
              <a:t>Economics</a:t>
            </a:r>
            <a:r>
              <a:rPr lang="en-US" sz="1100" kern="1200" dirty="0" smtClean="0">
                <a:solidFill>
                  <a:schemeClr val="tx1"/>
                </a:solidFill>
                <a:effectLst/>
                <a:latin typeface="Segoe UI" pitchFamily="34" charset="0"/>
                <a:ea typeface="+mn-ea"/>
                <a:cs typeface="+mn-cs"/>
              </a:rPr>
              <a:t>: Because you're running multiple workloads on the same overall infrastructure, you get better utilization across those applications. And because the Cloud pools together these resources, you can buy broader sets of resources at one time, lowering the overall cost. So, for agility and focus and economics, you have great motivation to move to the Cloud, and those benefits accrue to both public and to private Cloud Computing.</a:t>
            </a:r>
            <a:endParaRPr lang="en-US" dirty="0" smtClean="0"/>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08779150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Windows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6</a:t>
            </a:fld>
            <a:endParaRPr lang="en-US" dirty="0">
              <a:solidFill>
                <a:prstClr val="black"/>
              </a:solidFill>
            </a:endParaRPr>
          </a:p>
        </p:txBody>
      </p:sp>
    </p:spTree>
    <p:extLst>
      <p:ext uri="{BB962C8B-B14F-4D97-AF65-F5344CB8AC3E}">
        <p14:creationId xmlns:p14="http://schemas.microsoft.com/office/powerpoint/2010/main" val="408895942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two areas where Windows Azure SQL Database can be secur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Security is vitally important and</a:t>
            </a:r>
            <a:r>
              <a:rPr lang="en-US" baseline="0" dirty="0" smtClean="0">
                <a:effectLst/>
              </a:rPr>
              <a:t> has not be overlooked. Windows Azure SQL Database takes security seriously.</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et security</a:t>
            </a:r>
            <a:r>
              <a:rPr lang="en-US" baseline="0" dirty="0" smtClean="0">
                <a:effectLst/>
                <a:latin typeface="Segoe UI" panose="020B0502040204020203" pitchFamily="34" charset="0"/>
              </a:rPr>
              <a:t> options on the server itself</a:t>
            </a:r>
            <a:endParaRPr lang="en-US" dirty="0" smtClean="0">
              <a:effectLst/>
            </a:endParaRPr>
          </a:p>
          <a:p>
            <a:pPr rtl="0"/>
            <a:r>
              <a:rPr lang="en-US" dirty="0" smtClean="0">
                <a:effectLst/>
                <a:latin typeface="Segoe UI" panose="020B0502040204020203" pitchFamily="34" charset="0"/>
              </a:rPr>
              <a:t>Security within the databas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This</a:t>
            </a:r>
            <a:r>
              <a:rPr lang="en-US" baseline="0" dirty="0" smtClean="0">
                <a:effectLst/>
                <a:latin typeface="Segoe UI" panose="020B0502040204020203" pitchFamily="34" charset="0"/>
              </a:rPr>
              <a:t> doesn’t leave the application free of any responsibility…some settings are required to be set within the application.</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7</a:t>
            </a:fld>
            <a:endParaRPr lang="en-US" dirty="0">
              <a:solidFill>
                <a:prstClr val="black"/>
              </a:solidFill>
            </a:endParaRPr>
          </a:p>
        </p:txBody>
      </p:sp>
    </p:spTree>
    <p:extLst>
      <p:ext uri="{BB962C8B-B14F-4D97-AF65-F5344CB8AC3E}">
        <p14:creationId xmlns:p14="http://schemas.microsoft.com/office/powerpoint/2010/main" val="136857808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database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At</a:t>
            </a:r>
            <a:r>
              <a:rPr lang="en-US" baseline="0" dirty="0" smtClean="0">
                <a:effectLst/>
                <a:latin typeface="Segoe UI" panose="020B0502040204020203" pitchFamily="34" charset="0"/>
              </a:rPr>
              <a:t> the database level, you’ll notice security similarities as that of on-premises. Much of the same security design principles that apply on-premises also apply in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3175" lvl="1" indent="0" defTabSz="914325">
              <a:spcBef>
                <a:spcPts val="900"/>
              </a:spcBef>
              <a:buNone/>
            </a:pPr>
            <a:r>
              <a:rPr lang="en-US" sz="1600" spc="-51" dirty="0" smtClean="0"/>
              <a:t>Logins must have an associated user account to connect to a database</a:t>
            </a:r>
          </a:p>
          <a:p>
            <a:pPr marL="3175" lvl="1" indent="0" defTabSz="914325">
              <a:spcBef>
                <a:spcPts val="900"/>
              </a:spcBef>
              <a:buNone/>
            </a:pPr>
            <a:r>
              <a:rPr lang="en-US" sz="1600" spc="-51" dirty="0" smtClean="0"/>
              <a:t>The admin login is automatically associated with a special user known as </a:t>
            </a:r>
            <a:r>
              <a:rPr lang="en-US" sz="1600" b="1" spc="-51" dirty="0" err="1" smtClean="0"/>
              <a:t>dbo</a:t>
            </a:r>
            <a:r>
              <a:rPr lang="en-US" sz="1600" spc="-51" dirty="0" smtClean="0"/>
              <a:t> (database owner)</a:t>
            </a:r>
          </a:p>
          <a:p>
            <a:pPr marL="3175" lvl="1" indent="0" defTabSz="914325">
              <a:spcBef>
                <a:spcPts val="900"/>
              </a:spcBef>
              <a:buNone/>
            </a:pPr>
            <a:r>
              <a:rPr lang="en-US" sz="1600" spc="-51" dirty="0" smtClean="0"/>
              <a:t>The </a:t>
            </a:r>
            <a:r>
              <a:rPr lang="en-US" sz="1600" spc="-51" dirty="0" err="1" smtClean="0"/>
              <a:t>dbo</a:t>
            </a:r>
            <a:r>
              <a:rPr lang="en-US" sz="1600" spc="-51" dirty="0" smtClean="0"/>
              <a:t> has full rights in the database and should only be used for administration</a:t>
            </a:r>
          </a:p>
          <a:p>
            <a:pPr marL="3175" lvl="1" indent="0" defTabSz="914325">
              <a:spcBef>
                <a:spcPts val="900"/>
              </a:spcBef>
              <a:buNone/>
            </a:pPr>
            <a:r>
              <a:rPr lang="en-US" sz="1600" spc="-51" dirty="0" smtClean="0"/>
              <a:t>Manage users with CREATE / ALTER / DROP USER commands</a:t>
            </a:r>
          </a:p>
          <a:p>
            <a:pPr marL="3175" lvl="1" indent="0" defTabSz="914325">
              <a:spcBef>
                <a:spcPts val="900"/>
              </a:spcBef>
              <a:buNone/>
            </a:pPr>
            <a:r>
              <a:rPr lang="en-US" sz="1600" spc="-51" dirty="0" smtClean="0"/>
              <a:t>Add users to system or user-defined database roles to grant privileges via </a:t>
            </a:r>
            <a:r>
              <a:rPr lang="en-US" sz="1600" spc="-51" dirty="0" err="1" smtClean="0"/>
              <a:t>sp_add_rolemember</a:t>
            </a:r>
            <a:endParaRPr lang="en-US" sz="1600" spc="-51" dirty="0" smtClean="0"/>
          </a:p>
          <a:p>
            <a:pPr marL="3175" lvl="1" indent="0" defTabSz="914325">
              <a:spcBef>
                <a:spcPts val="900"/>
              </a:spcBef>
              <a:buNone/>
            </a:pPr>
            <a:r>
              <a:rPr lang="en-US" sz="1600" spc="-51" dirty="0" smtClean="0"/>
              <a:t>Organize database objects into schema containers based upon common access control requirements, and grant privileges to schema containers instead of individual objects for better productivity</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endParaRPr lang="en-US" dirty="0" smtClean="0">
              <a:effectLst/>
            </a:endParaRPr>
          </a:p>
          <a:p>
            <a:pPr marL="3175" lvl="1" indent="0" defTabSz="914325">
              <a:spcBef>
                <a:spcPts val="900"/>
              </a:spcBef>
              <a:buNone/>
            </a:pP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8</a:t>
            </a:fld>
            <a:endParaRPr lang="en-US" dirty="0">
              <a:solidFill>
                <a:prstClr val="black"/>
              </a:solidFill>
            </a:endParaRPr>
          </a:p>
        </p:txBody>
      </p:sp>
    </p:spTree>
    <p:extLst>
      <p:ext uri="{BB962C8B-B14F-4D97-AF65-F5344CB8AC3E}">
        <p14:creationId xmlns:p14="http://schemas.microsoft.com/office/powerpoint/2010/main" val="141272376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Illustrate</a:t>
            </a:r>
            <a:r>
              <a:rPr lang="en-US" baseline="0" dirty="0" smtClean="0">
                <a:effectLst/>
                <a:latin typeface="Segoe UI" panose="020B0502040204020203" pitchFamily="34" charset="0"/>
              </a:rPr>
              <a:t> the how SQL Database Firewall </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By</a:t>
            </a:r>
            <a:r>
              <a:rPr lang="en-US" baseline="0" dirty="0" smtClean="0">
                <a:effectLst/>
                <a:latin typeface="Segoe UI" panose="020B0502040204020203" pitchFamily="34" charset="0"/>
              </a:rPr>
              <a:t> default, no-one is allowed to access the database.</a:t>
            </a:r>
          </a:p>
          <a:p>
            <a:pPr rtl="0"/>
            <a:r>
              <a:rPr lang="en-US" baseline="0" dirty="0" smtClean="0">
                <a:effectLst/>
                <a:latin typeface="Segoe UI" panose="020B0502040204020203" pitchFamily="34" charset="0"/>
              </a:rPr>
              <a:t>Server Rules enable clients to access your entire SQL Database server</a:t>
            </a:r>
          </a:p>
          <a:p>
            <a:pPr rtl="0"/>
            <a:r>
              <a:rPr lang="en-US" baseline="0" dirty="0" smtClean="0">
                <a:effectLst/>
                <a:latin typeface="Segoe UI" panose="020B0502040204020203" pitchFamily="34" charset="0"/>
              </a:rPr>
              <a:t>Database rules enable clients to access individual databases within your SQL Database server</a:t>
            </a:r>
            <a:endParaRPr lang="en-US" dirty="0" smtClean="0">
              <a:effectLst/>
            </a:endParaRPr>
          </a:p>
          <a:p>
            <a:pPr rtl="0"/>
            <a:r>
              <a:rPr lang="en-US" dirty="0" smtClean="0">
                <a:effectLst/>
                <a:latin typeface="Segoe UI" panose="020B0502040204020203" pitchFamily="34" charset="0"/>
              </a:rPr>
              <a:t>Rules are originating IP Address</a:t>
            </a:r>
            <a:r>
              <a:rPr lang="en-US" baseline="0" dirty="0" smtClean="0">
                <a:effectLst/>
                <a:latin typeface="Segoe UI" panose="020B0502040204020203" pitchFamily="34" charset="0"/>
              </a:rPr>
              <a:t>-based.</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sz="1200" b="0" i="0" u="none" strike="noStrike" kern="1200" baseline="0" dirty="0" smtClean="0">
                <a:solidFill>
                  <a:schemeClr val="tx1"/>
                </a:solidFill>
                <a:latin typeface="Segoe UI" pitchFamily="34" charset="0"/>
                <a:ea typeface="+mn-ea"/>
                <a:cs typeface="+mn-cs"/>
              </a:rPr>
              <a:t>Maximum of 128 Rules</a:t>
            </a:r>
          </a:p>
          <a:p>
            <a:endParaRPr lang="en-US" sz="1200" b="0" i="0" u="none" strike="noStrike" kern="1200" baseline="0" dirty="0" smtClean="0">
              <a:solidFill>
                <a:schemeClr val="tx1"/>
              </a:solidFill>
              <a:latin typeface="Segoe UI" pitchFamily="34" charset="0"/>
              <a:ea typeface="+mn-ea"/>
              <a:cs typeface="+mn-cs"/>
            </a:endParaRPr>
          </a:p>
          <a:p>
            <a:r>
              <a:rPr lang="en-US" sz="1200" b="0" i="0" u="none" strike="noStrike" kern="1200" baseline="0" dirty="0" smtClean="0">
                <a:solidFill>
                  <a:schemeClr val="tx1"/>
                </a:solidFill>
                <a:latin typeface="Segoe UI" pitchFamily="34" charset="0"/>
                <a:ea typeface="+mn-ea"/>
                <a:cs typeface="+mn-cs"/>
              </a:rPr>
              <a:t>Rather than using a REST API like the other Azure storage services, SQL Database is accessed via Tabular Data Stream (TDS), the same protocol used by Microsoft SQL Server (operating over port TCP/1433). </a:t>
            </a:r>
            <a:r>
              <a:rPr lang="en-US" dirty="0" smtClean="0"/>
              <a:t>To help protect the</a:t>
            </a:r>
            <a:r>
              <a:rPr lang="en-US" baseline="0" dirty="0" smtClean="0"/>
              <a:t> </a:t>
            </a:r>
            <a:r>
              <a:rPr lang="en-US" dirty="0" smtClean="0"/>
              <a:t>data, the SQL Database firewall prevents all access to your SQL Database server until you specify which computers have permission. </a:t>
            </a:r>
            <a:endParaRPr lang="en-US" sz="1200" b="0" i="0" u="none" strike="noStrike" kern="1200" baseline="0" dirty="0" smtClean="0">
              <a:solidFill>
                <a:schemeClr val="tx1"/>
              </a:solidFill>
              <a:latin typeface="Segoe UI" pitchFamily="34" charset="0"/>
              <a:ea typeface="+mn-ea"/>
              <a:cs typeface="+mn-cs"/>
            </a:endParaRPr>
          </a:p>
          <a:p>
            <a:endParaRPr lang="en-US" dirty="0" smtClean="0"/>
          </a:p>
          <a:p>
            <a:r>
              <a:rPr lang="en-US" dirty="0" smtClean="0"/>
              <a:t>Initially, all access to your SQL Database server is blocked by the SQL Database firewall; connection attempts originating from the Internet or Windows Azure will not be able to reach your SQL Database server. In order to begin using your SQL Database server, you must go to the SQL Database</a:t>
            </a:r>
            <a:r>
              <a:rPr lang="en-US" baseline="0" dirty="0" smtClean="0"/>
              <a:t> Portal</a:t>
            </a:r>
            <a:r>
              <a:rPr lang="en-US" dirty="0" smtClean="0"/>
              <a:t> and specify one or more firewall settings that enable access to your SQL Database server. Use the firewall settings to specify which IP address ranges from the Internet are allowed, and whether or not Windows Azure applications can attempt to connect to your SQL Database server.</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ADA9749E-FBCD-4239-AFBA-6C4AFE6C59B7}" type="slidenum">
              <a:rPr lang="en-US" smtClean="0">
                <a:solidFill>
                  <a:prstClr val="black"/>
                </a:solidFill>
              </a:rPr>
              <a:pPr/>
              <a:t>59</a:t>
            </a:fld>
            <a:endParaRPr lang="en-US">
              <a:solidFill>
                <a:prstClr val="black"/>
              </a:solidFill>
            </a:endParaRPr>
          </a:p>
        </p:txBody>
      </p:sp>
    </p:spTree>
    <p:extLst>
      <p:ext uri="{BB962C8B-B14F-4D97-AF65-F5344CB8AC3E}">
        <p14:creationId xmlns:p14="http://schemas.microsoft.com/office/powerpoint/2010/main" val="392103927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Windows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err="1" smtClean="0"/>
              <a:t>DoS</a:t>
            </a:r>
            <a:r>
              <a:rPr lang="en-US" baseline="0" dirty="0" smtClean="0"/>
              <a:t>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endParaRPr lang="en-US" dirty="0" smtClean="0">
              <a:effectLst/>
            </a:endParaRPr>
          </a:p>
          <a:p>
            <a:pPr marL="171450"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0</a:t>
            </a:fld>
            <a:endParaRPr lang="en-US" dirty="0">
              <a:solidFill>
                <a:prstClr val="black"/>
              </a:solidFill>
            </a:endParaRPr>
          </a:p>
        </p:txBody>
      </p:sp>
    </p:spTree>
    <p:extLst>
      <p:ext uri="{BB962C8B-B14F-4D97-AF65-F5344CB8AC3E}">
        <p14:creationId xmlns:p14="http://schemas.microsoft.com/office/powerpoint/2010/main" val="19340678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900" baseline="0" dirty="0" smtClean="0"/>
              <a:t>Define the SQL Reporting service and use it as another example of a managed service we’re providing today for databases, but that will extend more broadly in the futur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 same great reporting service you know and</a:t>
            </a:r>
            <a:r>
              <a:rPr lang="en-US" baseline="0" dirty="0" smtClean="0">
                <a:effectLst/>
                <a:latin typeface="Segoe UI" panose="020B0502040204020203" pitchFamily="34" charset="0"/>
              </a:rPr>
              <a:t> love on-premises has been extended to the cloud and offered as a highly-available service on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SQL</a:t>
            </a:r>
            <a:r>
              <a:rPr lang="en-US" baseline="0" dirty="0" smtClean="0"/>
              <a:t> Reporting is based on SQL Server Reporting Services offered as a service</a:t>
            </a:r>
          </a:p>
          <a:p>
            <a:r>
              <a:rPr lang="en-US" baseline="0" dirty="0" smtClean="0"/>
              <a:t>Automatic High Availability through the benefits of the Azure platform</a:t>
            </a:r>
          </a:p>
          <a:p>
            <a:r>
              <a:rPr lang="en-US" baseline="0" dirty="0" smtClean="0"/>
              <a:t>Provision a report server in only minutes with just a few clicks of the mouse</a:t>
            </a:r>
          </a:p>
          <a:p>
            <a:r>
              <a:rPr lang="en-US" baseline="0" dirty="0" smtClean="0"/>
              <a:t>No need to install your own reporting services instance or apply updates</a:t>
            </a:r>
            <a:endParaRPr lang="en-US" dirty="0" smtClean="0"/>
          </a:p>
          <a:p>
            <a:r>
              <a:rPr lang="en-US" dirty="0" smtClean="0"/>
              <a:t>Developers can deliver highly visual and interactive reports as an integrated</a:t>
            </a:r>
            <a:r>
              <a:rPr lang="en-US" baseline="0" dirty="0" smtClean="0"/>
              <a:t> part of a Windows Azure based solution. </a:t>
            </a:r>
          </a:p>
          <a:p>
            <a:r>
              <a:rPr lang="en-US" baseline="0" dirty="0" smtClean="0"/>
              <a:t>Build reports using same familiar tools</a:t>
            </a: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http://msdn.microsoft.com/en-us/library/windowsazure/gg430130 </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1</a:t>
            </a:fld>
            <a:endParaRPr lang="en-US" dirty="0">
              <a:solidFill>
                <a:prstClr val="black"/>
              </a:solidFill>
            </a:endParaRPr>
          </a:p>
        </p:txBody>
      </p:sp>
    </p:spTree>
    <p:extLst>
      <p:ext uri="{BB962C8B-B14F-4D97-AF65-F5344CB8AC3E}">
        <p14:creationId xmlns:p14="http://schemas.microsoft.com/office/powerpoint/2010/main" val="70464970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marL="0" marR="0" indent="0" algn="l" defTabSz="914363" rtl="0" eaLnBrk="1" fontAlgn="auto" latinLnBrk="0" hangingPunct="1">
              <a:lnSpc>
                <a:spcPct val="90000"/>
              </a:lnSpc>
              <a:spcBef>
                <a:spcPts val="0"/>
              </a:spcBef>
              <a:spcAft>
                <a:spcPts val="333"/>
              </a:spcAft>
              <a:buClrTx/>
              <a:buSzTx/>
              <a:buFontTx/>
              <a:buNone/>
              <a:tabLst/>
              <a:defRPr/>
            </a:pPr>
            <a:r>
              <a:rPr lang="en-US" sz="900" baseline="0" dirty="0" smtClean="0"/>
              <a:t>Introduce the data sync service as an added capability on top of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inally,</a:t>
            </a:r>
            <a:r>
              <a:rPr lang="en-US" baseline="0" dirty="0" smtClean="0">
                <a:effectLst/>
                <a:latin typeface="Segoe UI" panose="020B0502040204020203" pitchFamily="34" charset="0"/>
              </a:rPr>
              <a:t> a solution that allows developers to e</a:t>
            </a:r>
            <a:r>
              <a:rPr lang="en-US" dirty="0" smtClean="0">
                <a:effectLst/>
                <a:latin typeface="Segoe UI" panose="020B0502040204020203" pitchFamily="34" charset="0"/>
              </a:rPr>
              <a:t>asily create and schedule bi-directional synchronizations</a:t>
            </a:r>
            <a:r>
              <a:rPr lang="en-US" baseline="0" dirty="0" smtClean="0">
                <a:effectLst/>
                <a:latin typeface="Segoe UI" panose="020B0502040204020203" pitchFamily="34" charset="0"/>
              </a:rPr>
              <a:t> without investing in maintaining custom sync softwar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b="0" dirty="0" smtClean="0"/>
              <a:t>Leverage the Microsoft Windows Azure platform and Microsoft SQL Azure without the necessity of creating and managing your own synchronization</a:t>
            </a:r>
            <a:r>
              <a:rPr lang="en-US" b="0" baseline="0" dirty="0" smtClean="0"/>
              <a:t> code.</a:t>
            </a:r>
          </a:p>
          <a:p>
            <a:pPr marL="171450" indent="-171450">
              <a:buFont typeface="Arial" pitchFamily="34" charset="0"/>
              <a:buChar char="•"/>
            </a:pPr>
            <a:r>
              <a:rPr lang="en-US" dirty="0" smtClean="0"/>
              <a:t>Conflict resolution</a:t>
            </a:r>
          </a:p>
          <a:p>
            <a:pPr marL="171450" indent="-171450">
              <a:buFont typeface="Arial" pitchFamily="34" charset="0"/>
              <a:buChar char="•"/>
            </a:pPr>
            <a:r>
              <a:rPr lang="en-US" dirty="0" smtClean="0"/>
              <a:t>Bi-directional</a:t>
            </a:r>
          </a:p>
          <a:p>
            <a:pPr marL="171450" indent="-171450">
              <a:buFont typeface="Arial" pitchFamily="34" charset="0"/>
              <a:buChar char="•"/>
            </a:pPr>
            <a:r>
              <a:rPr lang="en-US" dirty="0" smtClean="0"/>
              <a:t>Based</a:t>
            </a:r>
            <a:r>
              <a:rPr lang="en-US" baseline="0" dirty="0" smtClean="0"/>
              <a:t> on the Sync Framework</a:t>
            </a:r>
          </a:p>
          <a:p>
            <a:pPr marL="171450" indent="-171450">
              <a:buFont typeface="Arial" pitchFamily="34" charset="0"/>
              <a:buChar char="•"/>
            </a:pPr>
            <a:r>
              <a:rPr lang="en-US" baseline="0" dirty="0" smtClean="0"/>
              <a:t>NO CODE!</a:t>
            </a:r>
            <a:endParaRPr lang="en-US" dirty="0" smtClean="0"/>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http://msdn.microsoft.com/en-us/library/windowsazure/hh456371</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2</a:t>
            </a:fld>
            <a:endParaRPr lang="en-US" dirty="0">
              <a:solidFill>
                <a:prstClr val="black"/>
              </a:solidFill>
            </a:endParaRPr>
          </a:p>
        </p:txBody>
      </p:sp>
    </p:spTree>
    <p:extLst>
      <p:ext uri="{BB962C8B-B14F-4D97-AF65-F5344CB8AC3E}">
        <p14:creationId xmlns:p14="http://schemas.microsoft.com/office/powerpoint/2010/main" val="310342755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t>Introduce SQL Federation and the value it provides, without getting</a:t>
            </a:r>
            <a:r>
              <a:rPr lang="en-US" baseline="0" dirty="0" smtClean="0"/>
              <a:t> into the specific details of how it work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Database</a:t>
            </a:r>
            <a:r>
              <a:rPr lang="en-US" baseline="0" dirty="0" smtClean="0">
                <a:effectLst/>
                <a:latin typeface="Segoe UI" panose="020B0502040204020203" pitchFamily="34" charset="0"/>
              </a:rPr>
              <a:t> performance and scalability are crucial in any cloud-based database platform. SQL Database provides this through SQL Federation, an elastic tier that can expand and contract with your applications workload without downtime. Harness 100s of SQL Database node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baseline="0" dirty="0" smtClean="0"/>
              <a:t>Extend the scalability model to the Database Tier</a:t>
            </a:r>
            <a:endParaRPr lang="en-US" dirty="0" smtClean="0"/>
          </a:p>
          <a:p>
            <a:r>
              <a:rPr lang="en-US" dirty="0" smtClean="0"/>
              <a:t>Scale to practically</a:t>
            </a:r>
            <a:r>
              <a:rPr lang="en-US" baseline="0" dirty="0" smtClean="0"/>
              <a:t> unlimited number of nodes via database </a:t>
            </a:r>
            <a:r>
              <a:rPr lang="en-US" baseline="0" dirty="0" err="1" smtClean="0"/>
              <a:t>sharding</a:t>
            </a:r>
            <a:endParaRPr lang="en-US" baseline="0" dirty="0" smtClean="0"/>
          </a:p>
          <a:p>
            <a:r>
              <a:rPr lang="en-US" dirty="0" smtClean="0"/>
              <a:t>Scale by adding and removing nodes in front an</a:t>
            </a:r>
            <a:r>
              <a:rPr lang="en-US" baseline="0" dirty="0" smtClean="0"/>
              <a:t>d middle tiers</a:t>
            </a:r>
          </a:p>
          <a:p>
            <a:r>
              <a:rPr lang="en-US" spc="-51" dirty="0" smtClean="0">
                <a:solidFill>
                  <a:schemeClr val="tx1"/>
                </a:solidFill>
              </a:rPr>
              <a:t>No changes to the application! Data is guaranteed to be</a:t>
            </a:r>
            <a:r>
              <a:rPr lang="en-US" spc="-51" baseline="0" dirty="0" smtClean="0">
                <a:solidFill>
                  <a:schemeClr val="tx1"/>
                </a:solidFill>
              </a:rPr>
              <a:t> found regardless of how data is partitioned and the number of partitions.</a:t>
            </a:r>
            <a:endParaRPr lang="en-US" spc="-51" dirty="0" smtClean="0">
              <a:solidFill>
                <a:schemeClr val="tx1"/>
              </a:solidFill>
            </a:endParaRPr>
          </a:p>
          <a:p>
            <a:pPr rtl="0"/>
            <a:r>
              <a:rPr lang="en-US" b="1" dirty="0" smtClean="0">
                <a:effectLst/>
                <a:latin typeface="Segoe UI" panose="020B0502040204020203" pitchFamily="34" charset="0"/>
              </a:rPr>
              <a:t>Notes:</a:t>
            </a:r>
            <a:endParaRPr lang="en-US" dirty="0" smtClean="0">
              <a:effectLst/>
            </a:endParaRPr>
          </a:p>
          <a:p>
            <a:pPr marL="174625" lvl="1" indent="-171450" defTabSz="914287">
              <a:spcBef>
                <a:spcPts val="600"/>
              </a:spcBef>
            </a:pPr>
            <a:r>
              <a:rPr lang="en-US" spc="-51" dirty="0" smtClean="0">
                <a:solidFill>
                  <a:schemeClr val="tx1"/>
                </a:solidFill>
              </a:rPr>
              <a:t>New T-SQL Federation Syntax </a:t>
            </a:r>
          </a:p>
          <a:p>
            <a:pPr marL="174625" lvl="1" indent="-171450" defTabSz="914287">
              <a:spcBef>
                <a:spcPts val="600"/>
              </a:spcBef>
            </a:pPr>
            <a:r>
              <a:rPr lang="en-US" spc="-51" dirty="0" smtClean="0">
                <a:solidFill>
                  <a:schemeClr val="tx1"/>
                </a:solidFill>
              </a:rPr>
              <a:t>Add and remove database nodes seamlessly</a:t>
            </a:r>
          </a:p>
          <a:p>
            <a:pPr marL="174625" lvl="1" indent="-171450" defTabSz="914287">
              <a:spcBef>
                <a:spcPts val="600"/>
              </a:spcBef>
            </a:pPr>
            <a:r>
              <a:rPr lang="en-US" spc="-51" dirty="0" smtClean="0">
                <a:solidFill>
                  <a:schemeClr val="tx1"/>
                </a:solidFill>
              </a:rPr>
              <a:t>Enables greater scalability and performance</a:t>
            </a:r>
          </a:p>
          <a:p>
            <a:pPr marL="174625" lvl="1" indent="-171450" defTabSz="914287">
              <a:spcBef>
                <a:spcPts val="600"/>
              </a:spcBef>
            </a:pPr>
            <a:r>
              <a:rPr lang="en-US" spc="-51" dirty="0" smtClean="0">
                <a:solidFill>
                  <a:schemeClr val="tx1"/>
                </a:solidFill>
              </a:rPr>
              <a:t>Dynamic partitioning with no downtime</a:t>
            </a:r>
          </a:p>
          <a:p>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3</a:t>
            </a:fld>
            <a:endParaRPr lang="en-US" dirty="0">
              <a:solidFill>
                <a:prstClr val="black"/>
              </a:solidFill>
            </a:endParaRPr>
          </a:p>
        </p:txBody>
      </p:sp>
    </p:spTree>
    <p:extLst>
      <p:ext uri="{BB962C8B-B14F-4D97-AF65-F5344CB8AC3E}">
        <p14:creationId xmlns:p14="http://schemas.microsoft.com/office/powerpoint/2010/main" val="175054647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anose="020B0604020202020204" pitchFamily="34" charset="0"/>
              <a:buChar char="•"/>
            </a:pPr>
            <a:r>
              <a:rPr lang="en-US" sz="1600" baseline="0" dirty="0" smtClean="0"/>
              <a:t>We have a great storage system.</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We talked about this earlier as part of virtual machines for mounting drives.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You can think of blob storage as a highly available, scalable, and secure file system in the cloud.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You can store any type of data you want in it.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You can optionally expose storage through some HTTP URLs and make it public or you can make it private.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Similar to databases, you can stand up a new storage account in a few minutes.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Continuous geo-replication is enabled by default for storage accounts.</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65</a:t>
            </a:fld>
            <a:endParaRPr lang="en-US" dirty="0">
              <a:solidFill>
                <a:prstClr val="black"/>
              </a:solidFill>
            </a:endParaRPr>
          </a:p>
        </p:txBody>
      </p:sp>
    </p:spTree>
    <p:extLst>
      <p:ext uri="{BB962C8B-B14F-4D97-AF65-F5344CB8AC3E}">
        <p14:creationId xmlns:p14="http://schemas.microsoft.com/office/powerpoint/2010/main" val="7948026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66</a:t>
            </a:fld>
            <a:endParaRPr lang="en-US" dirty="0">
              <a:solidFill>
                <a:prstClr val="black"/>
              </a:solidFill>
            </a:endParaRPr>
          </a:p>
        </p:txBody>
      </p:sp>
    </p:spTree>
    <p:extLst>
      <p:ext uri="{BB962C8B-B14F-4D97-AF65-F5344CB8AC3E}">
        <p14:creationId xmlns:p14="http://schemas.microsoft.com/office/powerpoint/2010/main" val="12338877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Image Placeholder 1"/>
          <p:cNvSpPr>
            <a:spLocks noGrp="1" noRot="1" noChangeAspect="1"/>
          </p:cNvSpPr>
          <p:nvPr>
            <p:ph type="sldImg"/>
          </p:nvPr>
        </p:nvSpPr>
        <p:spPr bwMode="auto">
          <a:xfrm>
            <a:off x="409575" y="698500"/>
            <a:ext cx="6203950" cy="3490913"/>
          </a:xfrm>
          <a:noFill/>
          <a:ln>
            <a:solidFill>
              <a:srgbClr val="000000"/>
            </a:solidFill>
            <a:miter lim="800000"/>
            <a:headEnd/>
            <a:tailEnd/>
          </a:ln>
        </p:spPr>
      </p:sp>
      <p:sp>
        <p:nvSpPr>
          <p:cNvPr id="3" name="Notes Placeholder 2"/>
          <p:cNvSpPr>
            <a:spLocks noGrp="1"/>
          </p:cNvSpPr>
          <p:nvPr>
            <p:ph type="body" idx="1"/>
          </p:nvPr>
        </p:nvSpPr>
        <p:spPr/>
        <p:txBody>
          <a:bodyPr>
            <a:normAutofit lnSpcReduction="10000"/>
          </a:bodyPr>
          <a:lstStyle/>
          <a:p>
            <a:r>
              <a:rPr lang="en-US" sz="1200" dirty="0" smtClean="0"/>
              <a:t>First let’s talk about the transformation that's actually happening within IT.</a:t>
            </a:r>
          </a:p>
          <a:p>
            <a:r>
              <a:rPr lang="en-US" sz="1200" dirty="0" smtClean="0"/>
              <a:t> </a:t>
            </a:r>
          </a:p>
          <a:p>
            <a:pPr>
              <a:spcBef>
                <a:spcPct val="0"/>
              </a:spcBef>
            </a:pPr>
            <a:r>
              <a:rPr lang="en-US" sz="1000" b="1" dirty="0" smtClean="0"/>
              <a:t>Goal of this slide</a:t>
            </a:r>
          </a:p>
          <a:p>
            <a:pPr>
              <a:spcBef>
                <a:spcPct val="0"/>
              </a:spcBef>
            </a:pPr>
            <a:r>
              <a:rPr lang="en-US" sz="1000" dirty="0" smtClean="0"/>
              <a:t>Frames the enterprise cloud computing conversation by highlighting the evolution from traditional to cloud computing models. Define industry taxonomy around IaaS and PaaS. </a:t>
            </a:r>
          </a:p>
          <a:p>
            <a:pPr>
              <a:spcBef>
                <a:spcPct val="0"/>
              </a:spcBef>
            </a:pPr>
            <a:endParaRPr lang="en-US" sz="1000" b="1" dirty="0" smtClean="0"/>
          </a:p>
          <a:p>
            <a:pPr defTabSz="1121552">
              <a:spcAft>
                <a:spcPts val="409"/>
              </a:spcAft>
              <a:defRPr/>
            </a:pPr>
            <a:r>
              <a:rPr lang="en-US" sz="1000" b="1" dirty="0" smtClean="0"/>
              <a:t>Talking Points: </a:t>
            </a:r>
          </a:p>
          <a:p>
            <a:pPr marL="175244" indent="-175244">
              <a:buFont typeface="Arial" pitchFamily="34" charset="0"/>
              <a:buChar char="•"/>
            </a:pPr>
            <a:r>
              <a:rPr lang="en-US" sz="1200" dirty="0" smtClean="0"/>
              <a:t>If you're in the infrastructure as a service layer (IaaS), you're thinking about your datacenter as a set of pooled virtual resources (including compute, network and storage), not in terms of individual hosts or VMs. That said, you still have to manage the virtual infrastructure, operating system and the full application stack. </a:t>
            </a:r>
          </a:p>
          <a:p>
            <a:pPr marL="175244" indent="-175244">
              <a:buFont typeface="Arial" pitchFamily="34" charset="0"/>
              <a:buChar char="•"/>
            </a:pPr>
            <a:r>
              <a:rPr lang="en-US" sz="1200" dirty="0" smtClean="0"/>
              <a:t>When you're in the platform as a service layer (PaaS), you're talking about building applications which will then be delivered as a service – the platform providing all the required building blocks for your app. You don’t have to worry about the underlying infrastructure, operating systems or the application platform infrastructure. You can focus all your energies on your applications.  With Windows Azure with primarily</a:t>
            </a:r>
            <a:r>
              <a:rPr lang="en-US" sz="1200" baseline="0" dirty="0" smtClean="0"/>
              <a:t> offer PaaS but are moving towards robust IaaS capabilities (more to come in this presentation with the Roadmap)</a:t>
            </a:r>
            <a:endParaRPr lang="en-US" sz="1200" dirty="0" smtClean="0"/>
          </a:p>
          <a:p>
            <a:pPr marL="175244" indent="-175244">
              <a:spcBef>
                <a:spcPct val="0"/>
              </a:spcBef>
              <a:buFont typeface="Arial" pitchFamily="34" charset="0"/>
              <a:buChar char="•"/>
            </a:pPr>
            <a:r>
              <a:rPr lang="en-US" sz="1000" dirty="0" smtClean="0"/>
              <a:t>A couple of data points from internal Microsoft research: </a:t>
            </a:r>
          </a:p>
          <a:p>
            <a:pPr marL="642562" lvl="1" indent="-175244">
              <a:spcBef>
                <a:spcPct val="0"/>
              </a:spcBef>
            </a:pPr>
            <a:r>
              <a:rPr lang="en-US" sz="1000" dirty="0" smtClean="0"/>
              <a:t>41% of our customers are using services across on premise and public clouds</a:t>
            </a:r>
          </a:p>
          <a:p>
            <a:pPr marL="642562" lvl="1" indent="-175244">
              <a:spcBef>
                <a:spcPct val="0"/>
              </a:spcBef>
            </a:pPr>
            <a:r>
              <a:rPr lang="en-US" sz="1000" dirty="0" smtClean="0"/>
              <a:t>80% of our customers over next 3 to 5 years will use hybrid models</a:t>
            </a:r>
          </a:p>
          <a:p>
            <a:pPr>
              <a:spcBef>
                <a:spcPct val="0"/>
              </a:spcBef>
            </a:pPr>
            <a:endParaRPr lang="en-US" dirty="0" smtClean="0"/>
          </a:p>
          <a:p>
            <a:pPr>
              <a:spcBef>
                <a:spcPct val="0"/>
              </a:spcBef>
            </a:pPr>
            <a:endParaRPr lang="en-US" dirty="0" smtClean="0"/>
          </a:p>
          <a:p>
            <a:pPr>
              <a:spcBef>
                <a:spcPct val="0"/>
              </a:spcBef>
            </a:pPr>
            <a:endParaRPr lang="en-US" dirty="0" smtClean="0"/>
          </a:p>
        </p:txBody>
      </p:sp>
      <p:sp>
        <p:nvSpPr>
          <p:cNvPr id="2765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115D0EA3-1965-4818-A666-D9602DDFFE70}" type="slidenum">
              <a:rPr lang="en-US">
                <a:solidFill>
                  <a:prstClr val="black"/>
                </a:solidFill>
                <a:cs typeface="Arial" charset="0"/>
              </a:rPr>
              <a:pPr fontAlgn="base">
                <a:spcBef>
                  <a:spcPct val="0"/>
                </a:spcBef>
                <a:spcAft>
                  <a:spcPct val="0"/>
                </a:spcAft>
              </a:pPr>
              <a:t>7</a:t>
            </a:fld>
            <a:endParaRPr lang="en-US">
              <a:solidFill>
                <a:prstClr val="black"/>
              </a:solidFill>
              <a:cs typeface="Arial" charset="0"/>
            </a:endParaRPr>
          </a:p>
        </p:txBody>
      </p:sp>
    </p:spTree>
    <p:extLst>
      <p:ext uri="{BB962C8B-B14F-4D97-AF65-F5344CB8AC3E}">
        <p14:creationId xmlns:p14="http://schemas.microsoft.com/office/powerpoint/2010/main" val="75580981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7</a:t>
            </a:fld>
            <a:endParaRPr lang="en-US" dirty="0">
              <a:solidFill>
                <a:prstClr val="black"/>
              </a:solidFill>
            </a:endParaRPr>
          </a:p>
        </p:txBody>
      </p:sp>
    </p:spTree>
    <p:extLst>
      <p:ext uri="{BB962C8B-B14F-4D97-AF65-F5344CB8AC3E}">
        <p14:creationId xmlns:p14="http://schemas.microsoft.com/office/powerpoint/2010/main" val="183558440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anose="020B0604020202020204" pitchFamily="34" charset="0"/>
              <a:buChar char="•"/>
            </a:pPr>
            <a:r>
              <a:rPr lang="en-US" sz="1600" baseline="0" dirty="0" smtClean="0"/>
              <a:t>We now have a new distributed cache feature in Windows Azure</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It is a low latency, in-memory cache that you can stand up as part of our application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It’s elastic so you can dynamically grow or shrink the cache at will, based on how your application is doing</a:t>
            </a:r>
          </a:p>
          <a:p>
            <a:pPr marL="498731" marR="0" lvl="1"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You don’t have to modify any application code or redeploy your application to increase or decrease the cache size.  </a:t>
            </a:r>
          </a:p>
          <a:p>
            <a:pPr marL="498731" marR="0" lvl="1"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Instead just go into the portal say you want more roles and Windows Azure will automatically spin them up</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It also has high availability support.  </a:t>
            </a:r>
          </a:p>
          <a:p>
            <a:pPr marL="498731" marR="0" lvl="1"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So you can indicate when you cache something that you want to pin the data on at least two cache servers, so if there is a hardware failure you will not loose any data.</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The Distributed Cache can be used from any language.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It now supports the </a:t>
            </a:r>
            <a:r>
              <a:rPr lang="en-US" sz="1600" baseline="0" dirty="0" err="1" smtClean="0"/>
              <a:t>Memcach’D</a:t>
            </a:r>
            <a:r>
              <a:rPr lang="en-US" sz="1600" baseline="0" dirty="0" smtClean="0"/>
              <a:t> protocol, so if you have apps that use </a:t>
            </a:r>
            <a:r>
              <a:rPr lang="en-US" sz="1600" baseline="0" dirty="0" err="1" smtClean="0"/>
              <a:t>Memcached</a:t>
            </a:r>
            <a:r>
              <a:rPr lang="en-US" sz="1600" baseline="0" dirty="0" smtClean="0"/>
              <a:t> today you can simply point them to the new distributed cache and they will work with no code changes required. </a:t>
            </a:r>
          </a:p>
          <a:p>
            <a:pPr>
              <a:lnSpc>
                <a:spcPct val="100000"/>
              </a:lnSpc>
              <a:spcAft>
                <a:spcPts val="980"/>
              </a:spcAft>
              <a:tabLst>
                <a:tab pos="1791675" algn="l"/>
              </a:tabLst>
            </a:pPr>
            <a:endParaRPr lang="en-US" sz="1600" dirty="0">
              <a:solidFill>
                <a:schemeClr val="bg1">
                  <a:alpha val="99000"/>
                </a:schemeClr>
              </a:solidFill>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68</a:t>
            </a:fld>
            <a:endParaRPr lang="en-US" dirty="0">
              <a:solidFill>
                <a:prstClr val="black"/>
              </a:solidFill>
            </a:endParaRPr>
          </a:p>
        </p:txBody>
      </p:sp>
    </p:spTree>
    <p:extLst>
      <p:ext uri="{BB962C8B-B14F-4D97-AF65-F5344CB8AC3E}">
        <p14:creationId xmlns:p14="http://schemas.microsoft.com/office/powerpoint/2010/main" val="98216446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anose="020B0604020202020204" pitchFamily="34" charset="0"/>
              <a:buChar char="•"/>
            </a:pPr>
            <a:r>
              <a:rPr lang="en-US" sz="1600" baseline="0" dirty="0" smtClean="0"/>
              <a:t>So what happened?  Let’s walk through an example with 4 web roles.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Basically if I spin up my application and I have 4 web roles and I say use 300MB for each role</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as soon as they startup in Windows Azure we will ring join the roles together.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This will create a uniform 1.2GB distributed cache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Then any of the roles that save the twitter data, regardless of whether the data is stored locally or on another role, any of the roles will be able to retrieve it in under a </a:t>
            </a:r>
            <a:r>
              <a:rPr lang="en-US" sz="1600" baseline="0" dirty="0" err="1" smtClean="0"/>
              <a:t>milisecond</a:t>
            </a:r>
            <a:endParaRPr lang="en-US" sz="1600" baseline="0" dirty="0" smtClean="0"/>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As you spin up more roles inside your application using the management portal as I showed earlier, Windows Azure will automatically keep adding more roles and caches and your cache can grow or shrink on demand.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69</a:t>
            </a:fld>
            <a:endParaRPr lang="en-US" dirty="0">
              <a:solidFill>
                <a:prstClr val="black"/>
              </a:solidFill>
            </a:endParaRPr>
          </a:p>
        </p:txBody>
      </p:sp>
    </p:spTree>
    <p:extLst>
      <p:ext uri="{BB962C8B-B14F-4D97-AF65-F5344CB8AC3E}">
        <p14:creationId xmlns:p14="http://schemas.microsoft.com/office/powerpoint/2010/main" val="155940353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You can also go into your project and say you want a dedicated worker role that is just running the cache.</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In this case you would not be using any your memory in an instance for the web server, making it all available to the cache.  </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Again you can choose the cache size you want, up to an extra large instance which would have 12GB of available memory in each role.  </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0" i="1" baseline="0" dirty="0" smtClean="0"/>
              <a:t>[transit to next slid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70</a:t>
            </a:fld>
            <a:endParaRPr lang="en-US" dirty="0">
              <a:solidFill>
                <a:prstClr val="black"/>
              </a:solidFill>
            </a:endParaRPr>
          </a:p>
        </p:txBody>
      </p:sp>
    </p:spTree>
    <p:extLst>
      <p:ext uri="{BB962C8B-B14F-4D97-AF65-F5344CB8AC3E}">
        <p14:creationId xmlns:p14="http://schemas.microsoft.com/office/powerpoint/2010/main" val="397982364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Transition:</a:t>
            </a:r>
          </a:p>
          <a:p>
            <a:r>
              <a:rPr lang="en-US" b="0" dirty="0" smtClean="0"/>
              <a:t>Continue</a:t>
            </a:r>
            <a:r>
              <a:rPr lang="en-US" b="0" baseline="0" dirty="0" smtClean="0"/>
              <a:t> last slide</a:t>
            </a:r>
          </a:p>
          <a:p>
            <a:endParaRPr lang="en-US" b="0" dirty="0" smtClean="0"/>
          </a:p>
          <a:p>
            <a:r>
              <a:rPr lang="en-US" b="1" dirty="0" smtClean="0"/>
              <a:t>Speaking</a:t>
            </a:r>
            <a:r>
              <a:rPr lang="en-US" b="1" baseline="0" dirty="0" smtClean="0"/>
              <a:t> Points:</a:t>
            </a:r>
            <a:endParaRPr lang="en-US" dirty="0" smtClean="0"/>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baseline="0" dirty="0" smtClean="0"/>
              <a:t>Again you can scale up or scale down as needed and we will automatically add and remove the cache for you.  </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b="1" baseline="0" dirty="0" smtClean="0"/>
              <a:t>High Availability</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baseline="0" dirty="0" smtClean="0"/>
              <a:t>If we ever know a machine is going down, for example, you say that you want to remove it from the application then we will actually spend a minute moving all of the data onto other nodes if there’s memory available before we actually take down the machine.</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baseline="0" dirty="0" smtClean="0"/>
              <a:t>So you don’t actually loose even in a shutdown situation. </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b="1" baseline="0" dirty="0" smtClean="0"/>
              <a:t>Programming Languages</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baseline="0" dirty="0" smtClean="0"/>
              <a:t>Again you can access this in any language including using the </a:t>
            </a:r>
            <a:r>
              <a:rPr lang="en-US" sz="900" baseline="0" dirty="0" err="1" smtClean="0"/>
              <a:t>Memcach’d</a:t>
            </a:r>
            <a:r>
              <a:rPr lang="en-US" sz="900" baseline="0" dirty="0" smtClean="0"/>
              <a:t> interfac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71</a:t>
            </a:fld>
            <a:endParaRPr lang="en-US" dirty="0">
              <a:solidFill>
                <a:prstClr val="black"/>
              </a:solidFill>
            </a:endParaRPr>
          </a:p>
        </p:txBody>
      </p:sp>
    </p:spTree>
    <p:extLst>
      <p:ext uri="{BB962C8B-B14F-4D97-AF65-F5344CB8AC3E}">
        <p14:creationId xmlns:p14="http://schemas.microsoft.com/office/powerpoint/2010/main" val="153083517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2</a:t>
            </a:fld>
            <a:endParaRPr lang="en-US" dirty="0">
              <a:solidFill>
                <a:prstClr val="black"/>
              </a:solidFill>
            </a:endParaRPr>
          </a:p>
        </p:txBody>
      </p:sp>
    </p:spTree>
    <p:extLst>
      <p:ext uri="{BB962C8B-B14F-4D97-AF65-F5344CB8AC3E}">
        <p14:creationId xmlns:p14="http://schemas.microsoft.com/office/powerpoint/2010/main" val="211725388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Provide</a:t>
            </a:r>
            <a:r>
              <a:rPr lang="en-US" sz="900" kern="1200" baseline="0" dirty="0" smtClean="0">
                <a:solidFill>
                  <a:schemeClr val="tx1"/>
                </a:solidFill>
                <a:effectLst/>
                <a:latin typeface="Segoe UI" pitchFamily="34" charset="0"/>
                <a:ea typeface="+mn-ea"/>
                <a:cs typeface="+mn-cs"/>
              </a:rPr>
              <a:t> broad overview of WA Mobile Services feature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endParaRPr lang="en-US" dirty="0" smtClean="0"/>
          </a:p>
          <a:p>
            <a:r>
              <a:rPr lang="en-US" dirty="0" smtClean="0"/>
              <a:t>WAMS</a:t>
            </a:r>
          </a:p>
          <a:p>
            <a:r>
              <a:rPr lang="en-US" dirty="0" smtClean="0"/>
              <a:t>Build</a:t>
            </a:r>
            <a:r>
              <a:rPr lang="en-US" baseline="0" dirty="0" smtClean="0"/>
              <a:t> a cloud backend in minutes with n</a:t>
            </a:r>
            <a:r>
              <a:rPr lang="en-US" sz="900" spc="-70" dirty="0" smtClean="0">
                <a:gradFill>
                  <a:gsLst>
                    <a:gs pos="2917">
                      <a:schemeClr val="tx1"/>
                    </a:gs>
                    <a:gs pos="30000">
                      <a:schemeClr val="tx1"/>
                    </a:gs>
                  </a:gsLst>
                  <a:lin ang="5400000" scaled="0"/>
                </a:gradFill>
              </a:rPr>
              <a:t>o hassles, no deployments, no fear</a:t>
            </a:r>
          </a:p>
          <a:p>
            <a:r>
              <a:rPr lang="en-US" sz="900" spc="-70" dirty="0" smtClean="0">
                <a:gradFill>
                  <a:gsLst>
                    <a:gs pos="2917">
                      <a:schemeClr val="tx1"/>
                    </a:gs>
                    <a:gs pos="30000">
                      <a:schemeClr val="tx1"/>
                    </a:gs>
                  </a:gsLst>
                  <a:lin ang="5400000" scaled="0"/>
                </a:gradFill>
              </a:rPr>
              <a:t>Supports Windows 8 client SDK, Windows Phone 8 SDK, </a:t>
            </a:r>
            <a:r>
              <a:rPr lang="en-US" sz="900" spc="-70" dirty="0" err="1" smtClean="0">
                <a:gradFill>
                  <a:gsLst>
                    <a:gs pos="2917">
                      <a:schemeClr val="tx1"/>
                    </a:gs>
                    <a:gs pos="30000">
                      <a:schemeClr val="tx1"/>
                    </a:gs>
                  </a:gsLst>
                  <a:lin ang="5400000" scaled="0"/>
                </a:gradFill>
              </a:rPr>
              <a:t>iOS</a:t>
            </a:r>
            <a:r>
              <a:rPr lang="en-US" sz="900" spc="-70" baseline="0" dirty="0" smtClean="0">
                <a:gradFill>
                  <a:gsLst>
                    <a:gs pos="2917">
                      <a:schemeClr val="tx1"/>
                    </a:gs>
                    <a:gs pos="30000">
                      <a:schemeClr val="tx1"/>
                    </a:gs>
                  </a:gsLst>
                  <a:lin ang="5400000" scaled="0"/>
                </a:gradFill>
              </a:rPr>
              <a:t> SDK </a:t>
            </a:r>
          </a:p>
          <a:p>
            <a:r>
              <a:rPr lang="en-US" sz="900" spc="-70" baseline="0" dirty="0" smtClean="0">
                <a:gradFill>
                  <a:gsLst>
                    <a:gs pos="2917">
                      <a:schemeClr val="tx1"/>
                    </a:gs>
                    <a:gs pos="30000">
                      <a:schemeClr val="tx1"/>
                    </a:gs>
                  </a:gsLst>
                  <a:lin ang="5400000" scaled="0"/>
                </a:gradFill>
              </a:rPr>
              <a:t>Android coming soon</a:t>
            </a:r>
            <a:endParaRPr lang="en-US" sz="900" spc="-70" dirty="0" smtClean="0">
              <a:gradFill>
                <a:gsLst>
                  <a:gs pos="2917">
                    <a:schemeClr val="tx1"/>
                  </a:gs>
                  <a:gs pos="30000">
                    <a:schemeClr val="tx1"/>
                  </a:gs>
                </a:gsLst>
                <a:lin ang="5400000" scaled="0"/>
              </a:gradFill>
            </a:endParaRPr>
          </a:p>
          <a:p>
            <a:endParaRPr lang="en-US" dirty="0" smtClean="0"/>
          </a:p>
          <a:p>
            <a:r>
              <a:rPr lang="en-US" dirty="0" smtClean="0"/>
              <a:t>Data</a:t>
            </a:r>
          </a:p>
          <a:p>
            <a:r>
              <a:rPr lang="en-US" sz="900" spc="-70" dirty="0" smtClean="0">
                <a:gradFill>
                  <a:gsLst>
                    <a:gs pos="2917">
                      <a:schemeClr val="tx1"/>
                    </a:gs>
                    <a:gs pos="30000">
                      <a:schemeClr val="tx1"/>
                    </a:gs>
                  </a:gsLst>
                  <a:lin ang="5400000" scaled="0"/>
                </a:gradFill>
              </a:rPr>
              <a:t>Structured Storage with SQL Database</a:t>
            </a:r>
          </a:p>
          <a:p>
            <a:r>
              <a:rPr lang="en-US" sz="900" spc="-70" dirty="0" smtClean="0">
                <a:gradFill>
                  <a:gsLst>
                    <a:gs pos="2917">
                      <a:schemeClr val="tx1"/>
                    </a:gs>
                    <a:gs pos="30000">
                      <a:schemeClr val="tx1"/>
                    </a:gs>
                  </a:gsLst>
                  <a:lin ang="5400000" scaled="0"/>
                </a:gradFill>
              </a:rPr>
              <a:t>Automatic service </a:t>
            </a:r>
            <a:r>
              <a:rPr lang="en-US" sz="900" spc="-70" dirty="0" err="1" smtClean="0">
                <a:gradFill>
                  <a:gsLst>
                    <a:gs pos="2917">
                      <a:schemeClr val="tx1"/>
                    </a:gs>
                    <a:gs pos="30000">
                      <a:schemeClr val="tx1"/>
                    </a:gs>
                  </a:gsLst>
                  <a:lin ang="5400000" scaled="0"/>
                </a:gradFill>
              </a:rPr>
              <a:t>api</a:t>
            </a:r>
            <a:r>
              <a:rPr lang="en-US" sz="900" spc="-70" dirty="0" smtClean="0">
                <a:gradFill>
                  <a:gsLst>
                    <a:gs pos="2917">
                      <a:schemeClr val="tx1"/>
                    </a:gs>
                    <a:gs pos="30000">
                      <a:schemeClr val="tx1"/>
                    </a:gs>
                  </a:gsLst>
                  <a:lin ang="5400000" scaled="0"/>
                </a:gradFill>
              </a:rPr>
              <a:t> generated for storage</a:t>
            </a:r>
          </a:p>
          <a:p>
            <a:r>
              <a:rPr lang="en-US" sz="900" spc="-70" dirty="0" smtClean="0">
                <a:gradFill>
                  <a:gsLst>
                    <a:gs pos="2917">
                      <a:schemeClr val="tx1"/>
                    </a:gs>
                    <a:gs pos="30000">
                      <a:schemeClr val="tx1"/>
                    </a:gs>
                  </a:gsLst>
                  <a:lin ang="5400000" scaled="0"/>
                </a:gradFill>
              </a:rPr>
              <a:t>Rich querying capability</a:t>
            </a:r>
          </a:p>
          <a:p>
            <a:endParaRPr lang="en-US" sz="900" spc="-70" dirty="0" smtClean="0">
              <a:gradFill>
                <a:gsLst>
                  <a:gs pos="2917">
                    <a:schemeClr val="tx1"/>
                  </a:gs>
                  <a:gs pos="30000">
                    <a:schemeClr val="tx1"/>
                  </a:gs>
                </a:gsLst>
                <a:lin ang="5400000" scaled="0"/>
              </a:gradFill>
            </a:endParaRPr>
          </a:p>
          <a:p>
            <a:r>
              <a:rPr lang="en-US" sz="900" spc="-70" dirty="0" smtClean="0">
                <a:gradFill>
                  <a:gsLst>
                    <a:gs pos="2917">
                      <a:schemeClr val="tx1"/>
                    </a:gs>
                    <a:gs pos="30000">
                      <a:schemeClr val="tx1"/>
                    </a:gs>
                  </a:gsLst>
                  <a:lin ang="5400000" scaled="0"/>
                </a:gradFill>
              </a:rPr>
              <a:t>Server Logic</a:t>
            </a:r>
          </a:p>
          <a:p>
            <a:r>
              <a:rPr lang="en-US" sz="900" spc="-70" dirty="0" smtClean="0">
                <a:gradFill>
                  <a:gsLst>
                    <a:gs pos="2917">
                      <a:schemeClr val="tx1"/>
                    </a:gs>
                    <a:gs pos="30000">
                      <a:schemeClr val="tx1"/>
                    </a:gs>
                  </a:gsLst>
                  <a:lin ang="5400000" scaled="0"/>
                </a:gradFill>
              </a:rPr>
              <a:t>Automatic CRUD service </a:t>
            </a:r>
            <a:r>
              <a:rPr lang="en-US" sz="900" spc="-70" dirty="0" err="1" smtClean="0">
                <a:gradFill>
                  <a:gsLst>
                    <a:gs pos="2917">
                      <a:schemeClr val="tx1"/>
                    </a:gs>
                    <a:gs pos="30000">
                      <a:schemeClr val="tx1"/>
                    </a:gs>
                  </a:gsLst>
                  <a:lin ang="5400000" scaled="0"/>
                </a:gradFill>
              </a:rPr>
              <a:t>api</a:t>
            </a:r>
            <a:r>
              <a:rPr lang="en-US" sz="900" spc="-70" dirty="0" smtClean="0">
                <a:gradFill>
                  <a:gsLst>
                    <a:gs pos="2917">
                      <a:schemeClr val="tx1"/>
                    </a:gs>
                    <a:gs pos="30000">
                      <a:schemeClr val="tx1"/>
                    </a:gs>
                  </a:gsLst>
                  <a:lin ang="5400000" scaled="0"/>
                </a:gradFill>
              </a:rPr>
              <a:t> generated</a:t>
            </a:r>
          </a:p>
          <a:p>
            <a:r>
              <a:rPr lang="en-US" sz="900" spc="-70" dirty="0" smtClean="0">
                <a:gradFill>
                  <a:gsLst>
                    <a:gs pos="2917">
                      <a:schemeClr val="tx1"/>
                    </a:gs>
                    <a:gs pos="30000">
                      <a:schemeClr val="tx1"/>
                    </a:gs>
                  </a:gsLst>
                  <a:lin ang="5400000" scaled="0"/>
                </a:gradFill>
              </a:rPr>
              <a:t>Ability to author server logic that intercepts CRUD operation pipeline</a:t>
            </a:r>
          </a:p>
          <a:p>
            <a:endParaRPr lang="en-US" sz="900" spc="-70" dirty="0" smtClean="0">
              <a:gradFill>
                <a:gsLst>
                  <a:gs pos="2917">
                    <a:schemeClr val="tx1"/>
                  </a:gs>
                  <a:gs pos="30000">
                    <a:schemeClr val="tx1"/>
                  </a:gs>
                </a:gsLst>
                <a:lin ang="5400000" scaled="0"/>
              </a:gradFill>
            </a:endParaRPr>
          </a:p>
          <a:p>
            <a:r>
              <a:rPr lang="en-US" sz="900" spc="-70" dirty="0" err="1" smtClean="0">
                <a:gradFill>
                  <a:gsLst>
                    <a:gs pos="2917">
                      <a:schemeClr val="tx1"/>
                    </a:gs>
                    <a:gs pos="30000">
                      <a:schemeClr val="tx1"/>
                    </a:gs>
                  </a:gsLst>
                  <a:lin ang="5400000" scaled="0"/>
                </a:gradFill>
              </a:rPr>
              <a:t>Auth</a:t>
            </a:r>
            <a:endParaRPr lang="en-US" sz="900" spc="-70" dirty="0" smtClean="0">
              <a:gradFill>
                <a:gsLst>
                  <a:gs pos="2917">
                    <a:schemeClr val="tx1"/>
                  </a:gs>
                  <a:gs pos="30000">
                    <a:schemeClr val="tx1"/>
                  </a:gs>
                </a:gsLst>
                <a:lin ang="5400000" scaled="0"/>
              </a:gradFill>
            </a:endParaRPr>
          </a:p>
          <a:p>
            <a:r>
              <a:rPr lang="en-US" sz="900" b="0" spc="-70" dirty="0" smtClean="0">
                <a:gradFill>
                  <a:gsLst>
                    <a:gs pos="2917">
                      <a:schemeClr val="tx1"/>
                    </a:gs>
                    <a:gs pos="30000">
                      <a:schemeClr val="tx1"/>
                    </a:gs>
                  </a:gsLst>
                  <a:lin ang="5400000" scaled="0"/>
                </a:gradFill>
              </a:rPr>
              <a:t>Authenticate against Windows Live</a:t>
            </a:r>
          </a:p>
          <a:p>
            <a:r>
              <a:rPr lang="en-US" sz="900" b="0" spc="-70" dirty="0" smtClean="0">
                <a:gradFill>
                  <a:gsLst>
                    <a:gs pos="2917">
                      <a:schemeClr val="tx1"/>
                    </a:gs>
                    <a:gs pos="30000">
                      <a:schemeClr val="tx1"/>
                    </a:gs>
                  </a:gsLst>
                  <a:lin ang="5400000" scaled="0"/>
                </a:gradFill>
              </a:rPr>
              <a:t>Table level authorization with no code  </a:t>
            </a:r>
          </a:p>
          <a:p>
            <a:r>
              <a:rPr lang="en-US" sz="900" b="0" spc="-70" dirty="0" smtClean="0">
                <a:gradFill>
                  <a:gsLst>
                    <a:gs pos="2917">
                      <a:schemeClr val="tx1"/>
                    </a:gs>
                    <a:gs pos="30000">
                      <a:schemeClr val="tx1"/>
                    </a:gs>
                  </a:gsLst>
                  <a:lin ang="5400000" scaled="0"/>
                </a:gradFill>
              </a:rPr>
              <a:t>More granular control with server side scripts</a:t>
            </a:r>
          </a:p>
          <a:p>
            <a:endParaRPr lang="en-US" sz="900" spc="-70" dirty="0" smtClean="0">
              <a:gradFill>
                <a:gsLst>
                  <a:gs pos="2917">
                    <a:schemeClr val="tx1"/>
                  </a:gs>
                  <a:gs pos="30000">
                    <a:schemeClr val="tx1"/>
                  </a:gs>
                </a:gsLst>
                <a:lin ang="5400000" scaled="0"/>
              </a:gradFill>
            </a:endParaRPr>
          </a:p>
          <a:p>
            <a:r>
              <a:rPr lang="en-US" sz="900" spc="-70" dirty="0" smtClean="0">
                <a:gradFill>
                  <a:gsLst>
                    <a:gs pos="2917">
                      <a:schemeClr val="tx1"/>
                    </a:gs>
                    <a:gs pos="30000">
                      <a:schemeClr val="tx1"/>
                    </a:gs>
                  </a:gsLst>
                  <a:lin ang="5400000" scaled="0"/>
                </a:gradFill>
              </a:rPr>
              <a:t>Notifications</a:t>
            </a:r>
          </a:p>
          <a:p>
            <a:r>
              <a:rPr lang="en-US" sz="900" spc="-70" dirty="0" smtClean="0">
                <a:gradFill>
                  <a:gsLst>
                    <a:gs pos="2917">
                      <a:schemeClr val="tx1"/>
                    </a:gs>
                    <a:gs pos="30000">
                      <a:schemeClr val="tx1"/>
                    </a:gs>
                  </a:gsLst>
                  <a:lin ang="5400000" scaled="0"/>
                </a:gradFill>
              </a:rPr>
              <a:t>Integrates with WNS to provide Toast, Tile, Badge and Raw notifications</a:t>
            </a:r>
          </a:p>
          <a:p>
            <a:r>
              <a:rPr lang="en-US" sz="900" spc="-70" dirty="0" smtClean="0">
                <a:gradFill>
                  <a:gsLst>
                    <a:gs pos="2917">
                      <a:schemeClr val="tx1"/>
                    </a:gs>
                    <a:gs pos="30000">
                      <a:schemeClr val="tx1"/>
                    </a:gs>
                  </a:gsLst>
                  <a:lin ang="5400000" scaled="0"/>
                </a:gradFill>
              </a:rPr>
              <a:t>Clean object model to compose notifications</a:t>
            </a:r>
          </a:p>
          <a:p>
            <a:endParaRPr lang="en-US" sz="900" spc="-70" dirty="0" smtClean="0">
              <a:gradFill>
                <a:gsLst>
                  <a:gs pos="2917">
                    <a:schemeClr val="tx1"/>
                  </a:gs>
                  <a:gs pos="30000">
                    <a:schemeClr val="tx1"/>
                  </a:gs>
                </a:gsLst>
                <a:lin ang="5400000" scaled="0"/>
              </a:gradFill>
            </a:endParaRPr>
          </a:p>
          <a:p>
            <a:r>
              <a:rPr lang="en-US" sz="900" spc="-70" dirty="0" smtClean="0">
                <a:gradFill>
                  <a:gsLst>
                    <a:gs pos="2917">
                      <a:schemeClr val="tx1"/>
                    </a:gs>
                    <a:gs pos="30000">
                      <a:schemeClr val="tx1"/>
                    </a:gs>
                  </a:gsLst>
                  <a:lin ang="5400000" scaled="0"/>
                </a:gradFill>
              </a:rPr>
              <a:t>Scheduler</a:t>
            </a:r>
          </a:p>
          <a:p>
            <a:r>
              <a:rPr lang="en-US" sz="900" spc="-70" dirty="0" smtClean="0">
                <a:gradFill>
                  <a:gsLst>
                    <a:gs pos="2917">
                      <a:schemeClr val="tx1"/>
                    </a:gs>
                    <a:gs pos="30000">
                      <a:schemeClr val="tx1"/>
                    </a:gs>
                  </a:gsLst>
                  <a:lin ang="5400000" scaled="0"/>
                </a:gradFill>
              </a:rPr>
              <a:t>Scheduler</a:t>
            </a:r>
            <a:r>
              <a:rPr lang="en-US" sz="900" spc="-70" baseline="0" dirty="0" smtClean="0">
                <a:gradFill>
                  <a:gsLst>
                    <a:gs pos="2917">
                      <a:schemeClr val="tx1"/>
                    </a:gs>
                    <a:gs pos="30000">
                      <a:schemeClr val="tx1"/>
                    </a:gs>
                  </a:gsLst>
                  <a:lin ang="5400000" scaled="0"/>
                </a:gradFill>
              </a:rPr>
              <a:t> allows you to run Scripts to perform tasks at a scheduled basis minutes, </a:t>
            </a:r>
            <a:r>
              <a:rPr lang="en-US" sz="900" spc="-70" baseline="0" dirty="0" err="1" smtClean="0">
                <a:gradFill>
                  <a:gsLst>
                    <a:gs pos="2917">
                      <a:schemeClr val="tx1"/>
                    </a:gs>
                    <a:gs pos="30000">
                      <a:schemeClr val="tx1"/>
                    </a:gs>
                  </a:gsLst>
                  <a:lin ang="5400000" scaled="0"/>
                </a:gradFill>
              </a:rPr>
              <a:t>hrly</a:t>
            </a:r>
            <a:r>
              <a:rPr lang="en-US" sz="900" spc="-70" baseline="0" dirty="0" smtClean="0">
                <a:gradFill>
                  <a:gsLst>
                    <a:gs pos="2917">
                      <a:schemeClr val="tx1"/>
                    </a:gs>
                    <a:gs pos="30000">
                      <a:schemeClr val="tx1"/>
                    </a:gs>
                  </a:gsLst>
                  <a:lin ang="5400000" scaled="0"/>
                </a:gradFill>
              </a:rPr>
              <a:t>, daily, monthly or on demand.</a:t>
            </a:r>
          </a:p>
          <a:p>
            <a:r>
              <a:rPr lang="en-US" sz="900" spc="-70" baseline="0" dirty="0" smtClean="0">
                <a:gradFill>
                  <a:gsLst>
                    <a:gs pos="2917">
                      <a:schemeClr val="tx1"/>
                    </a:gs>
                    <a:gs pos="30000">
                      <a:schemeClr val="tx1"/>
                    </a:gs>
                  </a:gsLst>
                  <a:lin ang="5400000" scaled="0"/>
                </a:gradFill>
              </a:rPr>
              <a:t>Example – aggregate News RSS feeds and send a tile update every 15 minutes </a:t>
            </a:r>
            <a:endParaRPr lang="en-US" sz="900" spc="-70" dirty="0" smtClean="0">
              <a:gradFill>
                <a:gsLst>
                  <a:gs pos="2917">
                    <a:schemeClr val="tx1"/>
                  </a:gs>
                  <a:gs pos="30000">
                    <a:schemeClr val="tx1"/>
                  </a:gs>
                </a:gsLst>
                <a:lin ang="5400000" scaled="0"/>
              </a:gradFill>
            </a:endParaRPr>
          </a:p>
          <a:p>
            <a:endParaRPr lang="en-US" sz="900" spc="-70" dirty="0" smtClean="0">
              <a:gradFill>
                <a:gsLst>
                  <a:gs pos="2917">
                    <a:schemeClr val="tx1"/>
                  </a:gs>
                  <a:gs pos="30000">
                    <a:schemeClr val="tx1"/>
                  </a:gs>
                </a:gsLst>
                <a:lin ang="5400000" scaled="0"/>
              </a:gradFill>
            </a:endParaRPr>
          </a:p>
          <a:p>
            <a:endParaRPr lang="en-US" sz="900" spc="-70" dirty="0" smtClean="0">
              <a:gradFill>
                <a:gsLst>
                  <a:gs pos="2917">
                    <a:schemeClr val="tx1"/>
                  </a:gs>
                  <a:gs pos="30000">
                    <a:schemeClr val="tx1"/>
                  </a:gs>
                </a:gsLst>
                <a:lin ang="5400000" scaled="0"/>
              </a:gradFill>
            </a:endParaRPr>
          </a:p>
          <a:p>
            <a:r>
              <a:rPr lang="en-US" sz="900" spc="-70" dirty="0" smtClean="0">
                <a:gradFill>
                  <a:gsLst>
                    <a:gs pos="2917">
                      <a:schemeClr val="tx1"/>
                    </a:gs>
                    <a:gs pos="30000">
                      <a:schemeClr val="tx1"/>
                    </a:gs>
                  </a:gsLst>
                  <a:lin ang="5400000" scaled="0"/>
                </a:gradFill>
              </a:rPr>
              <a:t>Logging  and Diagnostics for monitoring</a:t>
            </a:r>
          </a:p>
          <a:p>
            <a:r>
              <a:rPr lang="en-US" sz="900" spc="-70" dirty="0" smtClean="0">
                <a:gradFill>
                  <a:gsLst>
                    <a:gs pos="2917">
                      <a:schemeClr val="tx1"/>
                    </a:gs>
                    <a:gs pos="30000">
                      <a:schemeClr val="tx1"/>
                    </a:gs>
                  </a:gsLst>
                  <a:lin ang="5400000" scaled="0"/>
                </a:gradFill>
              </a:rPr>
              <a:t>Scale out and Scale</a:t>
            </a:r>
            <a:r>
              <a:rPr lang="en-US" sz="900" spc="-70" baseline="0" dirty="0" smtClean="0">
                <a:gradFill>
                  <a:gsLst>
                    <a:gs pos="2917">
                      <a:schemeClr val="tx1"/>
                    </a:gs>
                    <a:gs pos="30000">
                      <a:schemeClr val="tx1"/>
                    </a:gs>
                  </a:gsLst>
                  <a:lin ang="5400000" scaled="0"/>
                </a:gradFill>
              </a:rPr>
              <a:t> up</a:t>
            </a:r>
            <a:endParaRPr lang="en-US" sz="900" kern="1200" dirty="0" smtClean="0">
              <a:solidFill>
                <a:schemeClr val="tx1"/>
              </a:solidFill>
              <a:effectLst/>
              <a:latin typeface="Segoe UI" pitchFamily="34" charset="0"/>
              <a:ea typeface="+mn-ea"/>
              <a:cs typeface="+mn-cs"/>
            </a:endParaRPr>
          </a:p>
          <a:p>
            <a:endParaRPr lang="en-US" sz="900" spc="-70" dirty="0" smtClean="0">
              <a:gradFill>
                <a:gsLst>
                  <a:gs pos="2917">
                    <a:schemeClr val="tx1"/>
                  </a:gs>
                  <a:gs pos="30000">
                    <a:schemeClr val="tx1"/>
                  </a:gs>
                </a:gsLst>
                <a:lin ang="5400000" scaled="0"/>
              </a:gradFill>
            </a:endParaRPr>
          </a:p>
          <a:p>
            <a:endParaRPr lang="en-US" sz="900" spc="-70" dirty="0" smtClean="0">
              <a:gradFill>
                <a:gsLst>
                  <a:gs pos="2917">
                    <a:schemeClr val="tx1"/>
                  </a:gs>
                  <a:gs pos="30000">
                    <a:schemeClr val="tx1"/>
                  </a:gs>
                </a:gsLst>
                <a:lin ang="5400000" scaled="0"/>
              </a:gradFill>
            </a:endParaRPr>
          </a:p>
          <a:p>
            <a:endParaRPr lang="en-US" dirty="0" smtClean="0"/>
          </a:p>
          <a:p>
            <a:endParaRPr lang="en-US" dirty="0"/>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E89E021-5E9A-4AC8-A507-4074AD3DB279}" type="datetime1">
              <a:rPr lang="en-US" smtClean="0">
                <a:solidFill>
                  <a:prstClr val="black"/>
                </a:solidFill>
              </a:rPr>
              <a:pPr/>
              <a:t>9/16/2013</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3</a:t>
            </a:fld>
            <a:endParaRPr lang="en-US" dirty="0">
              <a:solidFill>
                <a:prstClr val="black"/>
              </a:solidFill>
            </a:endParaRPr>
          </a:p>
        </p:txBody>
      </p:sp>
    </p:spTree>
    <p:extLst>
      <p:ext uri="{BB962C8B-B14F-4D97-AF65-F5344CB8AC3E}">
        <p14:creationId xmlns:p14="http://schemas.microsoft.com/office/powerpoint/2010/main" val="393103233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Outline the Key Scenarios Mobile Services can be used for</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 </a:t>
            </a:r>
            <a:endParaRPr lang="en-US" sz="900" kern="1200" dirty="0" smtClean="0">
              <a:solidFill>
                <a:schemeClr val="tx1"/>
              </a:solidFill>
              <a:effectLst/>
              <a:latin typeface="Segoe UI"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alpha val="99000"/>
                  </a:prstClr>
                </a:solidFill>
              </a:rPr>
              <a:pPr/>
              <a:t>74</a:t>
            </a:fld>
            <a:endParaRPr lang="en-US" dirty="0">
              <a:solidFill>
                <a:prstClr val="black">
                  <a:alpha val="99000"/>
                </a:prstClr>
              </a:solidFill>
            </a:endParaRPr>
          </a:p>
        </p:txBody>
      </p:sp>
    </p:spTree>
    <p:extLst>
      <p:ext uri="{BB962C8B-B14F-4D97-AF65-F5344CB8AC3E}">
        <p14:creationId xmlns:p14="http://schemas.microsoft.com/office/powerpoint/2010/main" val="345126700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indent="-171450">
              <a:buFont typeface="Arial" pitchFamily="34" charset="0"/>
              <a:buChar char="•"/>
            </a:pPr>
            <a:r>
              <a:rPr lang="en-US" i="0" dirty="0" smtClean="0"/>
              <a:t>Detail the Modules</a:t>
            </a:r>
            <a:r>
              <a:rPr lang="en-US" i="0" baseline="0" dirty="0" smtClean="0"/>
              <a:t> and </a:t>
            </a:r>
            <a:r>
              <a:rPr lang="en-US" i="0" baseline="0" dirty="0" err="1" smtClean="0"/>
              <a:t>Globals</a:t>
            </a:r>
            <a:r>
              <a:rPr lang="en-US" i="0" baseline="0" dirty="0" smtClean="0"/>
              <a:t> available to server side scripts.</a:t>
            </a:r>
            <a:endParaRPr lang="en-US" i="0" dirty="0" smtClean="0"/>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alk through the slide</a:t>
            </a: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Push.* currently supports push notifications for W8 (</a:t>
            </a:r>
            <a:r>
              <a:rPr lang="en-US" sz="900" kern="1200" dirty="0" err="1" smtClean="0">
                <a:solidFill>
                  <a:schemeClr val="tx1"/>
                </a:solidFill>
                <a:effectLst/>
                <a:latin typeface="Segoe UI" pitchFamily="34" charset="0"/>
                <a:ea typeface="+mn-ea"/>
                <a:cs typeface="+mn-cs"/>
              </a:rPr>
              <a:t>push.wns</a:t>
            </a:r>
            <a:r>
              <a:rPr lang="en-US" sz="900" kern="1200" dirty="0" smtClean="0">
                <a:solidFill>
                  <a:schemeClr val="tx1"/>
                </a:solidFill>
                <a:effectLst/>
                <a:latin typeface="Segoe UI" pitchFamily="34" charset="0"/>
                <a:ea typeface="+mn-ea"/>
                <a:cs typeface="+mn-cs"/>
              </a:rPr>
              <a:t>),</a:t>
            </a:r>
            <a:r>
              <a:rPr lang="en-US" sz="900" kern="1200" baseline="0" dirty="0" smtClean="0">
                <a:solidFill>
                  <a:schemeClr val="tx1"/>
                </a:solidFill>
                <a:effectLst/>
                <a:latin typeface="Segoe UI" pitchFamily="34" charset="0"/>
                <a:ea typeface="+mn-ea"/>
                <a:cs typeface="+mn-cs"/>
              </a:rPr>
              <a:t> WP8 (</a:t>
            </a:r>
            <a:r>
              <a:rPr lang="en-US" sz="900" kern="1200" baseline="0" dirty="0" err="1" smtClean="0">
                <a:solidFill>
                  <a:schemeClr val="tx1"/>
                </a:solidFill>
                <a:effectLst/>
                <a:latin typeface="Segoe UI" pitchFamily="34" charset="0"/>
                <a:ea typeface="+mn-ea"/>
                <a:cs typeface="+mn-cs"/>
              </a:rPr>
              <a:t>push.mpns</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iOS</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push.apns</a:t>
            </a:r>
            <a:r>
              <a:rPr lang="en-US" sz="900" kern="1200" baseline="0" dirty="0" smtClean="0">
                <a:solidFill>
                  <a:schemeClr val="tx1"/>
                </a:solidFill>
                <a:effectLst/>
                <a:latin typeface="Segoe UI" pitchFamily="34" charset="0"/>
                <a:ea typeface="+mn-ea"/>
                <a:cs typeface="+mn-cs"/>
              </a:rPr>
              <a:t>), Android coming soon</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baseline="0" dirty="0" smtClean="0">
                <a:solidFill>
                  <a:schemeClr val="tx1"/>
                </a:solidFill>
                <a:effectLst/>
                <a:latin typeface="Segoe UI" pitchFamily="34" charset="0"/>
                <a:ea typeface="+mn-ea"/>
                <a:cs typeface="+mn-cs"/>
              </a:rPr>
              <a:t>A subset of Node.js modules are also supported</a:t>
            </a:r>
          </a:p>
          <a:p>
            <a:pPr marL="171450" lvl="0" indent="-171450">
              <a:buFont typeface="Arial" pitchFamily="34" charset="0"/>
              <a:buChar char="•"/>
            </a:pPr>
            <a:r>
              <a:rPr lang="en-US" sz="900" kern="1200" baseline="0" dirty="0" smtClean="0">
                <a:solidFill>
                  <a:schemeClr val="tx1"/>
                </a:solidFill>
                <a:effectLst/>
                <a:latin typeface="Segoe UI" pitchFamily="34" charset="0"/>
                <a:ea typeface="+mn-ea"/>
                <a:cs typeface="+mn-cs"/>
              </a:rPr>
              <a:t>Performing SQL queries is something that some people are not aware of.  Instead of tables if you want to use </a:t>
            </a:r>
            <a:r>
              <a:rPr lang="en-US" sz="900" kern="1200" baseline="0" dirty="0" err="1" smtClean="0">
                <a:solidFill>
                  <a:schemeClr val="tx1"/>
                </a:solidFill>
                <a:effectLst/>
                <a:latin typeface="Segoe UI" pitchFamily="34" charset="0"/>
                <a:ea typeface="+mn-ea"/>
                <a:cs typeface="+mn-cs"/>
              </a:rPr>
              <a:t>mssql</a:t>
            </a:r>
            <a:r>
              <a:rPr lang="en-US" sz="900" kern="1200" baseline="0" dirty="0" smtClean="0">
                <a:solidFill>
                  <a:schemeClr val="tx1"/>
                </a:solidFill>
                <a:effectLst/>
                <a:latin typeface="Segoe UI" pitchFamily="34" charset="0"/>
                <a:ea typeface="+mn-ea"/>
                <a:cs typeface="+mn-cs"/>
              </a:rPr>
              <a:t> you can execute </a:t>
            </a:r>
            <a:r>
              <a:rPr lang="en-US" sz="900" kern="1200" baseline="0" dirty="0" err="1" smtClean="0">
                <a:solidFill>
                  <a:schemeClr val="tx1"/>
                </a:solidFill>
                <a:effectLst/>
                <a:latin typeface="Segoe UI" pitchFamily="34" charset="0"/>
                <a:ea typeface="+mn-ea"/>
                <a:cs typeface="+mn-cs"/>
              </a:rPr>
              <a:t>sql</a:t>
            </a:r>
            <a:r>
              <a:rPr lang="en-US" sz="900" kern="1200" baseline="0" dirty="0" smtClean="0">
                <a:solidFill>
                  <a:schemeClr val="tx1"/>
                </a:solidFill>
                <a:effectLst/>
                <a:latin typeface="Segoe UI" pitchFamily="34" charset="0"/>
                <a:ea typeface="+mn-ea"/>
                <a:cs typeface="+mn-cs"/>
              </a:rPr>
              <a:t> directly.  One useful example of this would be to execute a store procedure</a:t>
            </a:r>
          </a:p>
          <a:p>
            <a:pPr marL="171450" lvl="0" indent="-171450">
              <a:buFont typeface="Arial" pitchFamily="34" charset="0"/>
              <a:buChar char="•"/>
            </a:pPr>
            <a:endParaRPr lang="en-US" sz="900" kern="1200" baseline="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baseline="0" dirty="0" smtClean="0">
                <a:solidFill>
                  <a:schemeClr val="tx1"/>
                </a:solidFill>
                <a:effectLst/>
                <a:latin typeface="Segoe UI" pitchFamily="34" charset="0"/>
                <a:ea typeface="+mn-ea"/>
                <a:cs typeface="+mn-cs"/>
              </a:rPr>
              <a:t>Latest full list here: http://msdn.microsoft.com/en-us/library/windowsazure/jj554226.aspx </a:t>
            </a:r>
          </a:p>
          <a:p>
            <a:pPr marL="0" lvl="0" indent="0">
              <a:buFont typeface="Arial" pitchFamily="34" charset="0"/>
              <a:buNone/>
            </a:pPr>
            <a:endParaRPr lang="en-US" sz="900" kern="1200" baseline="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alpha val="99000"/>
                  </a:prstClr>
                </a:solidFill>
              </a:rPr>
              <a:pPr/>
              <a:t>75</a:t>
            </a:fld>
            <a:endParaRPr lang="en-US" dirty="0">
              <a:solidFill>
                <a:prstClr val="black">
                  <a:alpha val="99000"/>
                </a:prstClr>
              </a:solidFill>
            </a:endParaRPr>
          </a:p>
        </p:txBody>
      </p:sp>
    </p:spTree>
    <p:extLst>
      <p:ext uri="{BB962C8B-B14F-4D97-AF65-F5344CB8AC3E}">
        <p14:creationId xmlns:p14="http://schemas.microsoft.com/office/powerpoint/2010/main" val="302878762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Detail the push notification lifecycle to give context for the demo</a:t>
            </a:r>
            <a:r>
              <a:rPr lang="en-US" sz="900" kern="1200" baseline="0" dirty="0" smtClean="0">
                <a:solidFill>
                  <a:schemeClr val="tx1"/>
                </a:solidFill>
                <a:effectLst/>
                <a:latin typeface="Segoe UI" pitchFamily="34" charset="0"/>
                <a:ea typeface="+mn-ea"/>
                <a:cs typeface="+mn-cs"/>
              </a:rPr>
              <a:t> coming up</a:t>
            </a:r>
          </a:p>
          <a:p>
            <a:pPr marL="171450" lvl="0" indent="-171450">
              <a:buFont typeface="Arial" pitchFamily="34" charset="0"/>
              <a:buChar char="•"/>
            </a:pPr>
            <a:r>
              <a:rPr lang="en-US" sz="900" kern="1200" baseline="0" dirty="0" smtClean="0">
                <a:solidFill>
                  <a:schemeClr val="tx1"/>
                </a:solidFill>
                <a:effectLst/>
                <a:latin typeface="Segoe UI" pitchFamily="34" charset="0"/>
                <a:ea typeface="+mn-ea"/>
                <a:cs typeface="+mn-cs"/>
              </a:rPr>
              <a:t>WNS is free</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Show the start screen and talk about how push notifications can be used to </a:t>
            </a:r>
            <a:r>
              <a:rPr lang="en-US" sz="900" kern="1200" dirty="0" err="1" smtClean="0">
                <a:solidFill>
                  <a:schemeClr val="tx1"/>
                </a:solidFill>
                <a:effectLst/>
                <a:latin typeface="Segoe UI" pitchFamily="34" charset="0"/>
                <a:ea typeface="+mn-ea"/>
                <a:cs typeface="+mn-cs"/>
              </a:rPr>
              <a:t>lightup</a:t>
            </a:r>
            <a:r>
              <a:rPr lang="en-US" sz="900" kern="1200" dirty="0" smtClean="0">
                <a:solidFill>
                  <a:schemeClr val="tx1"/>
                </a:solidFill>
                <a:effectLst/>
                <a:latin typeface="Segoe UI" pitchFamily="34" charset="0"/>
                <a:ea typeface="+mn-ea"/>
                <a:cs typeface="+mn-cs"/>
              </a:rPr>
              <a:t> the start screen</a:t>
            </a: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Green components are those FREE services Microsoft provides</a:t>
            </a: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Blue components are</a:t>
            </a:r>
            <a:r>
              <a:rPr lang="en-US" sz="900" kern="1200" baseline="0" dirty="0" smtClean="0">
                <a:solidFill>
                  <a:schemeClr val="tx1"/>
                </a:solidFill>
                <a:effectLst/>
                <a:latin typeface="Segoe UI" pitchFamily="34" charset="0"/>
                <a:ea typeface="+mn-ea"/>
                <a:cs typeface="+mn-cs"/>
              </a:rPr>
              <a:t> those components that the application developer must write.</a:t>
            </a:r>
          </a:p>
          <a:p>
            <a:pPr marL="171450" lvl="0" indent="-171450">
              <a:buFont typeface="Arial" pitchFamily="34" charset="0"/>
              <a:buChar char="•"/>
            </a:pPr>
            <a:r>
              <a:rPr lang="en-US" sz="900" kern="1200" baseline="0" dirty="0" smtClean="0">
                <a:solidFill>
                  <a:schemeClr val="tx1"/>
                </a:solidFill>
                <a:effectLst/>
                <a:latin typeface="Segoe UI" pitchFamily="34" charset="0"/>
                <a:ea typeface="+mn-ea"/>
                <a:cs typeface="+mn-cs"/>
              </a:rPr>
              <a:t>Step 1 – using the </a:t>
            </a:r>
            <a:r>
              <a:rPr lang="en-US" sz="900" kern="1200" baseline="0" dirty="0" err="1" smtClean="0">
                <a:solidFill>
                  <a:schemeClr val="tx1"/>
                </a:solidFill>
                <a:effectLst/>
                <a:latin typeface="Segoe UI" pitchFamily="34" charset="0"/>
                <a:ea typeface="+mn-ea"/>
                <a:cs typeface="+mn-cs"/>
              </a:rPr>
              <a:t>WinRT</a:t>
            </a:r>
            <a:r>
              <a:rPr lang="en-US" sz="900" kern="1200" baseline="0" dirty="0" smtClean="0">
                <a:solidFill>
                  <a:schemeClr val="tx1"/>
                </a:solidFill>
                <a:effectLst/>
                <a:latin typeface="Segoe UI" pitchFamily="34" charset="0"/>
                <a:ea typeface="+mn-ea"/>
                <a:cs typeface="+mn-cs"/>
              </a:rPr>
              <a:t> API request a channel.  A channel uniquely identifies an app and its tile.</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Step</a:t>
            </a:r>
            <a:r>
              <a:rPr lang="en-US" sz="900" kern="1200" baseline="0" dirty="0" smtClean="0">
                <a:solidFill>
                  <a:schemeClr val="tx1"/>
                </a:solidFill>
                <a:effectLst/>
                <a:latin typeface="Segoe UI" pitchFamily="34" charset="0"/>
                <a:ea typeface="+mn-ea"/>
                <a:cs typeface="+mn-cs"/>
              </a:rPr>
              <a:t> 2 – channel is then registered and stored in your Mobile service</a:t>
            </a:r>
          </a:p>
          <a:p>
            <a:pPr marL="171450" lvl="0" indent="-171450">
              <a:buFont typeface="Arial" pitchFamily="34" charset="0"/>
              <a:buChar char="•"/>
            </a:pPr>
            <a:r>
              <a:rPr lang="en-US" sz="900" kern="1200" baseline="0" dirty="0" smtClean="0">
                <a:solidFill>
                  <a:schemeClr val="tx1"/>
                </a:solidFill>
                <a:effectLst/>
                <a:latin typeface="Segoe UI" pitchFamily="34" charset="0"/>
                <a:ea typeface="+mn-ea"/>
                <a:cs typeface="+mn-cs"/>
              </a:rPr>
              <a:t>Step 3 – When your application specific logic determines that it is time to send a notification you can retrieve the channel and compose a notification to be sent.  This is a two step process that first requires your service to </a:t>
            </a:r>
            <a:r>
              <a:rPr lang="en-US" sz="900" kern="1200" baseline="0" dirty="0" err="1" smtClean="0">
                <a:solidFill>
                  <a:schemeClr val="tx1"/>
                </a:solidFill>
                <a:effectLst/>
                <a:latin typeface="Segoe UI" pitchFamily="34" charset="0"/>
                <a:ea typeface="+mn-ea"/>
                <a:cs typeface="+mn-cs"/>
              </a:rPr>
              <a:t>auth</a:t>
            </a:r>
            <a:r>
              <a:rPr lang="en-US" sz="900" kern="1200" baseline="0" dirty="0" smtClean="0">
                <a:solidFill>
                  <a:schemeClr val="tx1"/>
                </a:solidFill>
                <a:effectLst/>
                <a:latin typeface="Segoe UI" pitchFamily="34" charset="0"/>
                <a:ea typeface="+mn-ea"/>
                <a:cs typeface="+mn-cs"/>
              </a:rPr>
              <a:t> against WNS and then compose and send a notification.  Mobile Services makes this step incredibly easy.</a:t>
            </a:r>
          </a:p>
          <a:p>
            <a:pPr marL="171450" lvl="0" indent="-171450">
              <a:buFont typeface="Arial" pitchFamily="34" charset="0"/>
              <a:buChar char="•"/>
            </a:pPr>
            <a:r>
              <a:rPr lang="en-US" sz="900" kern="1200" baseline="0" dirty="0" smtClean="0">
                <a:solidFill>
                  <a:schemeClr val="tx1"/>
                </a:solidFill>
                <a:effectLst/>
                <a:latin typeface="Segoe UI" pitchFamily="34" charset="0"/>
                <a:ea typeface="+mn-ea"/>
                <a:cs typeface="+mn-cs"/>
              </a:rPr>
              <a:t>Step 3 -  part 2 – WNS will take care of delivering the notification and the Notification client platform will deal with surfacing that notification for you and rendering the tile/toast/badge </a:t>
            </a:r>
            <a:r>
              <a:rPr lang="en-US" sz="900" kern="1200" baseline="0" dirty="0" err="1" smtClean="0">
                <a:solidFill>
                  <a:schemeClr val="tx1"/>
                </a:solidFill>
                <a:effectLst/>
                <a:latin typeface="Segoe UI" pitchFamily="34" charset="0"/>
                <a:ea typeface="+mn-ea"/>
                <a:cs typeface="+mn-cs"/>
              </a:rPr>
              <a:t>etc</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6</a:t>
            </a:fld>
            <a:endParaRPr lang="en-US" dirty="0">
              <a:solidFill>
                <a:prstClr val="black"/>
              </a:solidFill>
            </a:endParaRPr>
          </a:p>
        </p:txBody>
      </p:sp>
    </p:spTree>
    <p:extLst>
      <p:ext uri="{BB962C8B-B14F-4D97-AF65-F5344CB8AC3E}">
        <p14:creationId xmlns:p14="http://schemas.microsoft.com/office/powerpoint/2010/main" val="1124764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75935309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Detail the types of notifications available with WNS</a:t>
            </a:r>
            <a:endParaRPr lang="en-US" sz="900" kern="1200" baseline="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baseline="0" dirty="0" smtClean="0">
                <a:solidFill>
                  <a:schemeClr val="tx1"/>
                </a:solidFill>
                <a:effectLst/>
                <a:latin typeface="Segoe UI" pitchFamily="34" charset="0"/>
                <a:ea typeface="+mn-ea"/>
                <a:cs typeface="+mn-cs"/>
              </a:rPr>
              <a:t>Detail how WNS </a:t>
            </a:r>
            <a:r>
              <a:rPr lang="en-US" sz="900" kern="1200" baseline="0" dirty="0" err="1" smtClean="0">
                <a:solidFill>
                  <a:schemeClr val="tx1"/>
                </a:solidFill>
                <a:effectLst/>
                <a:latin typeface="Segoe UI" pitchFamily="34" charset="0"/>
                <a:ea typeface="+mn-ea"/>
                <a:cs typeface="+mn-cs"/>
              </a:rPr>
              <a:t>Auth</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credentails</a:t>
            </a:r>
            <a:r>
              <a:rPr lang="en-US" sz="900" kern="1200" baseline="0" dirty="0" smtClean="0">
                <a:solidFill>
                  <a:schemeClr val="tx1"/>
                </a:solidFill>
                <a:effectLst/>
                <a:latin typeface="Segoe UI" pitchFamily="34" charset="0"/>
                <a:ea typeface="+mn-ea"/>
                <a:cs typeface="+mn-cs"/>
              </a:rPr>
              <a:t> are captured </a:t>
            </a:r>
          </a:p>
          <a:p>
            <a:pPr marL="171450" lvl="0" indent="-171450">
              <a:buFont typeface="Arial" pitchFamily="34" charset="0"/>
              <a:buChar char="•"/>
            </a:pPr>
            <a:r>
              <a:rPr lang="en-US" sz="900" kern="1200" baseline="0" dirty="0" smtClean="0">
                <a:solidFill>
                  <a:schemeClr val="tx1"/>
                </a:solidFill>
                <a:effectLst/>
                <a:latin typeface="Segoe UI" pitchFamily="34" charset="0"/>
                <a:ea typeface="+mn-ea"/>
                <a:cs typeface="+mn-cs"/>
              </a:rPr>
              <a:t>Detail the API  namespace for push</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alk through slide</a:t>
            </a: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Raw notification support coming soon. </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 </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alpha val="99000"/>
                  </a:prstClr>
                </a:solidFill>
              </a:rPr>
              <a:pPr/>
              <a:t>77</a:t>
            </a:fld>
            <a:endParaRPr lang="en-US" dirty="0">
              <a:solidFill>
                <a:prstClr val="black">
                  <a:alpha val="99000"/>
                </a:prstClr>
              </a:solidFill>
            </a:endParaRPr>
          </a:p>
        </p:txBody>
      </p:sp>
    </p:spTree>
    <p:extLst>
      <p:ext uri="{BB962C8B-B14F-4D97-AF65-F5344CB8AC3E}">
        <p14:creationId xmlns:p14="http://schemas.microsoft.com/office/powerpoint/2010/main" val="125446802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Detail </a:t>
            </a:r>
            <a:r>
              <a:rPr lang="en-US" sz="900" kern="1200" dirty="0" err="1" smtClean="0">
                <a:solidFill>
                  <a:schemeClr val="tx1"/>
                </a:solidFill>
                <a:effectLst/>
                <a:latin typeface="Segoe UI" pitchFamily="34" charset="0"/>
                <a:ea typeface="+mn-ea"/>
                <a:cs typeface="+mn-cs"/>
              </a:rPr>
              <a:t>Auth</a:t>
            </a:r>
            <a:r>
              <a:rPr lang="en-US" sz="900" kern="1200" dirty="0" smtClean="0">
                <a:solidFill>
                  <a:schemeClr val="tx1"/>
                </a:solidFill>
                <a:effectLst/>
                <a:latin typeface="Segoe UI" pitchFamily="34" charset="0"/>
                <a:ea typeface="+mn-ea"/>
                <a:cs typeface="+mn-cs"/>
              </a:rPr>
              <a:t> options</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Support for additional </a:t>
            </a:r>
            <a:r>
              <a:rPr lang="en-US" sz="900" kern="1200" dirty="0" err="1" smtClean="0">
                <a:solidFill>
                  <a:schemeClr val="tx1"/>
                </a:solidFill>
                <a:effectLst/>
                <a:latin typeface="Segoe UI" pitchFamily="34" charset="0"/>
                <a:ea typeface="+mn-ea"/>
                <a:cs typeface="+mn-cs"/>
              </a:rPr>
              <a:t>auth</a:t>
            </a:r>
            <a:r>
              <a:rPr lang="en-US" sz="900" kern="1200" dirty="0" smtClean="0">
                <a:solidFill>
                  <a:schemeClr val="tx1"/>
                </a:solidFill>
                <a:effectLst/>
                <a:latin typeface="Segoe UI" pitchFamily="34" charset="0"/>
                <a:ea typeface="+mn-ea"/>
                <a:cs typeface="+mn-cs"/>
              </a:rPr>
              <a:t> providers</a:t>
            </a:r>
            <a:r>
              <a:rPr lang="en-US" sz="900" kern="1200" baseline="0" dirty="0" smtClean="0">
                <a:solidFill>
                  <a:schemeClr val="tx1"/>
                </a:solidFill>
                <a:effectLst/>
                <a:latin typeface="Segoe UI" pitchFamily="34" charset="0"/>
                <a:ea typeface="+mn-ea"/>
                <a:cs typeface="+mn-cs"/>
              </a:rPr>
              <a:t> such as Facebook are </a:t>
            </a:r>
            <a:r>
              <a:rPr lang="en-US" sz="900" kern="1200" dirty="0" smtClean="0">
                <a:solidFill>
                  <a:schemeClr val="tx1"/>
                </a:solidFill>
                <a:effectLst/>
                <a:latin typeface="Segoe UI" pitchFamily="34" charset="0"/>
                <a:ea typeface="+mn-ea"/>
                <a:cs typeface="+mn-cs"/>
              </a:rPr>
              <a:t>coming</a:t>
            </a:r>
            <a:r>
              <a:rPr lang="en-US" sz="900" kern="1200" baseline="0" dirty="0" smtClean="0">
                <a:solidFill>
                  <a:schemeClr val="tx1"/>
                </a:solidFill>
                <a:effectLst/>
                <a:latin typeface="Segoe UI" pitchFamily="34" charset="0"/>
                <a:ea typeface="+mn-ea"/>
                <a:cs typeface="+mn-cs"/>
              </a:rPr>
              <a:t> soon</a:t>
            </a:r>
          </a:p>
          <a:p>
            <a:pPr marL="171450" lvl="0" indent="-171450">
              <a:buFont typeface="Arial" pitchFamily="34" charset="0"/>
              <a:buChar char="•"/>
            </a:pPr>
            <a:endParaRPr lang="en-US" sz="900" kern="1200" baseline="0" dirty="0" smtClean="0">
              <a:solidFill>
                <a:schemeClr val="tx1"/>
              </a:solidFill>
              <a:effectLst/>
              <a:latin typeface="Segoe UI" pitchFamily="34" charset="0"/>
              <a:ea typeface="+mn-ea"/>
              <a:cs typeface="+mn-cs"/>
            </a:endParaRPr>
          </a:p>
          <a:p>
            <a:pPr marL="171450" indent="-171450">
              <a:buFont typeface="Arial" pitchFamily="34" charset="0"/>
              <a:buChar char="•"/>
            </a:pPr>
            <a:r>
              <a:rPr lang="en-US" dirty="0" smtClean="0">
                <a:effectLst/>
              </a:rPr>
              <a:t>Windows Azure Mobile Services enables you to set the following permissions on table operations: </a:t>
            </a:r>
          </a:p>
          <a:p>
            <a:r>
              <a:rPr lang="en-US" b="1" dirty="0" smtClean="0">
                <a:effectLst/>
              </a:rPr>
              <a:t>Everyone</a:t>
            </a:r>
            <a:r>
              <a:rPr lang="en-US" dirty="0" smtClean="0">
                <a:effectLst/>
              </a:rPr>
              <a:t>: This means that any request for the operation against the table is accepted. This option leaves your data wide-open for everyone to access. </a:t>
            </a:r>
            <a:br>
              <a:rPr lang="en-US" dirty="0" smtClean="0">
                <a:effectLst/>
              </a:rPr>
            </a:br>
            <a:r>
              <a:rPr lang="en-US" b="1" dirty="0" smtClean="0">
                <a:effectLst/>
              </a:rPr>
              <a:t>Anybody with the Application Key</a:t>
            </a:r>
            <a:r>
              <a:rPr lang="en-US" dirty="0" smtClean="0">
                <a:effectLst/>
              </a:rPr>
              <a:t>: Only the correct application key is required to perform the operation. The application key is distributed with the application. Because this key is not securely distributed, it cannot be considered a security token. To secure access to you mobile service data, you must implement authentication. </a:t>
            </a:r>
            <a:br>
              <a:rPr lang="en-US" dirty="0" smtClean="0">
                <a:effectLst/>
              </a:rPr>
            </a:br>
            <a:r>
              <a:rPr lang="en-US" b="1" dirty="0" smtClean="0">
                <a:effectLst/>
              </a:rPr>
              <a:t>Only Authenticated Users</a:t>
            </a:r>
            <a:r>
              <a:rPr lang="en-US" dirty="0" smtClean="0">
                <a:effectLst/>
              </a:rPr>
              <a:t>: Only authenticated users are permitted to perform the operation. In this preview release, clients are authenticated by Live Connect services. Scripts can be used to further restrict access to tables based on an authenticated user. </a:t>
            </a:r>
            <a:br>
              <a:rPr lang="en-US" dirty="0" smtClean="0">
                <a:effectLst/>
              </a:rPr>
            </a:br>
            <a:r>
              <a:rPr lang="en-US" b="1" dirty="0" smtClean="0">
                <a:effectLst/>
              </a:rPr>
              <a:t>Only Scripts and Admins</a:t>
            </a:r>
            <a:r>
              <a:rPr lang="en-US" dirty="0" smtClean="0">
                <a:effectLst/>
              </a:rPr>
              <a:t>: The operation requires the service master key, which limits the operation only to registered scripts or to administrator accounts. </a:t>
            </a:r>
          </a:p>
          <a:p>
            <a:pPr marL="171450" lvl="0" indent="-171450">
              <a:buFont typeface="Arial" pitchFamily="34" charset="0"/>
              <a:buChar char="•"/>
            </a:pPr>
            <a:endParaRPr lang="en-US" sz="900" kern="1200" baseline="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baseline="0" dirty="0" smtClean="0">
                <a:solidFill>
                  <a:schemeClr val="tx1"/>
                </a:solidFill>
                <a:effectLst/>
                <a:latin typeface="Segoe UI" pitchFamily="34" charset="0"/>
                <a:ea typeface="+mn-ea"/>
                <a:cs typeface="+mn-cs"/>
              </a:rPr>
              <a:t>The user parameter is available in all server side scripts methods and can be used to add more granular </a:t>
            </a:r>
            <a:r>
              <a:rPr lang="en-US" sz="900" kern="1200" baseline="0" dirty="0" err="1" smtClean="0">
                <a:solidFill>
                  <a:schemeClr val="tx1"/>
                </a:solidFill>
                <a:effectLst/>
                <a:latin typeface="Segoe UI" pitchFamily="34" charset="0"/>
                <a:ea typeface="+mn-ea"/>
                <a:cs typeface="+mn-cs"/>
              </a:rPr>
              <a:t>auth</a:t>
            </a:r>
            <a:r>
              <a:rPr lang="en-US" sz="900" kern="1200" baseline="0" dirty="0" smtClean="0">
                <a:solidFill>
                  <a:schemeClr val="tx1"/>
                </a:solidFill>
                <a:effectLst/>
                <a:latin typeface="Segoe UI" pitchFamily="34" charset="0"/>
                <a:ea typeface="+mn-ea"/>
                <a:cs typeface="+mn-cs"/>
              </a:rPr>
              <a:t> polices on you CRUD operation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r>
              <a:rPr lang="en-US" sz="900" kern="1200" dirty="0" smtClean="0">
                <a:solidFill>
                  <a:schemeClr val="tx1"/>
                </a:solidFill>
                <a:effectLst/>
                <a:latin typeface="Segoe UI" pitchFamily="34" charset="0"/>
                <a:ea typeface="+mn-ea"/>
                <a:cs typeface="+mn-cs"/>
              </a:rPr>
              <a:t> </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8</a:t>
            </a:fld>
            <a:endParaRPr lang="en-US" dirty="0">
              <a:solidFill>
                <a:prstClr val="black"/>
              </a:solidFill>
            </a:endParaRPr>
          </a:p>
        </p:txBody>
      </p:sp>
    </p:spTree>
    <p:extLst>
      <p:ext uri="{BB962C8B-B14F-4D97-AF65-F5344CB8AC3E}">
        <p14:creationId xmlns:p14="http://schemas.microsoft.com/office/powerpoint/2010/main" val="329829836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79</a:t>
            </a:fld>
            <a:endParaRPr lang="en-US" dirty="0">
              <a:solidFill>
                <a:prstClr val="black"/>
              </a:solidFill>
            </a:endParaRPr>
          </a:p>
        </p:txBody>
      </p:sp>
    </p:spTree>
    <p:extLst>
      <p:ext uri="{BB962C8B-B14F-4D97-AF65-F5344CB8AC3E}">
        <p14:creationId xmlns:p14="http://schemas.microsoft.com/office/powerpoint/2010/main" val="415863474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0</a:t>
            </a:fld>
            <a:endParaRPr lang="en-US" dirty="0">
              <a:solidFill>
                <a:prstClr val="black"/>
              </a:solidFill>
            </a:endParaRPr>
          </a:p>
        </p:txBody>
      </p:sp>
    </p:spTree>
    <p:extLst>
      <p:ext uri="{BB962C8B-B14F-4D97-AF65-F5344CB8AC3E}">
        <p14:creationId xmlns:p14="http://schemas.microsoft.com/office/powerpoint/2010/main" val="156660286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itchFamily="34" charset="0"/>
              <a:buChar char="•"/>
            </a:pPr>
            <a:r>
              <a:rPr lang="en-US" dirty="0" smtClean="0"/>
              <a:t>You can integrate with anyone using Active Directory</a:t>
            </a:r>
          </a:p>
          <a:p>
            <a:pPr marL="285750" indent="-285750">
              <a:buFont typeface="Arial" pitchFamily="34" charset="0"/>
              <a:buChar char="•"/>
            </a:pPr>
            <a:r>
              <a:rPr lang="en-US" dirty="0" smtClean="0"/>
              <a:t>Once you integrate</a:t>
            </a:r>
            <a:r>
              <a:rPr lang="en-US" baseline="0" dirty="0" smtClean="0"/>
              <a:t> </a:t>
            </a:r>
          </a:p>
          <a:p>
            <a:pPr marL="285750" indent="-285750">
              <a:buFont typeface="Arial" pitchFamily="34" charset="0"/>
              <a:buChar char="•"/>
            </a:pPr>
            <a:r>
              <a:rPr lang="en-US" baseline="0" dirty="0" smtClean="0"/>
              <a:t>You can also take advantage of our new graph API</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81</a:t>
            </a:fld>
            <a:endParaRPr lang="en-US" dirty="0">
              <a:solidFill>
                <a:prstClr val="black"/>
              </a:solidFill>
            </a:endParaRPr>
          </a:p>
        </p:txBody>
      </p:sp>
    </p:spTree>
    <p:extLst>
      <p:ext uri="{BB962C8B-B14F-4D97-AF65-F5344CB8AC3E}">
        <p14:creationId xmlns:p14="http://schemas.microsoft.com/office/powerpoint/2010/main" val="407297787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sz="1200" b="1" dirty="0" smtClean="0"/>
              <a:t>Notes:</a:t>
            </a:r>
          </a:p>
          <a:p>
            <a:r>
              <a:rPr lang="en-US" sz="1200" dirty="0" smtClean="0"/>
              <a:t>Let's take a quick look at how it works.</a:t>
            </a:r>
          </a:p>
          <a:p>
            <a:r>
              <a:rPr lang="en-US" sz="1200" dirty="0" smtClean="0"/>
              <a:t>Here we have a user, its identity provider and one application running in windows azure.</a:t>
            </a:r>
          </a:p>
          <a:p>
            <a:r>
              <a:rPr lang="en-US" sz="1200" dirty="0" smtClean="0"/>
              <a:t>This application does not have to implement its own identity system, as it will use the identity provider; but it does need something that will engage it at the right moment, since it cannot rely on network software to do that automatically. This is done by &lt;click&gt; adding in front of the application some infrastructural component, a middleware module which will enforce the open authentication protocols without requiring any explicit application code.</a:t>
            </a:r>
          </a:p>
          <a:p>
            <a:r>
              <a:rPr lang="en-US" sz="1200" dirty="0" smtClean="0"/>
              <a:t>Let's say that the user opens a browser &lt;click&gt; and navigates to the application address &lt;click&gt;.</a:t>
            </a:r>
          </a:p>
          <a:p>
            <a:r>
              <a:rPr lang="en-US" sz="1200" dirty="0" smtClean="0"/>
              <a:t>The middleware will sense that the user is not authenticated yet, and will redirect him to the IP &lt;click&gt;. Here the IP will authenticate the user employing whatever authentication mechanism it chooses. Upon successful authentication, the IP will issue to the user a security token. &lt;click&gt;</a:t>
            </a:r>
          </a:p>
          <a:p>
            <a:r>
              <a:rPr lang="en-US" sz="1200" dirty="0" smtClean="0"/>
              <a:t>A security token is an artifact, , expressed in XML, binary or even JSON or other formats. It is digitally signed by the IP, so that its source and validity can be immediately assessed by anybody on the spot without requiring further round trips. Security tokens contains *claims*, attributes describing the user: name, roles, groups, email address are all valid examples. The fact that those claims travel in the security token makes it possible to verify that they are being asserted by the IP: that means that if the IP is a trusted authority, the assertions will be considered true by the application requesting the token. This is incredibly important, as it allows applications to request and obtain user information on the fly and use them in the context of a session without the need to explicitly provision the user.</a:t>
            </a:r>
          </a:p>
          <a:p>
            <a:r>
              <a:rPr lang="en-US" sz="1200" dirty="0" smtClean="0"/>
              <a:t>The browser will send the token to the application. The middleware will verify that the token &lt;click on the pentagon&gt;, and if it is it will &lt;click&gt; extract the claims and make them available to the application code; &lt;click&gt; it will also create a session cookie and send it back to the user, so that further requests will not require another token issuance.</a:t>
            </a:r>
          </a:p>
          <a:p>
            <a:r>
              <a:rPr lang="en-US" sz="1200" dirty="0" smtClean="0"/>
              <a:t>If you have AD&lt;click&gt; obtaining IP capabilities is very simple. You just need to install ADFS2, a windows server role which will add one or more STS facades to your directory and the management muscle to operate &amp; maintain it.</a:t>
            </a:r>
          </a:p>
          <a:p>
            <a:r>
              <a:rPr lang="en-US" sz="1200" dirty="0" smtClean="0"/>
              <a:t>On the application side &lt;click&gt;, what I've been calling "middleware" is in fact a collection of modules offered by WIF, an extension to the .NET framework which make claims a first class citizen in .NET development. WIF offers classes and visual studio tools which make using claims-based identity extremely easy.</a:t>
            </a:r>
          </a:p>
          <a:p>
            <a:endParaRPr lang="en-US" sz="1200" dirty="0" smtClean="0"/>
          </a:p>
          <a:p>
            <a:endParaRPr lang="en-US" sz="12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2</a:t>
            </a:fld>
            <a:endParaRPr lang="en-US" dirty="0">
              <a:solidFill>
                <a:prstClr val="black"/>
              </a:solidFill>
            </a:endParaRPr>
          </a:p>
        </p:txBody>
      </p:sp>
    </p:spTree>
    <p:extLst>
      <p:ext uri="{BB962C8B-B14F-4D97-AF65-F5344CB8AC3E}">
        <p14:creationId xmlns:p14="http://schemas.microsoft.com/office/powerpoint/2010/main" val="38729048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b="1" dirty="0" smtClean="0"/>
              <a:t>Notes:</a:t>
            </a:r>
            <a:endParaRPr lang="en-US" dirty="0" smtClean="0"/>
          </a:p>
          <a:p>
            <a:r>
              <a:rPr lang="en-US" dirty="0" smtClean="0"/>
              <a:t>The ACS would deserve multiple sessions on its own right to be properly covered, here I'm just giving you a quick sampler.</a:t>
            </a:r>
          </a:p>
          <a:p>
            <a:r>
              <a:rPr lang="en-US" dirty="0" smtClean="0"/>
              <a:t>What we have seen so far is just a small part of its surface. The schema here shows the ws-federation subsystem, what is normally used for browser-based, session-oriented application types. We've been playing only with ADFS IP types, but in fact &lt;click&gt; there are many out of the box popular IPs you can use right away with your application sticking to the same protocol &lt;click&gt; and a browser&lt;click&gt;.</a:t>
            </a:r>
          </a:p>
          <a:p>
            <a:r>
              <a:rPr lang="en-US" dirty="0" smtClean="0"/>
              <a:t>ACS can also do WS-Trust, a high-security protocol for SOAP web services, accepting identities from ADFS2 ws-trust endpoints or bare credentials registered in ACS for management purposes.</a:t>
            </a:r>
          </a:p>
          <a:p>
            <a:r>
              <a:rPr lang="en-US" dirty="0" smtClean="0"/>
              <a:t>&lt;click&gt; the same sources can be used within OAuth2.0 calls. OAuth is the current state of the art for securing REST calls: it is still in draft state, hence expect changes, but you can already experiment with it.</a:t>
            </a:r>
          </a:p>
          <a:p>
            <a:r>
              <a:rPr lang="en-US" dirty="0" smtClean="0"/>
              <a:t>&lt;click&gt; Both protocols can be used for rich client application types and in general &lt;click&gt; server 2 server interactions.</a:t>
            </a:r>
          </a:p>
          <a:p>
            <a:r>
              <a:rPr lang="en-US" dirty="0" smtClean="0"/>
              <a:t>Not shown here there are the management endpoints, the other portion of ACS' development surface, which can be used instead or alongside the portal for managing the namespace.</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3</a:t>
            </a:fld>
            <a:endParaRPr lang="en-US" dirty="0">
              <a:solidFill>
                <a:prstClr val="black"/>
              </a:solidFill>
            </a:endParaRPr>
          </a:p>
        </p:txBody>
      </p:sp>
    </p:spTree>
    <p:extLst>
      <p:ext uri="{BB962C8B-B14F-4D97-AF65-F5344CB8AC3E}">
        <p14:creationId xmlns:p14="http://schemas.microsoft.com/office/powerpoint/2010/main" val="187554013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1200" b="1" dirty="0" smtClean="0"/>
              <a:t>Notes:</a:t>
            </a:r>
            <a:endParaRPr lang="en-US" sz="1200" dirty="0" smtClean="0"/>
          </a:p>
          <a:p>
            <a:r>
              <a:rPr lang="en-US" sz="1200" dirty="0" smtClean="0"/>
              <a:t>let's take a look at another usage scenario for ACS.</a:t>
            </a:r>
          </a:p>
          <a:p>
            <a:r>
              <a:rPr lang="en-US" sz="1200" dirty="0" smtClean="0"/>
              <a:t>Let's say that you want to make your application available to users from major social and web IPs &lt;click&gt;. All those providers use different authentication protocols. Technically you could extend WIF to support those protocols directly, but you'd be writing a lot of low level code which changes very often (at least as of today's maturity level in the web authentication standards status).</a:t>
            </a:r>
          </a:p>
          <a:p>
            <a:r>
              <a:rPr lang="en-US" sz="1200" dirty="0" smtClean="0"/>
              <a:t>Once again, using an FP can be of help here. You don't need to change your application, the FP can take care of engaging with every IP using the appropriate protocol and still communicate with your application using the same protocol and token format used so far; we call this pattern protocol transition. Note that this pattern can even allow you to mix and match business and web IPs regardless of their different capabilities. </a:t>
            </a:r>
          </a:p>
          <a:p>
            <a:r>
              <a:rPr lang="en-US" sz="1200" dirty="0" smtClean="0"/>
              <a:t>Let's see how one basic flow would unfold. The user approaches the application a usual &lt;click&gt; and as usual gets redirected to the FP &lt;click&gt;. The HDR page &lt;click&gt; will reflect the available options. Let's assume that the user picks Facebook &lt;click&gt;. The system will redirect the user accordingly, and the authentication will take place using whatever protocol Facebook decides. Once the user successfully authenticates the flow will get back to ACS, which will &lt;click&gt; transform the token in the usual format. The token will then be sent to the application, which will process it as usual none the wiser of the fact that it came from a different protocol (remember that the app can always discover the original source of the token if it so chooses, it just does not have implementation requirements imposed because of it).</a:t>
            </a:r>
          </a:p>
          <a:p>
            <a:r>
              <a:rPr lang="en-US" sz="1200" dirty="0" smtClean="0"/>
              <a:t>Note that web and social providers do not always provide the same claims richness you can expect from business IPs; also, the sheer ability of signing in Facebook does not prove much from the business standpoint. For that reason, tokens obtained from web and social providers are often sued as part of a sign-up process in which a given identifier is stored and then used for authenticating registered users. In the same way, applications can gather information about the user and then associate those back to the claims collection whenever the user starts a session. There are two natural places in the architecture to implement those checks and enrichments &lt;click&gt;. You would perform those in ACS&lt; in form of rules, whenever those modifications should be available to a portfolio of multiple applications. You would instead leverage the WIF pipeline extensibility when the context enrichment is specific to one single application.</a:t>
            </a:r>
          </a:p>
          <a:p>
            <a:r>
              <a:rPr lang="en-US" sz="1200" dirty="0" smtClean="0"/>
              <a:t>In order to demonstrate that I will now show you part of a more realistic demo &lt;click&gt;, which demonstrates how a SaaS application can leverage ACS for signing up users coming from social providers and maintain local custom profiles. The entire process is implemented leveraging the ACS management APIs.</a:t>
            </a:r>
            <a:endParaRPr lang="en-US" sz="12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4</a:t>
            </a:fld>
            <a:endParaRPr lang="en-US" dirty="0">
              <a:solidFill>
                <a:prstClr val="black"/>
              </a:solidFill>
            </a:endParaRPr>
          </a:p>
        </p:txBody>
      </p:sp>
    </p:spTree>
    <p:extLst>
      <p:ext uri="{BB962C8B-B14F-4D97-AF65-F5344CB8AC3E}">
        <p14:creationId xmlns:p14="http://schemas.microsoft.com/office/powerpoint/2010/main" val="85927372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1200" b="1" dirty="0" smtClean="0"/>
              <a:t>Notes:</a:t>
            </a:r>
            <a:endParaRPr lang="en-US" sz="1200" dirty="0" smtClean="0"/>
          </a:p>
          <a:p>
            <a:r>
              <a:rPr lang="en-US" sz="1200" dirty="0" smtClean="0"/>
              <a:t>let's take a look at another usage scenario for ACS.</a:t>
            </a:r>
          </a:p>
          <a:p>
            <a:r>
              <a:rPr lang="en-US" sz="1200" dirty="0" smtClean="0"/>
              <a:t>Let's say that you want to make your application available to users from major social and web IPs &lt;click&gt;. All those providers use different authentication protocols. Technically you could extend WIF to support those protocols directly, but you'd be writing a lot of low level code which changes very often (at least as of today's maturity level in the web authentication standards status).</a:t>
            </a:r>
          </a:p>
          <a:p>
            <a:r>
              <a:rPr lang="en-US" sz="1200" dirty="0" smtClean="0"/>
              <a:t>Once again, using an FP can be of help here. You don't need to change your application, the FP can take care of engaging with every IP using the appropriate protocol and still communicate with your application using the same protocol and token format used so far; we call this pattern protocol transition. Note that this pattern can even allow you to mix and match business and web IPs regardless of their different capabilities. </a:t>
            </a:r>
          </a:p>
          <a:p>
            <a:r>
              <a:rPr lang="en-US" sz="1200" dirty="0" smtClean="0"/>
              <a:t>Let's see how one basic flow would unfold. The user approaches the application a usual &lt;click&gt; and as usual gets redirected to the FP &lt;click&gt;. The HDR page &lt;click&gt; will reflect the available options. Let's assume that the user picks Facebook &lt;click&gt;. The system will redirect the user accordingly, and the authentication will take place using whatever protocol Facebook decides. Once the user successfully authenticates the flow will get back to ACS, which will &lt;click&gt; transform the token in the usual format. The token will then be sent to the application, which will process it as usual none the wiser of the fact that it came from a different protocol (remember that the app can always discover the original source of the token if it so chooses, it just does not have implementation requirements imposed because of it).</a:t>
            </a:r>
          </a:p>
          <a:p>
            <a:r>
              <a:rPr lang="en-US" sz="1200" dirty="0" smtClean="0"/>
              <a:t>Note that web and social providers do not always provide the same claims richness you can expect from business IPs; also, the sheer ability of signing in Facebook does not prove much from the business standpoint. For that reason, tokens obtained from web and social providers are often sued as part of a sign-up process in which a given identifier is stored and then used for authenticating registered users. In the same way, applications can gather information about the user and then associate those back to the claims collection whenever the user starts a session. There are two natural places in the architecture to implement those checks and enrichments &lt;click&gt;. You would perform those in ACS&lt; in form of rules, whenever those modifications should be available to a portfolio of multiple applications. You would instead leverage the WIF pipeline extensibility when the context enrichment is specific to one single application.</a:t>
            </a:r>
          </a:p>
          <a:p>
            <a:r>
              <a:rPr lang="en-US" sz="1200" dirty="0" smtClean="0"/>
              <a:t>In order to demonstrate that I will now show you part of a more realistic demo &lt;click&gt;, which demonstrates how a SaaS application can leverage ACS for signing up users coming from social providers and maintain local custom profiles. The entire process is implemented leveraging the ACS management APIs.</a:t>
            </a:r>
            <a:endParaRPr lang="en-US" sz="12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5</a:t>
            </a:fld>
            <a:endParaRPr lang="en-US" dirty="0">
              <a:solidFill>
                <a:prstClr val="black"/>
              </a:solidFill>
            </a:endParaRPr>
          </a:p>
        </p:txBody>
      </p:sp>
    </p:spTree>
    <p:extLst>
      <p:ext uri="{BB962C8B-B14F-4D97-AF65-F5344CB8AC3E}">
        <p14:creationId xmlns:p14="http://schemas.microsoft.com/office/powerpoint/2010/main" val="65461857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We also have a bunch of new service bus capabilities</a:t>
            </a:r>
          </a:p>
          <a:p>
            <a:pPr marL="171450" indent="-171450">
              <a:buFont typeface="Arial" pitchFamily="34" charset="0"/>
              <a:buChar char="•"/>
            </a:pPr>
            <a:r>
              <a:rPr lang="en-US" dirty="0" smtClean="0"/>
              <a:t>The Service Bus is a managed</a:t>
            </a:r>
            <a:r>
              <a:rPr lang="en-US" baseline="0" dirty="0" smtClean="0"/>
              <a:t> service that provides secure messaging and relay capabilities.</a:t>
            </a:r>
          </a:p>
          <a:p>
            <a:pPr marL="171450" indent="-171450">
              <a:buFont typeface="Arial" pitchFamily="34" charset="0"/>
              <a:buChar char="•"/>
            </a:pPr>
            <a:r>
              <a:rPr lang="en-US" baseline="0" dirty="0" smtClean="0"/>
              <a:t>It’s great for integrating cloud based solutions with on-premise environments in a very secure way </a:t>
            </a:r>
          </a:p>
          <a:p>
            <a:pPr marL="171450" indent="-171450">
              <a:buFont typeface="Arial" pitchFamily="34" charset="0"/>
              <a:buChar char="•"/>
            </a:pPr>
            <a:r>
              <a:rPr lang="en-US" baseline="0" dirty="0" smtClean="0"/>
              <a:t>and it enables a very loosely coupled architecture</a:t>
            </a:r>
          </a:p>
          <a:p>
            <a:pPr marL="171450" indent="-171450">
              <a:buFont typeface="Arial" pitchFamily="34" charset="0"/>
              <a:buChar char="•"/>
            </a:pPr>
            <a:r>
              <a:rPr lang="en-US" baseline="0" dirty="0" smtClean="0"/>
              <a:t>With the new Windows Azure SDK and Tools for Visual Studio, you can now view information about the service bus directly from within Visual Studio. </a:t>
            </a:r>
            <a:endParaRPr lang="en-US" dirty="0" smtClean="0"/>
          </a:p>
          <a:p>
            <a:pPr marL="171450" indent="-171450">
              <a:buFont typeface="Arial" pitchFamily="34" charset="0"/>
              <a:buChar char="•"/>
            </a:pPr>
            <a:r>
              <a:rPr lang="en-US" dirty="0" smtClean="0"/>
              <a:t>We are also now introducing cross platform libraries</a:t>
            </a:r>
            <a:r>
              <a:rPr lang="en-US" baseline="0" dirty="0" smtClean="0"/>
              <a:t> so you can use service bus from any OS whether it’s a VM, web site, or Cloud Service and with any of the languages we support.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86</a:t>
            </a:fld>
            <a:endParaRPr lang="en-US" dirty="0">
              <a:solidFill>
                <a:prstClr val="black"/>
              </a:solidFill>
            </a:endParaRPr>
          </a:p>
        </p:txBody>
      </p:sp>
    </p:spTree>
    <p:extLst>
      <p:ext uri="{BB962C8B-B14F-4D97-AF65-F5344CB8AC3E}">
        <p14:creationId xmlns:p14="http://schemas.microsoft.com/office/powerpoint/2010/main" val="27993966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99553612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 Points:</a:t>
            </a:r>
            <a:endParaRPr lang="en-US" dirty="0" smtClean="0"/>
          </a:p>
          <a:p>
            <a:pPr marL="171450" marR="0" lvl="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kumimoji="0" lang="en-US" sz="1600" b="0" i="0" u="none" strike="noStrike" kern="1200" cap="none" spc="0" normalizeH="0" baseline="0" noProof="0" dirty="0" smtClean="0">
                <a:ln>
                  <a:noFill/>
                </a:ln>
                <a:solidFill>
                  <a:prstClr val="black"/>
                </a:solidFill>
                <a:effectLst/>
                <a:uLnTx/>
                <a:uFillTx/>
                <a:latin typeface="Segoe UI" pitchFamily="34" charset="0"/>
              </a:rPr>
              <a:t>In addition to queues, the Service Bus also provides a relay capability that can be used to connect through networks and enable hybrid applications.  </a:t>
            </a:r>
          </a:p>
          <a:p>
            <a:pPr marL="171450" marR="0" lvl="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kumimoji="0" lang="en-US" sz="1600" b="0" i="0" u="none" strike="noStrike" kern="1200" cap="none" spc="0" normalizeH="0" baseline="0" noProof="0" dirty="0" smtClean="0">
                <a:ln>
                  <a:noFill/>
                </a:ln>
                <a:solidFill>
                  <a:prstClr val="black"/>
                </a:solidFill>
                <a:effectLst/>
                <a:uLnTx/>
                <a:uFillTx/>
                <a:latin typeface="Segoe UI" pitchFamily="34" charset="0"/>
              </a:rPr>
              <a:t>To see this in action, we’ll take a look at another simple scenario.</a:t>
            </a:r>
          </a:p>
          <a:p>
            <a:pPr marL="171450" marR="0" lvl="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kumimoji="0" lang="en-US" sz="1600" b="0" i="0" u="none" strike="noStrike" kern="1200" cap="none" spc="0" normalizeH="0" baseline="0" noProof="0" dirty="0" smtClean="0">
                <a:ln>
                  <a:noFill/>
                </a:ln>
                <a:solidFill>
                  <a:prstClr val="black"/>
                </a:solidFill>
                <a:effectLst/>
                <a:uLnTx/>
                <a:uFillTx/>
                <a:latin typeface="Segoe UI" pitchFamily="34" charset="0"/>
              </a:rPr>
              <a:t>In this case we have a SQL database in our on-premises environment (for our demo, my local laptop) and the data is exposed through a simple WCF service </a:t>
            </a:r>
          </a:p>
          <a:p>
            <a:pPr marL="171450" marR="0" lvl="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kumimoji="0" lang="en-US" sz="1600" b="0" i="0" u="none" strike="noStrike" kern="1200" cap="none" spc="0" normalizeH="0" baseline="0" noProof="0" dirty="0" smtClean="0">
                <a:ln>
                  <a:noFill/>
                </a:ln>
                <a:solidFill>
                  <a:prstClr val="black"/>
                </a:solidFill>
                <a:effectLst/>
                <a:uLnTx/>
                <a:uFillTx/>
                <a:latin typeface="Segoe UI" pitchFamily="34" charset="0"/>
              </a:rPr>
              <a:t>By using the Service Bus relay, we can enable connectivity to our WCF service through Windows Azure</a:t>
            </a:r>
          </a:p>
          <a:p>
            <a:pPr marL="171450" marR="0" lvl="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kumimoji="0" lang="en-US" sz="1600" b="0" i="0" u="none" strike="noStrike" kern="1200" cap="none" spc="0" normalizeH="0" baseline="0" noProof="0" dirty="0" smtClean="0">
                <a:ln>
                  <a:noFill/>
                </a:ln>
                <a:solidFill>
                  <a:prstClr val="black"/>
                </a:solidFill>
                <a:effectLst/>
                <a:uLnTx/>
                <a:uFillTx/>
                <a:latin typeface="Segoe UI" pitchFamily="34" charset="0"/>
              </a:rPr>
              <a:t>On the front end, we have a mobile web application created with ASP.NET MVC running as a Cloud Service in Windows Azure. This app will connect to the WCF service through the relay and serve up the data to users.</a:t>
            </a:r>
          </a:p>
          <a:p>
            <a:pPr marL="0" marR="0" lvl="0" indent="0" algn="l" defTabSz="914363" rtl="0" eaLnBrk="1" fontAlgn="auto" latinLnBrk="0" hangingPunct="1">
              <a:lnSpc>
                <a:spcPct val="90000"/>
              </a:lnSpc>
              <a:spcBef>
                <a:spcPts val="0"/>
              </a:spcBef>
              <a:spcAft>
                <a:spcPts val="333"/>
              </a:spcAft>
              <a:buClrTx/>
              <a:buSzTx/>
              <a:buFont typeface="Arial" pitchFamily="34" charset="0"/>
              <a:buNone/>
              <a:tabLst/>
              <a:defRPr/>
            </a:pPr>
            <a:endParaRPr kumimoji="0" lang="en-US" sz="1600" b="0" i="0" u="none" strike="noStrike" kern="1200" cap="none" spc="0" normalizeH="0" baseline="0" noProof="0" dirty="0" smtClean="0">
              <a:ln>
                <a:noFill/>
              </a:ln>
              <a:solidFill>
                <a:prstClr val="black"/>
              </a:solidFill>
              <a:effectLst/>
              <a:uLnTx/>
              <a:uFillTx/>
              <a:latin typeface="Segoe UI" pitchFamily="34"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87</a:t>
            </a:fld>
            <a:endParaRPr lang="en-US" dirty="0">
              <a:solidFill>
                <a:prstClr val="black"/>
              </a:solidFill>
            </a:endParaRPr>
          </a:p>
        </p:txBody>
      </p:sp>
    </p:spTree>
    <p:extLst>
      <p:ext uri="{BB962C8B-B14F-4D97-AF65-F5344CB8AC3E}">
        <p14:creationId xmlns:p14="http://schemas.microsoft.com/office/powerpoint/2010/main" val="256144802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smtClean="0"/>
              <a:t>Speaking</a:t>
            </a:r>
            <a:r>
              <a:rPr lang="en-US" sz="1100" b="1" baseline="0" dirty="0" smtClean="0"/>
              <a:t> Points:</a:t>
            </a:r>
            <a:endParaRPr lang="en-US" sz="1100" dirty="0" smtClean="0"/>
          </a:p>
          <a:p>
            <a:pPr marL="171450" indent="-171450">
              <a:buFont typeface="Arial" pitchFamily="34" charset="0"/>
              <a:buChar char="•"/>
            </a:pPr>
            <a:r>
              <a:rPr lang="en-US" sz="1100" dirty="0" smtClean="0"/>
              <a:t>This</a:t>
            </a:r>
            <a:r>
              <a:rPr lang="en-US" sz="1100" baseline="0" dirty="0" smtClean="0"/>
              <a:t> is a small sampling ..</a:t>
            </a:r>
            <a:endParaRPr lang="en-US" sz="1100" dirty="0" smtClean="0"/>
          </a:p>
          <a:p>
            <a:pPr marL="171450" indent="-171450">
              <a:buFont typeface="Arial" pitchFamily="34" charset="0"/>
              <a:buChar char="•"/>
            </a:pPr>
            <a:r>
              <a:rPr lang="en-US" sz="1100" dirty="0" smtClean="0"/>
              <a:t>We’ve talked</a:t>
            </a:r>
            <a:r>
              <a:rPr lang="en-US" sz="1100" baseline="0" dirty="0" smtClean="0"/>
              <a:t> about a few of these building block services.  </a:t>
            </a:r>
          </a:p>
          <a:p>
            <a:pPr marL="171450" indent="-171450">
              <a:buFont typeface="Arial" pitchFamily="34" charset="0"/>
              <a:buChar char="•"/>
            </a:pPr>
            <a:r>
              <a:rPr lang="en-US" sz="1100" baseline="0" dirty="0" smtClean="0"/>
              <a:t>In addition to Database, Storage, Caching, Messaging, and Identity…</a:t>
            </a:r>
          </a:p>
          <a:p>
            <a:pPr marL="384431" lvl="1" indent="-171450">
              <a:buFont typeface="Arial" pitchFamily="34" charset="0"/>
              <a:buChar char="•"/>
            </a:pPr>
            <a:r>
              <a:rPr lang="en-US" sz="1100" baseline="0" dirty="0" smtClean="0"/>
              <a:t>Big data - We also have services for managing big data…</a:t>
            </a:r>
          </a:p>
          <a:p>
            <a:pPr marL="384431" lvl="1" indent="-171450">
              <a:buFont typeface="Arial" pitchFamily="34" charset="0"/>
              <a:buChar char="•"/>
            </a:pPr>
            <a:r>
              <a:rPr lang="en-US" sz="1100" baseline="0" dirty="0" smtClean="0"/>
              <a:t>Traffic Manager - …</a:t>
            </a:r>
          </a:p>
          <a:p>
            <a:pPr marL="384431" lvl="1" indent="-171450">
              <a:buFont typeface="Arial" pitchFamily="34" charset="0"/>
              <a:buChar char="•"/>
            </a:pPr>
            <a:r>
              <a:rPr lang="en-US" sz="1100" baseline="0" dirty="0" smtClean="0"/>
              <a:t>Media Services - …</a:t>
            </a:r>
          </a:p>
          <a:p>
            <a:pPr marL="499520" lvl="2" indent="-171450">
              <a:buFont typeface="Arial" pitchFamily="34" charset="0"/>
              <a:buChar char="•"/>
            </a:pPr>
            <a:r>
              <a:rPr lang="en-US" sz="1100" baseline="0" dirty="0" smtClean="0"/>
              <a:t>Provides a managed service that allows you to create, manage, and distribute media.  </a:t>
            </a:r>
          </a:p>
          <a:p>
            <a:pPr marL="499520" lvl="2" indent="-171450">
              <a:buFont typeface="Arial" pitchFamily="34" charset="0"/>
              <a:buChar char="•"/>
            </a:pPr>
            <a:r>
              <a:rPr lang="en-US" sz="1100" baseline="0" dirty="0" smtClean="0"/>
              <a:t>You can target any type of device</a:t>
            </a:r>
          </a:p>
          <a:p>
            <a:pPr marL="499520" lvl="2" indent="-171450">
              <a:buFont typeface="Arial" pitchFamily="34" charset="0"/>
              <a:buChar char="•"/>
            </a:pPr>
            <a:r>
              <a:rPr lang="en-US" sz="1100" baseline="0" dirty="0" smtClean="0"/>
              <a:t>We’ll provide full </a:t>
            </a:r>
            <a:r>
              <a:rPr lang="en-US" sz="1100" baseline="0" dirty="0" err="1" smtClean="0"/>
              <a:t>analtyics</a:t>
            </a:r>
            <a:r>
              <a:rPr lang="en-US" sz="1100" baseline="0" dirty="0" smtClean="0"/>
              <a:t> on top of it. </a:t>
            </a:r>
          </a:p>
          <a:p>
            <a:pPr marL="384431" lvl="1" indent="-171450">
              <a:buFont typeface="Arial" pitchFamily="34" charset="0"/>
              <a:buChar char="•"/>
            </a:pPr>
            <a:r>
              <a:rPr lang="en-US" sz="1100" baseline="0" dirty="0" smtClean="0"/>
              <a:t>CDN – A content delivery network for putting your content closer to end users.  </a:t>
            </a:r>
          </a:p>
          <a:p>
            <a:pPr marL="171450" indent="-171450">
              <a:buFont typeface="Arial" pitchFamily="34" charset="0"/>
              <a:buChar char="•"/>
            </a:pPr>
            <a:r>
              <a:rPr lang="en-US" sz="1100" baseline="0" dirty="0" smtClean="0"/>
              <a:t>We’ll drill into more details on several of these services later today and </a:t>
            </a:r>
          </a:p>
          <a:p>
            <a:pPr marL="171450" indent="-171450">
              <a:buFont typeface="Arial" pitchFamily="34" charset="0"/>
              <a:buChar char="•"/>
            </a:pPr>
            <a:r>
              <a:rPr lang="en-US" sz="1100" baseline="0" dirty="0" smtClean="0"/>
              <a:t>You will see this list grow in the months and weeks ahead</a:t>
            </a:r>
          </a:p>
          <a:p>
            <a:pPr marL="171450" indent="-171450">
              <a:buFont typeface="Arial" pitchFamily="34" charset="0"/>
              <a:buChar char="•"/>
            </a:pPr>
            <a:endParaRPr lang="en-US" sz="1100" baseline="0" dirty="0" smtClean="0"/>
          </a:p>
          <a:p>
            <a:pPr marL="0" indent="0">
              <a:buFont typeface="Arial" pitchFamily="34" charset="0"/>
              <a:buNone/>
            </a:pPr>
            <a:endParaRPr lang="en-US" sz="1100" baseline="0" dirty="0" smtClean="0"/>
          </a:p>
          <a:p>
            <a:pPr marL="0" indent="0">
              <a:buFont typeface="Arial" pitchFamily="34" charset="0"/>
              <a:buNone/>
            </a:pPr>
            <a:endParaRPr lang="en-US" sz="1100"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8</a:t>
            </a:fld>
            <a:endParaRPr lang="en-US" dirty="0">
              <a:solidFill>
                <a:prstClr val="black"/>
              </a:solidFill>
            </a:endParaRPr>
          </a:p>
        </p:txBody>
      </p:sp>
    </p:spTree>
    <p:extLst>
      <p:ext uri="{BB962C8B-B14F-4D97-AF65-F5344CB8AC3E}">
        <p14:creationId xmlns:p14="http://schemas.microsoft.com/office/powerpoint/2010/main" val="418161101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In addition to the building block services that we provided from Microsoft, at BUILD we also introduced the Windows Azure Store.  </a:t>
            </a:r>
          </a:p>
          <a:p>
            <a:pPr marL="171450" indent="-171450">
              <a:buFont typeface="Arial" pitchFamily="34" charset="0"/>
              <a:buChar char="•"/>
            </a:pPr>
            <a:r>
              <a:rPr lang="en-US" dirty="0" smtClean="0"/>
              <a:t>Focused on developer services – both for data, storage options, application monitoring, and more. </a:t>
            </a:r>
          </a:p>
          <a:p>
            <a:pPr marL="171450" indent="-171450">
              <a:buFont typeface="Arial" pitchFamily="34" charset="0"/>
              <a:buChar char="•"/>
            </a:pPr>
            <a:r>
              <a:rPr lang="en-US" dirty="0" smtClean="0"/>
              <a:t>Many of these services are recognizable startups such as </a:t>
            </a:r>
            <a:r>
              <a:rPr lang="en-US" dirty="0" err="1" smtClean="0"/>
              <a:t>NewRelic</a:t>
            </a:r>
            <a:r>
              <a:rPr lang="en-US" dirty="0" smtClean="0"/>
              <a:t> and </a:t>
            </a:r>
            <a:r>
              <a:rPr lang="en-US" dirty="0" err="1" smtClean="0"/>
              <a:t>SendGrid</a:t>
            </a:r>
            <a:endParaRPr lang="en-US" dirty="0" smtClean="0"/>
          </a:p>
          <a:p>
            <a:pPr marL="0" indent="0">
              <a:buFont typeface="Arial" pitchFamily="34" charset="0"/>
              <a:buNone/>
            </a:pPr>
            <a:endParaRPr lang="en-US" dirty="0" smtClean="0"/>
          </a:p>
          <a:p>
            <a:pPr>
              <a:spcAft>
                <a:spcPts val="980"/>
              </a:spcAft>
              <a:tabLst>
                <a:tab pos="1791675" algn="l"/>
              </a:tabLst>
            </a:pPr>
            <a:endParaRPr lang="en-US" dirty="0" smtClean="0">
              <a:solidFill>
                <a:schemeClr val="tx1">
                  <a:alpha val="99000"/>
                </a:schemeClr>
              </a:solidFill>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89</a:t>
            </a:fld>
            <a:endParaRPr lang="en-US" dirty="0">
              <a:solidFill>
                <a:prstClr val="black"/>
              </a:solidFill>
            </a:endParaRPr>
          </a:p>
        </p:txBody>
      </p:sp>
    </p:spTree>
    <p:extLst>
      <p:ext uri="{BB962C8B-B14F-4D97-AF65-F5344CB8AC3E}">
        <p14:creationId xmlns:p14="http://schemas.microsoft.com/office/powerpoint/2010/main" val="20250144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Windows Azure is commercially available in over 89 countries and territories.</a:t>
            </a:r>
            <a:r>
              <a:rPr lang="en-US" baseline="0" dirty="0" smtClean="0"/>
              <a:t>  </a:t>
            </a:r>
          </a:p>
          <a:p>
            <a:pPr marL="171450" indent="-171450">
              <a:buFont typeface="Arial" pitchFamily="34" charset="0"/>
              <a:buChar char="•"/>
            </a:pPr>
            <a:r>
              <a:rPr lang="en-US" baseline="0" dirty="0" smtClean="0"/>
              <a:t>Anyone within these countries can sign up for a free trial or a paid subscription to use Windows Azure services</a:t>
            </a:r>
          </a:p>
          <a:p>
            <a:pPr marL="171450" indent="-171450">
              <a:buFont typeface="Arial" pitchFamily="34" charset="0"/>
              <a:buChar char="•"/>
            </a:pPr>
            <a:r>
              <a:rPr lang="en-US" baseline="0" dirty="0" smtClean="0"/>
              <a:t>Of course you can build and deliver solutions to any of your customers worldwide.</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91</a:t>
            </a:fld>
            <a:endParaRPr lang="en-US" dirty="0">
              <a:solidFill>
                <a:prstClr val="black"/>
              </a:solidFill>
            </a:endParaRPr>
          </a:p>
        </p:txBody>
      </p:sp>
    </p:spTree>
    <p:extLst>
      <p:ext uri="{BB962C8B-B14F-4D97-AF65-F5344CB8AC3E}">
        <p14:creationId xmlns:p14="http://schemas.microsoft.com/office/powerpoint/2010/main" val="154580077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92</a:t>
            </a:fld>
            <a:endParaRPr lang="en-US" dirty="0">
              <a:solidFill>
                <a:prstClr val="black"/>
              </a:solidFill>
            </a:endParaRPr>
          </a:p>
        </p:txBody>
      </p:sp>
    </p:spTree>
    <p:extLst>
      <p:ext uri="{BB962C8B-B14F-4D97-AF65-F5344CB8AC3E}">
        <p14:creationId xmlns:p14="http://schemas.microsoft.com/office/powerpoint/2010/main" val="155356942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93</a:t>
            </a:fld>
            <a:endParaRPr lang="en-US" dirty="0">
              <a:solidFill>
                <a:prstClr val="black"/>
              </a:solidFill>
            </a:endParaRPr>
          </a:p>
        </p:txBody>
      </p:sp>
    </p:spTree>
    <p:extLst>
      <p:ext uri="{BB962C8B-B14F-4D97-AF65-F5344CB8AC3E}">
        <p14:creationId xmlns:p14="http://schemas.microsoft.com/office/powerpoint/2010/main" val="410712973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94</a:t>
            </a:fld>
            <a:endParaRPr lang="en-US" dirty="0">
              <a:solidFill>
                <a:prstClr val="black"/>
              </a:solidFill>
            </a:endParaRPr>
          </a:p>
        </p:txBody>
      </p:sp>
    </p:spTree>
    <p:extLst>
      <p:ext uri="{BB962C8B-B14F-4D97-AF65-F5344CB8AC3E}">
        <p14:creationId xmlns:p14="http://schemas.microsoft.com/office/powerpoint/2010/main" val="285021192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95</a:t>
            </a:fld>
            <a:endParaRPr lang="en-US" dirty="0">
              <a:solidFill>
                <a:prstClr val="black"/>
              </a:solidFill>
            </a:endParaRPr>
          </a:p>
        </p:txBody>
      </p:sp>
    </p:spTree>
    <p:extLst>
      <p:ext uri="{BB962C8B-B14F-4D97-AF65-F5344CB8AC3E}">
        <p14:creationId xmlns:p14="http://schemas.microsoft.com/office/powerpoint/2010/main" val="85984954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WPC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17932141-20D1-4170-9FA8-E20C47B82E0B}" type="datetime1">
              <a:rPr lang="en-US" smtClean="0">
                <a:solidFill>
                  <a:prstClr val="black"/>
                </a:solidFill>
              </a:rPr>
              <a:pPr/>
              <a:t>9/16/2013</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7</a:t>
            </a:fld>
            <a:endParaRPr lang="en-US" dirty="0">
              <a:solidFill>
                <a:prstClr val="black"/>
              </a:solidFill>
            </a:endParaRPr>
          </a:p>
        </p:txBody>
      </p:sp>
    </p:spTree>
    <p:extLst>
      <p:ext uri="{BB962C8B-B14F-4D97-AF65-F5344CB8AC3E}">
        <p14:creationId xmlns:p14="http://schemas.microsoft.com/office/powerpoint/2010/main" val="73598543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ront page of the</a:t>
            </a:r>
            <a:r>
              <a:rPr lang="en-US" baseline="0" dirty="0" smtClean="0"/>
              <a:t> Live Demo Site</a:t>
            </a:r>
            <a:r>
              <a:rPr lang="en-US" dirty="0" smtClean="0"/>
              <a:t>.</a:t>
            </a:r>
            <a:endParaRPr lang="en-US" dirty="0"/>
          </a:p>
        </p:txBody>
      </p:sp>
      <p:sp>
        <p:nvSpPr>
          <p:cNvPr id="4" name="Slide Number Placeholder 3"/>
          <p:cNvSpPr>
            <a:spLocks noGrp="1"/>
          </p:cNvSpPr>
          <p:nvPr>
            <p:ph type="sldNum" sz="quarter" idx="10"/>
          </p:nvPr>
        </p:nvSpPr>
        <p:spPr/>
        <p:txBody>
          <a:bodyPr/>
          <a:lstStyle/>
          <a:p>
            <a:fld id="{3AA6B0E3-AD78-4DE5-A84D-09A63B7D2D41}" type="slidenum">
              <a:rPr lang="en-US" smtClean="0">
                <a:solidFill>
                  <a:prstClr val="black"/>
                </a:solidFill>
              </a:rPr>
              <a:pPr/>
              <a:t>98</a:t>
            </a:fld>
            <a:endParaRPr lang="en-US">
              <a:solidFill>
                <a:prstClr val="black"/>
              </a:solidFill>
            </a:endParaRPr>
          </a:p>
        </p:txBody>
      </p:sp>
    </p:spTree>
    <p:extLst>
      <p:ext uri="{BB962C8B-B14F-4D97-AF65-F5344CB8AC3E}">
        <p14:creationId xmlns:p14="http://schemas.microsoft.com/office/powerpoint/2010/main" val="39655958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DF9B987-E33B-42DF-BA13-6F28DA6CA565}" type="slidenum">
              <a:rPr lang="en-US" smtClean="0">
                <a:solidFill>
                  <a:prstClr val="black"/>
                </a:solidFill>
              </a:rPr>
              <a:pPr/>
              <a:t>15</a:t>
            </a:fld>
            <a:endParaRPr lang="en-US">
              <a:solidFill>
                <a:prstClr val="black"/>
              </a:solidFill>
            </a:endParaRPr>
          </a:p>
        </p:txBody>
      </p:sp>
      <p:sp>
        <p:nvSpPr>
          <p:cNvPr id="5" name="Date Placeholder 4"/>
          <p:cNvSpPr>
            <a:spLocks noGrp="1"/>
          </p:cNvSpPr>
          <p:nvPr>
            <p:ph type="dt" idx="11"/>
          </p:nvPr>
        </p:nvSpPr>
        <p:spPr/>
        <p:txBody>
          <a:bodyPr/>
          <a:lstStyle/>
          <a:p>
            <a:fld id="{7BAA6F5B-FC96-4B92-8A48-7AA88DAAE5F7}" type="datetime1">
              <a:rPr lang="en-US" smtClean="0">
                <a:solidFill>
                  <a:prstClr val="black"/>
                </a:solidFill>
              </a:rPr>
              <a:pPr/>
              <a:t>9/16/2013</a:t>
            </a:fld>
            <a:endParaRPr lang="en-US">
              <a:solidFill>
                <a:prstClr val="black"/>
              </a:solidFill>
            </a:endParaRPr>
          </a:p>
        </p:txBody>
      </p:sp>
    </p:spTree>
    <p:extLst>
      <p:ext uri="{BB962C8B-B14F-4D97-AF65-F5344CB8AC3E}">
        <p14:creationId xmlns:p14="http://schemas.microsoft.com/office/powerpoint/2010/main" val="280382067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s a look at</a:t>
            </a:r>
            <a:r>
              <a:rPr lang="en-US" baseline="0" dirty="0" smtClean="0"/>
              <a:t> a Windows Azure HPC deployment.   You have an azure front end node, and an optional head node, that hosts the Windows Azure </a:t>
            </a:r>
            <a:r>
              <a:rPr lang="en-US" baseline="0" dirty="0" err="1" smtClean="0"/>
              <a:t>scheuder</a:t>
            </a:r>
            <a:r>
              <a:rPr lang="en-US" baseline="0" dirty="0" smtClean="0"/>
              <a:t>.  You can have as many compute node as you like.   There’s also a </a:t>
            </a:r>
            <a:r>
              <a:rPr lang="en-US" baseline="0" dirty="0" err="1" smtClean="0"/>
              <a:t>sql</a:t>
            </a:r>
            <a:r>
              <a:rPr lang="en-US" baseline="0" dirty="0" smtClean="0"/>
              <a:t> azure database that gets deployed to keep track of information about the cluster.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99</a:t>
            </a:fld>
            <a:endParaRPr lang="en-US" dirty="0">
              <a:solidFill>
                <a:prstClr val="black"/>
              </a:solidFill>
            </a:endParaRPr>
          </a:p>
        </p:txBody>
      </p:sp>
    </p:spTree>
    <p:extLst>
      <p:ext uri="{BB962C8B-B14F-4D97-AF65-F5344CB8AC3E}">
        <p14:creationId xmlns:p14="http://schemas.microsoft.com/office/powerpoint/2010/main" val="41369655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arting the services</a:t>
            </a:r>
            <a:endParaRPr lang="en-US" dirty="0"/>
          </a:p>
        </p:txBody>
      </p:sp>
      <p:sp>
        <p:nvSpPr>
          <p:cNvPr id="4" name="Slide Number Placeholder 3"/>
          <p:cNvSpPr>
            <a:spLocks noGrp="1"/>
          </p:cNvSpPr>
          <p:nvPr>
            <p:ph type="sldNum" sz="quarter" idx="10"/>
          </p:nvPr>
        </p:nvSpPr>
        <p:spPr/>
        <p:txBody>
          <a:bodyPr/>
          <a:lstStyle/>
          <a:p>
            <a:fld id="{3AA6B0E3-AD78-4DE5-A84D-09A63B7D2D41}" type="slidenum">
              <a:rPr lang="en-US" smtClean="0">
                <a:solidFill>
                  <a:prstClr val="black"/>
                </a:solidFill>
              </a:rPr>
              <a:pPr/>
              <a:t>100</a:t>
            </a:fld>
            <a:endParaRPr lang="en-US">
              <a:solidFill>
                <a:prstClr val="black"/>
              </a:solidFill>
            </a:endParaRPr>
          </a:p>
        </p:txBody>
      </p:sp>
    </p:spTree>
    <p:extLst>
      <p:ext uri="{BB962C8B-B14F-4D97-AF65-F5344CB8AC3E}">
        <p14:creationId xmlns:p14="http://schemas.microsoft.com/office/powerpoint/2010/main" val="399366462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sh board shows that the Compute Node’s CPU has been running at close to 100%.</a:t>
            </a:r>
            <a:r>
              <a:rPr lang="en-US" baseline="0" dirty="0" smtClean="0"/>
              <a:t> </a:t>
            </a:r>
            <a:endParaRPr lang="en-US" dirty="0"/>
          </a:p>
        </p:txBody>
      </p:sp>
      <p:sp>
        <p:nvSpPr>
          <p:cNvPr id="4" name="Slide Number Placeholder 3"/>
          <p:cNvSpPr>
            <a:spLocks noGrp="1"/>
          </p:cNvSpPr>
          <p:nvPr>
            <p:ph type="sldNum" sz="quarter" idx="10"/>
          </p:nvPr>
        </p:nvSpPr>
        <p:spPr/>
        <p:txBody>
          <a:bodyPr/>
          <a:lstStyle/>
          <a:p>
            <a:fld id="{3AA6B0E3-AD78-4DE5-A84D-09A63B7D2D41}" type="slidenum">
              <a:rPr lang="en-US" smtClean="0">
                <a:solidFill>
                  <a:prstClr val="black"/>
                </a:solidFill>
              </a:rPr>
              <a:pPr/>
              <a:t>101</a:t>
            </a:fld>
            <a:endParaRPr lang="en-US">
              <a:solidFill>
                <a:prstClr val="black"/>
              </a:solidFill>
            </a:endParaRPr>
          </a:p>
        </p:txBody>
      </p:sp>
    </p:spTree>
    <p:extLst>
      <p:ext uri="{BB962C8B-B14F-4D97-AF65-F5344CB8AC3E}">
        <p14:creationId xmlns:p14="http://schemas.microsoft.com/office/powerpoint/2010/main" val="404840623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You can</a:t>
            </a:r>
            <a:r>
              <a:rPr lang="en-US" baseline="0" dirty="0" smtClean="0"/>
              <a:t> scale the compute resources horizontally by adding the number of X-Large </a:t>
            </a:r>
            <a:r>
              <a:rPr lang="en-US" baseline="0" dirty="0" err="1" smtClean="0"/>
              <a:t>ComputeNode</a:t>
            </a:r>
            <a:r>
              <a:rPr lang="en-US" baseline="0" dirty="0" smtClean="0"/>
              <a:t> instances. </a:t>
            </a:r>
            <a:endParaRPr lang="en-US" dirty="0"/>
          </a:p>
        </p:txBody>
      </p:sp>
      <p:sp>
        <p:nvSpPr>
          <p:cNvPr id="4" name="Slide Number Placeholder 3"/>
          <p:cNvSpPr>
            <a:spLocks noGrp="1"/>
          </p:cNvSpPr>
          <p:nvPr>
            <p:ph type="sldNum" sz="quarter" idx="10"/>
          </p:nvPr>
        </p:nvSpPr>
        <p:spPr/>
        <p:txBody>
          <a:bodyPr/>
          <a:lstStyle/>
          <a:p>
            <a:fld id="{3AA6B0E3-AD78-4DE5-A84D-09A63B7D2D41}" type="slidenum">
              <a:rPr lang="en-US" smtClean="0">
                <a:solidFill>
                  <a:prstClr val="black"/>
                </a:solidFill>
              </a:rPr>
              <a:pPr/>
              <a:t>102</a:t>
            </a:fld>
            <a:endParaRPr lang="en-US">
              <a:solidFill>
                <a:prstClr val="black"/>
              </a:solidFill>
            </a:endParaRPr>
          </a:p>
        </p:txBody>
      </p:sp>
    </p:spTree>
    <p:extLst>
      <p:ext uri="{BB962C8B-B14F-4D97-AF65-F5344CB8AC3E}">
        <p14:creationId xmlns:p14="http://schemas.microsoft.com/office/powerpoint/2010/main" val="176254885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stance</a:t>
            </a:r>
            <a:r>
              <a:rPr lang="en-US" baseline="0" dirty="0" smtClean="0"/>
              <a:t> page shows that there are 3 types of instances in the Windows Azure HPC Scheduler.</a:t>
            </a:r>
          </a:p>
          <a:p>
            <a:pPr marL="171450" indent="-171450">
              <a:buFont typeface="Arial" panose="020B0604020202020204" pitchFamily="34" charset="0"/>
              <a:buChar char="•"/>
            </a:pPr>
            <a:r>
              <a:rPr lang="en-US" baseline="0" dirty="0" err="1" smtClean="0"/>
              <a:t>HeadNode</a:t>
            </a:r>
            <a:r>
              <a:rPr lang="en-US" baseline="0" dirty="0" smtClean="0"/>
              <a:t> which controls the cluster. </a:t>
            </a:r>
          </a:p>
          <a:p>
            <a:pPr marL="171450" indent="-171450">
              <a:buFont typeface="Arial" panose="020B0604020202020204" pitchFamily="34" charset="0"/>
              <a:buChar char="•"/>
            </a:pPr>
            <a:r>
              <a:rPr lang="en-US" baseline="0" dirty="0" smtClean="0"/>
              <a:t>A </a:t>
            </a:r>
            <a:r>
              <a:rPr lang="en-US" baseline="0" dirty="0" err="1" smtClean="0"/>
              <a:t>FrontEnd</a:t>
            </a:r>
            <a:r>
              <a:rPr lang="en-US" baseline="0" dirty="0" smtClean="0"/>
              <a:t> Web role which hosts the MVC website.</a:t>
            </a:r>
          </a:p>
          <a:p>
            <a:pPr marL="171450" indent="-171450">
              <a:buFont typeface="Arial" panose="020B0604020202020204" pitchFamily="34" charset="0"/>
              <a:buChar char="•"/>
            </a:pPr>
            <a:r>
              <a:rPr lang="en-US" baseline="0" dirty="0" smtClean="0"/>
              <a:t>Extra Large Compute Nodes which can scale to meet computing needs.</a:t>
            </a:r>
            <a:endParaRPr lang="en-US" dirty="0"/>
          </a:p>
        </p:txBody>
      </p:sp>
      <p:sp>
        <p:nvSpPr>
          <p:cNvPr id="4" name="Slide Number Placeholder 3"/>
          <p:cNvSpPr>
            <a:spLocks noGrp="1"/>
          </p:cNvSpPr>
          <p:nvPr>
            <p:ph type="sldNum" sz="quarter" idx="10"/>
          </p:nvPr>
        </p:nvSpPr>
        <p:spPr/>
        <p:txBody>
          <a:bodyPr/>
          <a:lstStyle/>
          <a:p>
            <a:fld id="{3AA6B0E3-AD78-4DE5-A84D-09A63B7D2D41}" type="slidenum">
              <a:rPr lang="en-US" smtClean="0">
                <a:solidFill>
                  <a:prstClr val="black"/>
                </a:solidFill>
              </a:rPr>
              <a:pPr/>
              <a:t>104</a:t>
            </a:fld>
            <a:endParaRPr lang="en-US">
              <a:solidFill>
                <a:prstClr val="black"/>
              </a:solidFill>
            </a:endParaRPr>
          </a:p>
        </p:txBody>
      </p:sp>
    </p:spTree>
    <p:extLst>
      <p:ext uri="{BB962C8B-B14F-4D97-AF65-F5344CB8AC3E}">
        <p14:creationId xmlns:p14="http://schemas.microsoft.com/office/powerpoint/2010/main" val="198887660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ptional showing CPU running at 100%</a:t>
            </a:r>
            <a:r>
              <a:rPr lang="en-US" baseline="0" dirty="0" smtClean="0"/>
              <a:t> https://weatherservice.cloudapp.net/HeatMapPage.aspx  </a:t>
            </a:r>
            <a:endParaRPr lang="en-US" dirty="0"/>
          </a:p>
        </p:txBody>
      </p:sp>
      <p:sp>
        <p:nvSpPr>
          <p:cNvPr id="4" name="Slide Number Placeholder 3"/>
          <p:cNvSpPr>
            <a:spLocks noGrp="1"/>
          </p:cNvSpPr>
          <p:nvPr>
            <p:ph type="sldNum" sz="quarter" idx="10"/>
          </p:nvPr>
        </p:nvSpPr>
        <p:spPr/>
        <p:txBody>
          <a:bodyPr/>
          <a:lstStyle/>
          <a:p>
            <a:fld id="{3AA6B0E3-AD78-4DE5-A84D-09A63B7D2D41}" type="slidenum">
              <a:rPr lang="en-US" smtClean="0">
                <a:solidFill>
                  <a:prstClr val="black"/>
                </a:solidFill>
              </a:rPr>
              <a:pPr/>
              <a:t>105</a:t>
            </a:fld>
            <a:endParaRPr lang="en-US">
              <a:solidFill>
                <a:prstClr val="black"/>
              </a:solidFill>
            </a:endParaRPr>
          </a:p>
        </p:txBody>
      </p:sp>
    </p:spTree>
    <p:extLst>
      <p:ext uri="{BB962C8B-B14F-4D97-AF65-F5344CB8AC3E}">
        <p14:creationId xmlns:p14="http://schemas.microsoft.com/office/powerpoint/2010/main" val="257453634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112</a:t>
            </a:fld>
            <a:endParaRPr lang="en-US" dirty="0">
              <a:solidFill>
                <a:prstClr val="black"/>
              </a:solidFill>
            </a:endParaRPr>
          </a:p>
        </p:txBody>
      </p:sp>
    </p:spTree>
    <p:extLst>
      <p:ext uri="{BB962C8B-B14F-4D97-AF65-F5344CB8AC3E}">
        <p14:creationId xmlns:p14="http://schemas.microsoft.com/office/powerpoint/2010/main" val="137928559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a:solidFill>
                  <a:prstClr val="black"/>
                </a:solidFill>
              </a:rPr>
              <a:pPr/>
              <a:t>113</a:t>
            </a:fld>
            <a:endParaRPr lang="en-US">
              <a:solidFill>
                <a:prstClr val="black"/>
              </a:solidFill>
            </a:endParaRPr>
          </a:p>
        </p:txBody>
      </p:sp>
    </p:spTree>
    <p:extLst>
      <p:ext uri="{BB962C8B-B14F-4D97-AF65-F5344CB8AC3E}">
        <p14:creationId xmlns:p14="http://schemas.microsoft.com/office/powerpoint/2010/main" val="2572510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1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9.xml"/><Relationship Id="rId4" Type="http://schemas.microsoft.com/office/2007/relationships/hdphoto" Target="../media/hdphoto2.wdp"/></Relationships>
</file>

<file path=ppt/slideLayouts/_rels/slideLayout1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0.xml"/><Relationship Id="rId4" Type="http://schemas.microsoft.com/office/2007/relationships/hdphoto" Target="../media/hdphoto2.wdp"/></Relationships>
</file>

<file path=ppt/slideLayouts/_rels/slideLayout1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1.xml"/><Relationship Id="rId4" Type="http://schemas.microsoft.com/office/2007/relationships/hdphoto" Target="../media/hdphoto2.wdp"/></Relationships>
</file>

<file path=ppt/slideLayouts/_rels/slideLayout2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2.xml"/><Relationship Id="rId4" Type="http://schemas.openxmlformats.org/officeDocument/2006/relationships/image" Target="../media/image24.png"/></Relationships>
</file>

<file path=ppt/slideLayouts/_rels/slideLayout265.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2.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3.xml"/><Relationship Id="rId4" Type="http://schemas.openxmlformats.org/officeDocument/2006/relationships/image" Target="../media/image24.png"/></Relationships>
</file>

<file path=ppt/slideLayouts/_rels/slideLayout297.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3.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4.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4.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4.xml"/><Relationship Id="rId4" Type="http://schemas.openxmlformats.org/officeDocument/2006/relationships/image" Target="../media/image24.png"/></Relationships>
</file>

<file path=ppt/slideLayouts/_rels/slideLayout329.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4.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5.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5.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 Id="rId4" Type="http://schemas.openxmlformats.org/officeDocument/2006/relationships/image" Target="../media/image24.png"/></Relationships>
</file>

<file path=ppt/slideLayouts/_rels/slideLayout361.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5.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1.wdp"/></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6.xml"/><Relationship Id="rId4" Type="http://schemas.microsoft.com/office/2007/relationships/hdphoto" Target="../media/hdphoto2.wdp"/></Relationships>
</file>

<file path=ppt/slideLayouts/_rels/slideLayout3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1.wdp"/></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1.wdp"/></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7.xml"/><Relationship Id="rId4" Type="http://schemas.microsoft.com/office/2007/relationships/hdphoto" Target="../media/hdphoto2.wdp"/></Relationships>
</file>

<file path=ppt/slideLayouts/_rels/slideLayout3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1.wdp"/></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7.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8.xml"/><Relationship Id="rId4" Type="http://schemas.microsoft.com/office/2007/relationships/hdphoto" Target="../media/hdphoto2.wdp"/></Relationships>
</file>

<file path=ppt/slideLayouts/_rels/slideLayout4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8.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1.wdp"/></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9.xml"/><Relationship Id="rId4" Type="http://schemas.microsoft.com/office/2007/relationships/hdphoto" Target="../media/hdphoto2.wdp"/></Relationships>
</file>

<file path=ppt/slideLayouts/_rels/slideLayout4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1.wdp"/></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9.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1.wdp"/></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0.xml"/><Relationship Id="rId4" Type="http://schemas.microsoft.com/office/2007/relationships/hdphoto" Target="../media/hdphoto2.wdp"/></Relationships>
</file>

<file path=ppt/slideLayouts/_rels/slideLayout4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1.wdp"/></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0.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1.xml"/><Relationship Id="rId4" Type="http://schemas.microsoft.com/office/2007/relationships/hdphoto" Target="../media/hdphoto1.wdp"/></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1.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1.xml"/><Relationship Id="rId4" Type="http://schemas.microsoft.com/office/2007/relationships/hdphoto" Target="../media/hdphoto1.wdp"/></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1.xml"/><Relationship Id="rId4" Type="http://schemas.microsoft.com/office/2007/relationships/hdphoto" Target="../media/hdphoto2.wdp"/></Relationships>
</file>

<file path=ppt/slideLayouts/_rels/slideLayout4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2.xml"/><Relationship Id="rId4" Type="http://schemas.microsoft.com/office/2007/relationships/hdphoto" Target="../media/hdphoto1.wdp"/></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2.xml"/><Relationship Id="rId4" Type="http://schemas.microsoft.com/office/2007/relationships/hdphoto" Target="../media/hdphoto2.wdp"/></Relationships>
</file>

<file path=ppt/slideLayouts/_rels/slideLayout47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2.xml"/><Relationship Id="rId4" Type="http://schemas.microsoft.com/office/2007/relationships/hdphoto" Target="../media/hdphoto1.wdp"/></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2.xml"/></Relationships>
</file>

<file path=ppt/slideLayouts/_rels/slideLayout48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2.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2.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3.xml"/><Relationship Id="rId4" Type="http://schemas.microsoft.com/office/2007/relationships/hdphoto" Target="../media/hdphoto1.wdp"/></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3.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3.xml"/><Relationship Id="rId4" Type="http://schemas.microsoft.com/office/2007/relationships/hdphoto" Target="../media/hdphoto1.wdp"/></Relationships>
</file>

<file path=ppt/slideLayouts/_rels/slideLayout49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3.xml"/><Relationship Id="rId4" Type="http://schemas.microsoft.com/office/2007/relationships/hdphoto" Target="../media/hdphoto2.wdp"/></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5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5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5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3.xml"/></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3.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4.xml"/><Relationship Id="rId4" Type="http://schemas.microsoft.com/office/2007/relationships/hdphoto" Target="../media/hdphoto1.wdp"/></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4.xml"/><Relationship Id="rId4" Type="http://schemas.microsoft.com/office/2007/relationships/hdphoto" Target="../media/hdphoto2.wdp"/></Relationships>
</file>

<file path=ppt/slideLayouts/_rels/slideLayout5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4.xml"/><Relationship Id="rId4" Type="http://schemas.microsoft.com/office/2007/relationships/hdphoto" Target="../media/hdphoto1.wdp"/></Relationships>
</file>

<file path=ppt/slideLayouts/_rels/slideLayout5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4.xml"/></Relationships>
</file>

<file path=ppt/slideLayouts/_rels/slideLayout5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4.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5.xml"/><Relationship Id="rId4" Type="http://schemas.microsoft.com/office/2007/relationships/hdphoto" Target="../media/hdphoto1.wdp"/></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3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5.xml"/><Relationship Id="rId4" Type="http://schemas.microsoft.com/office/2007/relationships/hdphoto" Target="../media/hdphoto1.wdp"/></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4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5.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5.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5.xml"/></Relationships>
</file>

<file path=ppt/slideLayouts/_rels/slideLayout5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6.xml"/><Relationship Id="rId4" Type="http://schemas.microsoft.com/office/2007/relationships/hdphoto" Target="../media/hdphoto1.wdp"/></Relationships>
</file>

<file path=ppt/slideLayouts/_rels/slideLayout54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4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6.xml"/><Relationship Id="rId4" Type="http://schemas.microsoft.com/office/2007/relationships/hdphoto" Target="../media/hdphoto1.wdp"/></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6.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6.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6.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6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8.xml"/><Relationship Id="rId4" Type="http://schemas.microsoft.com/office/2007/relationships/hdphoto" Target="../media/hdphoto1.wdp"/></Relationships>
</file>

<file path=ppt/slideLayouts/_rels/slideLayout56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6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8.xml"/><Relationship Id="rId4" Type="http://schemas.microsoft.com/office/2007/relationships/hdphoto" Target="../media/hdphoto1.wdp"/></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8.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57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57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9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9.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59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59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0.xml"/><Relationship Id="rId4" Type="http://schemas.microsoft.com/office/2007/relationships/hdphoto" Target="../media/hdphoto2.wdp"/></Relationships>
</file>

<file path=ppt/slideLayouts/_rels/slideLayout5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60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0.xml"/></Relationships>
</file>

<file path=ppt/slideLayouts/_rels/slideLayout60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6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1.xml"/><Relationship Id="rId4" Type="http://schemas.microsoft.com/office/2007/relationships/hdphoto" Target="../media/hdphoto2.wdp"/></Relationships>
</file>

<file path=ppt/slideLayouts/_rels/slideLayout6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6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1.xml"/></Relationships>
</file>

<file path=ppt/slideLayouts/_rels/slideLayout62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6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2.xml"/><Relationship Id="rId4" Type="http://schemas.microsoft.com/office/2007/relationships/hdphoto" Target="../media/hdphoto2.wdp"/></Relationships>
</file>

<file path=ppt/slideLayouts/_rels/slideLayout6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64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2.xml"/></Relationships>
</file>

<file path=ppt/slideLayouts/_rels/slideLayout64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2.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65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3.xml"/><Relationship Id="rId4" Type="http://schemas.microsoft.com/office/2007/relationships/hdphoto" Target="../media/hdphoto2.wdp"/></Relationships>
</file>

<file path=ppt/slideLayouts/_rels/slideLayout6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6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66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3.xml"/></Relationships>
</file>

<file path=ppt/slideLayouts/_rels/slideLayout66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3.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66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4.xml"/><Relationship Id="rId4" Type="http://schemas.microsoft.com/office/2007/relationships/hdphoto" Target="../media/hdphoto1.wdp"/></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4.xml"/><Relationship Id="rId4" Type="http://schemas.microsoft.com/office/2007/relationships/hdphoto" Target="../media/hdphoto2.wdp"/></Relationships>
</file>

<file path=ppt/slideLayouts/_rels/slideLayout67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7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7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7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4.xml"/><Relationship Id="rId4" Type="http://schemas.microsoft.com/office/2007/relationships/hdphoto" Target="../media/hdphoto1.wdp"/></Relationships>
</file>

<file path=ppt/slideLayouts/_rels/slideLayout68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4.xml"/></Relationships>
</file>

<file path=ppt/slideLayouts/_rels/slideLayout68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4.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8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4.xml"/></Relationships>
</file>

<file path=ppt/slideLayouts/_rels/slideLayout68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4.xml"/></Relationships>
</file>

<file path=ppt/slideLayouts/_rels/slideLayout68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5.xml"/><Relationship Id="rId4" Type="http://schemas.microsoft.com/office/2007/relationships/hdphoto" Target="../media/hdphoto1.wdp"/></Relationships>
</file>

<file path=ppt/slideLayouts/_rels/slideLayout68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5.xml"/><Relationship Id="rId4" Type="http://schemas.microsoft.com/office/2007/relationships/hdphoto" Target="../media/hdphoto1.wdp"/></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5.xml"/></Relationships>
</file>

<file path=ppt/slideLayouts/_rels/slideLayout6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5.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0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5.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36.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6.xml"/></Relationships>
</file>

<file path=ppt/slideLayouts/_rels/slideLayout70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6.xml"/></Relationships>
</file>

<file path=ppt/slideLayouts/_rels/slideLayout70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6.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6.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6.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6.xml"/></Relationships>
</file>

<file path=ppt/slideLayouts/_rels/slideLayout71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6.xml"/></Relationships>
</file>

<file path=ppt/slideLayouts/_rels/slideLayout71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6.xml"/></Relationships>
</file>

<file path=ppt/slideLayouts/_rels/slideLayout71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6.xml"/></Relationships>
</file>

<file path=ppt/slideLayouts/_rels/slideLayout71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6.xml"/></Relationships>
</file>

<file path=ppt/slideLayouts/_rels/slideLayout71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6.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3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6.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3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6.xml"/><Relationship Id="rId4" Type="http://schemas.microsoft.com/office/2007/relationships/hdphoto" Target="../media/hdphoto2.wdp"/></Relationships>
</file>

<file path=ppt/slideLayouts/_rels/slideLayout7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7.xml"/><Relationship Id="rId4" Type="http://schemas.microsoft.com/office/2007/relationships/hdphoto" Target="../media/hdphoto1.wdp"/></Relationships>
</file>

<file path=ppt/slideLayouts/_rels/slideLayout73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7.xml"/><Relationship Id="rId4" Type="http://schemas.microsoft.com/office/2007/relationships/hdphoto" Target="../media/hdphoto2.wdp"/></Relationships>
</file>

<file path=ppt/slideLayouts/_rels/slideLayout7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7.xml"/><Relationship Id="rId4" Type="http://schemas.microsoft.com/office/2007/relationships/hdphoto" Target="../media/hdphoto1.wdp"/></Relationships>
</file>

<file path=ppt/slideLayouts/_rels/slideLayout74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5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7.xml"/></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7.xml"/></Relationships>
</file>

<file path=ppt/slideLayouts/_rels/slideLayout75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8.xml"/><Relationship Id="rId4" Type="http://schemas.microsoft.com/office/2007/relationships/hdphoto" Target="../media/hdphoto1.wdp"/></Relationships>
</file>

<file path=ppt/slideLayouts/_rels/slideLayout75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8.xml"/><Relationship Id="rId4" Type="http://schemas.microsoft.com/office/2007/relationships/hdphoto" Target="../media/hdphoto2.wdp"/></Relationships>
</file>

<file path=ppt/slideLayouts/_rels/slideLayout75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6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8.xml"/><Relationship Id="rId4" Type="http://schemas.microsoft.com/office/2007/relationships/hdphoto" Target="../media/hdphoto1.wdp"/></Relationships>
</file>

<file path=ppt/slideLayouts/_rels/slideLayout76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8.xml"/></Relationships>
</file>

<file path=ppt/slideLayouts/_rels/slideLayout76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8.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7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8.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9.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39.xml"/><Relationship Id="rId4" Type="http://schemas.openxmlformats.org/officeDocument/2006/relationships/tags" Target="../tags/tag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80.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6.xml"/><Relationship Id="rId7" Type="http://schemas.microsoft.com/office/2007/relationships/hdphoto" Target="../media/hdphoto1.wdp"/><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Master" Target="../slideMasters/slideMaster40.xml"/><Relationship Id="rId9" Type="http://schemas.openxmlformats.org/officeDocument/2006/relationships/image" Target="../media/image37.emf"/></Relationships>
</file>

<file path=ppt/slideLayouts/_rels/slideLayout781.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slideMaster" Target="../slideMasters/slideMaster40.xml"/><Relationship Id="rId7" Type="http://schemas.openxmlformats.org/officeDocument/2006/relationships/oleObject" Target="../embeddings/oleObject4.bin"/><Relationship Id="rId2" Type="http://schemas.openxmlformats.org/officeDocument/2006/relationships/tags" Target="../tags/tag7.xml"/><Relationship Id="rId1" Type="http://schemas.openxmlformats.org/officeDocument/2006/relationships/vmlDrawing" Target="../drawings/vmlDrawing4.vml"/><Relationship Id="rId6" Type="http://schemas.microsoft.com/office/2007/relationships/hdphoto" Target="../media/hdphoto2.wdp"/><Relationship Id="rId5" Type="http://schemas.openxmlformats.org/officeDocument/2006/relationships/image" Target="../media/image17.png"/><Relationship Id="rId4" Type="http://schemas.openxmlformats.org/officeDocument/2006/relationships/image" Target="../media/image14.png"/></Relationships>
</file>

<file path=ppt/slideLayouts/_rels/slideLayout782.xml.rels><?xml version="1.0" encoding="UTF-8" standalone="yes"?>
<Relationships xmlns="http://schemas.openxmlformats.org/package/2006/relationships"><Relationship Id="rId3" Type="http://schemas.openxmlformats.org/officeDocument/2006/relationships/slideMaster" Target="../slideMasters/slideMaster40.xml"/><Relationship Id="rId7" Type="http://schemas.openxmlformats.org/officeDocument/2006/relationships/image" Target="../media/image37.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microsoft.com/office/2007/relationships/hdphoto" Target="../media/hdphoto2.wdp"/><Relationship Id="rId4" Type="http://schemas.openxmlformats.org/officeDocument/2006/relationships/image" Target="../media/image17.png"/></Relationships>
</file>

<file path=ppt/slideLayouts/_rels/slideLayout78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40.xml"/></Relationships>
</file>

<file path=ppt/slideLayouts/_rels/slideLayout784.xml.rels><?xml version="1.0" encoding="UTF-8" standalone="yes"?>
<Relationships xmlns="http://schemas.openxmlformats.org/package/2006/relationships"><Relationship Id="rId3" Type="http://schemas.openxmlformats.org/officeDocument/2006/relationships/slideMaster" Target="../slideMasters/slideMaster40.xml"/><Relationship Id="rId7" Type="http://schemas.openxmlformats.org/officeDocument/2006/relationships/image" Target="../media/image37.emf"/><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microsoft.com/office/2007/relationships/hdphoto" Target="../media/hdphoto2.wdp"/><Relationship Id="rId4" Type="http://schemas.openxmlformats.org/officeDocument/2006/relationships/image" Target="../media/image17.png"/></Relationships>
</file>

<file path=ppt/slideLayouts/_rels/slideLayout785.xml.rels><?xml version="1.0" encoding="UTF-8" standalone="yes"?>
<Relationships xmlns="http://schemas.openxmlformats.org/package/2006/relationships"><Relationship Id="rId3" Type="http://schemas.openxmlformats.org/officeDocument/2006/relationships/slideMaster" Target="../slideMasters/slideMaster40.xml"/><Relationship Id="rId7" Type="http://schemas.openxmlformats.org/officeDocument/2006/relationships/image" Target="../media/image37.emf"/><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microsoft.com/office/2007/relationships/hdphoto" Target="../media/hdphoto2.wdp"/><Relationship Id="rId4" Type="http://schemas.openxmlformats.org/officeDocument/2006/relationships/image" Target="../media/image17.png"/></Relationships>
</file>

<file path=ppt/slideLayouts/_rels/slideLayout786.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37.emf"/><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40.xml"/><Relationship Id="rId4" Type="http://schemas.openxmlformats.org/officeDocument/2006/relationships/tags" Target="../tags/tag13.xml"/></Relationships>
</file>

<file path=ppt/slideLayouts/_rels/slideLayout787.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37.emf"/><Relationship Id="rId5" Type="http://schemas.openxmlformats.org/officeDocument/2006/relationships/oleObject" Target="../embeddings/oleObject9.bin"/><Relationship Id="rId4" Type="http://schemas.openxmlformats.org/officeDocument/2006/relationships/slideMaster" Target="../slideMasters/slideMaster40.xml"/></Relationships>
</file>

<file path=ppt/slideLayouts/_rels/slideLayout788.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image" Target="../media/image37.emf"/><Relationship Id="rId5" Type="http://schemas.openxmlformats.org/officeDocument/2006/relationships/oleObject" Target="../embeddings/oleObject10.bin"/><Relationship Id="rId4" Type="http://schemas.openxmlformats.org/officeDocument/2006/relationships/slideMaster" Target="../slideMasters/slideMaster40.xml"/></Relationships>
</file>

<file path=ppt/slideLayouts/_rels/slideLayout789.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19.xml"/><Relationship Id="rId7" Type="http://schemas.microsoft.com/office/2007/relationships/hdphoto" Target="../media/hdphoto1.wdp"/><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Master" Target="../slideMasters/slideMaster40.xml"/><Relationship Id="rId9" Type="http://schemas.openxmlformats.org/officeDocument/2006/relationships/image" Target="../media/image37.emf"/></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790.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21.xml"/><Relationship Id="rId7" Type="http://schemas.openxmlformats.org/officeDocument/2006/relationships/image" Target="../media/image19.png"/><Relationship Id="rId2" Type="http://schemas.openxmlformats.org/officeDocument/2006/relationships/tags" Target="../tags/tag20.xml"/><Relationship Id="rId1" Type="http://schemas.openxmlformats.org/officeDocument/2006/relationships/vmlDrawing" Target="../drawings/vmlDrawing12.vml"/><Relationship Id="rId6" Type="http://schemas.openxmlformats.org/officeDocument/2006/relationships/image" Target="../media/image18.jpg"/><Relationship Id="rId5" Type="http://schemas.openxmlformats.org/officeDocument/2006/relationships/slideMaster" Target="../slideMasters/slideMaster40.xml"/><Relationship Id="rId4" Type="http://schemas.openxmlformats.org/officeDocument/2006/relationships/tags" Target="../tags/tag22.xml"/><Relationship Id="rId9" Type="http://schemas.openxmlformats.org/officeDocument/2006/relationships/image" Target="../media/image37.emf"/></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793.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25.xml"/><Relationship Id="rId7" Type="http://schemas.microsoft.com/office/2007/relationships/hdphoto" Target="../media/hdphoto1.wdp"/><Relationship Id="rId2" Type="http://schemas.openxmlformats.org/officeDocument/2006/relationships/tags" Target="../tags/tag24.xml"/><Relationship Id="rId1" Type="http://schemas.openxmlformats.org/officeDocument/2006/relationships/vmlDrawing" Target="../drawings/vmlDrawing14.v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Master" Target="../slideMasters/slideMaster41.xml"/><Relationship Id="rId9" Type="http://schemas.openxmlformats.org/officeDocument/2006/relationships/image" Target="../media/image37.emf"/></Relationships>
</file>

<file path=ppt/slideLayouts/_rels/slideLayout794.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slideMaster" Target="../slideMasters/slideMaster41.xml"/><Relationship Id="rId7" Type="http://schemas.openxmlformats.org/officeDocument/2006/relationships/oleObject" Target="../embeddings/oleObject15.bin"/><Relationship Id="rId2" Type="http://schemas.openxmlformats.org/officeDocument/2006/relationships/tags" Target="../tags/tag26.xml"/><Relationship Id="rId1" Type="http://schemas.openxmlformats.org/officeDocument/2006/relationships/vmlDrawing" Target="../drawings/vmlDrawing15.vml"/><Relationship Id="rId6" Type="http://schemas.microsoft.com/office/2007/relationships/hdphoto" Target="../media/hdphoto2.wdp"/><Relationship Id="rId5" Type="http://schemas.openxmlformats.org/officeDocument/2006/relationships/image" Target="../media/image17.png"/><Relationship Id="rId4" Type="http://schemas.openxmlformats.org/officeDocument/2006/relationships/image" Target="../media/image14.png"/></Relationships>
</file>

<file path=ppt/slideLayouts/_rels/slideLayout795.xml.rels><?xml version="1.0" encoding="UTF-8" standalone="yes"?>
<Relationships xmlns="http://schemas.openxmlformats.org/package/2006/relationships"><Relationship Id="rId3" Type="http://schemas.openxmlformats.org/officeDocument/2006/relationships/slideMaster" Target="../slideMasters/slideMaster41.xml"/><Relationship Id="rId7" Type="http://schemas.openxmlformats.org/officeDocument/2006/relationships/image" Target="../media/image37.emf"/><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microsoft.com/office/2007/relationships/hdphoto" Target="../media/hdphoto2.wdp"/><Relationship Id="rId4" Type="http://schemas.openxmlformats.org/officeDocument/2006/relationships/image" Target="../media/image17.png"/></Relationships>
</file>

<file path=ppt/slideLayouts/_rels/slideLayout7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41.xml"/></Relationships>
</file>

<file path=ppt/slideLayouts/_rels/slideLayout797.xml.rels><?xml version="1.0" encoding="UTF-8" standalone="yes"?>
<Relationships xmlns="http://schemas.openxmlformats.org/package/2006/relationships"><Relationship Id="rId3" Type="http://schemas.openxmlformats.org/officeDocument/2006/relationships/slideMaster" Target="../slideMasters/slideMaster41.xml"/><Relationship Id="rId7" Type="http://schemas.openxmlformats.org/officeDocument/2006/relationships/image" Target="../media/image37.emf"/><Relationship Id="rId2" Type="http://schemas.openxmlformats.org/officeDocument/2006/relationships/tags" Target="../tags/tag28.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microsoft.com/office/2007/relationships/hdphoto" Target="../media/hdphoto2.wdp"/><Relationship Id="rId4" Type="http://schemas.openxmlformats.org/officeDocument/2006/relationships/image" Target="../media/image17.png"/></Relationships>
</file>

<file path=ppt/slideLayouts/_rels/slideLayout798.xml.rels><?xml version="1.0" encoding="UTF-8" standalone="yes"?>
<Relationships xmlns="http://schemas.openxmlformats.org/package/2006/relationships"><Relationship Id="rId3" Type="http://schemas.openxmlformats.org/officeDocument/2006/relationships/slideMaster" Target="../slideMasters/slideMaster41.xml"/><Relationship Id="rId7" Type="http://schemas.openxmlformats.org/officeDocument/2006/relationships/image" Target="../media/image37.emf"/><Relationship Id="rId2" Type="http://schemas.openxmlformats.org/officeDocument/2006/relationships/tags" Target="../tags/tag29.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microsoft.com/office/2007/relationships/hdphoto" Target="../media/hdphoto2.wdp"/><Relationship Id="rId4" Type="http://schemas.openxmlformats.org/officeDocument/2006/relationships/image" Target="../media/image17.png"/></Relationships>
</file>

<file path=ppt/slideLayouts/_rels/slideLayout799.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37.emf"/><Relationship Id="rId2" Type="http://schemas.openxmlformats.org/officeDocument/2006/relationships/tags" Target="../tags/tag30.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41.xml"/><Relationship Id="rId4" Type="http://schemas.openxmlformats.org/officeDocument/2006/relationships/tags" Target="../tags/tag3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00.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20.vml"/><Relationship Id="rId6" Type="http://schemas.openxmlformats.org/officeDocument/2006/relationships/image" Target="../media/image37.emf"/><Relationship Id="rId5" Type="http://schemas.openxmlformats.org/officeDocument/2006/relationships/oleObject" Target="../embeddings/oleObject20.bin"/><Relationship Id="rId4" Type="http://schemas.openxmlformats.org/officeDocument/2006/relationships/slideMaster" Target="../slideMasters/slideMaster41.xml"/></Relationships>
</file>

<file path=ppt/slideLayouts/_rels/slideLayout801.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21.vml"/><Relationship Id="rId6" Type="http://schemas.openxmlformats.org/officeDocument/2006/relationships/image" Target="../media/image37.emf"/><Relationship Id="rId5" Type="http://schemas.openxmlformats.org/officeDocument/2006/relationships/oleObject" Target="../embeddings/oleObject21.bin"/><Relationship Id="rId4" Type="http://schemas.openxmlformats.org/officeDocument/2006/relationships/slideMaster" Target="../slideMasters/slideMaster41.xml"/></Relationships>
</file>

<file path=ppt/slideLayouts/_rels/slideLayout802.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38.xml"/><Relationship Id="rId7" Type="http://schemas.microsoft.com/office/2007/relationships/hdphoto" Target="../media/hdphoto1.wdp"/><Relationship Id="rId2" Type="http://schemas.openxmlformats.org/officeDocument/2006/relationships/tags" Target="../tags/tag37.xml"/><Relationship Id="rId1" Type="http://schemas.openxmlformats.org/officeDocument/2006/relationships/vmlDrawing" Target="../drawings/vmlDrawing22.v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Master" Target="../slideMasters/slideMaster41.xml"/><Relationship Id="rId9" Type="http://schemas.openxmlformats.org/officeDocument/2006/relationships/image" Target="../media/image37.emf"/></Relationships>
</file>

<file path=ppt/slideLayouts/_rels/slideLayout803.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40.xml"/><Relationship Id="rId7" Type="http://schemas.openxmlformats.org/officeDocument/2006/relationships/image" Target="../media/image19.png"/><Relationship Id="rId2" Type="http://schemas.openxmlformats.org/officeDocument/2006/relationships/tags" Target="../tags/tag39.xml"/><Relationship Id="rId1" Type="http://schemas.openxmlformats.org/officeDocument/2006/relationships/vmlDrawing" Target="../drawings/vmlDrawing23.vml"/><Relationship Id="rId6" Type="http://schemas.openxmlformats.org/officeDocument/2006/relationships/image" Target="../media/image18.jpg"/><Relationship Id="rId5" Type="http://schemas.openxmlformats.org/officeDocument/2006/relationships/slideMaster" Target="../slideMasters/slideMaster41.xml"/><Relationship Id="rId4" Type="http://schemas.openxmlformats.org/officeDocument/2006/relationships/tags" Target="../tags/tag41.xml"/><Relationship Id="rId9" Type="http://schemas.openxmlformats.org/officeDocument/2006/relationships/image" Target="../media/image37.emf"/></Relationships>
</file>

<file path=ppt/slideLayouts/_rels/slideLayout80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0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5.jpg"/><Relationship Id="rId1" Type="http://schemas.openxmlformats.org/officeDocument/2006/relationships/slideMaster" Target="../slideMasters/slideMaster42.xml"/><Relationship Id="rId4" Type="http://schemas.microsoft.com/office/2007/relationships/hdphoto" Target="../media/hdphoto6.wdp"/></Relationships>
</file>

<file path=ppt/slideLayouts/_rels/slideLayout80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14.png"/><Relationship Id="rId1" Type="http://schemas.openxmlformats.org/officeDocument/2006/relationships/slideMaster" Target="../slideMasters/slideMaster42.xml"/><Relationship Id="rId4" Type="http://schemas.microsoft.com/office/2007/relationships/hdphoto" Target="../media/hdphoto7.wdp"/></Relationships>
</file>

<file path=ppt/slideLayouts/_rels/slideLayout808.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39.png"/><Relationship Id="rId1" Type="http://schemas.openxmlformats.org/officeDocument/2006/relationships/slideMaster" Target="../slideMasters/slideMaster42.xml"/></Relationships>
</file>

<file path=ppt/slideLayouts/_rels/slideLayout809.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39.png"/><Relationship Id="rId1" Type="http://schemas.openxmlformats.org/officeDocument/2006/relationships/slideMaster" Target="../slideMasters/slideMaster4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10.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39.png"/><Relationship Id="rId1" Type="http://schemas.openxmlformats.org/officeDocument/2006/relationships/slideMaster" Target="../slideMasters/slideMaster42.xml"/></Relationships>
</file>

<file path=ppt/slideLayouts/_rels/slideLayout811.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39.png"/><Relationship Id="rId1" Type="http://schemas.openxmlformats.org/officeDocument/2006/relationships/slideMaster" Target="../slideMasters/slideMaster42.xml"/><Relationship Id="rId5" Type="http://schemas.microsoft.com/office/2007/relationships/hdphoto" Target="../media/hdphoto8.wdp"/><Relationship Id="rId4" Type="http://schemas.openxmlformats.org/officeDocument/2006/relationships/image" Target="../media/image40.png"/></Relationships>
</file>

<file path=ppt/slideLayouts/_rels/slideLayout812.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39.png"/><Relationship Id="rId1" Type="http://schemas.openxmlformats.org/officeDocument/2006/relationships/slideMaster" Target="../slideMasters/slideMaster42.xml"/></Relationships>
</file>

<file path=ppt/slideLayouts/_rels/slideLayout81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1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1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1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1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1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15.jpg"/><Relationship Id="rId1" Type="http://schemas.openxmlformats.org/officeDocument/2006/relationships/slideMaster" Target="../slideMasters/slideMaster42.xml"/><Relationship Id="rId4" Type="http://schemas.microsoft.com/office/2007/relationships/hdphoto" Target="../media/hdphoto9.wdp"/></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42.xml"/></Relationships>
</file>

<file path=ppt/slideLayouts/_rels/slideLayout82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20.jpg"/><Relationship Id="rId1" Type="http://schemas.openxmlformats.org/officeDocument/2006/relationships/slideMaster" Target="../slideMasters/slideMaster42.xml"/><Relationship Id="rId6" Type="http://schemas.microsoft.com/office/2007/relationships/hdphoto" Target="../media/hdphoto6.wdp"/><Relationship Id="rId5" Type="http://schemas.openxmlformats.org/officeDocument/2006/relationships/image" Target="../media/image38.png"/><Relationship Id="rId4" Type="http://schemas.microsoft.com/office/2007/relationships/hdphoto" Target="../media/hdphoto10.wdp"/></Relationships>
</file>

<file path=ppt/slideLayouts/_rels/slideLayout8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2.xml"/></Relationships>
</file>

<file path=ppt/slideLayouts/_rels/slideLayout8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2.xml"/></Relationships>
</file>

<file path=ppt/slideLayouts/_rels/slideLayout82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2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204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80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52025142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0101117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105453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9930892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8942271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43209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1753278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292947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885143565"/>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175282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1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45131021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55509679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79899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49187889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616756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1753762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11179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7106182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225629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19622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0774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900273881"/>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73587095"/>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61614827"/>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73630749"/>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6379895"/>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5006348"/>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971157"/>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202674995"/>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773083826"/>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38507538"/>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15821768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853460"/>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524200539"/>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34536809"/>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8582170"/>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09013151"/>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52064105"/>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4224334"/>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08180287"/>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424363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1716180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66259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067687"/>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905931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8175437"/>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203402"/>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6730298"/>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3350992"/>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42768889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619257436"/>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022817265"/>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16557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289394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887969356"/>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051118418"/>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53970143"/>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32419376"/>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51850510"/>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0799563"/>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57049643"/>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585596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791601843"/>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60705579"/>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8833987"/>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727689"/>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0427830"/>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03184690"/>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9819546"/>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2453558"/>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17346300"/>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280969068"/>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746812362"/>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67162102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8692409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00818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202032737"/>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90240926"/>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7996575"/>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66745848"/>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1278713"/>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4287254"/>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27182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67902533"/>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61171564"/>
      </p:ext>
    </p:extLst>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7528172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2727232"/>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8142058"/>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52010304"/>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7948194"/>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53995996"/>
      </p:ext>
    </p:extLst>
  </p:cSld>
  <p:clrMapOvr>
    <a:masterClrMapping/>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022108019"/>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13828831"/>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189814847"/>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361002770"/>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034538064"/>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024363595"/>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97579098"/>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60753680"/>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21679044"/>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96255174"/>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8687657"/>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8225056"/>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973512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76786082"/>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64335046"/>
      </p:ext>
    </p:extLst>
  </p:cSld>
  <p:clrMapOvr>
    <a:masterClrMapping/>
  </p:clrMapOvr>
  <p:transition>
    <p:fade/>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6552324"/>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5553634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65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30963858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16779608"/>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39472133"/>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86413530"/>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37780207"/>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43962972"/>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855922466"/>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218229117"/>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1849448"/>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103359914"/>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516929723"/>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9345911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21400184"/>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21662577"/>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476367"/>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05356669"/>
      </p:ext>
    </p:extLst>
  </p:cSld>
  <p:clrMapOvr>
    <a:masterClrMapping/>
  </p:clrMapOvr>
  <p:transition>
    <p:fade/>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67277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2010081"/>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58096032"/>
      </p:ext>
    </p:extLst>
  </p:cSld>
  <p:clrMapOvr>
    <a:masterClrMapping/>
  </p:clrMapOvr>
  <p:transition>
    <p:fade/>
  </p:transition>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5739538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00266655"/>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312663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5805098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65006861"/>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2482207"/>
      </p:ext>
    </p:extLst>
  </p:cSld>
  <p:clrMapOvr>
    <a:masterClrMapping/>
  </p:clrMapOvr>
  <p:transition>
    <p:fade/>
  </p:transition>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45403063"/>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602808456"/>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191947511"/>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744392183"/>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213598519"/>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284396700"/>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979405069"/>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38665237"/>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5748493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065632364"/>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174931"/>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55999198"/>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891740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07739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4337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20958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28743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124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60548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08799592"/>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9595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6093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13247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99173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5725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2321320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638627546"/>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3275912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6966661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67537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832646"/>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373415335"/>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33240770"/>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813080473"/>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710328938"/>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223723642"/>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749768670"/>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927617530"/>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081710976"/>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3969634"/>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5428222"/>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280915"/>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3565338"/>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4230561431"/>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43268261"/>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342186405"/>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5" name="Rectangle 4"/>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8745" y="-8278"/>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2530637976"/>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64"/>
            <a:ext cx="641304"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2279" y="6096496"/>
            <a:ext cx="985923"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932" y="2973723"/>
            <a:ext cx="276092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7500" y="4666647"/>
            <a:ext cx="97100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792" y="1416637"/>
            <a:ext cx="3590618"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2" y="6245091"/>
            <a:ext cx="1956347"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8822" y="4552447"/>
            <a:ext cx="2672291" cy="1103910"/>
          </a:xfrm>
          <a:prstGeom prst="rect">
            <a:avLst/>
          </a:prstGeom>
        </p:spPr>
      </p:pic>
      <p:sp>
        <p:nvSpPr>
          <p:cNvPr id="17" name="TextBox 16"/>
          <p:cNvSpPr txBox="1"/>
          <p:nvPr userDrawn="1"/>
        </p:nvSpPr>
        <p:spPr>
          <a:xfrm>
            <a:off x="2455081" y="6315956"/>
            <a:ext cx="2946097"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618" y="6132408"/>
            <a:ext cx="1478441"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7225" y="4463041"/>
            <a:ext cx="111426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5361" y="2862281"/>
            <a:ext cx="1052409" cy="1205812"/>
          </a:xfrm>
          <a:prstGeom prst="rect">
            <a:avLst/>
          </a:prstGeom>
        </p:spPr>
      </p:pic>
    </p:spTree>
    <p:extLst>
      <p:ext uri="{BB962C8B-B14F-4D97-AF65-F5344CB8AC3E}">
        <p14:creationId xmlns:p14="http://schemas.microsoft.com/office/powerpoint/2010/main" val="3628484189"/>
      </p:ext>
    </p:extLst>
  </p:cSld>
  <p:clrMapOvr>
    <a:masterClrMapping/>
  </p:clrMapOvr>
  <p:transition>
    <p:fade/>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65530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3909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49978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13677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2279"/>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4012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338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7923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7220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3853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43137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16271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750483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917220157"/>
      </p:ext>
    </p:extLst>
  </p:cSld>
  <p:clrMapOvr>
    <a:masterClrMapping/>
  </p:clrMapOvr>
  <p:transition>
    <p:fade/>
  </p:transition>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8208585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8059166"/>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3281717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96553187"/>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847362882"/>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23206807"/>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953305924"/>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287996850"/>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4110696648"/>
      </p:ext>
    </p:extLst>
  </p:cSld>
  <p:clrMapOvr>
    <a:masterClrMapping/>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4291779870"/>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006706176"/>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56108663"/>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5033461"/>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7771759"/>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3414691"/>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5374257"/>
      </p:ext>
    </p:extLst>
  </p:cSld>
  <p:clrMapOvr>
    <a:masterClrMapping/>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343567770"/>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37703672"/>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300359024"/>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5" name="Rectangle 4"/>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8745" y="-8278"/>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2327751064"/>
      </p:ext>
    </p:extLst>
  </p:cSld>
  <p:clrMapOvr>
    <a:masterClrMapping/>
  </p:clrMapOvr>
  <p:transition>
    <p:fade/>
  </p:transition>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64"/>
            <a:ext cx="641304"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2279" y="6096496"/>
            <a:ext cx="985923"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932" y="2973723"/>
            <a:ext cx="276092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7500" y="4666647"/>
            <a:ext cx="97100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792" y="1416637"/>
            <a:ext cx="3590618"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2" y="6245091"/>
            <a:ext cx="1956347"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8822" y="4552447"/>
            <a:ext cx="2672291" cy="1103910"/>
          </a:xfrm>
          <a:prstGeom prst="rect">
            <a:avLst/>
          </a:prstGeom>
        </p:spPr>
      </p:pic>
      <p:sp>
        <p:nvSpPr>
          <p:cNvPr id="17" name="TextBox 16"/>
          <p:cNvSpPr txBox="1"/>
          <p:nvPr userDrawn="1"/>
        </p:nvSpPr>
        <p:spPr>
          <a:xfrm>
            <a:off x="2455081" y="6315956"/>
            <a:ext cx="2946097"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618" y="6132408"/>
            <a:ext cx="1478441"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7225" y="4463041"/>
            <a:ext cx="111426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5361" y="2862281"/>
            <a:ext cx="1052409" cy="1205812"/>
          </a:xfrm>
          <a:prstGeom prst="rect">
            <a:avLst/>
          </a:prstGeom>
        </p:spPr>
      </p:pic>
    </p:spTree>
    <p:extLst>
      <p:ext uri="{BB962C8B-B14F-4D97-AF65-F5344CB8AC3E}">
        <p14:creationId xmlns:p14="http://schemas.microsoft.com/office/powerpoint/2010/main" val="310833971"/>
      </p:ext>
    </p:extLst>
  </p:cSld>
  <p:clrMapOvr>
    <a:masterClrMapping/>
  </p:clrMapOvr>
  <p:transition>
    <p:fade/>
  </p:transition>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18194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72880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533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754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0352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66533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5265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05407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1761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6517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3159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9206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2216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9025109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10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755654703"/>
      </p:ext>
    </p:extLst>
  </p:cSld>
  <p:clrMapOvr>
    <a:masterClrMapping/>
  </p:clrMapOvr>
  <p:transition>
    <p:fade/>
  </p:transition>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713799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12935925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55546719"/>
      </p:ext>
    </p:extLst>
  </p:cSld>
  <p:clrMapOvr>
    <a:masterClrMapping/>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1746817"/>
      </p:ext>
    </p:extLst>
  </p:cSld>
  <p:clrMapOvr>
    <a:masterClrMapping/>
  </p:clrMapOvr>
  <p:transition>
    <p:fade/>
  </p:transition>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61383568"/>
      </p:ext>
    </p:extLst>
  </p:cSld>
  <p:clrMapOvr>
    <a:masterClrMapping/>
  </p:clrMapOvr>
  <p:transition>
    <p:fade/>
  </p:transition>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460188949"/>
      </p:ext>
    </p:extLst>
  </p:cSld>
  <p:clrMapOvr>
    <a:masterClrMapping/>
  </p:clrMapOvr>
  <p:transition>
    <p:fade/>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847410954"/>
      </p:ext>
    </p:extLst>
  </p:cSld>
  <p:clrMapOvr>
    <a:masterClrMapping/>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836179350"/>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115892318"/>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15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682947868"/>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51341974"/>
      </p:ext>
    </p:extLst>
  </p:cSld>
  <p:clrMapOvr>
    <a:masterClrMapping/>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9889060"/>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15005362"/>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2561711"/>
      </p:ext>
    </p:extLst>
  </p:cSld>
  <p:clrMapOvr>
    <a:masterClrMapping/>
  </p:clrMapOvr>
  <p:transition>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692570135"/>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9348639"/>
      </p:ext>
    </p:extLst>
  </p:cSld>
  <p:clrMapOvr>
    <a:masterClrMapping/>
  </p:clrMapOvr>
  <p:transition>
    <p:fade/>
  </p:transition>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363868924"/>
      </p:ext>
    </p:extLst>
  </p:cSld>
  <p:clrMapOvr>
    <a:masterClrMapping/>
  </p:clrMapOvr>
  <p:transition>
    <p:fade/>
  </p:transition>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5" name="Rectangle 4"/>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8745" y="-8278"/>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2654155224"/>
      </p:ext>
    </p:extLst>
  </p:cSld>
  <p:clrMapOvr>
    <a:masterClrMapping/>
  </p:clrMapOvr>
  <p:transition>
    <p:fade/>
  </p:transition>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64"/>
            <a:ext cx="641304"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2279" y="6096496"/>
            <a:ext cx="985923"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932" y="2973723"/>
            <a:ext cx="276092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7500" y="4666647"/>
            <a:ext cx="97100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792" y="1416637"/>
            <a:ext cx="3590618"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2" y="6245091"/>
            <a:ext cx="1956347"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8822" y="4552447"/>
            <a:ext cx="2672291" cy="1103910"/>
          </a:xfrm>
          <a:prstGeom prst="rect">
            <a:avLst/>
          </a:prstGeom>
        </p:spPr>
      </p:pic>
      <p:sp>
        <p:nvSpPr>
          <p:cNvPr id="17" name="TextBox 16"/>
          <p:cNvSpPr txBox="1"/>
          <p:nvPr userDrawn="1"/>
        </p:nvSpPr>
        <p:spPr>
          <a:xfrm>
            <a:off x="2455081" y="6315956"/>
            <a:ext cx="2946097"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618" y="6132408"/>
            <a:ext cx="1478441"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7225" y="4463041"/>
            <a:ext cx="111426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5361" y="2862281"/>
            <a:ext cx="1052409" cy="1205812"/>
          </a:xfrm>
          <a:prstGeom prst="rect">
            <a:avLst/>
          </a:prstGeom>
        </p:spPr>
      </p:pic>
    </p:spTree>
    <p:extLst>
      <p:ext uri="{BB962C8B-B14F-4D97-AF65-F5344CB8AC3E}">
        <p14:creationId xmlns:p14="http://schemas.microsoft.com/office/powerpoint/2010/main" val="4259395873"/>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66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90244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6962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89433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5907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8557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896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8346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8116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0152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67410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03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19806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1331718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751279111"/>
      </p:ext>
    </p:extLst>
  </p:cSld>
  <p:clrMapOvr>
    <a:masterClrMapping/>
  </p:clrMapOvr>
  <p:transition>
    <p:fade/>
  </p:transition>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102796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42160407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62267959"/>
      </p:ext>
    </p:extLst>
  </p:cSld>
  <p:clrMapOvr>
    <a:masterClrMapping/>
  </p:clrMapOvr>
  <p:transition>
    <p:fade/>
  </p:transition>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03076771"/>
      </p:ext>
    </p:extLst>
  </p:cSld>
  <p:clrMapOvr>
    <a:masterClrMapping/>
  </p:clrMapOvr>
  <p:transition>
    <p:fade/>
  </p:transition>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87557483"/>
      </p:ext>
    </p:extLst>
  </p:cSld>
  <p:clrMapOvr>
    <a:masterClrMapping/>
  </p:clrMapOvr>
  <p:transition>
    <p:fade/>
  </p:transition>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988413278"/>
      </p:ext>
    </p:extLst>
  </p:cSld>
  <p:clrMapOvr>
    <a:masterClrMapping/>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69280719"/>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893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242881266"/>
      </p:ext>
    </p:extLst>
  </p:cSld>
  <p:clrMapOvr>
    <a:masterClrMapping/>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967698547"/>
      </p:ext>
    </p:extLst>
  </p:cSld>
  <p:clrMapOvr>
    <a:masterClrMapping/>
  </p:clrMapOvr>
  <p:transition>
    <p:fade/>
  </p:transition>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360709114"/>
      </p:ext>
    </p:extLst>
  </p:cSld>
  <p:clrMapOvr>
    <a:masterClrMapping/>
  </p:clrMapOvr>
  <p:transition>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59597563"/>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046207"/>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5897128"/>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5971558"/>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96506621"/>
      </p:ext>
    </p:extLst>
  </p:cSld>
  <p:clrMapOvr>
    <a:masterClrMapping/>
  </p:clrMapOvr>
  <p:transition>
    <p:fade/>
  </p:transition>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55426085"/>
      </p:ext>
    </p:extLst>
  </p:cSld>
  <p:clrMapOvr>
    <a:masterClrMapping/>
  </p:clrMapOvr>
  <p:transition>
    <p:fade/>
  </p:transition>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869547254"/>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72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5" name="Rectangle 4"/>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8745" y="-8278"/>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2749446519"/>
      </p:ext>
    </p:extLst>
  </p:cSld>
  <p:clrMapOvr>
    <a:masterClrMapping/>
  </p:clrMapOvr>
  <p:transition>
    <p:fade/>
  </p:transition>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64"/>
            <a:ext cx="641304"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2279" y="6096496"/>
            <a:ext cx="985923"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932" y="2973723"/>
            <a:ext cx="276092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7500" y="4666647"/>
            <a:ext cx="97100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792" y="1416637"/>
            <a:ext cx="3590618"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2" y="6245091"/>
            <a:ext cx="1956347"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8822" y="4552447"/>
            <a:ext cx="2672291" cy="1103910"/>
          </a:xfrm>
          <a:prstGeom prst="rect">
            <a:avLst/>
          </a:prstGeom>
        </p:spPr>
      </p:pic>
      <p:sp>
        <p:nvSpPr>
          <p:cNvPr id="17" name="TextBox 16"/>
          <p:cNvSpPr txBox="1"/>
          <p:nvPr userDrawn="1"/>
        </p:nvSpPr>
        <p:spPr>
          <a:xfrm>
            <a:off x="2455081" y="6315956"/>
            <a:ext cx="2946097"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618" y="6132408"/>
            <a:ext cx="1478441"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7225" y="4463041"/>
            <a:ext cx="111426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5361" y="2862281"/>
            <a:ext cx="1052409" cy="1205812"/>
          </a:xfrm>
          <a:prstGeom prst="rect">
            <a:avLst/>
          </a:prstGeom>
        </p:spPr>
      </p:pic>
    </p:spTree>
    <p:extLst>
      <p:ext uri="{BB962C8B-B14F-4D97-AF65-F5344CB8AC3E}">
        <p14:creationId xmlns:p14="http://schemas.microsoft.com/office/powerpoint/2010/main" val="1840599753"/>
      </p:ext>
    </p:extLst>
  </p:cSld>
  <p:clrMapOvr>
    <a:masterClrMapping/>
  </p:clrMapOvr>
  <p:transition>
    <p:fade/>
  </p:transition>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60557590"/>
      </p:ext>
    </p:extLst>
  </p:cSld>
  <p:clrMapOvr>
    <a:masterClrMapping/>
  </p:clrMapOvr>
  <p:transition>
    <p:fade/>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86197773"/>
      </p:ext>
    </p:extLst>
  </p:cSld>
  <p:clrMapOvr>
    <a:masterClrMapping/>
  </p:clrMapOvr>
  <p:transition>
    <p:fade/>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14142074"/>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69654144"/>
      </p:ext>
    </p:extLst>
  </p:cSld>
  <p:clrMapOvr>
    <a:masterClrMapping/>
  </p:clrMapOvr>
  <p:transition>
    <p:fade/>
  </p:transition>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755683008"/>
      </p:ext>
    </p:extLst>
  </p:cSld>
  <p:clrMapOvr>
    <a:masterClrMapping/>
  </p:clrMapOvr>
  <p:transition>
    <p:fade/>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28153751"/>
      </p:ext>
    </p:extLst>
  </p:cSld>
  <p:clrMapOvr>
    <a:masterClrMapping/>
  </p:clrMapOvr>
  <p:transition>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91780963"/>
      </p:ext>
    </p:extLst>
  </p:cSld>
  <p:clrMapOvr>
    <a:masterClrMapping/>
  </p:clrMapOvr>
  <p:transition>
    <p:fade/>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332413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569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445712490"/>
      </p:ext>
    </p:extLst>
  </p:cSld>
  <p:clrMapOvr>
    <a:masterClrMapping/>
  </p:clrMapOvr>
  <p:transition>
    <p:fade/>
  </p:transition>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3659294"/>
      </p:ext>
    </p:extLst>
  </p:cSld>
  <p:clrMapOvr>
    <a:masterClrMapping/>
  </p:clrMapOvr>
  <p:transition>
    <p:fade/>
  </p:transition>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3043623889"/>
      </p:ext>
    </p:extLst>
  </p:cSld>
  <p:clrMapOvr>
    <a:masterClrMapping/>
  </p:clrMapOvr>
  <p:transition>
    <p:fade/>
  </p:transition>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968720018"/>
      </p:ext>
    </p:extLst>
  </p:cSld>
  <p:clrMapOvr>
    <a:masterClrMapping/>
  </p:clrMapOvr>
  <p:transition>
    <p:fade/>
  </p:transition>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52079414"/>
      </p:ext>
    </p:extLst>
  </p:cSld>
  <p:clrMapOvr>
    <a:masterClrMapping/>
  </p:clrMapOvr>
  <p:transition>
    <p:fade/>
  </p:transition>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898310579"/>
      </p:ext>
    </p:extLst>
  </p:cSld>
  <p:clrMapOvr>
    <a:masterClrMapping/>
  </p:clrMapOvr>
  <p:transition>
    <p:fade/>
  </p:transition>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005385051"/>
      </p:ext>
    </p:extLst>
  </p:cSld>
  <p:clrMapOvr>
    <a:masterClrMapping/>
  </p:clrMapOvr>
  <p:transition>
    <p:fade/>
  </p:transition>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392194065"/>
      </p:ext>
    </p:extLst>
  </p:cSld>
  <p:clrMapOvr>
    <a:masterClrMapping/>
  </p:clrMapOvr>
  <p:transition>
    <p:fade/>
  </p:transition>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74953608"/>
      </p:ext>
    </p:extLst>
  </p:cSld>
  <p:clrMapOvr>
    <a:masterClrMapping/>
  </p:clrMapOvr>
  <p:transition>
    <p:fade/>
  </p:transition>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633325618"/>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31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73748581"/>
      </p:ext>
    </p:extLst>
  </p:cSld>
  <p:clrMapOvr>
    <a:masterClrMapping/>
  </p:clrMapOvr>
  <p:transition>
    <p:fade/>
  </p:transition>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91190688"/>
      </p:ext>
    </p:extLst>
  </p:cSld>
  <p:clrMapOvr>
    <a:masterClrMapping/>
  </p:clrMapOvr>
  <p:transition>
    <p:fade/>
  </p:transition>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75852982"/>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40353942"/>
      </p:ext>
    </p:extLst>
  </p:cSld>
  <p:clrMapOvr>
    <a:masterClrMapping/>
  </p:clrMapOvr>
  <p:transition>
    <p:fade/>
  </p:transition>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05397509"/>
      </p:ext>
    </p:extLst>
  </p:cSld>
  <p:clrMapOvr>
    <a:masterClrMapping/>
  </p:clrMapOvr>
  <p:transition>
    <p:fade/>
  </p:transition>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56668220"/>
      </p:ext>
    </p:extLst>
  </p:cSld>
  <p:clrMapOvr>
    <a:masterClrMapping/>
  </p:clrMapOvr>
  <p:transition>
    <p:fade/>
  </p:transition>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77648298"/>
      </p:ext>
    </p:extLst>
  </p:cSld>
  <p:clrMapOvr>
    <a:masterClrMapping/>
  </p:clrMapOvr>
  <p:transition>
    <p:fade/>
  </p:transition>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983456387"/>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591258027"/>
      </p:ext>
    </p:extLst>
  </p:cSld>
  <p:clrMapOvr>
    <a:masterClrMapping/>
  </p:clrMapOvr>
  <p:transition>
    <p:fade/>
  </p:transition>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66094409"/>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1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661746088"/>
      </p:ext>
    </p:extLst>
  </p:cSld>
  <p:clrMapOvr>
    <a:masterClrMapping/>
  </p:clrMapOvr>
  <p:transition>
    <p:fade/>
  </p:transition>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158095707"/>
      </p:ext>
    </p:extLst>
  </p:cSld>
  <p:clrMapOvr>
    <a:masterClrMapping/>
  </p:clrMapOvr>
  <p:transition>
    <p:fade/>
  </p:transition>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077043746"/>
      </p:ext>
    </p:extLst>
  </p:cSld>
  <p:clrMapOvr>
    <a:masterClrMapping/>
  </p:clrMapOvr>
  <p:transition>
    <p:fade/>
  </p:transition>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20076570"/>
      </p:ext>
    </p:extLst>
  </p:cSld>
  <p:clrMapOvr>
    <a:masterClrMapping/>
  </p:clrMapOvr>
  <p:transition>
    <p:fade/>
  </p:transition>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941836361"/>
      </p:ext>
    </p:extLst>
  </p:cSld>
  <p:clrMapOvr>
    <a:masterClrMapping/>
  </p:clrMapOvr>
  <p:transition>
    <p:fade/>
  </p:transition>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43289147"/>
      </p:ext>
    </p:extLst>
  </p:cSld>
  <p:clrMapOvr>
    <a:masterClrMapping/>
  </p:clrMapOvr>
  <p:transition>
    <p:fade/>
  </p:transition>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81538909"/>
      </p:ext>
    </p:extLst>
  </p:cSld>
  <p:clrMapOvr>
    <a:masterClrMapping/>
  </p:clrMapOvr>
  <p:transition>
    <p:fade/>
  </p:transition>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04178827"/>
      </p:ext>
    </p:extLst>
  </p:cSld>
  <p:clrMapOvr>
    <a:masterClrMapping/>
  </p:clrMapOvr>
  <p:transition>
    <p:fade/>
  </p:transition>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9/16/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3917604060"/>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37624"/>
            <a:ext cx="5455754" cy="1144929"/>
          </a:xfrm>
        </p:spPr>
        <p:txBody>
          <a:bodyPr/>
          <a:lstStyle>
            <a:lvl1pPr marL="0" indent="0">
              <a:buFont typeface="Arial" pitchFamily="34" charset="0"/>
              <a:buNone/>
              <a:defRPr sz="2400">
                <a:solidFill>
                  <a:schemeClr val="bg1">
                    <a:alpha val="98000"/>
                  </a:schemeClr>
                </a:solidFill>
                <a:latin typeface="Segoe UI Light" pitchFamily="34" charset="0"/>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877308516"/>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05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9871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31918188"/>
      </p:ext>
    </p:extLst>
  </p:cSld>
  <p:clrMapOvr>
    <a:masterClrMapping/>
  </p:clrMapOvr>
  <p:transition>
    <p:fade/>
  </p:transition>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8285988" y="1993330"/>
            <a:ext cx="2278821"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281493"/>
      </p:ext>
    </p:extLst>
  </p:cSld>
  <p:clrMapOvr>
    <a:masterClrMapping/>
  </p:clrMapOvr>
  <p:transition>
    <p:fade/>
  </p:transition>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3434628972"/>
      </p:ext>
    </p:extLst>
  </p:cSld>
  <p:clrMapOvr>
    <a:masterClrMapping/>
  </p:clrMapOvr>
  <p:transition>
    <p:fade/>
  </p:transition>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798928417"/>
      </p:ext>
    </p:extLst>
  </p:cSld>
  <p:clrMapOvr>
    <a:masterClrMapping/>
  </p:clrMapOvr>
  <p:transition>
    <p:fade/>
  </p:transition>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72159314"/>
      </p:ext>
    </p:extLst>
  </p:cSld>
  <p:clrMapOvr>
    <a:masterClrMapping/>
  </p:clrMapOvr>
  <p:transition>
    <p:fade/>
  </p:transition>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22101226"/>
      </p:ext>
    </p:extLst>
  </p:cSld>
  <p:clrMapOvr>
    <a:masterClrMapping/>
  </p:clrMapOvr>
  <p:transition>
    <p:fade/>
  </p:transition>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00099819"/>
      </p:ext>
    </p:extLst>
  </p:cSld>
  <p:clrMapOvr>
    <a:masterClrMapping/>
  </p:clrMapOvr>
  <p:transition>
    <p:fade/>
  </p:transition>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07042012"/>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4304632"/>
      </p:ext>
    </p:extLst>
  </p:cSld>
  <p:clrMapOvr>
    <a:masterClrMapping/>
  </p:clrMapOvr>
  <p:transition>
    <p:fade/>
  </p:transition>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81570014"/>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95712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45889043"/>
      </p:ext>
    </p:extLst>
  </p:cSld>
  <p:clrMapOvr>
    <a:masterClrMapping/>
  </p:clrMapOvr>
  <p:transition>
    <p:fade/>
  </p:transition>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313685939"/>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98141879"/>
      </p:ext>
    </p:extLst>
  </p:cSld>
  <p:clrMapOvr>
    <a:masterClrMapping/>
  </p:clrMapOvr>
  <p:transition>
    <p:fade/>
  </p:transition>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200231622"/>
      </p:ext>
    </p:extLst>
  </p:cSld>
  <p:clrMapOvr>
    <a:masterClrMapping/>
  </p:clrMapOvr>
  <p:transition>
    <p:fade/>
  </p:transition>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3706369"/>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5157058"/>
            <a:ext cx="7515594" cy="443198"/>
          </a:xfrm>
        </p:spPr>
        <p:txBody>
          <a:bodyPr/>
          <a:lstStyle>
            <a:lvl1pPr marL="0" indent="0">
              <a:buNone/>
              <a:defRPr lang="en-US" sz="3200" kern="1200" spc="-100" baseline="0" dirty="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0075097" y="6364651"/>
            <a:ext cx="1596068"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72687" y="228600"/>
            <a:ext cx="2498478" cy="290338"/>
          </a:xfrm>
          <a:prstGeom prst="rect">
            <a:avLst/>
          </a:prstGeom>
        </p:spPr>
      </p:pic>
    </p:spTree>
    <p:extLst>
      <p:ext uri="{BB962C8B-B14F-4D97-AF65-F5344CB8AC3E}">
        <p14:creationId xmlns:p14="http://schemas.microsoft.com/office/powerpoint/2010/main" val="2724339045"/>
      </p:ext>
    </p:extLst>
  </p:cSld>
  <p:clrMapOvr>
    <a:masterClrMapping/>
  </p:clrMapOvr>
  <p:transition>
    <p:fade/>
  </p:transition>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5693373"/>
      </p:ext>
    </p:extLst>
  </p:cSld>
  <p:clrMapOvr>
    <a:masterClrMapping/>
  </p:clrMapOvr>
  <p:transition>
    <p:fade/>
  </p:transition>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23856414"/>
      </p:ext>
    </p:extLst>
  </p:cSld>
  <p:clrMapOvr>
    <a:masterClrMapping/>
  </p:clrMapOvr>
  <p:transition>
    <p:fade/>
  </p:transition>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33085168"/>
      </p:ext>
    </p:extLst>
  </p:cSld>
  <p:clrMapOvr>
    <a:masterClrMapping/>
  </p:clrMapOvr>
  <p:transition>
    <p:fade/>
  </p:transition>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919003363"/>
      </p:ext>
    </p:extLst>
  </p:cSld>
  <p:clrMapOvr>
    <a:masterClrMapping/>
  </p:clrMapOvr>
  <p:transition>
    <p:fade/>
  </p:transition>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737588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54347140"/>
      </p:ext>
    </p:extLst>
  </p:cSld>
  <p:clrMapOvr>
    <a:masterClrMapping/>
  </p:clrMapOvr>
  <p:transition>
    <p:fade/>
  </p:transition>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61392949"/>
      </p:ext>
    </p:extLst>
  </p:cSld>
  <p:clrMapOvr>
    <a:masterClrMapping/>
  </p:clrMapOvr>
  <p:transition>
    <p:fade/>
  </p:transition>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39492163"/>
      </p:ext>
    </p:extLst>
  </p:cSld>
  <p:clrMapOvr>
    <a:masterClrMapping/>
  </p:clrMapOvr>
  <p:transition>
    <p:fade/>
  </p:transition>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61852899"/>
      </p:ext>
    </p:extLst>
  </p:cSld>
  <p:clrMapOvr>
    <a:masterClrMapping/>
  </p:clrMapOvr>
  <p:transition>
    <p:fade/>
  </p:transition>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14755710"/>
      </p:ext>
    </p:extLst>
  </p:cSld>
  <p:clrMapOvr>
    <a:masterClrMapping/>
  </p:clrMapOvr>
  <p:transition>
    <p:fade/>
  </p:transition>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462616866"/>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661791610"/>
      </p:ext>
    </p:extLst>
  </p:cSld>
  <p:clrMapOvr>
    <a:masterClrMapping/>
  </p:clrMapOvr>
  <p:transition>
    <p:fade/>
  </p:transition>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332678614"/>
      </p:ext>
    </p:extLst>
  </p:cSld>
  <p:clrMapOvr>
    <a:masterClrMapping/>
  </p:clrMapOvr>
  <p:transition>
    <p:fade/>
  </p:transition>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1470655863"/>
      </p:ext>
    </p:extLst>
  </p:cSld>
  <p:clrMapOvr>
    <a:masterClrMapping/>
  </p:clrMapOvr>
  <p:transition>
    <p:fade/>
  </p:transition>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686438638"/>
      </p:ext>
    </p:extLst>
  </p:cSld>
  <p:clrMapOvr>
    <a:masterClrMapping/>
  </p:clrMapOvr>
  <p:transition>
    <p:fade/>
  </p:transition>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603780548"/>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428587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372361231"/>
      </p:ext>
    </p:extLst>
  </p:cSld>
  <p:clrMapOvr>
    <a:masterClrMapping/>
  </p:clrMapOvr>
  <p:transition>
    <p:fade/>
  </p:transition>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655755958"/>
      </p:ext>
    </p:extLst>
  </p:cSld>
  <p:clrMapOvr>
    <a:masterClrMapping/>
  </p:clrMapOvr>
  <p:transition>
    <p:fade/>
  </p:transition>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13394906"/>
      </p:ext>
    </p:extLst>
  </p:cSld>
  <p:clrMapOvr>
    <a:masterClrMapping/>
  </p:clrMapOvr>
  <p:transition>
    <p:fade/>
  </p:transition>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4268598"/>
      </p:ext>
    </p:extLst>
  </p:cSld>
  <p:clrMapOvr>
    <a:masterClrMapping/>
  </p:clrMapOvr>
  <p:transition>
    <p:fade/>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624156211"/>
      </p:ext>
    </p:extLst>
  </p:cSld>
  <p:clrMapOvr>
    <a:masterClrMapping/>
  </p:clrMapOvr>
  <p:transition>
    <p:fade/>
  </p:transition>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9/16/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4011011047"/>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208050686"/>
      </p:ext>
    </p:extLst>
  </p:cSld>
  <p:clrMapOvr>
    <a:masterClrMapping/>
  </p:clrMapOvr>
  <p:transition>
    <p:fade/>
  </p:transition>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52358409"/>
      </p:ext>
    </p:extLst>
  </p:cSld>
  <p:clrMapOvr>
    <a:masterClrMapping/>
  </p:clrMapOvr>
  <p:transition>
    <p:fade/>
  </p:transition>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88104869"/>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22367408"/>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89686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65601040"/>
      </p:ext>
    </p:extLst>
  </p:cSld>
  <p:clrMapOvr>
    <a:masterClrMapping/>
  </p:clrMapOvr>
  <p:transition>
    <p:fade/>
  </p:transition>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90742997"/>
      </p:ext>
    </p:extLst>
  </p:cSld>
  <p:clrMapOvr>
    <a:masterClrMapping/>
  </p:clrMapOvr>
  <p:transition>
    <p:fade/>
  </p:transition>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628117584"/>
      </p:ext>
    </p:extLst>
  </p:cSld>
  <p:clrMapOvr>
    <a:masterClrMapping/>
  </p:clrMapOvr>
  <p:transition>
    <p:fade/>
  </p:transition>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961963180"/>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599767091"/>
      </p:ext>
    </p:extLst>
  </p:cSld>
  <p:clrMapOvr>
    <a:masterClrMapping/>
  </p:clrMapOvr>
  <p:transition>
    <p:fade/>
  </p:transition>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1614555029"/>
      </p:ext>
    </p:extLst>
  </p:cSld>
  <p:clrMapOvr>
    <a:masterClrMapping/>
  </p:clrMapOvr>
  <p:transition>
    <p:fade/>
  </p:transition>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2279503676"/>
      </p:ext>
    </p:extLst>
  </p:cSld>
  <p:clrMapOvr>
    <a:masterClrMapping/>
  </p:clrMapOvr>
  <p:transition>
    <p:fade/>
  </p:transition>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4091865043"/>
      </p:ext>
    </p:extLst>
  </p:cSld>
  <p:clrMapOvr>
    <a:masterClrMapping/>
  </p:clrMapOvr>
  <p:transition>
    <p:fade/>
  </p:transition>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050615104"/>
      </p:ext>
    </p:extLst>
  </p:cSld>
  <p:clrMapOvr>
    <a:masterClrMapping/>
  </p:clrMapOvr>
  <p:transition>
    <p:fade/>
  </p:transition>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593545762"/>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9461722"/>
      </p:ext>
    </p:extLst>
  </p:cSld>
  <p:clrMapOvr>
    <a:masterClrMapping/>
  </p:clrMapOvr>
  <p:transition>
    <p:fade/>
  </p:transition>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845764938"/>
      </p:ext>
    </p:extLst>
  </p:cSld>
  <p:clrMapOvr>
    <a:masterClrMapping/>
  </p:clrMapOvr>
  <p:transition>
    <p:fade/>
  </p:transition>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00060621"/>
      </p:ext>
    </p:extLst>
  </p:cSld>
  <p:clrMapOvr>
    <a:masterClrMapping/>
  </p:clrMapOvr>
  <p:transition>
    <p:fade/>
  </p:transition>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83663968"/>
      </p:ext>
    </p:extLst>
  </p:cSld>
  <p:clrMapOvr>
    <a:masterClrMapping/>
  </p:clrMapOvr>
  <p:transition>
    <p:fade/>
  </p:transition>
  <p:timing>
    <p:tnLst>
      <p:par>
        <p:cTn id="1" dur="indefinite" restart="never" nodeType="tmRoot"/>
      </p:par>
    </p:tn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0510949"/>
      </p:ext>
    </p:extLst>
  </p:cSld>
  <p:clrMapOvr>
    <a:masterClrMapping/>
  </p:clrMapOvr>
  <p:transition>
    <p:fade/>
  </p:transition>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9/16/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2499299484"/>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37624"/>
            <a:ext cx="5455754" cy="1144929"/>
          </a:xfrm>
        </p:spPr>
        <p:txBody>
          <a:bodyPr/>
          <a:lstStyle>
            <a:lvl1pPr marL="0" indent="0">
              <a:buFont typeface="Arial" pitchFamily="34" charset="0"/>
              <a:buNone/>
              <a:defRPr sz="2400">
                <a:solidFill>
                  <a:schemeClr val="bg1">
                    <a:alpha val="98000"/>
                  </a:schemeClr>
                </a:solidFill>
                <a:latin typeface="Segoe UI Light" pitchFamily="34" charset="0"/>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28170905"/>
      </p:ext>
    </p:extLst>
  </p:cSld>
  <p:clrMapOvr>
    <a:masterClrMapping/>
  </p:clrMapOvr>
  <p:transition>
    <p:fade/>
  </p:transition>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11804767"/>
      </p:ext>
    </p:extLst>
  </p:cSld>
  <p:clrMapOvr>
    <a:masterClrMapping/>
  </p:clrMapOvr>
  <p:transition>
    <p:fade/>
  </p:transition>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8285988" y="1993330"/>
            <a:ext cx="2278821"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8574886"/>
      </p:ext>
    </p:extLst>
  </p:cSld>
  <p:clrMapOvr>
    <a:masterClrMapping/>
  </p:clrMapOvr>
  <p:transition>
    <p:fade/>
  </p:transition>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1043363144"/>
      </p:ext>
    </p:extLst>
  </p:cSld>
  <p:clrMapOvr>
    <a:masterClrMapping/>
  </p:clrMapOvr>
  <p:transition>
    <p:fade/>
  </p:transition>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770441041"/>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782217"/>
      </p:ext>
    </p:extLst>
  </p:cSld>
  <p:clrMapOvr>
    <a:masterClrMapping/>
  </p:clrMapOvr>
  <p:transition>
    <p:fade/>
  </p:transition>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97711106"/>
      </p:ext>
    </p:extLst>
  </p:cSld>
  <p:clrMapOvr>
    <a:masterClrMapping/>
  </p:clrMapOvr>
  <p:transition>
    <p:fade/>
  </p:transition>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27686653"/>
      </p:ext>
    </p:extLst>
  </p:cSld>
  <p:clrMapOvr>
    <a:masterClrMapping/>
  </p:clrMapOvr>
  <p:transition>
    <p:fade/>
  </p:transition>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33951935"/>
      </p:ext>
    </p:extLst>
  </p:cSld>
  <p:clrMapOvr>
    <a:masterClrMapping/>
  </p:clrMapOvr>
  <p:transition>
    <p:fade/>
  </p:transition>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4431635"/>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833941"/>
      </p:ext>
    </p:extLst>
  </p:cSld>
  <p:clrMapOvr>
    <a:masterClrMapping/>
  </p:clrMapOvr>
  <p:transition>
    <p:fade/>
  </p:transition>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143169"/>
      </p:ext>
    </p:extLst>
  </p:cSld>
  <p:clrMapOvr>
    <a:masterClrMapping/>
  </p:clrMapOvr>
  <p:transition>
    <p:fade/>
  </p:transition>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28797377"/>
      </p:ext>
    </p:extLst>
  </p:cSld>
  <p:clrMapOvr>
    <a:masterClrMapping/>
  </p:clrMapOvr>
  <p:transition>
    <p:fade/>
  </p:transition>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744511201"/>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1106193"/>
      </p:ext>
    </p:extLst>
  </p:cSld>
  <p:clrMapOvr>
    <a:masterClrMapping/>
  </p:clrMapOvr>
  <p:transition>
    <p:fade/>
  </p:transition>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281867075"/>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4460750"/>
      </p:ext>
    </p:extLst>
  </p:cSld>
  <p:clrMapOvr>
    <a:masterClrMapping/>
  </p:clrMapOvr>
  <p:transition>
    <p:fade/>
  </p:transition>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3706369"/>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5157058"/>
            <a:ext cx="7515594" cy="443198"/>
          </a:xfrm>
        </p:spPr>
        <p:txBody>
          <a:bodyPr/>
          <a:lstStyle>
            <a:lvl1pPr marL="0" indent="0">
              <a:buNone/>
              <a:defRPr lang="en-US" sz="3200" kern="1200" spc="-100" baseline="0" dirty="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0075097" y="6364651"/>
            <a:ext cx="1596068"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72687" y="228600"/>
            <a:ext cx="2498478" cy="290338"/>
          </a:xfrm>
          <a:prstGeom prst="rect">
            <a:avLst/>
          </a:prstGeom>
        </p:spPr>
      </p:pic>
    </p:spTree>
    <p:extLst>
      <p:ext uri="{BB962C8B-B14F-4D97-AF65-F5344CB8AC3E}">
        <p14:creationId xmlns:p14="http://schemas.microsoft.com/office/powerpoint/2010/main" val="3250584707"/>
      </p:ext>
    </p:extLst>
  </p:cSld>
  <p:clrMapOvr>
    <a:masterClrMapping/>
  </p:clrMapOvr>
  <p:transition>
    <p:fade/>
  </p:transition>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90246765"/>
      </p:ext>
    </p:extLst>
  </p:cSld>
  <p:clrMapOvr>
    <a:masterClrMapping/>
  </p:clrMapOvr>
  <p:transition>
    <p:fade/>
  </p:transition>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56303565"/>
      </p:ext>
    </p:extLst>
  </p:cSld>
  <p:clrMapOvr>
    <a:masterClrMapping/>
  </p:clrMapOvr>
  <p:transition>
    <p:fade/>
  </p:transition>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3346721"/>
      </p:ext>
    </p:extLst>
  </p:cSld>
  <p:clrMapOvr>
    <a:masterClrMapping/>
  </p:clrMapOvr>
  <p:transition>
    <p:fade/>
  </p:transition>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68646274"/>
      </p:ext>
    </p:extLst>
  </p:cSld>
  <p:clrMapOvr>
    <a:masterClrMapping/>
  </p:clrMapOvr>
  <p:transition>
    <p:fade/>
  </p:transition>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728873222"/>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60230491"/>
      </p:ext>
    </p:extLst>
  </p:cSld>
  <p:clrMapOvr>
    <a:masterClrMapping/>
  </p:clrMapOvr>
  <p:transition>
    <p:fade/>
  </p:transition>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06759237"/>
      </p:ext>
    </p:extLst>
  </p:cSld>
  <p:clrMapOvr>
    <a:masterClrMapping/>
  </p:clrMapOvr>
  <p:transition>
    <p:fade/>
  </p:transition>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8920650"/>
      </p:ext>
    </p:extLst>
  </p:cSld>
  <p:clrMapOvr>
    <a:masterClrMapping/>
  </p:clrMapOvr>
  <p:transition>
    <p:fade/>
  </p:transition>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770962889"/>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8974850"/>
      </p:ext>
    </p:extLst>
  </p:cSld>
  <p:clrMapOvr>
    <a:masterClrMapping/>
  </p:clrMapOvr>
  <p:transition>
    <p:fade/>
  </p:transition>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645242712"/>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4015330660"/>
      </p:ext>
    </p:extLst>
  </p:cSld>
  <p:clrMapOvr>
    <a:masterClrMapping/>
  </p:clrMapOvr>
  <p:transition>
    <p:fade/>
  </p:transition>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217675833"/>
      </p:ext>
    </p:extLst>
  </p:cSld>
  <p:clrMapOvr>
    <a:masterClrMapping/>
  </p:clrMapOvr>
  <p:transition>
    <p:fade/>
  </p:transition>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898335531"/>
      </p:ext>
    </p:extLst>
  </p:cSld>
  <p:clrMapOvr>
    <a:masterClrMapping/>
  </p:clrMapOvr>
  <p:transition>
    <p:fade/>
  </p:transition>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640337031"/>
      </p:ext>
    </p:extLst>
  </p:cSld>
  <p:clrMapOvr>
    <a:masterClrMapping/>
  </p:clrMapOvr>
  <p:transition>
    <p:fade/>
  </p:transition>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360899321"/>
      </p:ext>
    </p:extLst>
  </p:cSld>
  <p:clrMapOvr>
    <a:masterClrMapping/>
  </p:clrMapOvr>
  <p:transition>
    <p:fade/>
  </p:transition>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8723393"/>
      </p:ext>
    </p:extLst>
  </p:cSld>
  <p:clrMapOvr>
    <a:masterClrMapping/>
  </p:clrMapOvr>
  <p:transition>
    <p:fade/>
  </p:transition>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37971644"/>
      </p:ext>
    </p:extLst>
  </p:cSld>
  <p:clrMapOvr>
    <a:masterClrMapping/>
  </p:clrMapOvr>
  <p:transition>
    <p:fade/>
  </p:transition>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457524444"/>
      </p:ext>
    </p:extLst>
  </p:cSld>
  <p:clrMapOvr>
    <a:masterClrMapping/>
  </p:clrMapOvr>
  <p:transition>
    <p:fade/>
  </p:transition>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66618786"/>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42481285"/>
      </p:ext>
    </p:extLst>
  </p:cSld>
  <p:clrMapOvr>
    <a:masterClrMapping/>
  </p:clrMapOvr>
  <p:transition>
    <p:fade/>
  </p:transition>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06618534"/>
      </p:ext>
    </p:extLst>
  </p:cSld>
  <p:clrMapOvr>
    <a:masterClrMapping/>
  </p:clrMapOvr>
  <p:transition>
    <p:fade/>
  </p:transition>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9/16/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1131649093"/>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37624"/>
            <a:ext cx="5455754" cy="1144929"/>
          </a:xfrm>
        </p:spPr>
        <p:txBody>
          <a:bodyPr/>
          <a:lstStyle>
            <a:lvl1pPr marL="0" indent="0">
              <a:buFont typeface="Arial" pitchFamily="34" charset="0"/>
              <a:buNone/>
              <a:defRPr sz="2400">
                <a:solidFill>
                  <a:schemeClr val="bg1">
                    <a:alpha val="98000"/>
                  </a:schemeClr>
                </a:solidFill>
                <a:latin typeface="Segoe UI Light" pitchFamily="34" charset="0"/>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61794148"/>
      </p:ext>
    </p:extLst>
  </p:cSld>
  <p:clrMapOvr>
    <a:masterClrMapping/>
  </p:clrMapOvr>
  <p:transition>
    <p:fade/>
  </p:transition>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410783966"/>
      </p:ext>
    </p:extLst>
  </p:cSld>
  <p:clrMapOvr>
    <a:masterClrMapping/>
  </p:clrMapOvr>
  <p:transition>
    <p:fade/>
  </p:transition>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8285988" y="1993330"/>
            <a:ext cx="2278821"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9465807"/>
      </p:ext>
    </p:extLst>
  </p:cSld>
  <p:clrMapOvr>
    <a:masterClrMapping/>
  </p:clrMapOvr>
  <p:transition>
    <p:fade/>
  </p:transition>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2029032099"/>
      </p:ext>
    </p:extLst>
  </p:cSld>
  <p:clrMapOvr>
    <a:masterClrMapping/>
  </p:clrMapOvr>
  <p:transition>
    <p:fade/>
  </p:transition>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2662747562"/>
      </p:ext>
    </p:extLst>
  </p:cSld>
  <p:clrMapOvr>
    <a:masterClrMapping/>
  </p:clrMapOvr>
  <p:transition>
    <p:fade/>
  </p:transition>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278044953"/>
      </p:ext>
    </p:extLst>
  </p:cSld>
  <p:clrMapOvr>
    <a:masterClrMapping/>
  </p:clrMapOvr>
  <p:transition>
    <p:fade/>
  </p:transition>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248388216"/>
      </p:ext>
    </p:extLst>
  </p:cSld>
  <p:clrMapOvr>
    <a:masterClrMapping/>
  </p:clrMapOvr>
  <p:transition>
    <p:fade/>
  </p:transition>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7776453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60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199090781"/>
      </p:ext>
    </p:extLst>
  </p:cSld>
  <p:clrMapOvr>
    <a:masterClrMapping/>
  </p:clrMapOvr>
  <p:transition>
    <p:fade/>
  </p:transition>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33576717"/>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17878313"/>
      </p:ext>
    </p:extLst>
  </p:cSld>
  <p:clrMapOvr>
    <a:masterClrMapping/>
  </p:clrMapOvr>
  <p:transition>
    <p:fade/>
  </p:transition>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07413542"/>
      </p:ext>
    </p:extLst>
  </p:cSld>
  <p:clrMapOvr>
    <a:masterClrMapping/>
  </p:clrMapOvr>
  <p:transition>
    <p:fade/>
  </p:transition>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68796698"/>
      </p:ext>
    </p:extLst>
  </p:cSld>
  <p:clrMapOvr>
    <a:masterClrMapping/>
  </p:clrMapOvr>
  <p:transition>
    <p:fade/>
  </p:transition>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522519632"/>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977998"/>
      </p:ext>
    </p:extLst>
  </p:cSld>
  <p:clrMapOvr>
    <a:masterClrMapping/>
  </p:clrMapOvr>
  <p:transition>
    <p:fade/>
  </p:transition>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25561676"/>
      </p:ext>
    </p:extLst>
  </p:cSld>
  <p:clrMapOvr>
    <a:masterClrMapping/>
  </p:clrMapOvr>
  <p:transition>
    <p:fade/>
  </p:transition>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3706369"/>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5157058"/>
            <a:ext cx="7515594" cy="443198"/>
          </a:xfrm>
        </p:spPr>
        <p:txBody>
          <a:bodyPr/>
          <a:lstStyle>
            <a:lvl1pPr marL="0" indent="0">
              <a:buNone/>
              <a:defRPr lang="en-US" sz="3200" kern="1200" spc="-100" baseline="0" dirty="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0075097" y="6364651"/>
            <a:ext cx="1596068"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72687" y="228600"/>
            <a:ext cx="2498478" cy="290338"/>
          </a:xfrm>
          <a:prstGeom prst="rect">
            <a:avLst/>
          </a:prstGeom>
        </p:spPr>
      </p:pic>
    </p:spTree>
    <p:extLst>
      <p:ext uri="{BB962C8B-B14F-4D97-AF65-F5344CB8AC3E}">
        <p14:creationId xmlns:p14="http://schemas.microsoft.com/office/powerpoint/2010/main" val="907770068"/>
      </p:ext>
    </p:extLst>
  </p:cSld>
  <p:clrMapOvr>
    <a:masterClrMapping/>
  </p:clrMapOvr>
  <p:transition>
    <p:fade/>
  </p:transition>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068968"/>
      </p:ext>
    </p:extLst>
  </p:cSld>
  <p:clrMapOvr>
    <a:masterClrMapping/>
  </p:clrMapOvr>
  <p:transition>
    <p:fade/>
  </p:transition>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09561266"/>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432527689"/>
      </p:ext>
    </p:extLst>
  </p:cSld>
  <p:clrMapOvr>
    <a:masterClrMapping/>
  </p:clrMapOvr>
  <p:transition>
    <p:fade/>
  </p:transition>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896142206"/>
      </p:ext>
    </p:extLst>
  </p:cSld>
  <p:clrMapOvr>
    <a:masterClrMapping/>
  </p:clrMapOvr>
  <p:transition>
    <p:fade/>
  </p:transition>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68847110"/>
      </p:ext>
    </p:extLst>
  </p:cSld>
  <p:clrMapOvr>
    <a:masterClrMapping/>
  </p:clrMapOvr>
  <p:transition>
    <p:fade/>
  </p:transition>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39765291"/>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281927239"/>
      </p:ext>
    </p:extLst>
  </p:cSld>
  <p:clrMapOvr>
    <a:masterClrMapping/>
  </p:clrMapOvr>
  <p:transition>
    <p:fade/>
  </p:transition>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87522295"/>
      </p:ext>
    </p:extLst>
  </p:cSld>
  <p:clrMapOvr>
    <a:masterClrMapping/>
  </p:clrMapOvr>
  <p:transition>
    <p:fade/>
  </p:transition>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481493337"/>
      </p:ext>
    </p:extLst>
  </p:cSld>
  <p:clrMapOvr>
    <a:masterClrMapping/>
  </p:clrMapOvr>
  <p:transition>
    <p:fade/>
  </p:transition>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60511510"/>
      </p:ext>
    </p:extLst>
  </p:cSld>
  <p:clrMapOvr>
    <a:masterClrMapping/>
  </p:clrMapOvr>
  <p:transition>
    <p:fade/>
  </p:transition>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2965387074"/>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904379993"/>
      </p:ext>
    </p:extLst>
  </p:cSld>
  <p:clrMapOvr>
    <a:masterClrMapping/>
  </p:clrMapOvr>
  <p:transition>
    <p:fade/>
  </p:transition>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1527818261"/>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20674576"/>
      </p:ext>
    </p:extLst>
  </p:cSld>
  <p:clrMapOvr>
    <a:masterClrMapping/>
  </p:clrMapOvr>
  <p:transition>
    <p:fade/>
  </p:transition>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936176808"/>
      </p:ext>
    </p:extLst>
  </p:cSld>
  <p:clrMapOvr>
    <a:masterClrMapping/>
  </p:clrMapOvr>
  <p:transition>
    <p:fade/>
  </p:transition>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60570412"/>
      </p:ext>
    </p:extLst>
  </p:cSld>
  <p:clrMapOvr>
    <a:masterClrMapping/>
  </p:clrMapOvr>
  <p:transition>
    <p:fade/>
  </p:transition>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604666482"/>
      </p:ext>
    </p:extLst>
  </p:cSld>
  <p:clrMapOvr>
    <a:masterClrMapping/>
  </p:clrMapOvr>
  <p:transition>
    <p:fade/>
  </p:transition>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856369743"/>
      </p:ext>
    </p:extLst>
  </p:cSld>
  <p:clrMapOvr>
    <a:masterClrMapping/>
  </p:clrMapOvr>
  <p:transition>
    <p:fade/>
  </p:transition>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057477385"/>
      </p:ext>
    </p:extLst>
  </p:cSld>
  <p:clrMapOvr>
    <a:masterClrMapping/>
  </p:clrMapOvr>
  <p:transition>
    <p:fade/>
  </p:transition>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54552275"/>
      </p:ext>
    </p:extLst>
  </p:cSld>
  <p:clrMapOvr>
    <a:masterClrMapping/>
  </p:clrMapOvr>
  <p:transition>
    <p:fade/>
  </p:transition>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51247156"/>
      </p:ext>
    </p:extLst>
  </p:cSld>
  <p:clrMapOvr>
    <a:masterClrMapping/>
  </p:clrMapOvr>
  <p:transition>
    <p:fade/>
  </p:transition>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164263264"/>
      </p:ext>
    </p:extLst>
  </p:cSld>
  <p:clrMapOvr>
    <a:masterClrMapping/>
  </p:clrMapOvr>
  <p:transition>
    <p:fade/>
  </p:transition>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9/16/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659045362"/>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7" y="2834641"/>
            <a:ext cx="11158586"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297680"/>
            <a:ext cx="5455754"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64464377"/>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28460486"/>
      </p:ext>
    </p:extLst>
  </p:cSld>
  <p:clrMapOvr>
    <a:masterClrMapping/>
  </p:clrMapOvr>
  <p:transition>
    <p:fade/>
  </p:transition>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06" y="2834640"/>
            <a:ext cx="11158586"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297680"/>
            <a:ext cx="7515594"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903953956"/>
      </p:ext>
    </p:extLst>
  </p:cSld>
  <p:clrMapOvr>
    <a:masterClrMapping/>
  </p:clrMapOvr>
  <p:transition>
    <p:fade/>
  </p:transition>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06" y="1920240"/>
            <a:ext cx="11158586"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054334588"/>
      </p:ext>
    </p:extLst>
  </p:cSld>
  <p:clrMapOvr>
    <a:masterClrMapping/>
  </p:clrMapOvr>
  <p:transition>
    <p:fade/>
  </p:transition>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173552413"/>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95429575"/>
      </p:ext>
    </p:extLst>
  </p:cSld>
  <p:clrMapOvr>
    <a:masterClrMapping/>
  </p:clrMapOvr>
  <p:transition>
    <p:fade/>
  </p:transition>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1350027"/>
      </p:ext>
    </p:extLst>
  </p:cSld>
  <p:clrMapOvr>
    <a:masterClrMapping/>
  </p:clrMapOvr>
  <p:transition>
    <p:fade/>
  </p:transition>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3256779686"/>
      </p:ext>
    </p:extLst>
  </p:cSld>
  <p:clrMapOvr>
    <a:masterClrMapping/>
  </p:clrMapOvr>
  <p:transition>
    <p:fade/>
  </p:transition>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453204"/>
      </p:ext>
    </p:extLst>
  </p:cSld>
  <p:clrMapOvr>
    <a:masterClrMapping/>
  </p:clrMapOvr>
  <p:transition>
    <p:fade/>
  </p:transition>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326955122"/>
      </p:ext>
    </p:extLst>
  </p:cSld>
  <p:clrMapOvr>
    <a:masterClrMapping/>
  </p:clrMapOvr>
  <p:transition>
    <p:fade/>
  </p:transition>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472206072"/>
      </p:ext>
    </p:extLst>
  </p:cSld>
  <p:clrMapOvr>
    <a:masterClrMapping/>
  </p:clrMapOvr>
  <p:transition>
    <p:fade/>
  </p:transition>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771453899"/>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930947"/>
      </p:ext>
    </p:extLst>
  </p:cSld>
  <p:clrMapOvr>
    <a:masterClrMapping/>
  </p:clrMapOvr>
  <p:transition>
    <p:fade/>
  </p:transition>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4021705880"/>
      </p:ext>
    </p:extLst>
  </p:cSld>
  <p:clrMapOvr>
    <a:masterClrMapping/>
  </p:clrMapOvr>
  <p:transition>
    <p:fade/>
  </p:transition>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028973875"/>
      </p:ext>
    </p:extLst>
  </p:cSld>
  <p:clrMapOvr>
    <a:masterClrMapping/>
  </p:clrMapOvr>
  <p:transition>
    <p:fade/>
  </p:transition>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114852866"/>
      </p:ext>
    </p:extLst>
  </p:cSld>
  <p:clrMapOvr>
    <a:masterClrMapping/>
  </p:clrMapOvr>
  <p:transition>
    <p:fade/>
  </p:transition>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1739772"/>
      </p:ext>
    </p:extLst>
  </p:cSld>
  <p:clrMapOvr>
    <a:masterClrMapping/>
  </p:clrMapOvr>
  <p:transition>
    <p:fade/>
  </p:transition>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494020632"/>
      </p:ext>
    </p:extLst>
  </p:cSld>
  <p:clrMapOvr>
    <a:masterClrMapping/>
  </p:clrMapOvr>
  <p:transition>
    <p:fade/>
  </p:transition>
  <p:timing>
    <p:tnLst>
      <p:par>
        <p:cT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7" y="2834641"/>
            <a:ext cx="11158586"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297680"/>
            <a:ext cx="5455754"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33432359"/>
      </p:ext>
    </p:extLst>
  </p:cSld>
  <p:clrMapOvr>
    <a:masterClrMapping/>
  </p:clrMapOvr>
  <p:transition>
    <p:fade/>
  </p:transition>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06" y="2834640"/>
            <a:ext cx="11158586"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297680"/>
            <a:ext cx="7515594"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710642918"/>
      </p:ext>
    </p:extLst>
  </p:cSld>
  <p:clrMapOvr>
    <a:masterClrMapping/>
  </p:clrMapOvr>
  <p:transition>
    <p:fade/>
  </p:transition>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06" y="1920240"/>
            <a:ext cx="11158586"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384993212"/>
      </p:ext>
    </p:extLst>
  </p:cSld>
  <p:clrMapOvr>
    <a:masterClrMapping/>
  </p:clrMapOvr>
  <p:transition>
    <p:fade/>
  </p:transition>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3989051413"/>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49141693"/>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1525451"/>
      </p:ext>
    </p:extLst>
  </p:cSld>
  <p:clrMapOvr>
    <a:masterClrMapping/>
  </p:clrMapOvr>
  <p:transition>
    <p:fade/>
  </p:transition>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69246252"/>
      </p:ext>
    </p:extLst>
  </p:cSld>
  <p:clrMapOvr>
    <a:masterClrMapping/>
  </p:clrMapOvr>
  <p:transition>
    <p:fade/>
  </p:transition>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612733116"/>
      </p:ext>
    </p:extLst>
  </p:cSld>
  <p:clrMapOvr>
    <a:masterClrMapping/>
  </p:clrMapOvr>
  <p:transition>
    <p:fade/>
  </p:transition>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467362"/>
      </p:ext>
    </p:extLst>
  </p:cSld>
  <p:clrMapOvr>
    <a:masterClrMapping/>
  </p:clrMapOvr>
  <p:transition>
    <p:fade/>
  </p:transition>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920379022"/>
      </p:ext>
    </p:extLst>
  </p:cSld>
  <p:clrMapOvr>
    <a:masterClrMapping/>
  </p:clrMapOvr>
  <p:transition>
    <p:fade/>
  </p:transition>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861936644"/>
      </p:ext>
    </p:extLst>
  </p:cSld>
  <p:clrMapOvr>
    <a:masterClrMapping/>
  </p:clrMapOvr>
  <p:transition>
    <p:fade/>
  </p:transition>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99331744"/>
      </p:ext>
    </p:extLst>
  </p:cSld>
  <p:clrMapOvr>
    <a:masterClrMapping/>
  </p:clrMapOvr>
  <p:transition>
    <p:fade/>
  </p:transition>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2761089111"/>
      </p:ext>
    </p:extLst>
  </p:cSld>
  <p:clrMapOvr>
    <a:masterClrMapping/>
  </p:clrMapOvr>
  <p:transition>
    <p:fade/>
  </p:transition>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48778932"/>
      </p:ext>
    </p:extLst>
  </p:cSld>
  <p:clrMapOvr>
    <a:masterClrMapping/>
  </p:clrMapOvr>
  <p:transition>
    <p:fade/>
  </p:transition>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16382388"/>
      </p:ext>
    </p:extLst>
  </p:cSld>
  <p:clrMapOvr>
    <a:masterClrMapping/>
  </p:clrMapOvr>
  <p:transition>
    <p:fade/>
  </p:transition>
  <p:timing>
    <p:tnLst>
      <p:par>
        <p:cTn id="1" dur="indefinite" restart="never" nodeType="tmRoot"/>
      </p:par>
    </p:tnLst>
  </p:timing>
</p:sldLayout>
</file>

<file path=ppt/slideLayouts/slideLayout559.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9036694"/>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880177"/>
      </p:ext>
    </p:extLst>
  </p:cSld>
  <p:clrMapOvr>
    <a:masterClrMapping/>
  </p:clrMapOvr>
  <p:transition>
    <p:fade/>
  </p:transition>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9221933"/>
      </p:ext>
    </p:extLst>
  </p:cSld>
  <p:clrMapOvr>
    <a:masterClrMapping/>
  </p:clrMapOvr>
  <p:transition>
    <p:fade/>
  </p:transition>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706" y="1690689"/>
            <a:ext cx="11158586" cy="1846659"/>
          </a:xfrm>
        </p:spPr>
        <p:txBody>
          <a:bodyPr/>
          <a:lstStyle>
            <a:lvl1pPr>
              <a:defRPr sz="2000"/>
            </a:lvl1pPr>
            <a:lvl2pPr marL="227013" indent="-6350">
              <a:defRPr sz="2000"/>
            </a:lvl2pPr>
            <a:lvl3pPr marL="463550" indent="-6350">
              <a:defRPr sz="2000"/>
            </a:lvl3pPr>
            <a:lvl4pPr marL="676275" indent="6350">
              <a:defRPr sz="2000"/>
            </a:lvl4pPr>
            <a:lvl5pPr marL="917575" indent="0">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0433939"/>
      </p:ext>
    </p:extLst>
  </p:cSld>
  <p:clrMapOvr>
    <a:masterClrMapping/>
  </p:clrMapOvr>
  <p:transition>
    <p:fade/>
  </p:transition>
  <p:timing>
    <p:tnLst>
      <p:par>
        <p:cTn id="1" dur="indefinite" restart="never" nodeType="tmRoot"/>
      </p:par>
    </p:tnLst>
  </p:timing>
</p:sldLayout>
</file>

<file path=ppt/slideLayouts/slideLayout56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7" y="2834641"/>
            <a:ext cx="11158586"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297680"/>
            <a:ext cx="5455754"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74844869"/>
      </p:ext>
    </p:extLst>
  </p:cSld>
  <p:clrMapOvr>
    <a:masterClrMapping/>
  </p:clrMapOvr>
  <p:transition>
    <p:fade/>
  </p:transition>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06" y="2834640"/>
            <a:ext cx="11158586"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297680"/>
            <a:ext cx="7515594"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72198651"/>
      </p:ext>
    </p:extLst>
  </p:cSld>
  <p:clrMapOvr>
    <a:masterClrMapping/>
  </p:clrMapOvr>
  <p:transition>
    <p:fade/>
  </p:transition>
  <p:timing>
    <p:tnLst>
      <p:par>
        <p:cTn id="1" dur="indefinite" restart="never" nodeType="tmRoot"/>
      </p:par>
    </p:tnLst>
  </p:timing>
</p:sldLayout>
</file>

<file path=ppt/slideLayouts/slideLayout56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06" y="1920240"/>
            <a:ext cx="11158586"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912975618"/>
      </p:ext>
    </p:extLst>
  </p:cSld>
  <p:clrMapOvr>
    <a:masterClrMapping/>
  </p:clrMapOvr>
  <p:transition>
    <p:fade/>
  </p:transition>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1561441315"/>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143195319"/>
      </p:ext>
    </p:extLst>
  </p:cSld>
  <p:clrMapOvr>
    <a:masterClrMapping/>
  </p:clrMapOvr>
  <p:transition>
    <p:fade/>
  </p:transition>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98607847"/>
      </p:ext>
    </p:extLst>
  </p:cSld>
  <p:clrMapOvr>
    <a:masterClrMapping/>
  </p:clrMapOvr>
  <p:transition>
    <p:fade/>
  </p:transition>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1081014293"/>
      </p:ext>
    </p:extLst>
  </p:cSld>
  <p:clrMapOvr>
    <a:masterClrMapping/>
  </p:clrMapOvr>
  <p:transition>
    <p:fade/>
  </p:transition>
  <p:timing>
    <p:tnLst>
      <p:par>
        <p:cTn id="1" dur="indefinite" restart="never" nodeType="tmRoot"/>
      </p:par>
    </p:tnLst>
  </p:timing>
</p:sldLayout>
</file>

<file path=ppt/slideLayouts/slideLayout5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6320230"/>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08387666"/>
      </p:ext>
    </p:extLst>
  </p:cSld>
  <p:clrMapOvr>
    <a:masterClrMapping/>
  </p:clrMapOvr>
  <p:transition>
    <p:fade/>
  </p:transition>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106895262"/>
      </p:ext>
    </p:extLst>
  </p:cSld>
  <p:clrMapOvr>
    <a:masterClrMapping/>
  </p:clrMapOvr>
  <p:transition>
    <p:fade/>
  </p:transition>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620042258"/>
      </p:ext>
    </p:extLst>
  </p:cSld>
  <p:clrMapOvr>
    <a:masterClrMapping/>
  </p:clrMapOvr>
  <p:transition>
    <p:fade/>
  </p:transition>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963140200"/>
      </p:ext>
    </p:extLst>
  </p:cSld>
  <p:clrMapOvr>
    <a:masterClrMapping/>
  </p:clrMapOvr>
  <p:transition>
    <p:fade/>
  </p:transition>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3716167021"/>
      </p:ext>
    </p:extLst>
  </p:cSld>
  <p:clrMapOvr>
    <a:masterClrMapping/>
  </p:clrMapOvr>
  <p:transition>
    <p:fade/>
  </p:transition>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840553978"/>
      </p:ext>
    </p:extLst>
  </p:cSld>
  <p:clrMapOvr>
    <a:masterClrMapping/>
  </p:clrMapOvr>
  <p:transition>
    <p:fade/>
  </p:transition>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507919482"/>
      </p:ext>
    </p:extLst>
  </p:cSld>
  <p:clrMapOvr>
    <a:masterClrMapping/>
  </p:clrMapOvr>
  <p:transition>
    <p:fade/>
  </p:transition>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9446881"/>
      </p:ext>
    </p:extLst>
  </p:cSld>
  <p:clrMapOvr>
    <a:masterClrMapping/>
  </p:clrMapOvr>
  <p:transition>
    <p:fade/>
  </p:transition>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66153772"/>
      </p:ext>
    </p:extLst>
  </p:cSld>
  <p:clrMapOvr>
    <a:masterClrMapping/>
  </p:clrMapOvr>
  <p:transition>
    <p:fade/>
  </p:transition>
  <p:timing>
    <p:tnLst>
      <p:par>
        <p:cT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7" y="2834641"/>
            <a:ext cx="11158586"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297680"/>
            <a:ext cx="5455754"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886177040"/>
      </p:ext>
    </p:extLst>
  </p:cSld>
  <p:clrMapOvr>
    <a:masterClrMapping/>
  </p:clrMapOvr>
  <p:transition>
    <p:fade/>
  </p:transition>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06" y="2834640"/>
            <a:ext cx="11158586"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297680"/>
            <a:ext cx="7515594"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8517399"/>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6774659"/>
      </p:ext>
    </p:extLst>
  </p:cSld>
  <p:clrMapOvr>
    <a:masterClrMapping/>
  </p:clrMapOvr>
  <p:transition>
    <p:fade/>
  </p:transition>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06" y="1920240"/>
            <a:ext cx="11158586"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519489360"/>
      </p:ext>
    </p:extLst>
  </p:cSld>
  <p:clrMapOvr>
    <a:masterClrMapping/>
  </p:clrMapOvr>
  <p:transition>
    <p:fade/>
  </p:transition>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3388321402"/>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36125639"/>
      </p:ext>
    </p:extLst>
  </p:cSld>
  <p:clrMapOvr>
    <a:masterClrMapping/>
  </p:clrMapOvr>
  <p:transition>
    <p:fade/>
  </p:transition>
  <p:timing>
    <p:tnLst>
      <p:par>
        <p:cT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12455036"/>
      </p:ext>
    </p:extLst>
  </p:cSld>
  <p:clrMapOvr>
    <a:masterClrMapping/>
  </p:clrMapOvr>
  <p:transition>
    <p:fade/>
  </p:transition>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2711109603"/>
      </p:ext>
    </p:extLst>
  </p:cSld>
  <p:clrMapOvr>
    <a:masterClrMapping/>
  </p:clrMapOvr>
  <p:transition>
    <p:fade/>
  </p:transition>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2261063"/>
      </p:ext>
    </p:extLst>
  </p:cSld>
  <p:clrMapOvr>
    <a:masterClrMapping/>
  </p:clrMapOvr>
  <p:transition>
    <p:fade/>
  </p:transition>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2109813"/>
      </p:ext>
    </p:extLst>
  </p:cSld>
  <p:clrMapOvr>
    <a:masterClrMapping/>
  </p:clrMapOvr>
  <p:transition>
    <p:fade/>
  </p:transition>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1408040878"/>
      </p:ext>
    </p:extLst>
  </p:cSld>
  <p:clrMapOvr>
    <a:masterClrMapping/>
  </p:clrMapOvr>
  <p:transition>
    <p:fade/>
  </p:transition>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1016134768"/>
      </p:ext>
    </p:extLst>
  </p:cSld>
  <p:clrMapOvr>
    <a:masterClrMapping/>
  </p:clrMapOvr>
  <p:transition>
    <p:fade/>
  </p:transition>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2458384776"/>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3562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4049515507"/>
      </p:ext>
    </p:extLst>
  </p:cSld>
  <p:clrMapOvr>
    <a:masterClrMapping/>
  </p:clrMapOvr>
  <p:transition>
    <p:fade/>
  </p:transition>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553808900"/>
      </p:ext>
    </p:extLst>
  </p:cSld>
  <p:clrMapOvr>
    <a:masterClrMapping/>
  </p:clrMapOvr>
  <p:transition>
    <p:fade/>
  </p:transition>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65792743"/>
      </p:ext>
    </p:extLst>
  </p:cSld>
  <p:clrMapOvr>
    <a:masterClrMapping/>
  </p:clrMapOvr>
  <p:transition>
    <p:fade/>
  </p:transition>
  <p:timing>
    <p:tnLst>
      <p:par>
        <p:cTn id="1" dur="indefinite" restart="never" nodeType="tmRoot"/>
      </p:par>
    </p:tnLst>
  </p:timing>
</p:sldLayout>
</file>

<file path=ppt/slideLayouts/slideLayout593.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056097310"/>
      </p:ext>
    </p:extLst>
  </p:cSld>
  <p:clrMapOvr>
    <a:masterClrMapping/>
  </p:clrMapOvr>
  <p:transition>
    <p:fade/>
  </p:transition>
  <p:timing>
    <p:tnLst>
      <p:par>
        <p:cTn id="1" dur="indefinite" restart="never" nodeType="tmRoot"/>
      </p:par>
    </p:tnLst>
  </p:timing>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128141758"/>
      </p:ext>
    </p:extLst>
  </p:cSld>
  <p:clrMapOvr>
    <a:masterClrMapping/>
  </p:clrMapOvr>
  <p:transition>
    <p:fade/>
  </p:transition>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982329124"/>
      </p:ext>
    </p:extLst>
  </p:cSld>
  <p:clrMapOvr>
    <a:masterClrMapping/>
  </p:clrMapOvr>
  <p:transition>
    <p:fade/>
  </p:transition>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56483193"/>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61912518"/>
      </p:ext>
    </p:extLst>
  </p:cSld>
  <p:clrMapOvr>
    <a:masterClrMapping/>
  </p:clrMapOvr>
  <p:transition>
    <p:fade/>
  </p:transition>
  <p:timing>
    <p:tnLst>
      <p:par>
        <p:cTn id="1" dur="indefinite" restart="never" nodeType="tmRoot"/>
      </p:par>
    </p:tnLst>
  </p:timing>
</p:sldLayout>
</file>

<file path=ppt/slideLayouts/slideLayout5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3394572"/>
      </p:ext>
    </p:extLst>
  </p:cSld>
  <p:clrMapOvr>
    <a:masterClrMapping/>
  </p:clrMapOvr>
  <p:transition>
    <p:fade/>
  </p:transition>
  <p:timing>
    <p:tnLst>
      <p:par>
        <p:cTn id="1" dur="indefinite" restart="never" nodeType="tmRoot"/>
      </p:par>
    </p:tnLst>
  </p:timing>
</p:sldLayout>
</file>

<file path=ppt/slideLayouts/slideLayout5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3938099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92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46813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66685134"/>
      </p:ext>
    </p:extLst>
  </p:cSld>
  <p:clrMapOvr>
    <a:masterClrMapping/>
  </p:clrMapOvr>
  <p:transition>
    <p:fade/>
  </p:transition>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780691870"/>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4204446721"/>
      </p:ext>
    </p:extLst>
  </p:cSld>
  <p:clrMapOvr>
    <a:masterClrMapping/>
  </p:clrMapOvr>
  <p:transition>
    <p:fade/>
  </p:transition>
  <p:timing>
    <p:tnLst>
      <p:par>
        <p:cTn id="1" dur="indefinite" restart="never" nodeType="tmRoot"/>
      </p:par>
    </p:tnLst>
  </p:timing>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106156016"/>
      </p:ext>
    </p:extLst>
  </p:cSld>
  <p:clrMapOvr>
    <a:masterClrMapping/>
  </p:clrMapOvr>
  <p:transition>
    <p:fade/>
  </p:transition>
  <p:timing>
    <p:tnLst>
      <p:par>
        <p:cTn id="1" dur="indefinite" restart="never" nodeType="tmRoot"/>
      </p:par>
    </p:tnLst>
  </p:timing>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480644100"/>
      </p:ext>
    </p:extLst>
  </p:cSld>
  <p:clrMapOvr>
    <a:masterClrMapping/>
  </p:clrMapOvr>
  <p:transition>
    <p:fade/>
  </p:transition>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006040462"/>
      </p:ext>
    </p:extLst>
  </p:cSld>
  <p:clrMapOvr>
    <a:masterClrMapping/>
  </p:clrMapOvr>
  <p:transition>
    <p:fade/>
  </p:transition>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56594621"/>
      </p:ext>
    </p:extLst>
  </p:cSld>
  <p:clrMapOvr>
    <a:masterClrMapping/>
  </p:clrMapOvr>
  <p:transition>
    <p:fade/>
  </p:transition>
  <p:timing>
    <p:tnLst>
      <p:par>
        <p:cTn id="1" dur="indefinite" restart="never" nodeType="tmRoot"/>
      </p:par>
    </p:tnLst>
  </p:timing>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27834630"/>
      </p:ext>
    </p:extLst>
  </p:cSld>
  <p:clrMapOvr>
    <a:masterClrMapping/>
  </p:clrMapOvr>
  <p:transition>
    <p:fade/>
  </p:transition>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1049674"/>
      </p:ext>
    </p:extLst>
  </p:cSld>
  <p:clrMapOvr>
    <a:masterClrMapping/>
  </p:clrMapOvr>
  <p:transition>
    <p:fade/>
  </p:transition>
  <p:timing>
    <p:tnLst>
      <p:par>
        <p:cTn id="1" dur="indefinite" restart="never" nodeType="tmRoot"/>
      </p:par>
    </p:tnLst>
  </p:timing>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60521004"/>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1055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28728345"/>
      </p:ext>
    </p:extLst>
  </p:cSld>
  <p:clrMapOvr>
    <a:masterClrMapping/>
  </p:clrMapOvr>
  <p:transition>
    <p:fade/>
  </p:transition>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059840424"/>
      </p:ext>
    </p:extLst>
  </p:cSld>
  <p:clrMapOvr>
    <a:masterClrMapping/>
  </p:clrMapOvr>
  <p:transition>
    <p:fade/>
  </p:transition>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5"/>
            <a:ext cx="11158586" cy="89255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4032272640"/>
      </p:ext>
    </p:extLst>
  </p:cSld>
  <p:clrMapOvr>
    <a:masterClrMapping/>
  </p:clrMapOvr>
  <p:transition>
    <p:fade/>
  </p:transition>
  <p:timing>
    <p:tnLst>
      <p:par>
        <p:cTn id="1" dur="indefinite" restart="never" nodeType="tmRoot"/>
      </p:par>
    </p:tnLst>
  </p:timing>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031471458"/>
      </p:ext>
    </p:extLst>
  </p:cSld>
  <p:clrMapOvr>
    <a:masterClrMapping/>
  </p:clrMapOvr>
  <p:transition>
    <p:fade/>
  </p:transition>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84290600"/>
      </p:ext>
    </p:extLst>
  </p:cSld>
  <p:clrMapOvr>
    <a:masterClrMapping/>
  </p:clrMapOvr>
  <p:transition>
    <p:fade/>
  </p:transition>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405416058"/>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344389662"/>
      </p:ext>
    </p:extLst>
  </p:cSld>
  <p:clrMapOvr>
    <a:masterClrMapping/>
  </p:clrMapOvr>
  <p:transition>
    <p:fade/>
  </p:transition>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94151797"/>
      </p:ext>
    </p:extLst>
  </p:cSld>
  <p:clrMapOvr>
    <a:masterClrMapping/>
  </p:clrMapOvr>
  <p:transition>
    <p:fade/>
  </p:transition>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60222360"/>
      </p:ext>
    </p:extLst>
  </p:cSld>
  <p:clrMapOvr>
    <a:masterClrMapping/>
  </p:clrMapOvr>
  <p:transition>
    <p:fade/>
  </p:transition>
  <p:timing>
    <p:tnLst>
      <p:par>
        <p:cTn id="1" dur="indefinite" restart="never" nodeType="tmRoot"/>
      </p:par>
    </p:tnLst>
  </p:timing>
</p:sldLayout>
</file>

<file path=ppt/slideLayouts/slideLayout6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5288990"/>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008881908"/>
      </p:ext>
    </p:extLst>
  </p:cSld>
  <p:clrMapOvr>
    <a:masterClrMapping/>
  </p:clrMapOvr>
  <p:transition>
    <p:fade/>
  </p:transition>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73761534"/>
      </p:ext>
    </p:extLst>
  </p:cSld>
  <p:clrMapOvr>
    <a:masterClrMapping/>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3448168808"/>
      </p:ext>
    </p:extLst>
  </p:cSld>
  <p:clrMapOvr>
    <a:masterClrMapping/>
  </p:clrMapOvr>
  <p:transition>
    <p:fade/>
  </p:transition>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424694984"/>
      </p:ext>
    </p:extLst>
  </p:cSld>
  <p:clrMapOvr>
    <a:masterClrMapping/>
  </p:clrMapOvr>
  <p:transition>
    <p:fade/>
  </p:transition>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1475043983"/>
      </p:ext>
    </p:extLst>
  </p:cSld>
  <p:clrMapOvr>
    <a:masterClrMapping/>
  </p:clrMapOvr>
  <p:transition>
    <p:fade/>
  </p:transition>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207461591"/>
      </p:ext>
    </p:extLst>
  </p:cSld>
  <p:clrMapOvr>
    <a:masterClrMapping/>
  </p:clrMapOvr>
  <p:transition>
    <p:fade/>
  </p:transition>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3296883196"/>
      </p:ext>
    </p:extLst>
  </p:cSld>
  <p:clrMapOvr>
    <a:masterClrMapping/>
  </p:clrMapOvr>
  <p:transition>
    <p:fade/>
  </p:transition>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610827484"/>
      </p:ext>
    </p:extLst>
  </p:cSld>
  <p:clrMapOvr>
    <a:masterClrMapping/>
  </p:clrMapOvr>
  <p:transition>
    <p:fade/>
  </p:transition>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23750328"/>
      </p:ext>
    </p:extLst>
  </p:cSld>
  <p:clrMapOvr>
    <a:masterClrMapping/>
  </p:clrMapOvr>
  <p:transition>
    <p:fade/>
  </p:transition>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396085289"/>
      </p:ext>
    </p:extLst>
  </p:cSld>
  <p:clrMapOvr>
    <a:masterClrMapping/>
  </p:clrMapOvr>
  <p:transition>
    <p:fade/>
  </p:transition>
  <p:timing>
    <p:tnLst>
      <p:par>
        <p:cTn id="1" dur="indefinite" restart="never" nodeType="tmRoot"/>
      </p:par>
    </p:tnLst>
  </p:timing>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2279332"/>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141024645"/>
      </p:ext>
    </p:extLst>
  </p:cSld>
  <p:clrMapOvr>
    <a:masterClrMapping/>
  </p:clrMapOvr>
  <p:transition>
    <p:fade/>
  </p:transition>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29755917"/>
      </p:ext>
    </p:extLst>
  </p:cSld>
  <p:clrMapOvr>
    <a:masterClrMapping/>
  </p:clrMapOvr>
  <p:transition>
    <p:fade/>
  </p:transition>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5"/>
            <a:ext cx="11158586" cy="89255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1148732151"/>
      </p:ext>
    </p:extLst>
  </p:cSld>
  <p:clrMapOvr>
    <a:masterClrMapping/>
  </p:clrMapOvr>
  <p:transition>
    <p:fade/>
  </p:transition>
  <p:timing>
    <p:tnLst>
      <p:par>
        <p:cTn id="1" dur="indefinite" restart="never" nodeType="tmRoot"/>
      </p:par>
    </p:tnLst>
  </p:timing>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3" y="4612345"/>
            <a:ext cx="5455754" cy="1144929"/>
          </a:xfrm>
        </p:spPr>
        <p:txBody>
          <a:bodyPr/>
          <a:lstStyle>
            <a:lvl1pPr marL="0" indent="0">
              <a:buFont typeface="Arial" pitchFamily="34" charset="0"/>
              <a:buNone/>
              <a:defRPr sz="2400">
                <a:solidFill>
                  <a:schemeClr val="bg1">
                    <a:alpha val="98000"/>
                  </a:schemeClr>
                </a:solidFill>
                <a:latin typeface="+mj-lt"/>
              </a:defRPr>
            </a:lvl1pPr>
            <a:lvl2pPr marL="460290" indent="0">
              <a:buFont typeface="Arial" pitchFamily="34" charset="0"/>
              <a:buNone/>
              <a:defRPr/>
            </a:lvl2pPr>
            <a:lvl3pPr marL="855509" indent="0">
              <a:buFont typeface="Arial" pitchFamily="34" charset="0"/>
              <a:buNone/>
              <a:defRPr/>
            </a:lvl3pPr>
            <a:lvl4pPr marL="1258661" indent="0">
              <a:buFont typeface="Arial" pitchFamily="34" charset="0"/>
              <a:buNone/>
              <a:defRPr/>
            </a:lvl4pPr>
            <a:lvl5pPr marL="160467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864282181"/>
      </p:ext>
    </p:extLst>
  </p:cSld>
  <p:clrMapOvr>
    <a:masterClrMapping/>
  </p:clrMapOvr>
  <p:transition>
    <p:fade/>
  </p:transition>
  <p:timing>
    <p:tnLst>
      <p:par>
        <p:cTn id="1" dur="indefinite" restart="never" nodeType="tmRoot"/>
      </p:par>
    </p:tnLst>
  </p:timing>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61" indent="-40315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71" indent="-3460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61" indent="-3364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028928425"/>
      </p:ext>
    </p:extLst>
  </p:cSld>
  <p:clrMapOvr>
    <a:masterClrMapping/>
  </p:clrMapOvr>
  <p:transition>
    <p:fade/>
  </p:transition>
  <p:timing>
    <p:tnLst>
      <p:par>
        <p:cTn id="1" dur="indefinite" restart="never" nodeType="tmRoot"/>
      </p:par>
    </p:tnLst>
  </p:timing>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49" indent="-342838">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38" indent="-342838">
              <a:spcBef>
                <a:spcPts val="0"/>
              </a:spcBef>
              <a:spcAft>
                <a:spcPts val="400"/>
              </a:spcAft>
              <a:buFont typeface="Arial" pitchFamily="34" charset="0"/>
              <a:buChar char="•"/>
              <a:defRPr/>
            </a:lvl5pPr>
            <a:lvl6pPr marL="1033275" indent="-342838">
              <a:buFont typeface="Arial" pitchFamily="34" charset="0"/>
              <a:buChar char="•"/>
              <a:defRPr sz="2400">
                <a:gradFill>
                  <a:gsLst>
                    <a:gs pos="0">
                      <a:srgbClr val="595959"/>
                    </a:gs>
                    <a:gs pos="86000">
                      <a:srgbClr val="595959"/>
                    </a:gs>
                  </a:gsLst>
                  <a:lin ang="5400000" scaled="0"/>
                </a:gradFill>
              </a:defRPr>
            </a:lvl6pPr>
            <a:lvl7pPr marL="1255485" indent="-225384">
              <a:defRPr>
                <a:gradFill>
                  <a:gsLst>
                    <a:gs pos="0">
                      <a:srgbClr val="595959"/>
                    </a:gs>
                    <a:gs pos="86000">
                      <a:srgbClr val="595959"/>
                    </a:gs>
                  </a:gsLst>
                  <a:lin ang="5400000" scaled="0"/>
                </a:gradFill>
              </a:defRPr>
            </a:lvl7pPr>
            <a:lvl8pPr marL="1487218" indent="-231732">
              <a:defRPr>
                <a:gradFill>
                  <a:gsLst>
                    <a:gs pos="0">
                      <a:srgbClr val="595959"/>
                    </a:gs>
                    <a:gs pos="86000">
                      <a:srgbClr val="595959"/>
                    </a:gs>
                  </a:gsLst>
                  <a:lin ang="5400000" scaled="0"/>
                </a:gradFill>
              </a:defRPr>
            </a:lvl8pPr>
          </a:lstStyle>
          <a:p>
            <a:pPr marL="346013" lvl="0" indent="-346013" algn="l" defTabSz="914197" rtl="0" eaLnBrk="1" latinLnBrk="0" hangingPunct="1">
              <a:lnSpc>
                <a:spcPct val="90000"/>
              </a:lnSpc>
              <a:spcBef>
                <a:spcPct val="20000"/>
              </a:spcBef>
              <a:buSzPct val="90000"/>
              <a:buFont typeface="Arial" pitchFamily="34" charset="0"/>
              <a:buChar char="•"/>
            </a:pPr>
            <a:r>
              <a:rPr lang="en-US" smtClean="0"/>
              <a:t>Click to edit Master text styles</a:t>
            </a:r>
          </a:p>
          <a:p>
            <a:pPr marL="346013" lvl="1" indent="-346013" algn="l" defTabSz="914197" rtl="0" eaLnBrk="1" latinLnBrk="0" hangingPunct="1">
              <a:lnSpc>
                <a:spcPct val="90000"/>
              </a:lnSpc>
              <a:spcBef>
                <a:spcPct val="20000"/>
              </a:spcBef>
              <a:buSzPct val="90000"/>
              <a:buFont typeface="Arial" pitchFamily="34" charset="0"/>
              <a:buChar char="•"/>
            </a:pPr>
            <a:r>
              <a:rPr lang="en-US" smtClean="0"/>
              <a:t>Second level</a:t>
            </a:r>
          </a:p>
          <a:p>
            <a:pPr marL="346013" lvl="2" indent="-346013" algn="l" defTabSz="914197" rtl="0" eaLnBrk="1" latinLnBrk="0" hangingPunct="1">
              <a:lnSpc>
                <a:spcPct val="90000"/>
              </a:lnSpc>
              <a:spcBef>
                <a:spcPct val="20000"/>
              </a:spcBef>
              <a:buSzPct val="90000"/>
              <a:buFont typeface="Arial" pitchFamily="34" charset="0"/>
              <a:buChar char="•"/>
            </a:pPr>
            <a:r>
              <a:rPr lang="en-US" smtClean="0"/>
              <a:t>Third level</a:t>
            </a:r>
          </a:p>
          <a:p>
            <a:pPr marL="346013" lvl="3" indent="-346013" algn="l" defTabSz="914197" rtl="0" eaLnBrk="1" latinLnBrk="0" hangingPunct="1">
              <a:lnSpc>
                <a:spcPct val="90000"/>
              </a:lnSpc>
              <a:spcBef>
                <a:spcPct val="20000"/>
              </a:spcBef>
              <a:buSzPct val="90000"/>
              <a:buFont typeface="Arial" pitchFamily="34" charset="0"/>
              <a:buChar char="•"/>
            </a:pPr>
            <a:r>
              <a:rPr lang="en-US" smtClean="0"/>
              <a:t>Fourth level</a:t>
            </a:r>
          </a:p>
          <a:p>
            <a:pPr marL="346013" lvl="4" indent="-346013" algn="l" defTabSz="9141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329351696"/>
      </p:ext>
    </p:extLst>
  </p:cSld>
  <p:clrMapOvr>
    <a:masterClrMapping/>
  </p:clrMapOvr>
  <p:transition>
    <p:fade/>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251" indent="-341251">
              <a:lnSpc>
                <a:spcPct val="90000"/>
              </a:lnSpc>
              <a:buSzPct val="80000"/>
              <a:buFont typeface="Arial" pitchFamily="34" charset="0"/>
              <a:buChar char="•"/>
              <a:defRPr sz="3200"/>
            </a:lvl1pPr>
            <a:lvl2pPr marL="626949" indent="-285698">
              <a:lnSpc>
                <a:spcPct val="90000"/>
              </a:lnSpc>
              <a:buSzPct val="80000"/>
              <a:buFont typeface="Arial" pitchFamily="34" charset="0"/>
              <a:buChar char="•"/>
              <a:defRPr sz="2800"/>
            </a:lvl2pPr>
            <a:lvl3pPr marL="914234" indent="-287286">
              <a:lnSpc>
                <a:spcPct val="90000"/>
              </a:lnSpc>
              <a:buSzPct val="80000"/>
              <a:buFont typeface="Arial" pitchFamily="34" charset="0"/>
              <a:buChar char="•"/>
              <a:defRPr sz="2400"/>
            </a:lvl3pPr>
            <a:lvl4pPr marL="1712603" indent="-225384">
              <a:lnSpc>
                <a:spcPct val="90000"/>
              </a:lnSpc>
              <a:buSzPct val="80000"/>
              <a:buFont typeface="Arial" pitchFamily="34" charset="0"/>
              <a:buChar char="•"/>
              <a:defRPr sz="2000"/>
            </a:lvl4pPr>
            <a:lvl5pPr marL="1944335" indent="-23173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116" indent="-45711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69" indent="-45711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86" indent="-342838">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057" indent="-342838">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440" indent="-342838">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51" lvl="0" indent="-341251" algn="l" defTabSz="914197" rtl="0" eaLnBrk="1" latinLnBrk="0" hangingPunct="1">
              <a:lnSpc>
                <a:spcPct val="90000"/>
              </a:lnSpc>
              <a:spcBef>
                <a:spcPct val="20000"/>
              </a:spcBef>
              <a:buSzPct val="80000"/>
              <a:buFont typeface="Arial" pitchFamily="34" charset="0"/>
              <a:buChar char="•"/>
            </a:pPr>
            <a:r>
              <a:rPr lang="en-US" smtClean="0"/>
              <a:t>Click to edit Master text styles</a:t>
            </a:r>
          </a:p>
          <a:p>
            <a:pPr marL="341251" lvl="1" indent="-341251" algn="l" defTabSz="914197" rtl="0" eaLnBrk="1" latinLnBrk="0" hangingPunct="1">
              <a:lnSpc>
                <a:spcPct val="90000"/>
              </a:lnSpc>
              <a:spcBef>
                <a:spcPct val="20000"/>
              </a:spcBef>
              <a:buSzPct val="80000"/>
              <a:buFont typeface="Arial" pitchFamily="34" charset="0"/>
              <a:buChar char="•"/>
            </a:pPr>
            <a:r>
              <a:rPr lang="en-US" smtClean="0"/>
              <a:t>Second level</a:t>
            </a:r>
          </a:p>
          <a:p>
            <a:pPr marL="341251" lvl="2" indent="-341251" algn="l" defTabSz="914197" rtl="0" eaLnBrk="1" latinLnBrk="0" hangingPunct="1">
              <a:lnSpc>
                <a:spcPct val="90000"/>
              </a:lnSpc>
              <a:spcBef>
                <a:spcPct val="20000"/>
              </a:spcBef>
              <a:buSzPct val="80000"/>
              <a:buFont typeface="Arial" pitchFamily="34" charset="0"/>
              <a:buChar char="•"/>
            </a:pPr>
            <a:r>
              <a:rPr lang="en-US" smtClean="0"/>
              <a:t>Third level</a:t>
            </a:r>
          </a:p>
          <a:p>
            <a:pPr marL="341251" lvl="3" indent="-341251" algn="l" defTabSz="914197" rtl="0" eaLnBrk="1" latinLnBrk="0" hangingPunct="1">
              <a:lnSpc>
                <a:spcPct val="90000"/>
              </a:lnSpc>
              <a:spcBef>
                <a:spcPct val="20000"/>
              </a:spcBef>
              <a:buSzPct val="80000"/>
              <a:buFont typeface="Arial" pitchFamily="34" charset="0"/>
              <a:buChar char="•"/>
            </a:pPr>
            <a:r>
              <a:rPr lang="en-US" smtClean="0"/>
              <a:t>Fourth level</a:t>
            </a:r>
          </a:p>
          <a:p>
            <a:pPr marL="341251" lvl="4" indent="-341251" algn="l" defTabSz="91419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582737952"/>
      </p:ext>
    </p:extLst>
  </p:cSld>
  <p:clrMapOvr>
    <a:masterClrMapping/>
  </p:clrMapOvr>
  <p:transition>
    <p:fade/>
  </p:transition>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3" y="2266798"/>
            <a:ext cx="5486400" cy="1945148"/>
          </a:xfrm>
        </p:spPr>
        <p:txBody>
          <a:bodyPr/>
          <a:lstStyle>
            <a:lvl1pPr marL="403151" indent="-403151">
              <a:buSzPct val="80000"/>
              <a:buFont typeface="Arial" pitchFamily="34" charset="0"/>
              <a:buChar char="•"/>
              <a:defRPr sz="2800"/>
            </a:lvl1pPr>
            <a:lvl2pPr marL="744403" indent="-322204">
              <a:buSzPct val="80000"/>
              <a:buFont typeface="Arial" pitchFamily="34" charset="0"/>
              <a:buChar char="•"/>
              <a:defRPr sz="2800"/>
            </a:lvl2pPr>
            <a:lvl3pPr marL="1026926" indent="-282524" defTabSz="1030101">
              <a:buSzPct val="80000"/>
              <a:buFont typeface="Arial" pitchFamily="34" charset="0"/>
              <a:buChar char="•"/>
              <a:defRPr sz="2400"/>
            </a:lvl3pPr>
            <a:lvl4pPr marL="1317387" indent="-287286">
              <a:buSzPct val="80000"/>
              <a:buFont typeface="Arial" pitchFamily="34" charset="0"/>
              <a:buChar char="•"/>
              <a:defRPr sz="2000"/>
            </a:lvl4pPr>
            <a:lvl5pPr marL="1541183" indent="-2237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67" indent="-2962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16" indent="-45711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36" indent="-342838">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39" indent="-342838">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41" indent="-342838">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39" indent="-342838">
              <a:defRPr sz="1600"/>
            </a:lvl6pPr>
            <a:lvl7pPr marL="1603085" indent="-285698">
              <a:defRPr sz="1600"/>
            </a:lvl7pPr>
            <a:lvl8pPr>
              <a:defRPr sz="1600"/>
            </a:lvl8pPr>
            <a:lvl9pPr>
              <a:defRPr sz="1600"/>
            </a:lvl9pPr>
          </a:lstStyle>
          <a:p>
            <a:pPr marL="403151" lvl="0" indent="-403151" algn="l" defTabSz="914197" rtl="0" eaLnBrk="1" latinLnBrk="0" hangingPunct="1">
              <a:lnSpc>
                <a:spcPct val="90000"/>
              </a:lnSpc>
              <a:spcBef>
                <a:spcPct val="20000"/>
              </a:spcBef>
              <a:buSzPct val="80000"/>
            </a:pPr>
            <a:r>
              <a:rPr lang="en-US" smtClean="0"/>
              <a:t>Click to edit Master text styles</a:t>
            </a:r>
          </a:p>
          <a:p>
            <a:pPr marL="403151" lvl="1" indent="-403151" algn="l" defTabSz="914197" rtl="0" eaLnBrk="1" latinLnBrk="0" hangingPunct="1">
              <a:lnSpc>
                <a:spcPct val="90000"/>
              </a:lnSpc>
              <a:spcBef>
                <a:spcPct val="20000"/>
              </a:spcBef>
              <a:buSzPct val="80000"/>
            </a:pPr>
            <a:r>
              <a:rPr lang="en-US" smtClean="0"/>
              <a:t>Second level</a:t>
            </a:r>
          </a:p>
          <a:p>
            <a:pPr marL="403151" lvl="2" indent="-403151" algn="l" defTabSz="914197" rtl="0" eaLnBrk="1" latinLnBrk="0" hangingPunct="1">
              <a:lnSpc>
                <a:spcPct val="90000"/>
              </a:lnSpc>
              <a:spcBef>
                <a:spcPct val="20000"/>
              </a:spcBef>
              <a:buSzPct val="80000"/>
            </a:pPr>
            <a:r>
              <a:rPr lang="en-US" smtClean="0"/>
              <a:t>Third level</a:t>
            </a:r>
          </a:p>
          <a:p>
            <a:pPr marL="403151" lvl="3" indent="-403151" algn="l" defTabSz="914197" rtl="0" eaLnBrk="1" latinLnBrk="0" hangingPunct="1">
              <a:lnSpc>
                <a:spcPct val="90000"/>
              </a:lnSpc>
              <a:spcBef>
                <a:spcPct val="20000"/>
              </a:spcBef>
              <a:buSzPct val="80000"/>
            </a:pPr>
            <a:r>
              <a:rPr lang="en-US" smtClean="0"/>
              <a:t>Fourth level</a:t>
            </a:r>
          </a:p>
          <a:p>
            <a:pPr marL="403151" lvl="4" indent="-403151" algn="l" defTabSz="91419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998234377"/>
      </p:ext>
    </p:extLst>
  </p:cSld>
  <p:clrMapOvr>
    <a:masterClrMapping/>
  </p:clrMapOvr>
  <p:transition>
    <p:fade/>
  </p:transition>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975777909"/>
      </p:ext>
    </p:extLst>
  </p:cSld>
  <p:clrMapOvr>
    <a:masterClrMapping/>
  </p:clrMapOvr>
  <p:transition>
    <p:fade/>
  </p:transition>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034058505"/>
      </p:ext>
    </p:extLst>
  </p:cSld>
  <p:clrMapOvr>
    <a:masterClrMapping/>
  </p:clrMapOvr>
  <p:transition>
    <p:fade/>
  </p:transition>
  <p:timing>
    <p:tnLst>
      <p:par>
        <p:cTn id="1" dur="indefinite" restart="never" nodeType="tmRoot"/>
      </p:par>
    </p:tnLst>
  </p:timing>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45695" numCol="1" spcCol="0" rtlCol="0" anchor="ctr" anchorCtr="0" compatLnSpc="1">
            <a:prstTxWarp prst="textNoShape">
              <a:avLst/>
            </a:prstTxWarp>
          </a:bodyPr>
          <a:lstStyle/>
          <a:p>
            <a:pPr algn="ctr" defTabSz="913622"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4"/>
            <a:ext cx="6947121" cy="1241879"/>
          </a:xfrm>
        </p:spPr>
        <p:txBody>
          <a:bodyPr lIns="182847" tIns="182847" anchor="ctr" anchorCtr="0"/>
          <a:lstStyle>
            <a:lvl1pPr marL="574571" indent="-57139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13" indent="-342838">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97" rtl="0" eaLnBrk="1" latinLnBrk="0" hangingPunct="1">
              <a:lnSpc>
                <a:spcPct val="90000"/>
              </a:lnSpc>
              <a:spcBef>
                <a:spcPts val="0"/>
              </a:spcBef>
              <a:spcAft>
                <a:spcPts val="900"/>
              </a:spcAft>
              <a:buSzPct val="80000"/>
            </a:pPr>
            <a:r>
              <a:rPr lang="en-US" dirty="0" smtClean="0"/>
              <a:t>Click to edit Master text styles</a:t>
            </a:r>
          </a:p>
          <a:p>
            <a:pPr marL="3175" lvl="1" indent="0" algn="l" defTabSz="914197"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1" tIns="41145" rIns="82291" bIns="41145" numCol="1" anchor="t" anchorCtr="0" compatLnSpc="1">
            <a:prstTxWarp prst="textNoShape">
              <a:avLst/>
            </a:prstTxWarp>
          </a:bodyPr>
          <a:lstStyle/>
          <a:p>
            <a:pPr defTabSz="1218766"/>
            <a:endParaRPr lang="en-US" sz="1600">
              <a:solidFill>
                <a:srgbClr val="292929"/>
              </a:solidFill>
            </a:endParaRPr>
          </a:p>
        </p:txBody>
      </p:sp>
    </p:spTree>
    <p:extLst>
      <p:ext uri="{BB962C8B-B14F-4D97-AF65-F5344CB8AC3E}">
        <p14:creationId xmlns:p14="http://schemas.microsoft.com/office/powerpoint/2010/main" val="549554562"/>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951624232"/>
      </p:ext>
    </p:extLst>
  </p:cSld>
  <p:clrMapOvr>
    <a:masterClrMapping/>
  </p:clrMapOvr>
  <p:transition>
    <p:fade/>
  </p:transition>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3490179155"/>
      </p:ext>
    </p:extLst>
  </p:cSld>
  <p:clrMapOvr>
    <a:masterClrMapping/>
  </p:clrMapOvr>
  <p:transition>
    <p:fade/>
  </p:transition>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6"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3" tIns="45713" rIns="91423" bIns="45713" numCol="1" anchor="t" anchorCtr="0" compatLnSpc="1">
            <a:prstTxWarp prst="textNoShape">
              <a:avLst/>
            </a:prstTxWarp>
          </a:bodyPr>
          <a:lstStyle/>
          <a:p>
            <a:pPr defTabSz="914197"/>
            <a:endParaRPr lang="en-US" sz="1900">
              <a:solidFill>
                <a:srgbClr val="292929"/>
              </a:solidFill>
            </a:endParaRPr>
          </a:p>
        </p:txBody>
      </p:sp>
    </p:spTree>
    <p:extLst>
      <p:ext uri="{BB962C8B-B14F-4D97-AF65-F5344CB8AC3E}">
        <p14:creationId xmlns:p14="http://schemas.microsoft.com/office/powerpoint/2010/main" val="1206626789"/>
      </p:ext>
    </p:extLst>
  </p:cSld>
  <p:clrMapOvr>
    <a:masterClrMapping/>
  </p:clrMapOvr>
  <p:transition>
    <p:fade/>
  </p:transition>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grpSp>
    </p:spTree>
    <p:extLst>
      <p:ext uri="{BB962C8B-B14F-4D97-AF65-F5344CB8AC3E}">
        <p14:creationId xmlns:p14="http://schemas.microsoft.com/office/powerpoint/2010/main" val="1263121"/>
      </p:ext>
    </p:extLst>
  </p:cSld>
  <p:clrMapOvr>
    <a:masterClrMapping/>
  </p:clrMapOvr>
  <p:transition>
    <p:fade/>
  </p:transition>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1" tIns="41145" rIns="82291" bIns="41145" numCol="1" anchor="t" anchorCtr="0" compatLnSpc="1">
            <a:prstTxWarp prst="textNoShape">
              <a:avLst/>
            </a:prstTxWarp>
          </a:bodyPr>
          <a:lstStyle/>
          <a:p>
            <a:pPr defTabSz="914197"/>
            <a:endParaRPr lang="en-US" sz="1600">
              <a:solidFill>
                <a:srgbClr val="292929"/>
              </a:solidFill>
            </a:endParaRPr>
          </a:p>
        </p:txBody>
      </p:sp>
    </p:spTree>
    <p:extLst>
      <p:ext uri="{BB962C8B-B14F-4D97-AF65-F5344CB8AC3E}">
        <p14:creationId xmlns:p14="http://schemas.microsoft.com/office/powerpoint/2010/main" val="1234077638"/>
      </p:ext>
    </p:extLst>
  </p:cSld>
  <p:clrMapOvr>
    <a:masterClrMapping/>
  </p:clrMapOvr>
  <p:transition>
    <p:fade/>
  </p:transition>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5"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2020152878"/>
      </p:ext>
    </p:extLst>
  </p:cSld>
  <p:clrMapOvr>
    <a:masterClrMapping/>
  </p:clrMapOvr>
  <p:transition>
    <p:fade/>
  </p:transition>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1905003"/>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2"/>
            <a:ext cx="2507213" cy="291353"/>
          </a:xfrm>
          <a:prstGeom prst="rect">
            <a:avLst/>
          </a:prstGeom>
        </p:spPr>
      </p:pic>
    </p:spTree>
    <p:extLst>
      <p:ext uri="{BB962C8B-B14F-4D97-AF65-F5344CB8AC3E}">
        <p14:creationId xmlns:p14="http://schemas.microsoft.com/office/powerpoint/2010/main" val="1946617124"/>
      </p:ext>
    </p:extLst>
  </p:cSld>
  <p:clrMapOvr>
    <a:masterClrMapping/>
  </p:clrMapOvr>
  <p:transition>
    <p:fade/>
  </p:transition>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5"/>
            <a:ext cx="11176000" cy="415484"/>
          </a:xfrm>
          <a:prstGeom prst="rect">
            <a:avLst/>
          </a:prstGeom>
          <a:noFill/>
          <a:ln w="12700">
            <a:noFill/>
            <a:miter lim="800000"/>
            <a:headEnd type="none" w="sm" len="sm"/>
            <a:tailEnd type="none" w="sm" len="sm"/>
          </a:ln>
          <a:effectLst/>
        </p:spPr>
        <p:txBody>
          <a:bodyPr vert="horz" wrap="square" lIns="91408" tIns="45705" rIns="91408" bIns="45705" numCol="1" anchor="t" anchorCtr="0" compatLnSpc="1">
            <a:prstTxWarp prst="textNoShape">
              <a:avLst/>
            </a:prstTxWarp>
            <a:spAutoFit/>
          </a:bodyPr>
          <a:lstStyle/>
          <a:p>
            <a:pPr algn="ctr" defTabSz="913934"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34"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871502320"/>
      </p:ext>
    </p:extLst>
  </p:cSld>
  <p:clrMapOvr>
    <a:masterClrMapping/>
  </p:clrMapOvr>
  <p:transition>
    <p:fade/>
  </p:transition>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3"/>
            <a:ext cx="7515594" cy="448127"/>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3122437529"/>
      </p:ext>
    </p:extLst>
  </p:cSld>
  <p:clrMapOvr>
    <a:masterClrMapping/>
  </p:clrMapOvr>
  <p:transition>
    <p:fade/>
  </p:transition>
  <p:timing>
    <p:tnLst>
      <p:par>
        <p:cTn id="1" dur="indefinite" restart="never" nodeType="tmRoot"/>
      </p:par>
    </p:tnLst>
  </p:timing>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73097237"/>
      </p:ext>
    </p:extLst>
  </p:cSld>
  <p:clrMapOvr>
    <a:masterClrMapping/>
  </p:clrMapOvr>
  <p:transition>
    <p:fade/>
  </p:transition>
  <p:timing>
    <p:tnLst>
      <p:par>
        <p:cTn id="1" dur="indefinite" restart="never" nodeType="tmRoot"/>
      </p:par>
    </p:tnLst>
  </p:timing>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66" tIns="76181" rIns="152366" bIns="7618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093430694"/>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532700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2" y="4612343"/>
            <a:ext cx="5455754" cy="1144929"/>
          </a:xfrm>
        </p:spPr>
        <p:txBody>
          <a:bodyPr/>
          <a:lstStyle>
            <a:lvl1pPr marL="0" indent="0">
              <a:buFont typeface="Arial" pitchFamily="34" charset="0"/>
              <a:buNone/>
              <a:defRPr sz="2400">
                <a:solidFill>
                  <a:schemeClr val="bg1">
                    <a:alpha val="98000"/>
                  </a:schemeClr>
                </a:solidFill>
                <a:latin typeface="+mj-lt"/>
              </a:defRPr>
            </a:lvl1pPr>
            <a:lvl2pPr marL="460310" indent="0">
              <a:buFont typeface="Arial" pitchFamily="34" charset="0"/>
              <a:buNone/>
              <a:defRPr/>
            </a:lvl2pPr>
            <a:lvl3pPr marL="855544" indent="0">
              <a:buFont typeface="Arial" pitchFamily="34" charset="0"/>
              <a:buNone/>
              <a:defRPr/>
            </a:lvl3pPr>
            <a:lvl4pPr marL="1258713" indent="0">
              <a:buFont typeface="Arial" pitchFamily="34" charset="0"/>
              <a:buNone/>
              <a:defRPr/>
            </a:lvl4pPr>
            <a:lvl5pPr marL="160473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2"/>
            <a:ext cx="2498478" cy="290339"/>
          </a:xfrm>
          <a:prstGeom prst="rect">
            <a:avLst/>
          </a:prstGeom>
        </p:spPr>
      </p:pic>
    </p:spTree>
    <p:extLst>
      <p:ext uri="{BB962C8B-B14F-4D97-AF65-F5344CB8AC3E}">
        <p14:creationId xmlns:p14="http://schemas.microsoft.com/office/powerpoint/2010/main" val="2050970426"/>
      </p:ext>
    </p:extLst>
  </p:cSld>
  <p:clrMapOvr>
    <a:masterClrMapping/>
  </p:clrMapOvr>
  <p:transition>
    <p:fade/>
  </p:transition>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13" indent="-4031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38" indent="-34602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42" indent="-33650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264648434"/>
      </p:ext>
    </p:extLst>
  </p:cSld>
  <p:clrMapOvr>
    <a:masterClrMapping/>
  </p:clrMapOvr>
  <p:transition>
    <p:fade/>
  </p:transition>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lgn="l" defTabSz="91423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79" indent="-342851">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1" indent="-342851">
              <a:spcBef>
                <a:spcPts val="0"/>
              </a:spcBef>
              <a:spcAft>
                <a:spcPts val="400"/>
              </a:spcAft>
              <a:buFont typeface="Arial" pitchFamily="34" charset="0"/>
              <a:buChar char="•"/>
              <a:defRPr/>
            </a:lvl5pPr>
            <a:lvl6pPr marL="1033318" indent="-342851">
              <a:buFont typeface="Arial" pitchFamily="34" charset="0"/>
              <a:buChar char="•"/>
              <a:defRPr sz="2400">
                <a:gradFill>
                  <a:gsLst>
                    <a:gs pos="0">
                      <a:srgbClr val="595959"/>
                    </a:gs>
                    <a:gs pos="86000">
                      <a:srgbClr val="595959"/>
                    </a:gs>
                  </a:gsLst>
                  <a:lin ang="5400000" scaled="0"/>
                </a:gradFill>
              </a:defRPr>
            </a:lvl6pPr>
            <a:lvl7pPr marL="1255537" indent="-225393">
              <a:defRPr>
                <a:gradFill>
                  <a:gsLst>
                    <a:gs pos="0">
                      <a:srgbClr val="595959"/>
                    </a:gs>
                    <a:gs pos="86000">
                      <a:srgbClr val="595959"/>
                    </a:gs>
                  </a:gsLst>
                  <a:lin ang="5400000" scaled="0"/>
                </a:gradFill>
              </a:defRPr>
            </a:lvl7pPr>
            <a:lvl8pPr marL="1487280" indent="-231742">
              <a:defRPr>
                <a:gradFill>
                  <a:gsLst>
                    <a:gs pos="0">
                      <a:srgbClr val="595959"/>
                    </a:gs>
                    <a:gs pos="86000">
                      <a:srgbClr val="595959"/>
                    </a:gs>
                  </a:gsLst>
                  <a:lin ang="5400000" scaled="0"/>
                </a:gradFill>
              </a:defRPr>
            </a:lvl8pPr>
          </a:lstStyle>
          <a:p>
            <a:pPr marL="346027" lvl="0" indent="-346027" algn="l" defTabSz="914235" rtl="0" eaLnBrk="1" latinLnBrk="0" hangingPunct="1">
              <a:lnSpc>
                <a:spcPct val="90000"/>
              </a:lnSpc>
              <a:spcBef>
                <a:spcPct val="20000"/>
              </a:spcBef>
              <a:buSzPct val="90000"/>
              <a:buFont typeface="Arial" pitchFamily="34" charset="0"/>
              <a:buChar char="•"/>
            </a:pPr>
            <a:r>
              <a:rPr lang="en-US" smtClean="0"/>
              <a:t>Click to edit Master text styles</a:t>
            </a:r>
          </a:p>
          <a:p>
            <a:pPr marL="346027" lvl="1" indent="-346027" algn="l" defTabSz="914235" rtl="0" eaLnBrk="1" latinLnBrk="0" hangingPunct="1">
              <a:lnSpc>
                <a:spcPct val="90000"/>
              </a:lnSpc>
              <a:spcBef>
                <a:spcPct val="20000"/>
              </a:spcBef>
              <a:buSzPct val="90000"/>
              <a:buFont typeface="Arial" pitchFamily="34" charset="0"/>
              <a:buChar char="•"/>
            </a:pPr>
            <a:r>
              <a:rPr lang="en-US" smtClean="0"/>
              <a:t>Second level</a:t>
            </a:r>
          </a:p>
          <a:p>
            <a:pPr marL="346027" lvl="2" indent="-346027" algn="l" defTabSz="914235" rtl="0" eaLnBrk="1" latinLnBrk="0" hangingPunct="1">
              <a:lnSpc>
                <a:spcPct val="90000"/>
              </a:lnSpc>
              <a:spcBef>
                <a:spcPct val="20000"/>
              </a:spcBef>
              <a:buSzPct val="90000"/>
              <a:buFont typeface="Arial" pitchFamily="34" charset="0"/>
              <a:buChar char="•"/>
            </a:pPr>
            <a:r>
              <a:rPr lang="en-US" smtClean="0"/>
              <a:t>Third level</a:t>
            </a:r>
          </a:p>
          <a:p>
            <a:pPr marL="346027" lvl="3" indent="-346027" algn="l" defTabSz="914235" rtl="0" eaLnBrk="1" latinLnBrk="0" hangingPunct="1">
              <a:lnSpc>
                <a:spcPct val="90000"/>
              </a:lnSpc>
              <a:spcBef>
                <a:spcPct val="20000"/>
              </a:spcBef>
              <a:buSzPct val="90000"/>
              <a:buFont typeface="Arial" pitchFamily="34" charset="0"/>
              <a:buChar char="•"/>
            </a:pPr>
            <a:r>
              <a:rPr lang="en-US" smtClean="0"/>
              <a:t>Fourth level</a:t>
            </a:r>
          </a:p>
          <a:p>
            <a:pPr marL="346027" lvl="4" indent="-346027" algn="l" defTabSz="91423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1756271361"/>
      </p:ext>
    </p:extLst>
  </p:cSld>
  <p:clrMapOvr>
    <a:masterClrMapping/>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265" indent="-341265">
              <a:lnSpc>
                <a:spcPct val="90000"/>
              </a:lnSpc>
              <a:buSzPct val="80000"/>
              <a:buFont typeface="Arial" pitchFamily="34" charset="0"/>
              <a:buChar char="•"/>
              <a:defRPr sz="3200"/>
            </a:lvl1pPr>
            <a:lvl2pPr marL="626975" indent="-285710">
              <a:lnSpc>
                <a:spcPct val="90000"/>
              </a:lnSpc>
              <a:buSzPct val="80000"/>
              <a:buFont typeface="Arial" pitchFamily="34" charset="0"/>
              <a:buChar char="•"/>
              <a:defRPr sz="2800"/>
            </a:lvl2pPr>
            <a:lvl3pPr marL="914272" indent="-287298">
              <a:lnSpc>
                <a:spcPct val="90000"/>
              </a:lnSpc>
              <a:buSzPct val="80000"/>
              <a:buFont typeface="Arial" pitchFamily="34" charset="0"/>
              <a:buChar char="•"/>
              <a:defRPr sz="2400"/>
            </a:lvl3pPr>
            <a:lvl4pPr marL="1712674" indent="-225393">
              <a:lnSpc>
                <a:spcPct val="90000"/>
              </a:lnSpc>
              <a:buSzPct val="80000"/>
              <a:buFont typeface="Arial" pitchFamily="34" charset="0"/>
              <a:buChar char="•"/>
              <a:defRPr sz="2000"/>
            </a:lvl4pPr>
            <a:lvl5pPr marL="1944416" indent="-23174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136" indent="-45713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01" indent="-45713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26" indent="-34285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32" indent="-342851">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25" indent="-342851">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65" lvl="0" indent="-341265" algn="l" defTabSz="914235" rtl="0" eaLnBrk="1" latinLnBrk="0" hangingPunct="1">
              <a:lnSpc>
                <a:spcPct val="90000"/>
              </a:lnSpc>
              <a:spcBef>
                <a:spcPct val="20000"/>
              </a:spcBef>
              <a:buSzPct val="80000"/>
              <a:buFont typeface="Arial" pitchFamily="34" charset="0"/>
              <a:buChar char="•"/>
            </a:pPr>
            <a:r>
              <a:rPr lang="en-US" smtClean="0"/>
              <a:t>Click to edit Master text styles</a:t>
            </a:r>
          </a:p>
          <a:p>
            <a:pPr marL="341265" lvl="1" indent="-341265" algn="l" defTabSz="914235" rtl="0" eaLnBrk="1" latinLnBrk="0" hangingPunct="1">
              <a:lnSpc>
                <a:spcPct val="90000"/>
              </a:lnSpc>
              <a:spcBef>
                <a:spcPct val="20000"/>
              </a:spcBef>
              <a:buSzPct val="80000"/>
              <a:buFont typeface="Arial" pitchFamily="34" charset="0"/>
              <a:buChar char="•"/>
            </a:pPr>
            <a:r>
              <a:rPr lang="en-US" smtClean="0"/>
              <a:t>Second level</a:t>
            </a:r>
          </a:p>
          <a:p>
            <a:pPr marL="341265" lvl="2" indent="-341265" algn="l" defTabSz="914235" rtl="0" eaLnBrk="1" latinLnBrk="0" hangingPunct="1">
              <a:lnSpc>
                <a:spcPct val="90000"/>
              </a:lnSpc>
              <a:spcBef>
                <a:spcPct val="20000"/>
              </a:spcBef>
              <a:buSzPct val="80000"/>
              <a:buFont typeface="Arial" pitchFamily="34" charset="0"/>
              <a:buChar char="•"/>
            </a:pPr>
            <a:r>
              <a:rPr lang="en-US" smtClean="0"/>
              <a:t>Third level</a:t>
            </a:r>
          </a:p>
          <a:p>
            <a:pPr marL="341265" lvl="3" indent="-341265" algn="l" defTabSz="914235" rtl="0" eaLnBrk="1" latinLnBrk="0" hangingPunct="1">
              <a:lnSpc>
                <a:spcPct val="90000"/>
              </a:lnSpc>
              <a:spcBef>
                <a:spcPct val="20000"/>
              </a:spcBef>
              <a:buSzPct val="80000"/>
              <a:buFont typeface="Arial" pitchFamily="34" charset="0"/>
              <a:buChar char="•"/>
            </a:pPr>
            <a:r>
              <a:rPr lang="en-US" smtClean="0"/>
              <a:t>Fourth level</a:t>
            </a:r>
          </a:p>
          <a:p>
            <a:pPr marL="341265" lvl="4" indent="-341265" algn="l" defTabSz="91423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1835967679"/>
      </p:ext>
    </p:extLst>
  </p:cSld>
  <p:clrMapOvr>
    <a:masterClrMapping/>
  </p:clrMapOvr>
  <p:transition>
    <p:fade/>
  </p:transition>
  <p:timing>
    <p:tnLst>
      <p:par>
        <p:cTn id="1" dur="indefinite" restart="never" nodeType="tmRoot"/>
      </p:par>
    </p:tnLst>
  </p:timing>
</p:sldLayout>
</file>

<file path=ppt/slideLayouts/slideLayout6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4"/>
            <a:ext cx="5487829" cy="448127"/>
          </a:xfrm>
        </p:spPr>
        <p:txBody>
          <a:bodyPr anchor="b"/>
          <a:lstStyle>
            <a:lvl1pPr marL="0" indent="0">
              <a:lnSpc>
                <a:spcPct val="90000"/>
              </a:lnSpc>
              <a:spcBef>
                <a:spcPts val="0"/>
              </a:spcBef>
              <a:buNone/>
              <a:defRPr sz="3200" b="0">
                <a:latin typeface="Segoe UI Light" pitchFamily="34" charset="0"/>
              </a:defRPr>
            </a:lvl1pPr>
            <a:lvl2pPr marL="457118" indent="0">
              <a:buNone/>
              <a:defRPr sz="2000" b="1"/>
            </a:lvl2pPr>
            <a:lvl3pPr marL="914235" indent="0">
              <a:buNone/>
              <a:defRPr sz="1900" b="1"/>
            </a:lvl3pPr>
            <a:lvl4pPr marL="1371354" indent="0">
              <a:buNone/>
              <a:defRPr sz="1600" b="1"/>
            </a:lvl4pPr>
            <a:lvl5pPr marL="1828472" indent="0">
              <a:buNone/>
              <a:defRPr sz="1600" b="1"/>
            </a:lvl5pPr>
            <a:lvl6pPr marL="2285589" indent="0">
              <a:buNone/>
              <a:defRPr sz="1600" b="1"/>
            </a:lvl6pPr>
            <a:lvl7pPr marL="2742707" indent="0">
              <a:buNone/>
              <a:defRPr sz="1600" b="1"/>
            </a:lvl7pPr>
            <a:lvl8pPr marL="3199826" indent="0">
              <a:buNone/>
              <a:defRPr sz="1600" b="1"/>
            </a:lvl8pPr>
            <a:lvl9pPr marL="365694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68" indent="-403168">
              <a:buSzPct val="80000"/>
              <a:buFont typeface="Arial" pitchFamily="34" charset="0"/>
              <a:buChar char="•"/>
              <a:defRPr sz="2800"/>
            </a:lvl1pPr>
            <a:lvl2pPr marL="744434" indent="-322217">
              <a:buSzPct val="80000"/>
              <a:buFont typeface="Arial" pitchFamily="34" charset="0"/>
              <a:buChar char="•"/>
              <a:defRPr sz="2800"/>
            </a:lvl2pPr>
            <a:lvl3pPr marL="1026969" indent="-282537" defTabSz="1030144">
              <a:buSzPct val="80000"/>
              <a:buFont typeface="Arial" pitchFamily="34" charset="0"/>
              <a:buChar char="•"/>
              <a:defRPr sz="2400"/>
            </a:lvl3pPr>
            <a:lvl4pPr marL="1317442" indent="-287298">
              <a:buSzPct val="80000"/>
              <a:buFont typeface="Arial" pitchFamily="34" charset="0"/>
              <a:buChar char="•"/>
              <a:defRPr sz="2000"/>
            </a:lvl4pPr>
            <a:lvl5pPr marL="1541247" indent="-22380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4"/>
            <a:ext cx="5487829" cy="448127"/>
          </a:xfrm>
        </p:spPr>
        <p:txBody>
          <a:bodyPr anchor="b"/>
          <a:lstStyle>
            <a:lvl1pPr marL="0" indent="0">
              <a:lnSpc>
                <a:spcPct val="90000"/>
              </a:lnSpc>
              <a:spcBef>
                <a:spcPts val="0"/>
              </a:spcBef>
              <a:buNone/>
              <a:defRPr sz="3200" b="0">
                <a:latin typeface="Segoe UI Light" pitchFamily="34" charset="0"/>
              </a:defRPr>
            </a:lvl1pPr>
            <a:lvl2pPr marL="457118" indent="0">
              <a:buNone/>
              <a:defRPr sz="2000" b="1"/>
            </a:lvl2pPr>
            <a:lvl3pPr marL="914235" indent="0">
              <a:buNone/>
              <a:defRPr sz="1900" b="1"/>
            </a:lvl3pPr>
            <a:lvl4pPr marL="1371354" indent="0">
              <a:buNone/>
              <a:defRPr sz="1600" b="1"/>
            </a:lvl4pPr>
            <a:lvl5pPr marL="1828472" indent="0">
              <a:buNone/>
              <a:defRPr sz="1600" b="1"/>
            </a:lvl5pPr>
            <a:lvl6pPr marL="2285589" indent="0">
              <a:buNone/>
              <a:defRPr sz="1600" b="1"/>
            </a:lvl6pPr>
            <a:lvl7pPr marL="2742707" indent="0">
              <a:buNone/>
              <a:defRPr sz="1600" b="1"/>
            </a:lvl7pPr>
            <a:lvl8pPr marL="3199826" indent="0">
              <a:buNone/>
              <a:defRPr sz="1600" b="1"/>
            </a:lvl8pPr>
            <a:lvl9pPr marL="365694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79" indent="-296279">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36" indent="-45713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68" indent="-34285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96" indent="-34285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86" indent="-34285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96" indent="-342851">
              <a:defRPr sz="1600"/>
            </a:lvl6pPr>
            <a:lvl7pPr marL="1603152" indent="-285710">
              <a:defRPr sz="1600"/>
            </a:lvl7pPr>
            <a:lvl8pPr>
              <a:defRPr sz="1600"/>
            </a:lvl8pPr>
            <a:lvl9pPr>
              <a:defRPr sz="1600"/>
            </a:lvl9pPr>
          </a:lstStyle>
          <a:p>
            <a:pPr marL="403168" lvl="0" indent="-403168" algn="l" defTabSz="914235" rtl="0" eaLnBrk="1" latinLnBrk="0" hangingPunct="1">
              <a:lnSpc>
                <a:spcPct val="90000"/>
              </a:lnSpc>
              <a:spcBef>
                <a:spcPct val="20000"/>
              </a:spcBef>
              <a:buSzPct val="80000"/>
            </a:pPr>
            <a:r>
              <a:rPr lang="en-US" smtClean="0"/>
              <a:t>Click to edit Master text styles</a:t>
            </a:r>
          </a:p>
          <a:p>
            <a:pPr marL="403168" lvl="1" indent="-403168" algn="l" defTabSz="914235" rtl="0" eaLnBrk="1" latinLnBrk="0" hangingPunct="1">
              <a:lnSpc>
                <a:spcPct val="90000"/>
              </a:lnSpc>
              <a:spcBef>
                <a:spcPct val="20000"/>
              </a:spcBef>
              <a:buSzPct val="80000"/>
            </a:pPr>
            <a:r>
              <a:rPr lang="en-US" smtClean="0"/>
              <a:t>Second level</a:t>
            </a:r>
          </a:p>
          <a:p>
            <a:pPr marL="403168" lvl="2" indent="-403168" algn="l" defTabSz="914235" rtl="0" eaLnBrk="1" latinLnBrk="0" hangingPunct="1">
              <a:lnSpc>
                <a:spcPct val="90000"/>
              </a:lnSpc>
              <a:spcBef>
                <a:spcPct val="20000"/>
              </a:spcBef>
              <a:buSzPct val="80000"/>
            </a:pPr>
            <a:r>
              <a:rPr lang="en-US" smtClean="0"/>
              <a:t>Third level</a:t>
            </a:r>
          </a:p>
          <a:p>
            <a:pPr marL="403168" lvl="3" indent="-403168" algn="l" defTabSz="914235" rtl="0" eaLnBrk="1" latinLnBrk="0" hangingPunct="1">
              <a:lnSpc>
                <a:spcPct val="90000"/>
              </a:lnSpc>
              <a:spcBef>
                <a:spcPct val="20000"/>
              </a:spcBef>
              <a:buSzPct val="80000"/>
            </a:pPr>
            <a:r>
              <a:rPr lang="en-US" smtClean="0"/>
              <a:t>Fourth level</a:t>
            </a:r>
          </a:p>
          <a:p>
            <a:pPr marL="403168" lvl="4" indent="-403168" algn="l" defTabSz="91423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2057590684"/>
      </p:ext>
    </p:extLst>
  </p:cSld>
  <p:clrMapOvr>
    <a:masterClrMapping/>
  </p:clrMapOvr>
  <p:transition>
    <p:fade/>
  </p:transition>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799467677"/>
      </p:ext>
    </p:extLst>
  </p:cSld>
  <p:clrMapOvr>
    <a:masterClrMapping/>
  </p:clrMapOvr>
  <p:transition>
    <p:fade/>
  </p:transition>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solidFill>
                  <a:schemeClr val="bg1"/>
                </a:solidFill>
              </a:defRPr>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lum bright="70000" contrast="-70000"/>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3355373580"/>
      </p:ext>
    </p:extLst>
  </p:cSld>
  <p:clrMapOvr>
    <a:masterClrMapping/>
  </p:clrMapOvr>
  <p:transition>
    <p:fade/>
  </p:transition>
  <p:timing>
    <p:tnLst>
      <p:par>
        <p:cTn id="1" dur="indefinite" restart="never" nodeType="tmRoot"/>
      </p:par>
    </p:tnLst>
  </p:timing>
</p:sldLayout>
</file>

<file path=ppt/slideLayouts/slideLayout6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2104764489"/>
      </p:ext>
    </p:extLst>
  </p:cSld>
  <p:clrMapOvr>
    <a:masterClrMapping/>
  </p:clrMapOvr>
  <p:transition>
    <p:fade/>
  </p:transition>
  <p:timing>
    <p:tnLst>
      <p:par>
        <p:cTn id="1" dur="indefinite" restart="never" nodeType="tmRoot"/>
      </p:par>
    </p:tnLst>
  </p:timing>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1" tIns="45697" rIns="91391" bIns="45697" numCol="1" spcCol="0" rtlCol="0" anchor="ctr" anchorCtr="0" compatLnSpc="1">
            <a:prstTxWarp prst="textNoShape">
              <a:avLst/>
            </a:prstTxWarp>
          </a:bodyPr>
          <a:lstStyle/>
          <a:p>
            <a:pPr algn="ctr" defTabSz="913659"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3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3"/>
            <a:ext cx="6947121" cy="1241879"/>
          </a:xfrm>
        </p:spPr>
        <p:txBody>
          <a:bodyPr lIns="182854" tIns="182854" anchor="ctr" anchorCtr="0"/>
          <a:lstStyle>
            <a:lvl1pPr marL="574594" indent="-57142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35" rtl="0" eaLnBrk="1" latinLnBrk="0" hangingPunct="1">
              <a:lnSpc>
                <a:spcPct val="90000"/>
              </a:lnSpc>
              <a:spcBef>
                <a:spcPts val="0"/>
              </a:spcBef>
              <a:spcAft>
                <a:spcPts val="900"/>
              </a:spcAft>
              <a:buSzPct val="80000"/>
            </a:pPr>
            <a:r>
              <a:rPr lang="en-US" smtClean="0"/>
              <a:t>Click to edit Master text styles</a:t>
            </a:r>
          </a:p>
          <a:p>
            <a:pPr marL="3175" lvl="1" indent="0" algn="l" defTabSz="91423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4" tIns="41147" rIns="82294" bIns="41147" numCol="1" anchor="t" anchorCtr="0" compatLnSpc="1">
            <a:prstTxWarp prst="textNoShape">
              <a:avLst/>
            </a:prstTxWarp>
          </a:bodyPr>
          <a:lstStyle/>
          <a:p>
            <a:pPr defTabSz="1218817"/>
            <a:endParaRPr lang="en-US" sz="1600">
              <a:solidFill>
                <a:srgbClr val="292929"/>
              </a:solidFill>
            </a:endParaRPr>
          </a:p>
        </p:txBody>
      </p:sp>
    </p:spTree>
    <p:extLst>
      <p:ext uri="{BB962C8B-B14F-4D97-AF65-F5344CB8AC3E}">
        <p14:creationId xmlns:p14="http://schemas.microsoft.com/office/powerpoint/2010/main" val="1852141321"/>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35"/>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35"/>
              <a:endParaRPr lang="en-US" sz="1900">
                <a:solidFill>
                  <a:srgbClr val="292929"/>
                </a:solidFill>
              </a:endParaRPr>
            </a:p>
          </p:txBody>
        </p:sp>
      </p:grpSp>
    </p:spTree>
    <p:extLst>
      <p:ext uri="{BB962C8B-B14F-4D97-AF65-F5344CB8AC3E}">
        <p14:creationId xmlns:p14="http://schemas.microsoft.com/office/powerpoint/2010/main" val="865913545"/>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768479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5"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5" rIns="91427" bIns="45715" numCol="1" anchor="t" anchorCtr="0" compatLnSpc="1">
            <a:prstTxWarp prst="textNoShape">
              <a:avLst/>
            </a:prstTxWarp>
          </a:bodyPr>
          <a:lstStyle/>
          <a:p>
            <a:pPr defTabSz="914235"/>
            <a:endParaRPr lang="en-US" sz="1900">
              <a:solidFill>
                <a:srgbClr val="292929"/>
              </a:solidFill>
            </a:endParaRPr>
          </a:p>
        </p:txBody>
      </p:sp>
    </p:spTree>
    <p:extLst>
      <p:ext uri="{BB962C8B-B14F-4D97-AF65-F5344CB8AC3E}">
        <p14:creationId xmlns:p14="http://schemas.microsoft.com/office/powerpoint/2010/main" val="1614745765"/>
      </p:ext>
    </p:extLst>
  </p:cSld>
  <p:clrMapOvr>
    <a:masterClrMapping/>
  </p:clrMapOvr>
  <p:transition>
    <p:fade/>
  </p:transition>
  <p:timing>
    <p:tnLst>
      <p:par>
        <p:cTn id="1" dur="indefinite" restart="never" nodeType="tmRoot"/>
      </p:par>
    </p:tnLst>
  </p:timing>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3"/>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grpSp>
    </p:spTree>
    <p:extLst>
      <p:ext uri="{BB962C8B-B14F-4D97-AF65-F5344CB8AC3E}">
        <p14:creationId xmlns:p14="http://schemas.microsoft.com/office/powerpoint/2010/main" val="4515531"/>
      </p:ext>
    </p:extLst>
  </p:cSld>
  <p:clrMapOvr>
    <a:masterClrMapping/>
  </p:clrMapOvr>
  <p:transition>
    <p:fade/>
  </p:transition>
  <p:timing>
    <p:tnLst>
      <p:par>
        <p:cTn id="1" dur="indefinite" restart="never" nodeType="tmRoot"/>
      </p:par>
    </p:tnLst>
  </p:timing>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4" tIns="41147" rIns="82294" bIns="41147" numCol="1" anchor="t" anchorCtr="0" compatLnSpc="1">
            <a:prstTxWarp prst="textNoShape">
              <a:avLst/>
            </a:prstTxWarp>
          </a:bodyPr>
          <a:lstStyle/>
          <a:p>
            <a:pPr defTabSz="914235"/>
            <a:endParaRPr lang="en-US" sz="1600">
              <a:solidFill>
                <a:srgbClr val="292929"/>
              </a:solidFill>
            </a:endParaRPr>
          </a:p>
        </p:txBody>
      </p:sp>
    </p:spTree>
    <p:extLst>
      <p:ext uri="{BB962C8B-B14F-4D97-AF65-F5344CB8AC3E}">
        <p14:creationId xmlns:p14="http://schemas.microsoft.com/office/powerpoint/2010/main" val="3552387346"/>
      </p:ext>
    </p:extLst>
  </p:cSld>
  <p:clrMapOvr>
    <a:masterClrMapping/>
  </p:clrMapOvr>
  <p:transition>
    <p:fade/>
  </p:transition>
  <p:timing>
    <p:tnLst>
      <p:par>
        <p:cTn id="1" dur="indefinite" restart="never" nodeType="tmRoot"/>
      </p:par>
    </p:tnLst>
  </p:timing>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4"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35"/>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35"/>
              <a:endParaRPr lang="en-US" sz="1900">
                <a:solidFill>
                  <a:srgbClr val="292929"/>
                </a:solidFill>
              </a:endParaRPr>
            </a:p>
          </p:txBody>
        </p:sp>
      </p:grpSp>
    </p:spTree>
    <p:extLst>
      <p:ext uri="{BB962C8B-B14F-4D97-AF65-F5344CB8AC3E}">
        <p14:creationId xmlns:p14="http://schemas.microsoft.com/office/powerpoint/2010/main" val="506887722"/>
      </p:ext>
    </p:extLst>
  </p:cSld>
  <p:clrMapOvr>
    <a:masterClrMapping/>
  </p:clrMapOvr>
  <p:transition>
    <p:fade/>
  </p:transition>
  <p:timing>
    <p:tnLst>
      <p:par>
        <p:cTn id="1" dur="indefinite" restart="never" nodeType="tmRoot"/>
      </p:par>
    </p:tnLst>
  </p:timing>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3467678"/>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1"/>
            <a:ext cx="2507213" cy="291353"/>
          </a:xfrm>
          <a:prstGeom prst="rect">
            <a:avLst/>
          </a:prstGeom>
        </p:spPr>
      </p:pic>
    </p:spTree>
    <p:extLst>
      <p:ext uri="{BB962C8B-B14F-4D97-AF65-F5344CB8AC3E}">
        <p14:creationId xmlns:p14="http://schemas.microsoft.com/office/powerpoint/2010/main" val="3374050616"/>
      </p:ext>
    </p:extLst>
  </p:cSld>
  <p:clrMapOvr>
    <a:masterClrMapping/>
  </p:clrMapOvr>
  <p:transition>
    <p:fade/>
  </p:transition>
  <p:timing>
    <p:tnLst>
      <p:par>
        <p:cTn id="1" dur="indefinite" restart="never" nodeType="tmRoot"/>
      </p:par>
    </p:tnLst>
  </p:timing>
</p:sldLayout>
</file>

<file path=ppt/slideLayouts/slideLayout66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4"/>
            <a:ext cx="11176000" cy="415484"/>
          </a:xfrm>
          <a:prstGeom prst="rect">
            <a:avLst/>
          </a:prstGeom>
          <a:noFill/>
          <a:ln w="12700">
            <a:noFill/>
            <a:miter lim="800000"/>
            <a:headEnd type="none" w="sm" len="sm"/>
            <a:tailEnd type="none" w="sm" len="sm"/>
          </a:ln>
          <a:effectLst/>
        </p:spPr>
        <p:txBody>
          <a:bodyPr vert="horz" wrap="square" lIns="91412" tIns="45707" rIns="91412" bIns="45707" numCol="1" anchor="t" anchorCtr="0" compatLnSpc="1">
            <a:prstTxWarp prst="textNoShape">
              <a:avLst/>
            </a:prstTxWarp>
            <a:spAutoFit/>
          </a:bodyPr>
          <a:lstStyle/>
          <a:p>
            <a:pPr algn="ctr" defTabSz="913972" eaLnBrk="0" hangingPunct="0"/>
            <a:r>
              <a:rPr lang="en-US" sz="700">
                <a:solidFill>
                  <a:srgbClr val="FFFFFF">
                    <a:alpha val="99000"/>
                  </a:srgbClr>
                </a:solidFill>
                <a:cs typeface="Arial" charset="0"/>
              </a:rPr>
              <a:t>© </a:t>
            </a:r>
            <a:r>
              <a:rPr lang="en-US" sz="700" smtClean="0">
                <a:solidFill>
                  <a:srgbClr val="FFFFFF">
                    <a:alpha val="99000"/>
                  </a:srgbClr>
                </a:solidFill>
                <a:cs typeface="Arial" charset="0"/>
              </a:rPr>
              <a:t>2011 Microsoft </a:t>
            </a:r>
            <a:r>
              <a:rPr lang="en-US" sz="70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72" eaLnBrk="0" hangingPunct="0"/>
            <a:r>
              <a:rPr lang="en-US" sz="70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smtClean="0">
                <a:solidFill>
                  <a:srgbClr val="FFFFFF">
                    <a:alpha val="99000"/>
                  </a:srgbClr>
                </a:solidFill>
                <a:cs typeface="Arial" charset="0"/>
              </a:rPr>
              <a:t>MICROSOFT </a:t>
            </a:r>
            <a:r>
              <a:rPr lang="en-US" sz="70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082847920"/>
      </p:ext>
    </p:extLst>
  </p:cSld>
  <p:clrMapOvr>
    <a:masterClrMapping/>
  </p:clrMapOvr>
  <p:transition>
    <p:fade/>
  </p:transition>
  <p:timing>
    <p:tnLst>
      <p:par>
        <p:cTn id="1" dur="indefinite" restart="never" nodeType="tmRoot"/>
      </p:par>
    </p:tnLst>
  </p:timing>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3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8127"/>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3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3"/>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2"/>
            <a:ext cx="2498478" cy="290339"/>
          </a:xfrm>
          <a:prstGeom prst="rect">
            <a:avLst/>
          </a:prstGeom>
        </p:spPr>
      </p:pic>
    </p:spTree>
    <p:extLst>
      <p:ext uri="{BB962C8B-B14F-4D97-AF65-F5344CB8AC3E}">
        <p14:creationId xmlns:p14="http://schemas.microsoft.com/office/powerpoint/2010/main" val="2775935619"/>
      </p:ext>
    </p:extLst>
  </p:cSld>
  <p:clrMapOvr>
    <a:masterClrMapping/>
  </p:clrMapOvr>
  <p:transition>
    <p:fade/>
  </p:transition>
  <p:timing>
    <p:tnLst>
      <p:par>
        <p:cTn id="1" dur="indefinite" restart="never" nodeType="tmRoot"/>
      </p:par>
    </p:tnLst>
  </p:timing>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310" indent="-460310">
              <a:buClr>
                <a:srgbClr val="FFFFFF"/>
              </a:buClr>
              <a:buSzPct val="70000"/>
              <a:buFontTx/>
              <a:buBlip>
                <a:blip r:embed="rId2"/>
              </a:buBlip>
              <a:defRPr>
                <a:gradFill>
                  <a:gsLst>
                    <a:gs pos="0">
                      <a:srgbClr val="FFFFFF"/>
                    </a:gs>
                    <a:gs pos="86000">
                      <a:srgbClr val="FFFFFF"/>
                    </a:gs>
                  </a:gsLst>
                  <a:lin ang="5400000" scaled="0"/>
                </a:gradFill>
              </a:defRPr>
            </a:lvl1pPr>
            <a:lvl2pPr marL="855544" indent="-395233">
              <a:buClr>
                <a:srgbClr val="FFFFFF"/>
              </a:buClr>
              <a:buSzPct val="70000"/>
              <a:buFontTx/>
              <a:buBlip>
                <a:blip r:embed="rId2"/>
              </a:buBlip>
              <a:defRPr>
                <a:gradFill>
                  <a:gsLst>
                    <a:gs pos="0">
                      <a:srgbClr val="FFFFFF"/>
                    </a:gs>
                    <a:gs pos="86000">
                      <a:srgbClr val="FFFFFF"/>
                    </a:gs>
                  </a:gsLst>
                  <a:lin ang="5400000" scaled="0"/>
                </a:gradFill>
              </a:defRPr>
            </a:lvl2pPr>
            <a:lvl3pPr marL="1258713" indent="-403168">
              <a:buClr>
                <a:srgbClr val="FFFFFF"/>
              </a:buClr>
              <a:buSzPct val="70000"/>
              <a:buFontTx/>
              <a:buBlip>
                <a:blip r:embed="rId2"/>
              </a:buBlip>
              <a:defRPr>
                <a:gradFill>
                  <a:gsLst>
                    <a:gs pos="0">
                      <a:srgbClr val="FFFFFF"/>
                    </a:gs>
                    <a:gs pos="86000">
                      <a:srgbClr val="FFFFFF"/>
                    </a:gs>
                  </a:gsLst>
                  <a:lin ang="5400000" scaled="0"/>
                </a:gradFill>
              </a:defRPr>
            </a:lvl3pPr>
            <a:lvl4pPr marL="1604738" indent="-346027">
              <a:buClr>
                <a:srgbClr val="FFFFFF"/>
              </a:buClr>
              <a:buSzPct val="70000"/>
              <a:buFontTx/>
              <a:buBlip>
                <a:blip r:embed="rId2"/>
              </a:buBlip>
              <a:defRPr>
                <a:gradFill>
                  <a:gsLst>
                    <a:gs pos="0">
                      <a:srgbClr val="FFFFFF"/>
                    </a:gs>
                    <a:gs pos="86000">
                      <a:srgbClr val="FFFFFF"/>
                    </a:gs>
                  </a:gsLst>
                  <a:lin ang="5400000" scaled="0"/>
                </a:gradFill>
              </a:defRPr>
            </a:lvl4pPr>
            <a:lvl5pPr marL="1941242" indent="-33650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1273184"/>
      </p:ext>
    </p:extLst>
  </p:cSld>
  <p:clrMapOvr>
    <a:masterClrMapping/>
  </p:clrMapOvr>
  <p:transition>
    <p:fade/>
  </p:transition>
  <p:timing>
    <p:tnLst>
      <p:par>
        <p:cTn id="1" dur="indefinite" restart="never" nodeType="tmRoot"/>
      </p:par>
    </p:tnLst>
  </p:timing>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310" indent="-460310">
              <a:buClr>
                <a:srgbClr val="FFFFFF"/>
              </a:buClr>
              <a:buSzPct val="70000"/>
              <a:buFontTx/>
              <a:buBlip>
                <a:blip r:embed="rId2"/>
              </a:buBlip>
              <a:defRPr>
                <a:gradFill>
                  <a:gsLst>
                    <a:gs pos="0">
                      <a:srgbClr val="FFFFFF"/>
                    </a:gs>
                    <a:gs pos="86000">
                      <a:srgbClr val="FFFFFF"/>
                    </a:gs>
                  </a:gsLst>
                  <a:lin ang="5400000" scaled="0"/>
                </a:gradFill>
              </a:defRPr>
            </a:lvl1pPr>
            <a:lvl2pPr marL="855544" indent="-395233">
              <a:buClr>
                <a:srgbClr val="FFFFFF"/>
              </a:buClr>
              <a:buSzPct val="70000"/>
              <a:buFontTx/>
              <a:buBlip>
                <a:blip r:embed="rId2"/>
              </a:buBlip>
              <a:defRPr>
                <a:gradFill>
                  <a:gsLst>
                    <a:gs pos="0">
                      <a:srgbClr val="FFFFFF"/>
                    </a:gs>
                    <a:gs pos="86000">
                      <a:srgbClr val="FFFFFF"/>
                    </a:gs>
                  </a:gsLst>
                  <a:lin ang="5400000" scaled="0"/>
                </a:gradFill>
              </a:defRPr>
            </a:lvl2pPr>
            <a:lvl3pPr marL="1258713" indent="-403168">
              <a:buClr>
                <a:srgbClr val="FFFFFF"/>
              </a:buClr>
              <a:buSzPct val="70000"/>
              <a:buFontTx/>
              <a:buBlip>
                <a:blip r:embed="rId2"/>
              </a:buBlip>
              <a:defRPr>
                <a:gradFill>
                  <a:gsLst>
                    <a:gs pos="0">
                      <a:srgbClr val="FFFFFF"/>
                    </a:gs>
                    <a:gs pos="86000">
                      <a:srgbClr val="FFFFFF"/>
                    </a:gs>
                  </a:gsLst>
                  <a:lin ang="5400000" scaled="0"/>
                </a:gradFill>
              </a:defRPr>
            </a:lvl3pPr>
            <a:lvl4pPr marL="1604738" indent="-346027">
              <a:buClr>
                <a:srgbClr val="FFFFFF"/>
              </a:buClr>
              <a:buSzPct val="70000"/>
              <a:buFontTx/>
              <a:buBlip>
                <a:blip r:embed="rId2"/>
              </a:buBlip>
              <a:defRPr>
                <a:gradFill>
                  <a:gsLst>
                    <a:gs pos="0">
                      <a:srgbClr val="FFFFFF"/>
                    </a:gs>
                    <a:gs pos="86000">
                      <a:srgbClr val="FFFFFF"/>
                    </a:gs>
                  </a:gsLst>
                  <a:lin ang="5400000" scaled="0"/>
                </a:gradFill>
              </a:defRPr>
            </a:lvl4pPr>
            <a:lvl5pPr marL="1941242" indent="-33650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3" tIns="76185" rIns="152373"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38501657"/>
      </p:ext>
    </p:extLst>
  </p:cSld>
  <p:clrMapOvr>
    <a:masterClrMapping/>
  </p:clrMapOvr>
  <p:transition>
    <p:fade/>
  </p:transition>
  <p:timing>
    <p:tnLst>
      <p:par>
        <p:cTn id="1" dur="indefinite" restart="never" nodeType="tmRoot"/>
      </p:par>
    </p:tnLst>
  </p:timing>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3" y="4612345"/>
            <a:ext cx="5455754" cy="1144929"/>
          </a:xfrm>
        </p:spPr>
        <p:txBody>
          <a:bodyPr/>
          <a:lstStyle>
            <a:lvl1pPr marL="0" indent="0">
              <a:buFont typeface="Arial" pitchFamily="34" charset="0"/>
              <a:buNone/>
              <a:defRPr sz="2400">
                <a:solidFill>
                  <a:schemeClr val="bg1">
                    <a:alpha val="98000"/>
                  </a:schemeClr>
                </a:solidFill>
                <a:latin typeface="+mj-lt"/>
              </a:defRPr>
            </a:lvl1pPr>
            <a:lvl2pPr marL="460290" indent="0">
              <a:buFont typeface="Arial" pitchFamily="34" charset="0"/>
              <a:buNone/>
              <a:defRPr/>
            </a:lvl2pPr>
            <a:lvl3pPr marL="855509" indent="0">
              <a:buFont typeface="Arial" pitchFamily="34" charset="0"/>
              <a:buNone/>
              <a:defRPr/>
            </a:lvl3pPr>
            <a:lvl4pPr marL="1258661" indent="0">
              <a:buFont typeface="Arial" pitchFamily="34" charset="0"/>
              <a:buNone/>
              <a:defRPr/>
            </a:lvl4pPr>
            <a:lvl5pPr marL="160467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3612342342"/>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49813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61" indent="-40315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71" indent="-3460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61" indent="-3364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318286957"/>
      </p:ext>
    </p:extLst>
  </p:cSld>
  <p:clrMapOvr>
    <a:masterClrMapping/>
  </p:clrMapOvr>
  <p:transition>
    <p:fade/>
  </p:transition>
  <p:timing>
    <p:tnLst>
      <p:par>
        <p:cTn id="1" dur="indefinite" restart="never" nodeType="tmRoot"/>
      </p:par>
    </p:tnLst>
  </p:timing>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49" indent="-342838">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38" indent="-342838">
              <a:spcBef>
                <a:spcPts val="0"/>
              </a:spcBef>
              <a:spcAft>
                <a:spcPts val="400"/>
              </a:spcAft>
              <a:buFont typeface="Arial" pitchFamily="34" charset="0"/>
              <a:buChar char="•"/>
              <a:defRPr/>
            </a:lvl5pPr>
            <a:lvl6pPr marL="1033275" indent="-342838">
              <a:buFont typeface="Arial" pitchFamily="34" charset="0"/>
              <a:buChar char="•"/>
              <a:defRPr sz="2400">
                <a:gradFill>
                  <a:gsLst>
                    <a:gs pos="0">
                      <a:srgbClr val="595959"/>
                    </a:gs>
                    <a:gs pos="86000">
                      <a:srgbClr val="595959"/>
                    </a:gs>
                  </a:gsLst>
                  <a:lin ang="5400000" scaled="0"/>
                </a:gradFill>
              </a:defRPr>
            </a:lvl6pPr>
            <a:lvl7pPr marL="1255485" indent="-225384">
              <a:defRPr>
                <a:gradFill>
                  <a:gsLst>
                    <a:gs pos="0">
                      <a:srgbClr val="595959"/>
                    </a:gs>
                    <a:gs pos="86000">
                      <a:srgbClr val="595959"/>
                    </a:gs>
                  </a:gsLst>
                  <a:lin ang="5400000" scaled="0"/>
                </a:gradFill>
              </a:defRPr>
            </a:lvl7pPr>
            <a:lvl8pPr marL="1487218" indent="-231732">
              <a:defRPr>
                <a:gradFill>
                  <a:gsLst>
                    <a:gs pos="0">
                      <a:srgbClr val="595959"/>
                    </a:gs>
                    <a:gs pos="86000">
                      <a:srgbClr val="595959"/>
                    </a:gs>
                  </a:gsLst>
                  <a:lin ang="5400000" scaled="0"/>
                </a:gradFill>
              </a:defRPr>
            </a:lvl8pPr>
          </a:lstStyle>
          <a:p>
            <a:pPr marL="346013" lvl="0" indent="-346013" algn="l" defTabSz="914197" rtl="0" eaLnBrk="1" latinLnBrk="0" hangingPunct="1">
              <a:lnSpc>
                <a:spcPct val="90000"/>
              </a:lnSpc>
              <a:spcBef>
                <a:spcPct val="20000"/>
              </a:spcBef>
              <a:buSzPct val="90000"/>
              <a:buFont typeface="Arial" pitchFamily="34" charset="0"/>
              <a:buChar char="•"/>
            </a:pPr>
            <a:r>
              <a:rPr lang="en-US" smtClean="0"/>
              <a:t>Click to edit Master text styles</a:t>
            </a:r>
          </a:p>
          <a:p>
            <a:pPr marL="346013" lvl="1" indent="-346013" algn="l" defTabSz="914197" rtl="0" eaLnBrk="1" latinLnBrk="0" hangingPunct="1">
              <a:lnSpc>
                <a:spcPct val="90000"/>
              </a:lnSpc>
              <a:spcBef>
                <a:spcPct val="20000"/>
              </a:spcBef>
              <a:buSzPct val="90000"/>
              <a:buFont typeface="Arial" pitchFamily="34" charset="0"/>
              <a:buChar char="•"/>
            </a:pPr>
            <a:r>
              <a:rPr lang="en-US" smtClean="0"/>
              <a:t>Second level</a:t>
            </a:r>
          </a:p>
          <a:p>
            <a:pPr marL="346013" lvl="2" indent="-346013" algn="l" defTabSz="914197" rtl="0" eaLnBrk="1" latinLnBrk="0" hangingPunct="1">
              <a:lnSpc>
                <a:spcPct val="90000"/>
              </a:lnSpc>
              <a:spcBef>
                <a:spcPct val="20000"/>
              </a:spcBef>
              <a:buSzPct val="90000"/>
              <a:buFont typeface="Arial" pitchFamily="34" charset="0"/>
              <a:buChar char="•"/>
            </a:pPr>
            <a:r>
              <a:rPr lang="en-US" smtClean="0"/>
              <a:t>Third level</a:t>
            </a:r>
          </a:p>
          <a:p>
            <a:pPr marL="346013" lvl="3" indent="-346013" algn="l" defTabSz="914197" rtl="0" eaLnBrk="1" latinLnBrk="0" hangingPunct="1">
              <a:lnSpc>
                <a:spcPct val="90000"/>
              </a:lnSpc>
              <a:spcBef>
                <a:spcPct val="20000"/>
              </a:spcBef>
              <a:buSzPct val="90000"/>
              <a:buFont typeface="Arial" pitchFamily="34" charset="0"/>
              <a:buChar char="•"/>
            </a:pPr>
            <a:r>
              <a:rPr lang="en-US" smtClean="0"/>
              <a:t>Fourth level</a:t>
            </a:r>
          </a:p>
          <a:p>
            <a:pPr marL="346013" lvl="4" indent="-346013" algn="l" defTabSz="9141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3092381612"/>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251" indent="-341251">
              <a:lnSpc>
                <a:spcPct val="90000"/>
              </a:lnSpc>
              <a:buSzPct val="80000"/>
              <a:buFont typeface="Arial" pitchFamily="34" charset="0"/>
              <a:buChar char="•"/>
              <a:defRPr sz="3200"/>
            </a:lvl1pPr>
            <a:lvl2pPr marL="626949" indent="-285698">
              <a:lnSpc>
                <a:spcPct val="90000"/>
              </a:lnSpc>
              <a:buSzPct val="80000"/>
              <a:buFont typeface="Arial" pitchFamily="34" charset="0"/>
              <a:buChar char="•"/>
              <a:defRPr sz="2800"/>
            </a:lvl2pPr>
            <a:lvl3pPr marL="914234" indent="-287286">
              <a:lnSpc>
                <a:spcPct val="90000"/>
              </a:lnSpc>
              <a:buSzPct val="80000"/>
              <a:buFont typeface="Arial" pitchFamily="34" charset="0"/>
              <a:buChar char="•"/>
              <a:defRPr sz="2400"/>
            </a:lvl3pPr>
            <a:lvl4pPr marL="1712603" indent="-225384">
              <a:lnSpc>
                <a:spcPct val="90000"/>
              </a:lnSpc>
              <a:buSzPct val="80000"/>
              <a:buFont typeface="Arial" pitchFamily="34" charset="0"/>
              <a:buChar char="•"/>
              <a:defRPr sz="2000"/>
            </a:lvl4pPr>
            <a:lvl5pPr marL="1944335" indent="-23173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116" indent="-45711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69" indent="-45711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86" indent="-342838">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057" indent="-342838">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440" indent="-342838">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51" lvl="0" indent="-341251" algn="l" defTabSz="914197" rtl="0" eaLnBrk="1" latinLnBrk="0" hangingPunct="1">
              <a:lnSpc>
                <a:spcPct val="90000"/>
              </a:lnSpc>
              <a:spcBef>
                <a:spcPct val="20000"/>
              </a:spcBef>
              <a:buSzPct val="80000"/>
              <a:buFont typeface="Arial" pitchFamily="34" charset="0"/>
              <a:buChar char="•"/>
            </a:pPr>
            <a:r>
              <a:rPr lang="en-US" smtClean="0"/>
              <a:t>Click to edit Master text styles</a:t>
            </a:r>
          </a:p>
          <a:p>
            <a:pPr marL="341251" lvl="1" indent="-341251" algn="l" defTabSz="914197" rtl="0" eaLnBrk="1" latinLnBrk="0" hangingPunct="1">
              <a:lnSpc>
                <a:spcPct val="90000"/>
              </a:lnSpc>
              <a:spcBef>
                <a:spcPct val="20000"/>
              </a:spcBef>
              <a:buSzPct val="80000"/>
              <a:buFont typeface="Arial" pitchFamily="34" charset="0"/>
              <a:buChar char="•"/>
            </a:pPr>
            <a:r>
              <a:rPr lang="en-US" smtClean="0"/>
              <a:t>Second level</a:t>
            </a:r>
          </a:p>
          <a:p>
            <a:pPr marL="341251" lvl="2" indent="-341251" algn="l" defTabSz="914197" rtl="0" eaLnBrk="1" latinLnBrk="0" hangingPunct="1">
              <a:lnSpc>
                <a:spcPct val="90000"/>
              </a:lnSpc>
              <a:spcBef>
                <a:spcPct val="20000"/>
              </a:spcBef>
              <a:buSzPct val="80000"/>
              <a:buFont typeface="Arial" pitchFamily="34" charset="0"/>
              <a:buChar char="•"/>
            </a:pPr>
            <a:r>
              <a:rPr lang="en-US" smtClean="0"/>
              <a:t>Third level</a:t>
            </a:r>
          </a:p>
          <a:p>
            <a:pPr marL="341251" lvl="3" indent="-341251" algn="l" defTabSz="914197" rtl="0" eaLnBrk="1" latinLnBrk="0" hangingPunct="1">
              <a:lnSpc>
                <a:spcPct val="90000"/>
              </a:lnSpc>
              <a:spcBef>
                <a:spcPct val="20000"/>
              </a:spcBef>
              <a:buSzPct val="80000"/>
              <a:buFont typeface="Arial" pitchFamily="34" charset="0"/>
              <a:buChar char="•"/>
            </a:pPr>
            <a:r>
              <a:rPr lang="en-US" smtClean="0"/>
              <a:t>Fourth level</a:t>
            </a:r>
          </a:p>
          <a:p>
            <a:pPr marL="341251" lvl="4" indent="-341251" algn="l" defTabSz="91419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4034399376"/>
      </p:ext>
    </p:extLst>
  </p:cSld>
  <p:clrMapOvr>
    <a:masterClrMapping/>
  </p:clrMapOvr>
  <p:transition>
    <p:fade/>
  </p:transition>
  <p:timing>
    <p:tnLst>
      <p:par>
        <p:cTn id="1" dur="indefinite" restart="never" nodeType="tmRoot"/>
      </p:par>
    </p:tnLst>
  </p:timing>
</p:sldLayout>
</file>

<file path=ppt/slideLayouts/slideLayout6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3" y="2266798"/>
            <a:ext cx="5486400" cy="1945148"/>
          </a:xfrm>
        </p:spPr>
        <p:txBody>
          <a:bodyPr/>
          <a:lstStyle>
            <a:lvl1pPr marL="403151" indent="-403151">
              <a:buSzPct val="80000"/>
              <a:buFont typeface="Arial" pitchFamily="34" charset="0"/>
              <a:buChar char="•"/>
              <a:defRPr sz="2800"/>
            </a:lvl1pPr>
            <a:lvl2pPr marL="744403" indent="-322204">
              <a:buSzPct val="80000"/>
              <a:buFont typeface="Arial" pitchFamily="34" charset="0"/>
              <a:buChar char="•"/>
              <a:defRPr sz="2800"/>
            </a:lvl2pPr>
            <a:lvl3pPr marL="1026926" indent="-282524" defTabSz="1030101">
              <a:buSzPct val="80000"/>
              <a:buFont typeface="Arial" pitchFamily="34" charset="0"/>
              <a:buChar char="•"/>
              <a:defRPr sz="2400"/>
            </a:lvl3pPr>
            <a:lvl4pPr marL="1317387" indent="-287286">
              <a:buSzPct val="80000"/>
              <a:buFont typeface="Arial" pitchFamily="34" charset="0"/>
              <a:buChar char="•"/>
              <a:defRPr sz="2000"/>
            </a:lvl4pPr>
            <a:lvl5pPr marL="1541183" indent="-2237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67" indent="-2962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16" indent="-45711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36" indent="-342838">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39" indent="-342838">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41" indent="-342838">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39" indent="-342838">
              <a:defRPr sz="1600"/>
            </a:lvl6pPr>
            <a:lvl7pPr marL="1603085" indent="-285698">
              <a:defRPr sz="1600"/>
            </a:lvl7pPr>
            <a:lvl8pPr>
              <a:defRPr sz="1600"/>
            </a:lvl8pPr>
            <a:lvl9pPr>
              <a:defRPr sz="1600"/>
            </a:lvl9pPr>
          </a:lstStyle>
          <a:p>
            <a:pPr marL="403151" lvl="0" indent="-403151" algn="l" defTabSz="914197" rtl="0" eaLnBrk="1" latinLnBrk="0" hangingPunct="1">
              <a:lnSpc>
                <a:spcPct val="90000"/>
              </a:lnSpc>
              <a:spcBef>
                <a:spcPct val="20000"/>
              </a:spcBef>
              <a:buSzPct val="80000"/>
            </a:pPr>
            <a:r>
              <a:rPr lang="en-US" smtClean="0"/>
              <a:t>Click to edit Master text styles</a:t>
            </a:r>
          </a:p>
          <a:p>
            <a:pPr marL="403151" lvl="1" indent="-403151" algn="l" defTabSz="914197" rtl="0" eaLnBrk="1" latinLnBrk="0" hangingPunct="1">
              <a:lnSpc>
                <a:spcPct val="90000"/>
              </a:lnSpc>
              <a:spcBef>
                <a:spcPct val="20000"/>
              </a:spcBef>
              <a:buSzPct val="80000"/>
            </a:pPr>
            <a:r>
              <a:rPr lang="en-US" smtClean="0"/>
              <a:t>Second level</a:t>
            </a:r>
          </a:p>
          <a:p>
            <a:pPr marL="403151" lvl="2" indent="-403151" algn="l" defTabSz="914197" rtl="0" eaLnBrk="1" latinLnBrk="0" hangingPunct="1">
              <a:lnSpc>
                <a:spcPct val="90000"/>
              </a:lnSpc>
              <a:spcBef>
                <a:spcPct val="20000"/>
              </a:spcBef>
              <a:buSzPct val="80000"/>
            </a:pPr>
            <a:r>
              <a:rPr lang="en-US" smtClean="0"/>
              <a:t>Third level</a:t>
            </a:r>
          </a:p>
          <a:p>
            <a:pPr marL="403151" lvl="3" indent="-403151" algn="l" defTabSz="914197" rtl="0" eaLnBrk="1" latinLnBrk="0" hangingPunct="1">
              <a:lnSpc>
                <a:spcPct val="90000"/>
              </a:lnSpc>
              <a:spcBef>
                <a:spcPct val="20000"/>
              </a:spcBef>
              <a:buSzPct val="80000"/>
            </a:pPr>
            <a:r>
              <a:rPr lang="en-US" smtClean="0"/>
              <a:t>Fourth level</a:t>
            </a:r>
          </a:p>
          <a:p>
            <a:pPr marL="403151" lvl="4" indent="-403151" algn="l" defTabSz="91419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318187831"/>
      </p:ext>
    </p:extLst>
  </p:cSld>
  <p:clrMapOvr>
    <a:masterClrMapping/>
  </p:clrMapOvr>
  <p:transition>
    <p:fade/>
  </p:transition>
  <p:timing>
    <p:tnLst>
      <p:par>
        <p:cTn id="1" dur="indefinite" restart="never" nodeType="tmRoot"/>
      </p:par>
    </p:tnLst>
  </p:timing>
</p:sldLayout>
</file>

<file path=ppt/slideLayouts/slideLayout6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732724180"/>
      </p:ext>
    </p:extLst>
  </p:cSld>
  <p:clrMapOvr>
    <a:masterClrMapping/>
  </p:clrMapOvr>
  <p:transition>
    <p:fade/>
  </p:transition>
  <p:timing>
    <p:tnLst>
      <p:par>
        <p:cTn id="1" dur="indefinite" restart="never" nodeType="tmRoot"/>
      </p:par>
    </p:tnLst>
  </p:timing>
</p:sldLayout>
</file>

<file path=ppt/slideLayouts/slideLayout6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384369970"/>
      </p:ext>
    </p:extLst>
  </p:cSld>
  <p:clrMapOvr>
    <a:masterClrMapping/>
  </p:clrMapOvr>
  <p:transition>
    <p:fade/>
  </p:transition>
  <p:timing>
    <p:tnLst>
      <p:par>
        <p:cTn id="1" dur="indefinite" restart="never" nodeType="tmRoot"/>
      </p:par>
    </p:tnLst>
  </p:timing>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45695" numCol="1" spcCol="0" rtlCol="0" anchor="ctr" anchorCtr="0" compatLnSpc="1">
            <a:prstTxWarp prst="textNoShape">
              <a:avLst/>
            </a:prstTxWarp>
          </a:bodyPr>
          <a:lstStyle/>
          <a:p>
            <a:pPr algn="ctr" defTabSz="913622"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4"/>
            <a:ext cx="6947121" cy="1241879"/>
          </a:xfrm>
        </p:spPr>
        <p:txBody>
          <a:bodyPr lIns="182847" tIns="182847" anchor="ctr" anchorCtr="0"/>
          <a:lstStyle>
            <a:lvl1pPr marL="574571" indent="-57139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13" indent="-342838">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97" rtl="0" eaLnBrk="1" latinLnBrk="0" hangingPunct="1">
              <a:lnSpc>
                <a:spcPct val="90000"/>
              </a:lnSpc>
              <a:spcBef>
                <a:spcPts val="0"/>
              </a:spcBef>
              <a:spcAft>
                <a:spcPts val="900"/>
              </a:spcAft>
              <a:buSzPct val="80000"/>
            </a:pPr>
            <a:r>
              <a:rPr lang="en-US" dirty="0" smtClean="0"/>
              <a:t>Click to edit Master text styles</a:t>
            </a:r>
          </a:p>
          <a:p>
            <a:pPr marL="3175" lvl="1" indent="0" algn="l" defTabSz="914197"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1" tIns="41145" rIns="82291" bIns="41145" numCol="1" anchor="t" anchorCtr="0" compatLnSpc="1">
            <a:prstTxWarp prst="textNoShape">
              <a:avLst/>
            </a:prstTxWarp>
          </a:bodyPr>
          <a:lstStyle/>
          <a:p>
            <a:pPr defTabSz="1218766"/>
            <a:endParaRPr lang="en-US" sz="1600">
              <a:solidFill>
                <a:srgbClr val="292929"/>
              </a:solidFill>
            </a:endParaRPr>
          </a:p>
        </p:txBody>
      </p:sp>
    </p:spTree>
    <p:extLst>
      <p:ext uri="{BB962C8B-B14F-4D97-AF65-F5344CB8AC3E}">
        <p14:creationId xmlns:p14="http://schemas.microsoft.com/office/powerpoint/2010/main" val="1266262357"/>
      </p:ext>
    </p:extLst>
  </p:cSld>
  <p:clrMapOvr>
    <a:masterClrMapping/>
  </p:clrMapOvr>
  <p:transition>
    <p:fade/>
  </p:transition>
  <p:timing>
    <p:tnLst>
      <p:par>
        <p:cTn id="1" dur="indefinite" restart="never" nodeType="tmRoot"/>
      </p:par>
    </p:tnLst>
  </p:timing>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1181672379"/>
      </p:ext>
    </p:extLst>
  </p:cSld>
  <p:clrMapOvr>
    <a:masterClrMapping/>
  </p:clrMapOvr>
  <p:transition>
    <p:fade/>
  </p:transition>
  <p:timing>
    <p:tnLst>
      <p:par>
        <p:cTn id="1" dur="indefinite" restart="never" nodeType="tmRoot"/>
      </p:par>
    </p:tnLst>
  </p:timing>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6"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3" tIns="45713" rIns="91423" bIns="45713" numCol="1" anchor="t" anchorCtr="0" compatLnSpc="1">
            <a:prstTxWarp prst="textNoShape">
              <a:avLst/>
            </a:prstTxWarp>
          </a:bodyPr>
          <a:lstStyle/>
          <a:p>
            <a:pPr defTabSz="914197"/>
            <a:endParaRPr lang="en-US" sz="1900">
              <a:solidFill>
                <a:srgbClr val="292929"/>
              </a:solidFill>
            </a:endParaRPr>
          </a:p>
        </p:txBody>
      </p:sp>
    </p:spTree>
    <p:extLst>
      <p:ext uri="{BB962C8B-B14F-4D97-AF65-F5344CB8AC3E}">
        <p14:creationId xmlns:p14="http://schemas.microsoft.com/office/powerpoint/2010/main" val="1393081508"/>
      </p:ext>
    </p:extLst>
  </p:cSld>
  <p:clrMapOvr>
    <a:masterClrMapping/>
  </p:clrMapOvr>
  <p:transition>
    <p:fade/>
  </p:transition>
  <p:timing>
    <p:tnLst>
      <p:par>
        <p:cTn id="1" dur="indefinite" restart="never" nodeType="tmRoot"/>
      </p:par>
    </p:tnLst>
  </p:timing>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grpSp>
    </p:spTree>
    <p:extLst>
      <p:ext uri="{BB962C8B-B14F-4D97-AF65-F5344CB8AC3E}">
        <p14:creationId xmlns:p14="http://schemas.microsoft.com/office/powerpoint/2010/main" val="3269562432"/>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333223"/>
      </p:ext>
    </p:extLst>
  </p:cSld>
  <p:clrMapOvr>
    <a:masterClrMapping/>
  </p:clrMapOvr>
  <p:transition>
    <p:fade/>
  </p:transition>
  <p:timing>
    <p:tnLst>
      <p:par>
        <p:cTn id="1" dur="indefinite" restart="never" nodeType="tmRoot"/>
      </p:par>
    </p:tnLst>
  </p:timing>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1" tIns="41145" rIns="82291" bIns="41145" numCol="1" anchor="t" anchorCtr="0" compatLnSpc="1">
            <a:prstTxWarp prst="textNoShape">
              <a:avLst/>
            </a:prstTxWarp>
          </a:bodyPr>
          <a:lstStyle/>
          <a:p>
            <a:pPr defTabSz="914197"/>
            <a:endParaRPr lang="en-US" sz="1600">
              <a:solidFill>
                <a:srgbClr val="292929"/>
              </a:solidFill>
            </a:endParaRPr>
          </a:p>
        </p:txBody>
      </p:sp>
    </p:spTree>
    <p:extLst>
      <p:ext uri="{BB962C8B-B14F-4D97-AF65-F5344CB8AC3E}">
        <p14:creationId xmlns:p14="http://schemas.microsoft.com/office/powerpoint/2010/main" val="4180337962"/>
      </p:ext>
    </p:extLst>
  </p:cSld>
  <p:clrMapOvr>
    <a:masterClrMapping/>
  </p:clrMapOvr>
  <p:transition>
    <p:fade/>
  </p:transition>
  <p:timing>
    <p:tnLst>
      <p:par>
        <p:cTn id="1" dur="indefinite" restart="never" nodeType="tmRoot"/>
      </p:par>
    </p:tnLst>
  </p:timing>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5"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2688160158"/>
      </p:ext>
    </p:extLst>
  </p:cSld>
  <p:clrMapOvr>
    <a:masterClrMapping/>
  </p:clrMapOvr>
  <p:transition>
    <p:fade/>
  </p:transition>
  <p:timing>
    <p:tnLst>
      <p:par>
        <p:cTn id="1" dur="indefinite" restart="never" nodeType="tmRoot"/>
      </p:par>
    </p:tnLst>
  </p:timing>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1905003"/>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2"/>
            <a:ext cx="2507213" cy="291353"/>
          </a:xfrm>
          <a:prstGeom prst="rect">
            <a:avLst/>
          </a:prstGeom>
        </p:spPr>
      </p:pic>
    </p:spTree>
    <p:extLst>
      <p:ext uri="{BB962C8B-B14F-4D97-AF65-F5344CB8AC3E}">
        <p14:creationId xmlns:p14="http://schemas.microsoft.com/office/powerpoint/2010/main" val="4053004485"/>
      </p:ext>
    </p:extLst>
  </p:cSld>
  <p:clrMapOvr>
    <a:masterClrMapping/>
  </p:clrMapOvr>
  <p:transition>
    <p:fade/>
  </p:transition>
  <p:timing>
    <p:tnLst>
      <p:par>
        <p:cTn id="1" dur="indefinite" restart="never" nodeType="tmRoot"/>
      </p:par>
    </p:tnLst>
  </p:timing>
</p:sldLayout>
</file>

<file path=ppt/slideLayouts/slideLayout68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5"/>
            <a:ext cx="11176000" cy="415484"/>
          </a:xfrm>
          <a:prstGeom prst="rect">
            <a:avLst/>
          </a:prstGeom>
          <a:noFill/>
          <a:ln w="12700">
            <a:noFill/>
            <a:miter lim="800000"/>
            <a:headEnd type="none" w="sm" len="sm"/>
            <a:tailEnd type="none" w="sm" len="sm"/>
          </a:ln>
          <a:effectLst/>
        </p:spPr>
        <p:txBody>
          <a:bodyPr vert="horz" wrap="square" lIns="91408" tIns="45705" rIns="91408" bIns="45705" numCol="1" anchor="t" anchorCtr="0" compatLnSpc="1">
            <a:prstTxWarp prst="textNoShape">
              <a:avLst/>
            </a:prstTxWarp>
            <a:spAutoFit/>
          </a:bodyPr>
          <a:lstStyle/>
          <a:p>
            <a:pPr algn="ctr" defTabSz="913934"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34"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997646667"/>
      </p:ext>
    </p:extLst>
  </p:cSld>
  <p:clrMapOvr>
    <a:masterClrMapping/>
  </p:clrMapOvr>
  <p:transition>
    <p:fade/>
  </p:transition>
  <p:timing>
    <p:tnLst>
      <p:par>
        <p:cTn id="1" dur="indefinite" restart="never" nodeType="tmRoot"/>
      </p:par>
    </p:tnLst>
  </p:timing>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3"/>
            <a:ext cx="7515594" cy="448127"/>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908135714"/>
      </p:ext>
    </p:extLst>
  </p:cSld>
  <p:clrMapOvr>
    <a:masterClrMapping/>
  </p:clrMapOvr>
  <p:transition>
    <p:fade/>
  </p:transition>
  <p:timing>
    <p:tnLst>
      <p:par>
        <p:cTn id="1" dur="indefinite" restart="never" nodeType="tmRoot"/>
      </p:par>
    </p:tnLst>
  </p:timing>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4660686"/>
      </p:ext>
    </p:extLst>
  </p:cSld>
  <p:clrMapOvr>
    <a:masterClrMapping/>
  </p:clrMapOvr>
  <p:transition>
    <p:fade/>
  </p:transition>
  <p:timing>
    <p:tnLst>
      <p:par>
        <p:cTn id="1" dur="indefinite" restart="never" nodeType="tmRoot"/>
      </p:par>
    </p:tnLst>
  </p:timing>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66" tIns="76181" rIns="152366" bIns="7618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25867707"/>
      </p:ext>
    </p:extLst>
  </p:cSld>
  <p:clrMapOvr>
    <a:masterClrMapping/>
  </p:clrMapOvr>
  <p:transition>
    <p:fade/>
  </p:transition>
  <p:timing>
    <p:tnLst>
      <p:par>
        <p:cTn id="1" dur="indefinite" restart="never" nodeType="tmRoot"/>
      </p:par>
    </p:tnLst>
  </p:timing>
</p:sldLayout>
</file>

<file path=ppt/slideLayouts/slideLayout68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6" y="2824391"/>
            <a:ext cx="11158585" cy="1025921"/>
          </a:xfrm>
        </p:spPr>
        <p:txBody>
          <a:bodyPr anchor="b" anchorCtr="0">
            <a:spAutoFit/>
          </a:bodyPr>
          <a:lstStyle>
            <a:lvl1pPr>
              <a:lnSpc>
                <a:spcPct val="10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7" y="4297687"/>
            <a:ext cx="5455754" cy="1278983"/>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230" indent="0">
              <a:buFont typeface="Arial" pitchFamily="34" charset="0"/>
              <a:buNone/>
              <a:defRPr/>
            </a:lvl2pPr>
            <a:lvl3pPr marL="855401" indent="0">
              <a:buFont typeface="Arial" pitchFamily="34" charset="0"/>
              <a:buNone/>
              <a:defRPr/>
            </a:lvl3pPr>
            <a:lvl4pPr marL="1258504" indent="0">
              <a:buFont typeface="Arial" pitchFamily="34" charset="0"/>
              <a:buNone/>
              <a:defRPr/>
            </a:lvl4pPr>
            <a:lvl5pPr marL="1604467"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1199389829"/>
      </p:ext>
    </p:extLst>
  </p:cSld>
  <p:clrMapOvr>
    <a:masterClrMapping/>
  </p:clrMapOvr>
  <p:transition>
    <p:fade/>
  </p:transition>
  <p:timing>
    <p:tnLst>
      <p:par>
        <p:cTn id="1" dur="indefinite" restart="never" nodeType="tmRoot"/>
      </p:par>
    </p:tnLst>
  </p:timing>
</p:sldLayout>
</file>

<file path=ppt/slideLayouts/slideLayout688.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13" y="2834643"/>
            <a:ext cx="11158585"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08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297687"/>
            <a:ext cx="7515594" cy="448127"/>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08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9"/>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148064130"/>
      </p:ext>
    </p:extLst>
  </p:cSld>
  <p:clrMapOvr>
    <a:masterClrMapping/>
  </p:clrMapOvr>
  <p:transition>
    <p:fade/>
  </p:transition>
  <p:timing>
    <p:tnLst>
      <p:par>
        <p:cTn id="1" dur="indefinite" restart="never" nodeType="tmRoot"/>
      </p:par>
    </p:tnLst>
  </p:timing>
</p:sldLayout>
</file>

<file path=ppt/slideLayouts/slideLayout689.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13" y="1920243"/>
            <a:ext cx="11158585" cy="2708435"/>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6"/>
            <a:ext cx="2507213" cy="291353"/>
          </a:xfrm>
          <a:prstGeom prst="rect">
            <a:avLst/>
          </a:prstGeom>
        </p:spPr>
      </p:pic>
    </p:spTree>
    <p:extLst>
      <p:ext uri="{BB962C8B-B14F-4D97-AF65-F5344CB8AC3E}">
        <p14:creationId xmlns:p14="http://schemas.microsoft.com/office/powerpoint/2010/main" val="54810512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31573"/>
      </p:ext>
    </p:extLst>
  </p:cSld>
  <p:clrMapOvr>
    <a:masterClrMapping/>
  </p:clrMapOvr>
  <p:transition>
    <p:fade/>
  </p:transition>
  <p:timing>
    <p:tnLst>
      <p:par>
        <p:cTn id="1" dur="indefinite" restart="never" nodeType="tmRoot"/>
      </p:par>
    </p:tnLst>
  </p:timing>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8" rIns="91375" bIns="45688" numCol="1" spcCol="0" rtlCol="0" anchor="ctr" anchorCtr="0" compatLnSpc="1">
            <a:prstTxWarp prst="textNoShape">
              <a:avLst/>
            </a:prstTxWarp>
          </a:bodyPr>
          <a:lstStyle/>
          <a:p>
            <a:pPr algn="ctr" defTabSz="913507"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084"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8"/>
            <a:ext cx="6947121" cy="1241879"/>
          </a:xfrm>
        </p:spPr>
        <p:txBody>
          <a:bodyPr lIns="182822" tIns="182822" anchor="ctr" anchorCtr="0"/>
          <a:lstStyle>
            <a:lvl1pPr marL="574499" indent="-571324">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68" indent="-342796">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084" rtl="0" eaLnBrk="1" latinLnBrk="0" hangingPunct="1">
              <a:lnSpc>
                <a:spcPct val="90000"/>
              </a:lnSpc>
              <a:spcBef>
                <a:spcPts val="0"/>
              </a:spcBef>
              <a:spcAft>
                <a:spcPts val="900"/>
              </a:spcAft>
              <a:buSzPct val="80000"/>
            </a:pPr>
            <a:r>
              <a:rPr lang="en-US" smtClean="0"/>
              <a:t>Click to edit Master text styles</a:t>
            </a:r>
          </a:p>
          <a:p>
            <a:pPr marL="3175" lvl="1" indent="0" algn="l" defTabSz="914084"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9" tIns="41139" rIns="82279" bIns="41139" numCol="1" anchor="t" anchorCtr="0" compatLnSpc="1">
            <a:prstTxWarp prst="textNoShape">
              <a:avLst/>
            </a:prstTxWarp>
          </a:bodyPr>
          <a:lstStyle/>
          <a:p>
            <a:pPr defTabSz="1218614"/>
            <a:endParaRPr lang="en-US" sz="1600">
              <a:solidFill>
                <a:srgbClr val="292929"/>
              </a:solidFill>
            </a:endParaRPr>
          </a:p>
        </p:txBody>
      </p:sp>
    </p:spTree>
    <p:extLst>
      <p:ext uri="{BB962C8B-B14F-4D97-AF65-F5344CB8AC3E}">
        <p14:creationId xmlns:p14="http://schemas.microsoft.com/office/powerpoint/2010/main" val="3174077953"/>
      </p:ext>
    </p:extLst>
  </p:cSld>
  <p:clrMapOvr>
    <a:masterClrMapping/>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56" y="1463679"/>
            <a:ext cx="11158585" cy="961803"/>
          </a:xfrm>
        </p:spPr>
        <p:txBody>
          <a:bodyPr>
            <a:spAutoFit/>
          </a:bodyPr>
          <a:lstStyle>
            <a:lvl1pPr marL="0" indent="0">
              <a:buFontTx/>
              <a:buNone/>
              <a:defRPr sz="4000" spc="-100" baseline="0">
                <a:latin typeface="Segoe UI Light" pitchFamily="34" charset="0"/>
              </a:defRPr>
            </a:lvl1pPr>
            <a:lvl2pPr marL="3175" indent="0">
              <a:buFontTx/>
              <a:buNone/>
              <a:defRPr sz="2000" spc="-51"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3211510355"/>
      </p:ext>
    </p:extLst>
  </p:cSld>
  <p:clrMapOvr>
    <a:masterClrMapping/>
  </p:clrMapOvr>
  <p:transition>
    <p:fade/>
  </p:transition>
  <p:timing>
    <p:tnLst>
      <p:par>
        <p:cTn id="1" dur="indefinite" restart="never" nodeType="tmRoot"/>
      </p:par>
    </p:tnLst>
  </p:timing>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4084"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56" y="1463680"/>
            <a:ext cx="11158585" cy="2045004"/>
          </a:xfrm>
        </p:spPr>
        <p:txBody>
          <a:bodyPr>
            <a:spAutoFit/>
          </a:bodyPr>
          <a:lstStyle>
            <a:lvl1pPr marL="0" indent="0">
              <a:buFontTx/>
              <a:buNone/>
              <a:defRPr/>
            </a:lvl1pPr>
            <a:lvl2pPr marL="460230" indent="0">
              <a:buFontTx/>
              <a:buNone/>
              <a:defRPr/>
            </a:lvl2pPr>
            <a:lvl3pPr marL="914120" indent="0">
              <a:buFontTx/>
              <a:buNone/>
              <a:defRPr/>
            </a:lvl3pPr>
            <a:lvl4pPr marL="1369593" indent="0">
              <a:buFontTx/>
              <a:buNone/>
              <a:defRPr/>
            </a:lvl4pPr>
            <a:lvl5pPr marL="1836176"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74213941"/>
      </p:ext>
    </p:extLst>
  </p:cSld>
  <p:clrMapOvr>
    <a:masterClrMapping/>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Tree>
    <p:extLst>
      <p:ext uri="{BB962C8B-B14F-4D97-AF65-F5344CB8AC3E}">
        <p14:creationId xmlns:p14="http://schemas.microsoft.com/office/powerpoint/2010/main" val="3437700266"/>
      </p:ext>
    </p:extLst>
  </p:cSld>
  <p:clrMapOvr>
    <a:masterClrMapping/>
  </p:clrMapOvr>
  <p:transition>
    <p:fade/>
  </p:transition>
  <p:timing>
    <p:tnLst>
      <p:par>
        <p:cTn id="1" dur="indefinite" restart="never" nodeType="tmRoot"/>
      </p:par>
    </p:tnLst>
  </p:timing>
</p:sldLayout>
</file>

<file path=ppt/slideLayouts/slideLayout6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1501082"/>
      </p:ext>
    </p:extLst>
  </p:cSld>
  <p:clrMapOvr>
    <a:masterClrMapping/>
  </p:clrMapOvr>
  <p:transition>
    <p:fade/>
  </p:transition>
  <p:timing>
    <p:tnLst>
      <p:par>
        <p:cTn id="1" dur="indefinite" restart="never" nodeType="tmRoot"/>
      </p:par>
    </p:tnLst>
  </p:timing>
</p:sldLayout>
</file>

<file path=ppt/slideLayouts/slideLayout6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297381"/>
          </a:xfrm>
        </p:spPr>
        <p:txBody>
          <a:bodyPr/>
          <a:lstStyle>
            <a:lvl1pPr marL="341209" indent="-341209">
              <a:lnSpc>
                <a:spcPct val="90000"/>
              </a:lnSpc>
              <a:buSzPct val="80000"/>
              <a:buFont typeface="Arial" pitchFamily="34" charset="0"/>
              <a:buChar char="•"/>
              <a:defRPr sz="3200"/>
            </a:lvl1pPr>
            <a:lvl2pPr marL="626870" indent="-285662">
              <a:lnSpc>
                <a:spcPct val="90000"/>
              </a:lnSpc>
              <a:buSzPct val="80000"/>
              <a:buFont typeface="Arial" pitchFamily="34" charset="0"/>
              <a:buChar char="•"/>
              <a:defRPr sz="2800"/>
            </a:lvl2pPr>
            <a:lvl3pPr marL="914120" indent="-287250">
              <a:lnSpc>
                <a:spcPct val="90000"/>
              </a:lnSpc>
              <a:buSzPct val="80000"/>
              <a:buFont typeface="Arial" pitchFamily="34" charset="0"/>
              <a:buChar char="•"/>
              <a:defRPr sz="2400"/>
            </a:lvl3pPr>
            <a:lvl4pPr marL="1712388" indent="-225356">
              <a:lnSpc>
                <a:spcPct val="90000"/>
              </a:lnSpc>
              <a:buSzPct val="80000"/>
              <a:buFont typeface="Arial" pitchFamily="34" charset="0"/>
              <a:buChar char="•"/>
              <a:defRPr sz="2000"/>
            </a:lvl4pPr>
            <a:lvl5pPr marL="1944090" indent="-231703">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056" indent="-45705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269" indent="-45705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666" indent="-34279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829" indent="-342796">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184" indent="-342796">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09" lvl="0" indent="-341209" algn="l" defTabSz="914084" rtl="0" eaLnBrk="1" latinLnBrk="0" hangingPunct="1">
              <a:lnSpc>
                <a:spcPct val="90000"/>
              </a:lnSpc>
              <a:spcBef>
                <a:spcPct val="20000"/>
              </a:spcBef>
              <a:buSzPct val="80000"/>
              <a:buFont typeface="Arial" pitchFamily="34" charset="0"/>
              <a:buChar char="•"/>
            </a:pPr>
            <a:r>
              <a:rPr lang="en-US" smtClean="0"/>
              <a:t>Click to edit Master text styles</a:t>
            </a:r>
          </a:p>
          <a:p>
            <a:pPr marL="341209" lvl="1" indent="-341209" algn="l" defTabSz="914084" rtl="0" eaLnBrk="1" latinLnBrk="0" hangingPunct="1">
              <a:lnSpc>
                <a:spcPct val="90000"/>
              </a:lnSpc>
              <a:spcBef>
                <a:spcPct val="20000"/>
              </a:spcBef>
              <a:buSzPct val="80000"/>
              <a:buFont typeface="Arial" pitchFamily="34" charset="0"/>
              <a:buChar char="•"/>
            </a:pPr>
            <a:r>
              <a:rPr lang="en-US" smtClean="0"/>
              <a:t>Second level</a:t>
            </a:r>
          </a:p>
          <a:p>
            <a:pPr marL="341209" lvl="2" indent="-341209" algn="l" defTabSz="914084" rtl="0" eaLnBrk="1" latinLnBrk="0" hangingPunct="1">
              <a:lnSpc>
                <a:spcPct val="90000"/>
              </a:lnSpc>
              <a:spcBef>
                <a:spcPct val="20000"/>
              </a:spcBef>
              <a:buSzPct val="80000"/>
              <a:buFont typeface="Arial" pitchFamily="34" charset="0"/>
              <a:buChar char="•"/>
            </a:pPr>
            <a:r>
              <a:rPr lang="en-US" smtClean="0"/>
              <a:t>Third level</a:t>
            </a:r>
          </a:p>
          <a:p>
            <a:pPr marL="341209" lvl="3" indent="-341209" algn="l" defTabSz="914084" rtl="0" eaLnBrk="1" latinLnBrk="0" hangingPunct="1">
              <a:lnSpc>
                <a:spcPct val="90000"/>
              </a:lnSpc>
              <a:spcBef>
                <a:spcPct val="20000"/>
              </a:spcBef>
              <a:buSzPct val="80000"/>
              <a:buFont typeface="Arial" pitchFamily="34" charset="0"/>
              <a:buChar char="•"/>
            </a:pPr>
            <a:r>
              <a:rPr lang="en-US" smtClean="0"/>
              <a:t>Fourth level</a:t>
            </a:r>
          </a:p>
          <a:p>
            <a:pPr marL="341209" lvl="4" indent="-341209" algn="l" defTabSz="91408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2" y="6372550"/>
            <a:ext cx="1682359" cy="195501"/>
          </a:xfrm>
          <a:prstGeom prst="rect">
            <a:avLst/>
          </a:prstGeom>
        </p:spPr>
      </p:pic>
    </p:spTree>
    <p:extLst>
      <p:ext uri="{BB962C8B-B14F-4D97-AF65-F5344CB8AC3E}">
        <p14:creationId xmlns:p14="http://schemas.microsoft.com/office/powerpoint/2010/main" val="2806723419"/>
      </p:ext>
    </p:extLst>
  </p:cSld>
  <p:clrMapOvr>
    <a:masterClrMapping/>
  </p:clrMapOvr>
  <p:transition>
    <p:fade/>
  </p:transition>
  <p:timing>
    <p:tnLst>
      <p:par>
        <p:cTn id="1" dur="indefinite" restart="never" nodeType="tmRoot"/>
      </p:par>
    </p:tnLst>
  </p:timing>
</p:sldLayout>
</file>

<file path=ppt/slideLayouts/slideLayout6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80"/>
            <a:ext cx="5487829" cy="448127"/>
          </a:xfrm>
        </p:spPr>
        <p:txBody>
          <a:bodyPr anchor="b"/>
          <a:lstStyle>
            <a:lvl1pPr marL="0" indent="0">
              <a:lnSpc>
                <a:spcPct val="90000"/>
              </a:lnSpc>
              <a:spcBef>
                <a:spcPts val="0"/>
              </a:spcBef>
              <a:buNone/>
              <a:defRPr sz="3200" b="0">
                <a:latin typeface="Segoe UI Light" pitchFamily="34" charset="0"/>
              </a:defRPr>
            </a:lvl1pPr>
            <a:lvl2pPr marL="457040" indent="0">
              <a:buNone/>
              <a:defRPr sz="2000" b="1"/>
            </a:lvl2pPr>
            <a:lvl3pPr marL="914084" indent="0">
              <a:buNone/>
              <a:defRPr sz="1900" b="1"/>
            </a:lvl3pPr>
            <a:lvl4pPr marL="1371124" indent="0">
              <a:buNone/>
              <a:defRPr sz="1600" b="1"/>
            </a:lvl4pPr>
            <a:lvl5pPr marL="1828168" indent="0">
              <a:buNone/>
              <a:defRPr sz="1600" b="1"/>
            </a:lvl5pPr>
            <a:lvl6pPr marL="2285205" indent="0">
              <a:buNone/>
              <a:defRPr sz="1600" b="1"/>
            </a:lvl6pPr>
            <a:lvl7pPr marL="2742251" indent="0">
              <a:buNone/>
              <a:defRPr sz="1600" b="1"/>
            </a:lvl7pPr>
            <a:lvl8pPr marL="3199291" indent="0">
              <a:buNone/>
              <a:defRPr sz="1600" b="1"/>
            </a:lvl8pPr>
            <a:lvl9pPr marL="3656334"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508003" y="2266804"/>
            <a:ext cx="5486400" cy="1983449"/>
          </a:xfrm>
        </p:spPr>
        <p:txBody>
          <a:bodyPr/>
          <a:lstStyle>
            <a:lvl1pPr marL="403103" indent="-403103">
              <a:buSzPct val="80000"/>
              <a:buFont typeface="Arial" pitchFamily="34" charset="0"/>
              <a:buChar char="•"/>
              <a:defRPr sz="2800"/>
            </a:lvl1pPr>
            <a:lvl2pPr marL="744307" indent="-322164">
              <a:buSzPct val="80000"/>
              <a:buFont typeface="Arial" pitchFamily="34" charset="0"/>
              <a:buChar char="•"/>
              <a:defRPr sz="2800"/>
            </a:lvl2pPr>
            <a:lvl3pPr marL="1026799" indent="-282489" defTabSz="1029973">
              <a:buSzPct val="80000"/>
              <a:buFont typeface="Arial" pitchFamily="34" charset="0"/>
              <a:buChar char="•"/>
              <a:defRPr sz="2400"/>
            </a:lvl3pPr>
            <a:lvl4pPr marL="1317220" indent="-287250">
              <a:buSzPct val="80000"/>
              <a:buFont typeface="Arial" pitchFamily="34" charset="0"/>
              <a:buChar char="•"/>
              <a:defRPr sz="2000"/>
            </a:lvl4pPr>
            <a:lvl5pPr marL="1540991" indent="-223769">
              <a:buSzPct val="80000"/>
              <a:buFont typeface="Arial" pitchFamily="34" charset="0"/>
              <a:buChar cha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83335" y="1442880"/>
            <a:ext cx="5487829" cy="448127"/>
          </a:xfrm>
        </p:spPr>
        <p:txBody>
          <a:bodyPr anchor="b"/>
          <a:lstStyle>
            <a:lvl1pPr marL="0" indent="0">
              <a:lnSpc>
                <a:spcPct val="90000"/>
              </a:lnSpc>
              <a:spcBef>
                <a:spcPts val="0"/>
              </a:spcBef>
              <a:buNone/>
              <a:defRPr sz="3200" b="0">
                <a:latin typeface="Segoe UI Light" pitchFamily="34" charset="0"/>
              </a:defRPr>
            </a:lvl1pPr>
            <a:lvl2pPr marL="457040" indent="0">
              <a:buNone/>
              <a:defRPr sz="2000" b="1"/>
            </a:lvl2pPr>
            <a:lvl3pPr marL="914084" indent="0">
              <a:buNone/>
              <a:defRPr sz="1900" b="1"/>
            </a:lvl3pPr>
            <a:lvl4pPr marL="1371124" indent="0">
              <a:buNone/>
              <a:defRPr sz="1600" b="1"/>
            </a:lvl4pPr>
            <a:lvl5pPr marL="1828168" indent="0">
              <a:buNone/>
              <a:defRPr sz="1600" b="1"/>
            </a:lvl5pPr>
            <a:lvl6pPr marL="2285205" indent="0">
              <a:buNone/>
              <a:defRPr sz="1600" b="1"/>
            </a:lvl6pPr>
            <a:lvl7pPr marL="2742251" indent="0">
              <a:buNone/>
              <a:defRPr sz="1600" b="1"/>
            </a:lvl7pPr>
            <a:lvl8pPr marL="3199291" indent="0">
              <a:buNone/>
              <a:defRPr sz="1600" b="1"/>
            </a:lvl8pPr>
            <a:lvl9pPr marL="3656334"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31" indent="-29623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56" indent="-45705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40" indent="-342796">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766" indent="-342796">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05" indent="-342796">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766" indent="-342796">
              <a:defRPr sz="1600"/>
            </a:lvl6pPr>
            <a:lvl7pPr marL="1602885" indent="-285662">
              <a:defRPr sz="1600"/>
            </a:lvl7pPr>
            <a:lvl8pPr>
              <a:defRPr sz="1600"/>
            </a:lvl8pPr>
            <a:lvl9pPr>
              <a:defRPr sz="1600"/>
            </a:lvl9pPr>
          </a:lstStyle>
          <a:p>
            <a:pPr marL="403103" lvl="0" indent="-403103" algn="l" defTabSz="914084" rtl="0" eaLnBrk="1" latinLnBrk="0" hangingPunct="1">
              <a:lnSpc>
                <a:spcPct val="90000"/>
              </a:lnSpc>
              <a:spcBef>
                <a:spcPct val="20000"/>
              </a:spcBef>
              <a:buSzPct val="80000"/>
            </a:pPr>
            <a:r>
              <a:rPr lang="en-US" dirty="0" smtClean="0"/>
              <a:t>Click to edit Master text styles</a:t>
            </a:r>
          </a:p>
          <a:p>
            <a:pPr marL="403103" lvl="1" indent="-403103" algn="l" defTabSz="914084" rtl="0" eaLnBrk="1" latinLnBrk="0" hangingPunct="1">
              <a:lnSpc>
                <a:spcPct val="90000"/>
              </a:lnSpc>
              <a:spcBef>
                <a:spcPct val="20000"/>
              </a:spcBef>
              <a:buSzPct val="80000"/>
            </a:pPr>
            <a:r>
              <a:rPr lang="en-US" dirty="0" smtClean="0"/>
              <a:t>Second level</a:t>
            </a:r>
          </a:p>
          <a:p>
            <a:pPr marL="403103" lvl="2" indent="-403103" algn="l" defTabSz="914084" rtl="0" eaLnBrk="1" latinLnBrk="0" hangingPunct="1">
              <a:lnSpc>
                <a:spcPct val="90000"/>
              </a:lnSpc>
              <a:spcBef>
                <a:spcPct val="20000"/>
              </a:spcBef>
              <a:buSzPct val="80000"/>
            </a:pPr>
            <a:r>
              <a:rPr lang="en-US" dirty="0" smtClean="0"/>
              <a:t>Third level</a:t>
            </a:r>
          </a:p>
          <a:p>
            <a:pPr marL="403103" lvl="3" indent="-403103" algn="l" defTabSz="914084" rtl="0" eaLnBrk="1" latinLnBrk="0" hangingPunct="1">
              <a:lnSpc>
                <a:spcPct val="90000"/>
              </a:lnSpc>
              <a:spcBef>
                <a:spcPct val="20000"/>
              </a:spcBef>
              <a:buSzPct val="80000"/>
            </a:pPr>
            <a:r>
              <a:rPr lang="en-US" dirty="0" smtClean="0"/>
              <a:t>Fourth level</a:t>
            </a:r>
          </a:p>
          <a:p>
            <a:pPr marL="403103" lvl="4" indent="-403103" algn="l" defTabSz="914084" rtl="0" eaLnBrk="1" latinLnBrk="0" hangingPunct="1">
              <a:lnSpc>
                <a:spcPct val="90000"/>
              </a:lnSpc>
              <a:spcBef>
                <a:spcPct val="20000"/>
              </a:spcBef>
              <a:buSzPct val="80000"/>
            </a:pPr>
            <a:r>
              <a:rPr lang="en-US" dirty="0"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2" y="6372550"/>
            <a:ext cx="1682359" cy="195501"/>
          </a:xfrm>
          <a:prstGeom prst="rect">
            <a:avLst/>
          </a:prstGeom>
        </p:spPr>
      </p:pic>
    </p:spTree>
    <p:extLst>
      <p:ext uri="{BB962C8B-B14F-4D97-AF65-F5344CB8AC3E}">
        <p14:creationId xmlns:p14="http://schemas.microsoft.com/office/powerpoint/2010/main" val="2156224424"/>
      </p:ext>
    </p:extLst>
  </p:cSld>
  <p:clrMapOvr>
    <a:masterClrMapping/>
  </p:clrMapOvr>
  <p:transition>
    <p:fade/>
  </p:transition>
  <p:timing>
    <p:tnLst>
      <p:par>
        <p:cTn id="1" dur="indefinite" restart="never" nodeType="tmRoot"/>
      </p:par>
    </p:tnLst>
  </p:timing>
</p:sldLayout>
</file>

<file path=ppt/slideLayouts/slideLayout697.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51"/>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84"/>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84"/>
              <a:endParaRPr lang="en-US" sz="1900">
                <a:solidFill>
                  <a:srgbClr val="292929"/>
                </a:solidFill>
              </a:endParaRPr>
            </a:p>
          </p:txBody>
        </p:sp>
      </p:grpSp>
    </p:spTree>
    <p:extLst>
      <p:ext uri="{BB962C8B-B14F-4D97-AF65-F5344CB8AC3E}">
        <p14:creationId xmlns:p14="http://schemas.microsoft.com/office/powerpoint/2010/main" val="1594540581"/>
      </p:ext>
    </p:extLst>
  </p:cSld>
  <p:clrMapOvr>
    <a:masterClrMapping/>
  </p:clrMapOvr>
  <p:transition>
    <p:fade/>
  </p:transition>
  <p:timing>
    <p:tnLst>
      <p:par>
        <p:cTn id="1" dur="indefinite" restart="never" nodeType="tmRoot"/>
      </p:par>
    </p:tnLst>
  </p:timing>
</p:sldLayout>
</file>

<file path=ppt/slideLayouts/slideLayout698.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20"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1" tIns="45707" rIns="91411" bIns="45707" numCol="1" anchor="t" anchorCtr="0" compatLnSpc="1">
            <a:prstTxWarp prst="textNoShape">
              <a:avLst/>
            </a:prstTxWarp>
          </a:bodyPr>
          <a:lstStyle/>
          <a:p>
            <a:pPr defTabSz="914084"/>
            <a:endParaRPr lang="en-US" sz="1900">
              <a:solidFill>
                <a:srgbClr val="292929"/>
              </a:solidFill>
            </a:endParaRPr>
          </a:p>
        </p:txBody>
      </p:sp>
    </p:spTree>
    <p:extLst>
      <p:ext uri="{BB962C8B-B14F-4D97-AF65-F5344CB8AC3E}">
        <p14:creationId xmlns:p14="http://schemas.microsoft.com/office/powerpoint/2010/main" val="2795752936"/>
      </p:ext>
    </p:extLst>
  </p:cSld>
  <p:clrMapOvr>
    <a:masterClrMapping/>
  </p:clrMapOvr>
  <p:transition>
    <p:fade/>
  </p:transition>
  <p:timing>
    <p:tnLst>
      <p:par>
        <p:cTn id="1" dur="indefinite" restart="never" nodeType="tmRoot"/>
      </p:par>
    </p:tnLst>
  </p:timing>
</p:sldLayout>
</file>

<file path=ppt/slideLayouts/slideLayout699.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9"/>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grpSp>
    </p:spTree>
    <p:extLst>
      <p:ext uri="{BB962C8B-B14F-4D97-AF65-F5344CB8AC3E}">
        <p14:creationId xmlns:p14="http://schemas.microsoft.com/office/powerpoint/2010/main" val="2583818121"/>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1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326077"/>
      </p:ext>
    </p:extLst>
  </p:cSld>
  <p:clrMapOvr>
    <a:masterClrMapping/>
  </p:clrMapOvr>
  <p:transition>
    <p:fade/>
  </p:transition>
  <p:timing>
    <p:tnLst>
      <p:par>
        <p:cTn id="1" dur="indefinite" restart="never" nodeType="tmRoot"/>
      </p:par>
    </p:tnLst>
  </p:timing>
</p:sldLayout>
</file>

<file path=ppt/slideLayouts/slideLayout700.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79" tIns="41139" rIns="82279" bIns="41139" numCol="1" anchor="t" anchorCtr="0" compatLnSpc="1">
            <a:prstTxWarp prst="textNoShape">
              <a:avLst/>
            </a:prstTxWarp>
          </a:bodyPr>
          <a:lstStyle/>
          <a:p>
            <a:pPr defTabSz="914084"/>
            <a:endParaRPr lang="en-US" sz="1600">
              <a:solidFill>
                <a:srgbClr val="292929"/>
              </a:solidFill>
            </a:endParaRPr>
          </a:p>
        </p:txBody>
      </p:sp>
    </p:spTree>
    <p:extLst>
      <p:ext uri="{BB962C8B-B14F-4D97-AF65-F5344CB8AC3E}">
        <p14:creationId xmlns:p14="http://schemas.microsoft.com/office/powerpoint/2010/main" val="2827407461"/>
      </p:ext>
    </p:extLst>
  </p:cSld>
  <p:clrMapOvr>
    <a:masterClrMapping/>
  </p:clrMapOvr>
  <p:transition>
    <p:fade/>
  </p:transition>
  <p:timing>
    <p:tnLst>
      <p:par>
        <p:cTn id="1" dur="indefinite" restart="never" nodeType="tmRoot"/>
      </p:par>
    </p:tnLst>
  </p:timing>
</p:sldLayout>
</file>

<file path=ppt/slideLayouts/slideLayout701.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9"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4"/>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4"/>
              <a:endParaRPr lang="en-US" sz="1900">
                <a:solidFill>
                  <a:srgbClr val="292929"/>
                </a:solidFill>
              </a:endParaRPr>
            </a:p>
          </p:txBody>
        </p:sp>
      </p:grpSp>
    </p:spTree>
    <p:extLst>
      <p:ext uri="{BB962C8B-B14F-4D97-AF65-F5344CB8AC3E}">
        <p14:creationId xmlns:p14="http://schemas.microsoft.com/office/powerpoint/2010/main" val="1150937744"/>
      </p:ext>
    </p:extLst>
  </p:cSld>
  <p:clrMapOvr>
    <a:masterClrMapping/>
  </p:clrMapOvr>
  <p:transition>
    <p:fade/>
  </p:transition>
  <p:timing>
    <p:tnLst>
      <p:par>
        <p:cTn id="1" dur="indefinite" restart="never" nodeType="tmRoot"/>
      </p:par>
    </p:tnLst>
  </p:timing>
</p:sldLayout>
</file>

<file path=ppt/slideLayouts/slideLayout702.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5"/>
            <a:ext cx="11176000" cy="415484"/>
          </a:xfrm>
          <a:prstGeom prst="rect">
            <a:avLst/>
          </a:prstGeom>
          <a:noFill/>
          <a:ln w="12700">
            <a:noFill/>
            <a:miter lim="800000"/>
            <a:headEnd type="none" w="sm" len="sm"/>
            <a:tailEnd type="none" w="sm" len="sm"/>
          </a:ln>
          <a:effectLst/>
        </p:spPr>
        <p:txBody>
          <a:bodyPr vert="horz" wrap="square" lIns="91396" tIns="45699" rIns="91396" bIns="45699" numCol="1" anchor="t" anchorCtr="0" compatLnSpc="1">
            <a:prstTxWarp prst="textNoShape">
              <a:avLst/>
            </a:prstTxWarp>
            <a:spAutoFit/>
          </a:bodyPr>
          <a:lstStyle/>
          <a:p>
            <a:pPr algn="ctr" defTabSz="913820"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20"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458332541"/>
      </p:ext>
    </p:extLst>
  </p:cSld>
  <p:clrMapOvr>
    <a:masterClrMapping/>
  </p:clrMapOvr>
  <p:transition>
    <p:fade/>
  </p:transition>
  <p:timing>
    <p:tnLst>
      <p:par>
        <p:cTn id="1" dur="indefinite" restart="never" nodeType="tmRoot"/>
      </p:par>
    </p:tnLst>
  </p:timing>
</p:sldLayout>
</file>

<file path=ppt/slideLayouts/slideLayout703.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800"/>
            <a:ext cx="11151917" cy="2045004"/>
          </a:xfrm>
        </p:spPr>
        <p:txBody>
          <a:bodyPr/>
          <a:lstStyle>
            <a:lvl1pPr marL="460230" indent="-460230">
              <a:buClr>
                <a:srgbClr val="FFFFFF"/>
              </a:buClr>
              <a:buSzPct val="70000"/>
              <a:buFontTx/>
              <a:buBlip>
                <a:blip r:embed="rId2"/>
              </a:buBlip>
              <a:defRPr>
                <a:gradFill>
                  <a:gsLst>
                    <a:gs pos="0">
                      <a:srgbClr val="FFFFFF"/>
                    </a:gs>
                    <a:gs pos="86000">
                      <a:srgbClr val="FFFFFF"/>
                    </a:gs>
                  </a:gsLst>
                  <a:lin ang="5400000" scaled="0"/>
                </a:gradFill>
              </a:defRPr>
            </a:lvl1pPr>
            <a:lvl2pPr marL="855401" indent="-395170">
              <a:buClr>
                <a:srgbClr val="FFFFFF"/>
              </a:buClr>
              <a:buSzPct val="70000"/>
              <a:buFontTx/>
              <a:buBlip>
                <a:blip r:embed="rId2"/>
              </a:buBlip>
              <a:defRPr>
                <a:gradFill>
                  <a:gsLst>
                    <a:gs pos="0">
                      <a:srgbClr val="FFFFFF"/>
                    </a:gs>
                    <a:gs pos="86000">
                      <a:srgbClr val="FFFFFF"/>
                    </a:gs>
                  </a:gsLst>
                  <a:lin ang="5400000" scaled="0"/>
                </a:gradFill>
              </a:defRPr>
            </a:lvl2pPr>
            <a:lvl3pPr marL="1258504" indent="-403103">
              <a:buClr>
                <a:srgbClr val="FFFFFF"/>
              </a:buClr>
              <a:buSzPct val="70000"/>
              <a:buFontTx/>
              <a:buBlip>
                <a:blip r:embed="rId2"/>
              </a:buBlip>
              <a:defRPr>
                <a:gradFill>
                  <a:gsLst>
                    <a:gs pos="0">
                      <a:srgbClr val="FFFFFF"/>
                    </a:gs>
                    <a:gs pos="86000">
                      <a:srgbClr val="FFFFFF"/>
                    </a:gs>
                  </a:gsLst>
                  <a:lin ang="5400000" scaled="0"/>
                </a:gradFill>
              </a:defRPr>
            </a:lvl3pPr>
            <a:lvl4pPr marL="1604467" indent="-345968">
              <a:buClr>
                <a:srgbClr val="FFFFFF"/>
              </a:buClr>
              <a:buSzPct val="70000"/>
              <a:buFontTx/>
              <a:buBlip>
                <a:blip r:embed="rId2"/>
              </a:buBlip>
              <a:defRPr>
                <a:gradFill>
                  <a:gsLst>
                    <a:gs pos="0">
                      <a:srgbClr val="FFFFFF"/>
                    </a:gs>
                    <a:gs pos="86000">
                      <a:srgbClr val="FFFFFF"/>
                    </a:gs>
                  </a:gsLst>
                  <a:lin ang="5400000" scaled="0"/>
                </a:gradFill>
              </a:defRPr>
            </a:lvl4pPr>
            <a:lvl5pPr marL="1940920" indent="-3364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58694570"/>
      </p:ext>
    </p:extLst>
  </p:cSld>
  <p:clrMapOvr>
    <a:masterClrMapping/>
  </p:clrMapOvr>
  <p:transition>
    <p:fade/>
  </p:transition>
  <p:timing>
    <p:tnLst>
      <p:par>
        <p:cTn id="1" dur="indefinite" restart="never" nodeType="tmRoot"/>
      </p:par>
    </p:tnLst>
  </p:timing>
</p:sldLayout>
</file>

<file path=ppt/slideLayouts/slideLayout704.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800"/>
            <a:ext cx="11151917" cy="2045004"/>
          </a:xfrm>
        </p:spPr>
        <p:txBody>
          <a:bodyPr/>
          <a:lstStyle>
            <a:lvl1pPr marL="460230" indent="-460230">
              <a:buClr>
                <a:srgbClr val="FFFFFF"/>
              </a:buClr>
              <a:buSzPct val="70000"/>
              <a:buFontTx/>
              <a:buBlip>
                <a:blip r:embed="rId2"/>
              </a:buBlip>
              <a:defRPr>
                <a:gradFill>
                  <a:gsLst>
                    <a:gs pos="0">
                      <a:srgbClr val="FFFFFF"/>
                    </a:gs>
                    <a:gs pos="86000">
                      <a:srgbClr val="FFFFFF"/>
                    </a:gs>
                  </a:gsLst>
                  <a:lin ang="5400000" scaled="0"/>
                </a:gradFill>
              </a:defRPr>
            </a:lvl1pPr>
            <a:lvl2pPr marL="855401" indent="-395170">
              <a:buClr>
                <a:srgbClr val="FFFFFF"/>
              </a:buClr>
              <a:buSzPct val="70000"/>
              <a:buFontTx/>
              <a:buBlip>
                <a:blip r:embed="rId2"/>
              </a:buBlip>
              <a:defRPr>
                <a:gradFill>
                  <a:gsLst>
                    <a:gs pos="0">
                      <a:srgbClr val="FFFFFF"/>
                    </a:gs>
                    <a:gs pos="86000">
                      <a:srgbClr val="FFFFFF"/>
                    </a:gs>
                  </a:gsLst>
                  <a:lin ang="5400000" scaled="0"/>
                </a:gradFill>
              </a:defRPr>
            </a:lvl2pPr>
            <a:lvl3pPr marL="1258504" indent="-403103">
              <a:buClr>
                <a:srgbClr val="FFFFFF"/>
              </a:buClr>
              <a:buSzPct val="70000"/>
              <a:buFontTx/>
              <a:buBlip>
                <a:blip r:embed="rId2"/>
              </a:buBlip>
              <a:defRPr>
                <a:gradFill>
                  <a:gsLst>
                    <a:gs pos="0">
                      <a:srgbClr val="FFFFFF"/>
                    </a:gs>
                    <a:gs pos="86000">
                      <a:srgbClr val="FFFFFF"/>
                    </a:gs>
                  </a:gsLst>
                  <a:lin ang="5400000" scaled="0"/>
                </a:gradFill>
              </a:defRPr>
            </a:lvl3pPr>
            <a:lvl4pPr marL="1604467" indent="-345968">
              <a:buClr>
                <a:srgbClr val="FFFFFF"/>
              </a:buClr>
              <a:buSzPct val="70000"/>
              <a:buFontTx/>
              <a:buBlip>
                <a:blip r:embed="rId2"/>
              </a:buBlip>
              <a:defRPr>
                <a:gradFill>
                  <a:gsLst>
                    <a:gs pos="0">
                      <a:srgbClr val="FFFFFF"/>
                    </a:gs>
                    <a:gs pos="86000">
                      <a:srgbClr val="FFFFFF"/>
                    </a:gs>
                  </a:gsLst>
                  <a:lin ang="5400000" scaled="0"/>
                </a:gradFill>
              </a:defRPr>
            </a:lvl4pPr>
            <a:lvl5pPr marL="1940920" indent="-3364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46" tIns="76169" rIns="152346" bIns="76169"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89180556"/>
      </p:ext>
    </p:extLst>
  </p:cSld>
  <p:clrMapOvr>
    <a:masterClrMapping/>
  </p:clrMapOvr>
  <p:transition>
    <p:fade/>
  </p:transition>
  <p:timing>
    <p:tnLst>
      <p:par>
        <p:cTn id="1" dur="indefinite" restart="never" nodeType="tmRoot"/>
      </p:par>
    </p:tn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17323"/>
            <a:ext cx="11151917" cy="1043020"/>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04" indent="-40310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67" indent="-3459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20" indent="-3364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592251539"/>
      </p:ext>
    </p:extLst>
  </p:cSld>
  <p:clrMapOvr>
    <a:masterClrMapping/>
  </p:clrMapOvr>
  <p:transition>
    <p:fade/>
  </p:transition>
  <p:timing>
    <p:tnLst>
      <p:par>
        <p:cTn id="1" dur="indefinite" restart="never" nodeType="tmRoot"/>
      </p:par>
    </p:tn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86488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91645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240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2431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586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49326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4269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62321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49778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0604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06752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45202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5" y="3452039"/>
            <a:ext cx="6486922" cy="2002536"/>
          </a:xfrm>
        </p:spPr>
        <p:txBody>
          <a:bodyPr vert="horz" wrap="square" lIns="0" tIns="0" rIns="0" bIns="0" rtlCol="0" anchor="ctr" anchorCtr="0">
            <a:noAutofit/>
          </a:bodyPr>
          <a:lstStyle>
            <a:lvl1pPr algn="l" defTabSz="91419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7" y="5482009"/>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5109061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7"/>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19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770634929"/>
      </p:ext>
    </p:extLst>
  </p:cSld>
  <p:clrMapOvr>
    <a:masterClrMapping/>
  </p:clrMapOvr>
  <p:transition>
    <p:fade/>
  </p:transition>
  <p:timing>
    <p:tnLst>
      <p:par>
        <p:cTn id="1" dur="indefinite" restart="never" nodeType="tmRoot"/>
      </p:par>
    </p:tnLst>
  </p:timing>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3"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pPr marL="0" marR="0" lvl="0" indent="0" algn="l" defTabSz="91419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3"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1154657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73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45695" numCol="1" spcCol="0" rtlCol="0" anchor="ctr" anchorCtr="0" compatLnSpc="1">
            <a:prstTxWarp prst="textNoShape">
              <a:avLst/>
            </a:prstTxWarp>
          </a:bodyPr>
          <a:lstStyle/>
          <a:p>
            <a:pPr algn="ctr" defTabSz="913622"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grpSp>
      <p:sp>
        <p:nvSpPr>
          <p:cNvPr id="3" name="Subtitle 2"/>
          <p:cNvSpPr>
            <a:spLocks noGrp="1"/>
          </p:cNvSpPr>
          <p:nvPr>
            <p:ph type="subTitle" idx="1" hasCustomPrompt="1"/>
          </p:nvPr>
        </p:nvSpPr>
        <p:spPr>
          <a:xfrm>
            <a:off x="3475626" y="3419856"/>
            <a:ext cx="6951250" cy="1243584"/>
          </a:xfrm>
        </p:spPr>
        <p:txBody>
          <a:bodyPr vert="horz" wrap="square" lIns="182847" tIns="182847" rIns="0" bIns="0" rtlCol="0" anchor="ctr" anchorCtr="0">
            <a:spAutoFit/>
          </a:bodyPr>
          <a:lstStyle>
            <a:lvl1pPr marL="574571" indent="-571396">
              <a:buNone/>
              <a:defRPr lang="en-US" sz="4400" spc="-100" dirty="0" smtClean="0">
                <a:solidFill>
                  <a:schemeClr val="tx1">
                    <a:alpha val="99000"/>
                  </a:schemeClr>
                </a:solidFill>
                <a:latin typeface="Segoe UI Light" pitchFamily="34" charset="0"/>
              </a:defRPr>
            </a:lvl1pPr>
            <a:lvl2pPr marL="346013" indent="-342838">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379876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10" marR="0" indent="0" algn="l" defTabSz="91419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32" indent="0">
              <a:buFont typeface="Wingdings" pitchFamily="2" charset="2"/>
              <a:buNone/>
              <a:tabLst/>
              <a:defRPr>
                <a:solidFill>
                  <a:schemeClr val="tx1">
                    <a:alpha val="99000"/>
                  </a:schemeClr>
                </a:solidFill>
                <a:latin typeface="+mn-lt"/>
              </a:defRPr>
            </a:lvl3pPr>
            <a:lvl4pPr marL="741228" indent="0">
              <a:buFont typeface="Wingdings" pitchFamily="2" charset="2"/>
              <a:buNone/>
              <a:defRPr>
                <a:solidFill>
                  <a:schemeClr val="tx1">
                    <a:alpha val="99000"/>
                  </a:schemeClr>
                </a:solidFill>
                <a:latin typeface="+mn-lt"/>
              </a:defRPr>
            </a:lvl4pPr>
            <a:lvl5pPr marL="914234"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70234274"/>
      </p:ext>
    </p:extLst>
  </p:cSld>
  <p:clrMapOvr>
    <a:masterClrMapping/>
  </p:clrMapOvr>
  <p:transition>
    <p:fade/>
  </p:transition>
  <p:timing>
    <p:tnLst>
      <p:par>
        <p:cTn id="1" dur="indefinite" restart="never" nodeType="tmRoot"/>
      </p:par>
    </p:tnLst>
  </p:timing>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0"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32" indent="0">
              <a:buNone/>
              <a:defRPr lang="en-US" sz="2400" kern="1200" spc="0" baseline="0" dirty="0" smtClean="0">
                <a:solidFill>
                  <a:schemeClr val="tx1">
                    <a:alpha val="99000"/>
                  </a:schemeClr>
                </a:solidFill>
                <a:latin typeface="+mn-lt"/>
                <a:ea typeface="+mn-ea"/>
                <a:cs typeface="+mn-cs"/>
              </a:defRPr>
            </a:lvl3pPr>
            <a:lvl4pPr marL="457116" indent="0">
              <a:buNone/>
              <a:defRPr lang="en-US" sz="2000" kern="1200" spc="0" baseline="0" dirty="0" smtClean="0">
                <a:solidFill>
                  <a:schemeClr val="tx1">
                    <a:alpha val="99000"/>
                  </a:schemeClr>
                </a:solidFill>
                <a:latin typeface="+mn-lt"/>
                <a:ea typeface="+mn-ea"/>
                <a:cs typeface="+mn-cs"/>
              </a:defRPr>
            </a:lvl4pPr>
            <a:lvl5pPr marL="693612"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87587854"/>
      </p:ext>
    </p:extLst>
  </p:cSld>
  <p:clrMapOvr>
    <a:masterClrMapping/>
  </p:clrMapOvr>
  <p:transition>
    <p:fade/>
  </p:transition>
  <p:timing>
    <p:tnLst>
      <p:par>
        <p:cTn id="1" dur="indefinite" restart="never" nodeType="tmRoot"/>
      </p:par>
    </p:tnLst>
  </p:timing>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0"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32" indent="0">
              <a:buNone/>
              <a:defRPr lang="en-US" sz="2400" kern="1200" spc="0" baseline="0" dirty="0" smtClean="0">
                <a:solidFill>
                  <a:schemeClr val="tx1">
                    <a:alpha val="99000"/>
                  </a:schemeClr>
                </a:solidFill>
                <a:latin typeface="+mn-lt"/>
                <a:ea typeface="+mn-ea"/>
                <a:cs typeface="+mn-cs"/>
              </a:defRPr>
            </a:lvl3pPr>
            <a:lvl4pPr marL="457116" indent="0">
              <a:buNone/>
              <a:defRPr lang="en-US" sz="2000" kern="1200" spc="0" baseline="0" dirty="0" smtClean="0">
                <a:solidFill>
                  <a:schemeClr val="tx1">
                    <a:alpha val="99000"/>
                  </a:schemeClr>
                </a:solidFill>
                <a:latin typeface="+mn-lt"/>
                <a:ea typeface="+mn-ea"/>
                <a:cs typeface="+mn-cs"/>
              </a:defRPr>
            </a:lvl4pPr>
            <a:lvl5pPr marL="693612"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82057112"/>
      </p:ext>
    </p:extLst>
  </p:cSld>
  <p:clrMapOvr>
    <a:masterClrMapping/>
  </p:clrMapOvr>
  <p:transition>
    <p:fade/>
  </p:transition>
  <p:timing>
    <p:tnLst>
      <p:par>
        <p:cTn id="1" dur="indefinite" restart="never" nodeType="tmRoot"/>
      </p:par>
    </p:tnLst>
  </p:timing>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48" indent="-292048">
              <a:spcBef>
                <a:spcPts val="1200"/>
              </a:spcBef>
              <a:buClr>
                <a:schemeClr val="tx1"/>
              </a:buClr>
              <a:buFont typeface="Wingdings" pitchFamily="2" charset="2"/>
              <a:buChar char=""/>
              <a:defRPr/>
            </a:lvl1pPr>
            <a:lvl2pPr marL="520606" indent="-228558">
              <a:defRPr sz="2000"/>
            </a:lvl2pPr>
            <a:lvl3pPr marL="685676" indent="-165071">
              <a:tabLst/>
              <a:defRPr sz="2000"/>
            </a:lvl3pPr>
            <a:lvl4pPr marL="863443" indent="-177768">
              <a:defRPr/>
            </a:lvl4pPr>
            <a:lvl5pPr marL="1028514" indent="-16507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64" indent="-339664">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885" indent="-342838">
              <a:defRPr lang="en-US" sz="2000" kern="1200" spc="0" baseline="0" dirty="0" smtClean="0">
                <a:solidFill>
                  <a:schemeClr val="tx1">
                    <a:alpha val="99000"/>
                  </a:schemeClr>
                </a:solidFill>
                <a:latin typeface="+mn-lt"/>
                <a:ea typeface="+mn-ea"/>
                <a:cs typeface="+mn-cs"/>
              </a:defRPr>
            </a:lvl2pPr>
            <a:lvl3pPr marL="863443" indent="-342838">
              <a:defRPr lang="en-US" sz="2000" kern="1200" spc="0" baseline="0" dirty="0" smtClean="0">
                <a:solidFill>
                  <a:schemeClr val="tx1">
                    <a:alpha val="99000"/>
                  </a:schemeClr>
                </a:solidFill>
                <a:latin typeface="+mn-lt"/>
                <a:ea typeface="+mn-ea"/>
                <a:cs typeface="+mn-cs"/>
              </a:defRPr>
            </a:lvl3pPr>
            <a:lvl4pPr marL="1028514" indent="-342838">
              <a:defRPr lang="en-US" sz="2000" kern="1200" spc="0" baseline="0" dirty="0" smtClean="0">
                <a:solidFill>
                  <a:schemeClr val="tx1">
                    <a:alpha val="99000"/>
                  </a:schemeClr>
                </a:solidFill>
                <a:latin typeface="+mn-lt"/>
                <a:ea typeface="+mn-ea"/>
                <a:cs typeface="+mn-cs"/>
              </a:defRPr>
            </a:lvl4pPr>
            <a:lvl5pPr marL="1206282" indent="-342838">
              <a:defRPr lang="en-US" sz="2000" kern="1200" spc="0" baseline="0" dirty="0">
                <a:solidFill>
                  <a:schemeClr val="tx1">
                    <a:alpha val="99000"/>
                  </a:schemeClr>
                </a:solidFill>
                <a:latin typeface="+mn-lt"/>
                <a:ea typeface="+mn-ea"/>
                <a:cs typeface="+mn-cs"/>
              </a:defRPr>
            </a:lvl5pPr>
          </a:lstStyle>
          <a:p>
            <a:pPr marL="292048" marR="0" lvl="0"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48" marR="0" lvl="1"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48" marR="0" lvl="2"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48" marR="0" lvl="3"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48" marR="0" lvl="4"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21311308"/>
      </p:ext>
    </p:extLst>
  </p:cSld>
  <p:clrMapOvr>
    <a:masterClrMapping/>
  </p:clrMapOvr>
  <p:transition>
    <p:fade/>
  </p:transition>
  <p:timing>
    <p:tnLst>
      <p:par>
        <p:cTn id="1" dur="indefinite" restart="never" nodeType="tmRoot"/>
      </p:par>
    </p:tnLst>
  </p:timing>
</p:sldLayout>
</file>

<file path=ppt/slideLayouts/slideLayout725.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51" indent="-341251">
              <a:lnSpc>
                <a:spcPct val="90000"/>
              </a:lnSpc>
              <a:buSzPct val="80000"/>
              <a:buFont typeface="Arial" pitchFamily="34" charset="0"/>
              <a:buChar char="•"/>
              <a:defRPr sz="3200"/>
            </a:lvl1pPr>
            <a:lvl2pPr marL="626949" indent="-285698">
              <a:lnSpc>
                <a:spcPct val="90000"/>
              </a:lnSpc>
              <a:buSzPct val="80000"/>
              <a:buFont typeface="Arial" pitchFamily="34" charset="0"/>
              <a:buChar char="•"/>
              <a:defRPr sz="2800"/>
            </a:lvl2pPr>
            <a:lvl3pPr marL="914234" indent="-287286">
              <a:lnSpc>
                <a:spcPct val="90000"/>
              </a:lnSpc>
              <a:buSzPct val="80000"/>
              <a:buFont typeface="Arial" pitchFamily="34" charset="0"/>
              <a:buChar char="•"/>
              <a:defRPr sz="2400"/>
            </a:lvl3pPr>
            <a:lvl4pPr marL="1712603" indent="-225384">
              <a:lnSpc>
                <a:spcPct val="90000"/>
              </a:lnSpc>
              <a:buSzPct val="80000"/>
              <a:buFont typeface="Arial" pitchFamily="34" charset="0"/>
              <a:buChar char="•"/>
              <a:defRPr sz="2000"/>
            </a:lvl4pPr>
            <a:lvl5pPr marL="1944335" indent="-23173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16" indent="-457116">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369" indent="-457116">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786" indent="-342838">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057" indent="-342838">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440" indent="-342838">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51" marR="0" lvl="0"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51" marR="0" lvl="1"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51" marR="0" lvl="2"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51" marR="0" lvl="3"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51" marR="0" lvl="4"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3755053792"/>
      </p:ext>
    </p:extLst>
  </p:cSld>
  <p:clrMapOvr>
    <a:masterClrMapping/>
  </p:clrMapOvr>
  <p:transition>
    <p:fade/>
  </p:transition>
  <p:timing>
    <p:tnLst>
      <p:par>
        <p:cTn id="1" dur="indefinite" restart="never" nodeType="tmRoot"/>
      </p:par>
    </p:tnLst>
  </p:timing>
</p:sldLayout>
</file>

<file path=ppt/slideLayouts/slideLayout726.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3" y="2266798"/>
            <a:ext cx="5486400" cy="1945148"/>
          </a:xfrm>
        </p:spPr>
        <p:txBody>
          <a:bodyPr/>
          <a:lstStyle>
            <a:lvl1pPr marL="403151" indent="-403151">
              <a:buSzPct val="80000"/>
              <a:buFont typeface="Arial" pitchFamily="34" charset="0"/>
              <a:buChar char="•"/>
              <a:defRPr sz="2800"/>
            </a:lvl1pPr>
            <a:lvl2pPr marL="744403" indent="-322204">
              <a:buSzPct val="80000"/>
              <a:buFont typeface="Arial" pitchFamily="34" charset="0"/>
              <a:buChar char="•"/>
              <a:defRPr sz="2800"/>
            </a:lvl2pPr>
            <a:lvl3pPr marL="1026926" indent="-282524" defTabSz="1030101">
              <a:buSzPct val="80000"/>
              <a:buFont typeface="Arial" pitchFamily="34" charset="0"/>
              <a:buChar char="•"/>
              <a:defRPr sz="2400"/>
            </a:lvl3pPr>
            <a:lvl4pPr marL="1317387" indent="-287286">
              <a:buSzPct val="80000"/>
              <a:buFont typeface="Arial" pitchFamily="34" charset="0"/>
              <a:buChar char="•"/>
              <a:defRPr sz="2000"/>
            </a:lvl4pPr>
            <a:lvl5pPr marL="1541183" indent="-2237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67" indent="-2962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16" indent="-45711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36" indent="-342838">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39" indent="-342838">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41" indent="-342838">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39" indent="-342838">
              <a:defRPr sz="1600"/>
            </a:lvl6pPr>
            <a:lvl7pPr marL="1603085" indent="-285698">
              <a:defRPr sz="1600"/>
            </a:lvl7pPr>
            <a:lvl8pPr>
              <a:defRPr sz="1600"/>
            </a:lvl8pPr>
            <a:lvl9pPr>
              <a:defRPr sz="1600"/>
            </a:lvl9pPr>
          </a:lstStyle>
          <a:p>
            <a:pPr marL="403151" lvl="0" indent="-403151" algn="l" defTabSz="914197" rtl="0" eaLnBrk="1" latinLnBrk="0" hangingPunct="1">
              <a:lnSpc>
                <a:spcPct val="90000"/>
              </a:lnSpc>
              <a:spcBef>
                <a:spcPct val="20000"/>
              </a:spcBef>
              <a:buSzPct val="80000"/>
            </a:pPr>
            <a:r>
              <a:rPr lang="en-US" smtClean="0"/>
              <a:t>Click to edit Master text styles</a:t>
            </a:r>
          </a:p>
          <a:p>
            <a:pPr marL="403151" lvl="1" indent="-403151" algn="l" defTabSz="914197" rtl="0" eaLnBrk="1" latinLnBrk="0" hangingPunct="1">
              <a:lnSpc>
                <a:spcPct val="90000"/>
              </a:lnSpc>
              <a:spcBef>
                <a:spcPct val="20000"/>
              </a:spcBef>
              <a:buSzPct val="80000"/>
            </a:pPr>
            <a:r>
              <a:rPr lang="en-US" smtClean="0"/>
              <a:t>Second level</a:t>
            </a:r>
          </a:p>
          <a:p>
            <a:pPr marL="403151" lvl="2" indent="-403151" algn="l" defTabSz="914197" rtl="0" eaLnBrk="1" latinLnBrk="0" hangingPunct="1">
              <a:lnSpc>
                <a:spcPct val="90000"/>
              </a:lnSpc>
              <a:spcBef>
                <a:spcPct val="20000"/>
              </a:spcBef>
              <a:buSzPct val="80000"/>
            </a:pPr>
            <a:r>
              <a:rPr lang="en-US" smtClean="0"/>
              <a:t>Third level</a:t>
            </a:r>
          </a:p>
          <a:p>
            <a:pPr marL="403151" lvl="3" indent="-403151" algn="l" defTabSz="914197" rtl="0" eaLnBrk="1" latinLnBrk="0" hangingPunct="1">
              <a:lnSpc>
                <a:spcPct val="90000"/>
              </a:lnSpc>
              <a:spcBef>
                <a:spcPct val="20000"/>
              </a:spcBef>
              <a:buSzPct val="80000"/>
            </a:pPr>
            <a:r>
              <a:rPr lang="en-US" smtClean="0"/>
              <a:t>Fourth level</a:t>
            </a:r>
          </a:p>
          <a:p>
            <a:pPr marL="403151" lvl="4" indent="-403151" algn="l" defTabSz="91419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624505026"/>
      </p:ext>
    </p:extLst>
  </p:cSld>
  <p:clrMapOvr>
    <a:masterClrMapping/>
  </p:clrMapOvr>
  <p:transition>
    <p:fade/>
  </p:transition>
  <p:timing>
    <p:tnLst>
      <p:par>
        <p:cTn id="1" dur="indefinite" restart="never" nodeType="tmRoot"/>
      </p:par>
    </p:tnLst>
  </p:timing>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2"/>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21" indent="0">
              <a:buNone/>
              <a:defRPr sz="2000"/>
            </a:lvl3pPr>
            <a:lvl4pPr marL="457116" indent="0">
              <a:buNone/>
              <a:defRPr sz="2000"/>
            </a:lvl4pPr>
            <a:lvl5pPr marL="693612"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2"/>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21"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90"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64"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958913516"/>
      </p:ext>
    </p:extLst>
  </p:cSld>
  <p:clrMapOvr>
    <a:masterClrMapping/>
  </p:clrMapOvr>
  <p:transition>
    <p:fade/>
  </p:transition>
  <p:timing>
    <p:tnLst>
      <p:par>
        <p:cTn id="1" dur="indefinite" restart="never" nodeType="tmRoot"/>
      </p:par>
    </p:tnLst>
  </p:timing>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2"/>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21" indent="0">
              <a:buNone/>
              <a:defRPr sz="2000">
                <a:solidFill>
                  <a:schemeClr val="tx1">
                    <a:alpha val="99000"/>
                  </a:schemeClr>
                </a:solidFill>
              </a:defRPr>
            </a:lvl3pPr>
            <a:lvl4pPr marL="457116" indent="0">
              <a:buNone/>
              <a:defRPr sz="2000">
                <a:solidFill>
                  <a:schemeClr val="tx1">
                    <a:alpha val="99000"/>
                  </a:schemeClr>
                </a:solidFill>
              </a:defRPr>
            </a:lvl4pPr>
            <a:lvl5pPr marL="693612"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2"/>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21"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90"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64"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8821839"/>
      </p:ext>
    </p:extLst>
  </p:cSld>
  <p:clrMapOvr>
    <a:masterClrMapping/>
  </p:clrMapOvr>
  <p:transition>
    <p:fade/>
  </p:transition>
  <p:timing>
    <p:tnLst>
      <p:par>
        <p:cTn id="1" dur="indefinite" restart="never" nodeType="tmRoot"/>
      </p:par>
    </p:tnLst>
  </p:timing>
</p:sldLayout>
</file>

<file path=ppt/slideLayouts/slideLayout7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80660691"/>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40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6993827"/>
      </p:ext>
    </p:extLst>
  </p:cSld>
  <p:clrMapOvr>
    <a:masterClrMapping/>
  </p:clrMapOvr>
  <p:transition>
    <p:fade/>
  </p:transition>
  <p:timing>
    <p:tnLst>
      <p:par>
        <p:cTn id="1" dur="indefinite" restart="never" nodeType="tmRoot"/>
      </p:par>
    </p:tnLst>
  </p:timing>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2"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9" tIns="45711" rIns="91419" bIns="45711" numCol="1" rtlCol="0" anchor="ctr" anchorCtr="0" compatLnSpc="1">
            <a:prstTxWarp prst="textNoShape">
              <a:avLst/>
            </a:prstTxWarp>
          </a:bodyPr>
          <a:lstStyle/>
          <a:p>
            <a:pPr algn="ctr" defTabSz="913934"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6"/>
            <a:ext cx="11155093" cy="19328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64"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84"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69"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101"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19679570"/>
      </p:ext>
    </p:extLst>
  </p:cSld>
  <p:clrMapOvr>
    <a:masterClrMapping/>
  </p:clrMapOvr>
  <p:transition>
    <p:fade/>
  </p:transition>
  <p:timing>
    <p:tnLst>
      <p:par>
        <p:cTn id="1" dur="indefinite" restart="never" nodeType="tmRoot"/>
      </p:par>
    </p:tnLst>
  </p:timing>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8254946"/>
      </p:ext>
    </p:extLst>
  </p:cSld>
  <p:clrMapOvr>
    <a:masterClrMapping/>
  </p:clrMapOvr>
  <p:transition>
    <p:fade/>
  </p:transition>
  <p:timing>
    <p:tnLst>
      <p:par>
        <p:cTn id="1" dur="indefinite" restart="never" nodeType="tmRoot"/>
      </p:par>
    </p:tnLst>
  </p:timing>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2"/>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50" y="1447800"/>
            <a:ext cx="11151917" cy="1988237"/>
          </a:xfrm>
          <a:prstGeom prst="rect">
            <a:avLst/>
          </a:prstGeom>
        </p:spPr>
        <p:txBody>
          <a:bodyPr/>
          <a:lstStyle>
            <a:lvl1pPr marL="342838" indent="-34283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36" indent="-28569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234" indent="-28569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792" indent="-22855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351" indent="-22855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66" tIns="76181" rIns="152366" bIns="76181"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596081883"/>
      </p:ext>
    </p:extLst>
  </p:cSld>
  <p:clrMapOvr>
    <a:masterClrMapping/>
  </p:clrMapOvr>
  <p:transition>
    <p:fade/>
  </p:transition>
  <p:timing>
    <p:tnLst>
      <p:par>
        <p:cTn id="1" dur="indefinite" restart="never" nodeType="tmRoot"/>
      </p:par>
    </p:tnLst>
  </p:timing>
</p:sldLayout>
</file>

<file path=ppt/slideLayouts/slideLayout73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61" indent="-40315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71" indent="-3460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61" indent="-3364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472929266"/>
      </p:ext>
    </p:extLst>
  </p:cSld>
  <p:clrMapOvr>
    <a:masterClrMapping/>
  </p:clrMapOvr>
  <p:transition>
    <p:fade/>
  </p:transition>
  <p:timing>
    <p:tnLst>
      <p:par>
        <p:cTn id="1" dur="indefinite" restart="never" nodeType="tmRoot"/>
      </p:par>
    </p:tnLst>
  </p:timing>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3" y="4612345"/>
            <a:ext cx="5455754" cy="1144929"/>
          </a:xfrm>
        </p:spPr>
        <p:txBody>
          <a:bodyPr/>
          <a:lstStyle>
            <a:lvl1pPr marL="0" indent="0">
              <a:buFont typeface="Arial" pitchFamily="34" charset="0"/>
              <a:buNone/>
              <a:defRPr sz="2400">
                <a:solidFill>
                  <a:schemeClr val="bg1">
                    <a:alpha val="98000"/>
                  </a:schemeClr>
                </a:solidFill>
                <a:latin typeface="+mj-lt"/>
              </a:defRPr>
            </a:lvl1pPr>
            <a:lvl2pPr marL="460290" indent="0">
              <a:buFont typeface="Arial" pitchFamily="34" charset="0"/>
              <a:buNone/>
              <a:defRPr/>
            </a:lvl2pPr>
            <a:lvl3pPr marL="855509" indent="0">
              <a:buFont typeface="Arial" pitchFamily="34" charset="0"/>
              <a:buNone/>
              <a:defRPr/>
            </a:lvl3pPr>
            <a:lvl4pPr marL="1258661" indent="0">
              <a:buFont typeface="Arial" pitchFamily="34" charset="0"/>
              <a:buNone/>
              <a:defRPr/>
            </a:lvl4pPr>
            <a:lvl5pPr marL="160467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3246431027"/>
      </p:ext>
    </p:extLst>
  </p:cSld>
  <p:clrMapOvr>
    <a:masterClrMapping/>
  </p:clrMapOvr>
  <p:transition>
    <p:fade/>
  </p:transition>
  <p:timing>
    <p:tnLst>
      <p:par>
        <p:cTn id="1" dur="indefinite" restart="never" nodeType="tmRoot"/>
      </p:par>
    </p:tnLst>
  </p:timing>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61" indent="-40315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71" indent="-3460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61" indent="-3364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570503883"/>
      </p:ext>
    </p:extLst>
  </p:cSld>
  <p:clrMapOvr>
    <a:masterClrMapping/>
  </p:clrMapOvr>
  <p:transition>
    <p:fade/>
  </p:transition>
  <p:timing>
    <p:tnLst>
      <p:par>
        <p:cTn id="1" dur="indefinite" restart="never" nodeType="tmRoot"/>
      </p:par>
    </p:tnLst>
  </p:timing>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49" indent="-342838">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38" indent="-342838">
              <a:spcBef>
                <a:spcPts val="0"/>
              </a:spcBef>
              <a:spcAft>
                <a:spcPts val="400"/>
              </a:spcAft>
              <a:buFont typeface="Arial" pitchFamily="34" charset="0"/>
              <a:buChar char="•"/>
              <a:defRPr/>
            </a:lvl5pPr>
            <a:lvl6pPr marL="1033275" indent="-342838">
              <a:buFont typeface="Arial" pitchFamily="34" charset="0"/>
              <a:buChar char="•"/>
              <a:defRPr sz="2400">
                <a:gradFill>
                  <a:gsLst>
                    <a:gs pos="0">
                      <a:srgbClr val="595959"/>
                    </a:gs>
                    <a:gs pos="86000">
                      <a:srgbClr val="595959"/>
                    </a:gs>
                  </a:gsLst>
                  <a:lin ang="5400000" scaled="0"/>
                </a:gradFill>
              </a:defRPr>
            </a:lvl6pPr>
            <a:lvl7pPr marL="1255485" indent="-225384">
              <a:defRPr>
                <a:gradFill>
                  <a:gsLst>
                    <a:gs pos="0">
                      <a:srgbClr val="595959"/>
                    </a:gs>
                    <a:gs pos="86000">
                      <a:srgbClr val="595959"/>
                    </a:gs>
                  </a:gsLst>
                  <a:lin ang="5400000" scaled="0"/>
                </a:gradFill>
              </a:defRPr>
            </a:lvl7pPr>
            <a:lvl8pPr marL="1487218" indent="-231732">
              <a:defRPr>
                <a:gradFill>
                  <a:gsLst>
                    <a:gs pos="0">
                      <a:srgbClr val="595959"/>
                    </a:gs>
                    <a:gs pos="86000">
                      <a:srgbClr val="595959"/>
                    </a:gs>
                  </a:gsLst>
                  <a:lin ang="5400000" scaled="0"/>
                </a:gradFill>
              </a:defRPr>
            </a:lvl8pPr>
          </a:lstStyle>
          <a:p>
            <a:pPr marL="346013" lvl="0" indent="-346013" algn="l" defTabSz="914197" rtl="0" eaLnBrk="1" latinLnBrk="0" hangingPunct="1">
              <a:lnSpc>
                <a:spcPct val="90000"/>
              </a:lnSpc>
              <a:spcBef>
                <a:spcPct val="20000"/>
              </a:spcBef>
              <a:buSzPct val="90000"/>
              <a:buFont typeface="Arial" pitchFamily="34" charset="0"/>
              <a:buChar char="•"/>
            </a:pPr>
            <a:r>
              <a:rPr lang="en-US" smtClean="0"/>
              <a:t>Click to edit Master text styles</a:t>
            </a:r>
          </a:p>
          <a:p>
            <a:pPr marL="346013" lvl="1" indent="-346013" algn="l" defTabSz="914197" rtl="0" eaLnBrk="1" latinLnBrk="0" hangingPunct="1">
              <a:lnSpc>
                <a:spcPct val="90000"/>
              </a:lnSpc>
              <a:spcBef>
                <a:spcPct val="20000"/>
              </a:spcBef>
              <a:buSzPct val="90000"/>
              <a:buFont typeface="Arial" pitchFamily="34" charset="0"/>
              <a:buChar char="•"/>
            </a:pPr>
            <a:r>
              <a:rPr lang="en-US" smtClean="0"/>
              <a:t>Second level</a:t>
            </a:r>
          </a:p>
          <a:p>
            <a:pPr marL="346013" lvl="2" indent="-346013" algn="l" defTabSz="914197" rtl="0" eaLnBrk="1" latinLnBrk="0" hangingPunct="1">
              <a:lnSpc>
                <a:spcPct val="90000"/>
              </a:lnSpc>
              <a:spcBef>
                <a:spcPct val="20000"/>
              </a:spcBef>
              <a:buSzPct val="90000"/>
              <a:buFont typeface="Arial" pitchFamily="34" charset="0"/>
              <a:buChar char="•"/>
            </a:pPr>
            <a:r>
              <a:rPr lang="en-US" smtClean="0"/>
              <a:t>Third level</a:t>
            </a:r>
          </a:p>
          <a:p>
            <a:pPr marL="346013" lvl="3" indent="-346013" algn="l" defTabSz="914197" rtl="0" eaLnBrk="1" latinLnBrk="0" hangingPunct="1">
              <a:lnSpc>
                <a:spcPct val="90000"/>
              </a:lnSpc>
              <a:spcBef>
                <a:spcPct val="20000"/>
              </a:spcBef>
              <a:buSzPct val="90000"/>
              <a:buFont typeface="Arial" pitchFamily="34" charset="0"/>
              <a:buChar char="•"/>
            </a:pPr>
            <a:r>
              <a:rPr lang="en-US" smtClean="0"/>
              <a:t>Fourth level</a:t>
            </a:r>
          </a:p>
          <a:p>
            <a:pPr marL="346013" lvl="4" indent="-346013" algn="l" defTabSz="9141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649163425"/>
      </p:ext>
    </p:extLst>
  </p:cSld>
  <p:clrMapOvr>
    <a:masterClrMapping/>
  </p:clrMapOvr>
  <p:transition>
    <p:fade/>
  </p:transition>
</p:sldLayout>
</file>

<file path=ppt/slideLayouts/slideLayout7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251" indent="-341251">
              <a:lnSpc>
                <a:spcPct val="90000"/>
              </a:lnSpc>
              <a:buSzPct val="80000"/>
              <a:buFont typeface="Arial" pitchFamily="34" charset="0"/>
              <a:buChar char="•"/>
              <a:defRPr sz="3200"/>
            </a:lvl1pPr>
            <a:lvl2pPr marL="626949" indent="-285698">
              <a:lnSpc>
                <a:spcPct val="90000"/>
              </a:lnSpc>
              <a:buSzPct val="80000"/>
              <a:buFont typeface="Arial" pitchFamily="34" charset="0"/>
              <a:buChar char="•"/>
              <a:defRPr sz="2800"/>
            </a:lvl2pPr>
            <a:lvl3pPr marL="914234" indent="-287286">
              <a:lnSpc>
                <a:spcPct val="90000"/>
              </a:lnSpc>
              <a:buSzPct val="80000"/>
              <a:buFont typeface="Arial" pitchFamily="34" charset="0"/>
              <a:buChar char="•"/>
              <a:defRPr sz="2400"/>
            </a:lvl3pPr>
            <a:lvl4pPr marL="1712603" indent="-225384">
              <a:lnSpc>
                <a:spcPct val="90000"/>
              </a:lnSpc>
              <a:buSzPct val="80000"/>
              <a:buFont typeface="Arial" pitchFamily="34" charset="0"/>
              <a:buChar char="•"/>
              <a:defRPr sz="2000"/>
            </a:lvl4pPr>
            <a:lvl5pPr marL="1944335" indent="-23173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116" indent="-45711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69" indent="-45711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86" indent="-342838">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057" indent="-342838">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440" indent="-342838">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51" lvl="0" indent="-341251" algn="l" defTabSz="914197" rtl="0" eaLnBrk="1" latinLnBrk="0" hangingPunct="1">
              <a:lnSpc>
                <a:spcPct val="90000"/>
              </a:lnSpc>
              <a:spcBef>
                <a:spcPct val="20000"/>
              </a:spcBef>
              <a:buSzPct val="80000"/>
              <a:buFont typeface="Arial" pitchFamily="34" charset="0"/>
              <a:buChar char="•"/>
            </a:pPr>
            <a:r>
              <a:rPr lang="en-US" smtClean="0"/>
              <a:t>Click to edit Master text styles</a:t>
            </a:r>
          </a:p>
          <a:p>
            <a:pPr marL="341251" lvl="1" indent="-341251" algn="l" defTabSz="914197" rtl="0" eaLnBrk="1" latinLnBrk="0" hangingPunct="1">
              <a:lnSpc>
                <a:spcPct val="90000"/>
              </a:lnSpc>
              <a:spcBef>
                <a:spcPct val="20000"/>
              </a:spcBef>
              <a:buSzPct val="80000"/>
              <a:buFont typeface="Arial" pitchFamily="34" charset="0"/>
              <a:buChar char="•"/>
            </a:pPr>
            <a:r>
              <a:rPr lang="en-US" smtClean="0"/>
              <a:t>Second level</a:t>
            </a:r>
          </a:p>
          <a:p>
            <a:pPr marL="341251" lvl="2" indent="-341251" algn="l" defTabSz="914197" rtl="0" eaLnBrk="1" latinLnBrk="0" hangingPunct="1">
              <a:lnSpc>
                <a:spcPct val="90000"/>
              </a:lnSpc>
              <a:spcBef>
                <a:spcPct val="20000"/>
              </a:spcBef>
              <a:buSzPct val="80000"/>
              <a:buFont typeface="Arial" pitchFamily="34" charset="0"/>
              <a:buChar char="•"/>
            </a:pPr>
            <a:r>
              <a:rPr lang="en-US" smtClean="0"/>
              <a:t>Third level</a:t>
            </a:r>
          </a:p>
          <a:p>
            <a:pPr marL="341251" lvl="3" indent="-341251" algn="l" defTabSz="914197" rtl="0" eaLnBrk="1" latinLnBrk="0" hangingPunct="1">
              <a:lnSpc>
                <a:spcPct val="90000"/>
              </a:lnSpc>
              <a:spcBef>
                <a:spcPct val="20000"/>
              </a:spcBef>
              <a:buSzPct val="80000"/>
              <a:buFont typeface="Arial" pitchFamily="34" charset="0"/>
              <a:buChar char="•"/>
            </a:pPr>
            <a:r>
              <a:rPr lang="en-US" smtClean="0"/>
              <a:t>Fourth level</a:t>
            </a:r>
          </a:p>
          <a:p>
            <a:pPr marL="341251" lvl="4" indent="-341251" algn="l" defTabSz="91419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999116805"/>
      </p:ext>
    </p:extLst>
  </p:cSld>
  <p:clrMapOvr>
    <a:masterClrMapping/>
  </p:clrMapOvr>
  <p:transition>
    <p:fade/>
  </p:transition>
  <p:timing>
    <p:tnLst>
      <p:par>
        <p:cTn id="1" dur="indefinite" restart="never" nodeType="tmRoot"/>
      </p:par>
    </p:tnLst>
  </p:timing>
</p:sldLayout>
</file>

<file path=ppt/slideLayouts/slideLayout7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3" y="2266798"/>
            <a:ext cx="5486400" cy="1945148"/>
          </a:xfrm>
        </p:spPr>
        <p:txBody>
          <a:bodyPr/>
          <a:lstStyle>
            <a:lvl1pPr marL="403151" indent="-403151">
              <a:buSzPct val="80000"/>
              <a:buFont typeface="Arial" pitchFamily="34" charset="0"/>
              <a:buChar char="•"/>
              <a:defRPr sz="2800"/>
            </a:lvl1pPr>
            <a:lvl2pPr marL="744403" indent="-322204">
              <a:buSzPct val="80000"/>
              <a:buFont typeface="Arial" pitchFamily="34" charset="0"/>
              <a:buChar char="•"/>
              <a:defRPr sz="2800"/>
            </a:lvl2pPr>
            <a:lvl3pPr marL="1026926" indent="-282524" defTabSz="1030101">
              <a:buSzPct val="80000"/>
              <a:buFont typeface="Arial" pitchFamily="34" charset="0"/>
              <a:buChar char="•"/>
              <a:defRPr sz="2400"/>
            </a:lvl3pPr>
            <a:lvl4pPr marL="1317387" indent="-287286">
              <a:buSzPct val="80000"/>
              <a:buFont typeface="Arial" pitchFamily="34" charset="0"/>
              <a:buChar char="•"/>
              <a:defRPr sz="2000"/>
            </a:lvl4pPr>
            <a:lvl5pPr marL="1541183" indent="-2237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67" indent="-2962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16" indent="-45711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36" indent="-342838">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39" indent="-342838">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41" indent="-342838">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39" indent="-342838">
              <a:defRPr sz="1600"/>
            </a:lvl6pPr>
            <a:lvl7pPr marL="1603085" indent="-285698">
              <a:defRPr sz="1600"/>
            </a:lvl7pPr>
            <a:lvl8pPr>
              <a:defRPr sz="1600"/>
            </a:lvl8pPr>
            <a:lvl9pPr>
              <a:defRPr sz="1600"/>
            </a:lvl9pPr>
          </a:lstStyle>
          <a:p>
            <a:pPr marL="403151" lvl="0" indent="-403151" algn="l" defTabSz="914197" rtl="0" eaLnBrk="1" latinLnBrk="0" hangingPunct="1">
              <a:lnSpc>
                <a:spcPct val="90000"/>
              </a:lnSpc>
              <a:spcBef>
                <a:spcPct val="20000"/>
              </a:spcBef>
              <a:buSzPct val="80000"/>
            </a:pPr>
            <a:r>
              <a:rPr lang="en-US" smtClean="0"/>
              <a:t>Click to edit Master text styles</a:t>
            </a:r>
          </a:p>
          <a:p>
            <a:pPr marL="403151" lvl="1" indent="-403151" algn="l" defTabSz="914197" rtl="0" eaLnBrk="1" latinLnBrk="0" hangingPunct="1">
              <a:lnSpc>
                <a:spcPct val="90000"/>
              </a:lnSpc>
              <a:spcBef>
                <a:spcPct val="20000"/>
              </a:spcBef>
              <a:buSzPct val="80000"/>
            </a:pPr>
            <a:r>
              <a:rPr lang="en-US" smtClean="0"/>
              <a:t>Second level</a:t>
            </a:r>
          </a:p>
          <a:p>
            <a:pPr marL="403151" lvl="2" indent="-403151" algn="l" defTabSz="914197" rtl="0" eaLnBrk="1" latinLnBrk="0" hangingPunct="1">
              <a:lnSpc>
                <a:spcPct val="90000"/>
              </a:lnSpc>
              <a:spcBef>
                <a:spcPct val="20000"/>
              </a:spcBef>
              <a:buSzPct val="80000"/>
            </a:pPr>
            <a:r>
              <a:rPr lang="en-US" smtClean="0"/>
              <a:t>Third level</a:t>
            </a:r>
          </a:p>
          <a:p>
            <a:pPr marL="403151" lvl="3" indent="-403151" algn="l" defTabSz="914197" rtl="0" eaLnBrk="1" latinLnBrk="0" hangingPunct="1">
              <a:lnSpc>
                <a:spcPct val="90000"/>
              </a:lnSpc>
              <a:spcBef>
                <a:spcPct val="20000"/>
              </a:spcBef>
              <a:buSzPct val="80000"/>
            </a:pPr>
            <a:r>
              <a:rPr lang="en-US" smtClean="0"/>
              <a:t>Fourth level</a:t>
            </a:r>
          </a:p>
          <a:p>
            <a:pPr marL="403151" lvl="4" indent="-403151" algn="l" defTabSz="91419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296373557"/>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677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3242103288"/>
      </p:ext>
    </p:extLst>
  </p:cSld>
  <p:clrMapOvr>
    <a:masterClrMapping/>
  </p:clrMapOvr>
  <p:transition>
    <p:fade/>
  </p:transition>
  <p:timing>
    <p:tnLst>
      <p:par>
        <p:cTn id="1" dur="indefinite" restart="never" nodeType="tmRoot"/>
      </p:par>
    </p:tnLst>
  </p:timing>
</p:sldLayout>
</file>

<file path=ppt/slideLayouts/slideLayout7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4008354877"/>
      </p:ext>
    </p:extLst>
  </p:cSld>
  <p:clrMapOvr>
    <a:masterClrMapping/>
  </p:clrMapOvr>
  <p:transition>
    <p:fade/>
  </p:transition>
  <p:timing>
    <p:tnLst>
      <p:par>
        <p:cTn id="1" dur="indefinite" restart="never" nodeType="tmRoot"/>
      </p:par>
    </p:tnLst>
  </p:timing>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45695" numCol="1" spcCol="0" rtlCol="0" anchor="ctr" anchorCtr="0" compatLnSpc="1">
            <a:prstTxWarp prst="textNoShape">
              <a:avLst/>
            </a:prstTxWarp>
          </a:bodyPr>
          <a:lstStyle/>
          <a:p>
            <a:pPr algn="ctr" defTabSz="913622"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4"/>
            <a:ext cx="6947121" cy="1241879"/>
          </a:xfrm>
        </p:spPr>
        <p:txBody>
          <a:bodyPr lIns="182847" tIns="182847" anchor="ctr" anchorCtr="0"/>
          <a:lstStyle>
            <a:lvl1pPr marL="574571" indent="-57139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13" indent="-342838">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97" rtl="0" eaLnBrk="1" latinLnBrk="0" hangingPunct="1">
              <a:lnSpc>
                <a:spcPct val="90000"/>
              </a:lnSpc>
              <a:spcBef>
                <a:spcPts val="0"/>
              </a:spcBef>
              <a:spcAft>
                <a:spcPts val="900"/>
              </a:spcAft>
              <a:buSzPct val="80000"/>
            </a:pPr>
            <a:r>
              <a:rPr lang="en-US" dirty="0" smtClean="0"/>
              <a:t>Click to edit Master text styles</a:t>
            </a:r>
          </a:p>
          <a:p>
            <a:pPr marL="3175" lvl="1" indent="0" algn="l" defTabSz="914197"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1" tIns="41145" rIns="82291" bIns="41145" numCol="1" anchor="t" anchorCtr="0" compatLnSpc="1">
            <a:prstTxWarp prst="textNoShape">
              <a:avLst/>
            </a:prstTxWarp>
          </a:bodyPr>
          <a:lstStyle/>
          <a:p>
            <a:pPr defTabSz="1218766"/>
            <a:endParaRPr lang="en-US" sz="1600">
              <a:solidFill>
                <a:srgbClr val="292929"/>
              </a:solidFill>
            </a:endParaRPr>
          </a:p>
        </p:txBody>
      </p:sp>
    </p:spTree>
    <p:extLst>
      <p:ext uri="{BB962C8B-B14F-4D97-AF65-F5344CB8AC3E}">
        <p14:creationId xmlns:p14="http://schemas.microsoft.com/office/powerpoint/2010/main" val="3323290208"/>
      </p:ext>
    </p:extLst>
  </p:cSld>
  <p:clrMapOvr>
    <a:masterClrMapping/>
  </p:clrMapOvr>
  <p:transition>
    <p:fade/>
  </p:transition>
  <p:timing>
    <p:tnLst>
      <p:par>
        <p:cTn id="1" dur="indefinite" restart="never" nodeType="tmRoot"/>
      </p:par>
    </p:tnLst>
  </p:timing>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1888435189"/>
      </p:ext>
    </p:extLst>
  </p:cSld>
  <p:clrMapOvr>
    <a:masterClrMapping/>
  </p:clrMapOvr>
  <p:transition>
    <p:fade/>
  </p:transition>
  <p:timing>
    <p:tnLst>
      <p:par>
        <p:cTn id="1" dur="indefinite" restart="never" nodeType="tmRoot"/>
      </p:par>
    </p:tnLst>
  </p:timing>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6"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3" tIns="45713" rIns="91423" bIns="45713" numCol="1" anchor="t" anchorCtr="0" compatLnSpc="1">
            <a:prstTxWarp prst="textNoShape">
              <a:avLst/>
            </a:prstTxWarp>
          </a:bodyPr>
          <a:lstStyle/>
          <a:p>
            <a:pPr defTabSz="914197"/>
            <a:endParaRPr lang="en-US" sz="1900">
              <a:solidFill>
                <a:srgbClr val="292929"/>
              </a:solidFill>
            </a:endParaRPr>
          </a:p>
        </p:txBody>
      </p:sp>
    </p:spTree>
    <p:extLst>
      <p:ext uri="{BB962C8B-B14F-4D97-AF65-F5344CB8AC3E}">
        <p14:creationId xmlns:p14="http://schemas.microsoft.com/office/powerpoint/2010/main" val="988822377"/>
      </p:ext>
    </p:extLst>
  </p:cSld>
  <p:clrMapOvr>
    <a:masterClrMapping/>
  </p:clrMapOvr>
  <p:transition>
    <p:fade/>
  </p:transition>
  <p:timing>
    <p:tnLst>
      <p:par>
        <p:cTn id="1" dur="indefinite" restart="never" nodeType="tmRoot"/>
      </p:par>
    </p:tnLst>
  </p:timing>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grpSp>
    </p:spTree>
    <p:extLst>
      <p:ext uri="{BB962C8B-B14F-4D97-AF65-F5344CB8AC3E}">
        <p14:creationId xmlns:p14="http://schemas.microsoft.com/office/powerpoint/2010/main" val="2666963379"/>
      </p:ext>
    </p:extLst>
  </p:cSld>
  <p:clrMapOvr>
    <a:masterClrMapping/>
  </p:clrMapOvr>
  <p:transition>
    <p:fade/>
  </p:transition>
  <p:timing>
    <p:tnLst>
      <p:par>
        <p:cTn id="1" dur="indefinite" restart="never" nodeType="tmRoot"/>
      </p:par>
    </p:tnLst>
  </p:timing>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1" tIns="41145" rIns="82291" bIns="41145" numCol="1" anchor="t" anchorCtr="0" compatLnSpc="1">
            <a:prstTxWarp prst="textNoShape">
              <a:avLst/>
            </a:prstTxWarp>
          </a:bodyPr>
          <a:lstStyle/>
          <a:p>
            <a:pPr defTabSz="914197"/>
            <a:endParaRPr lang="en-US" sz="1600">
              <a:solidFill>
                <a:srgbClr val="292929"/>
              </a:solidFill>
            </a:endParaRPr>
          </a:p>
        </p:txBody>
      </p:sp>
    </p:spTree>
    <p:extLst>
      <p:ext uri="{BB962C8B-B14F-4D97-AF65-F5344CB8AC3E}">
        <p14:creationId xmlns:p14="http://schemas.microsoft.com/office/powerpoint/2010/main" val="751684587"/>
      </p:ext>
    </p:extLst>
  </p:cSld>
  <p:clrMapOvr>
    <a:masterClrMapping/>
  </p:clrMapOvr>
  <p:transition>
    <p:fade/>
  </p:transition>
  <p:timing>
    <p:tnLst>
      <p:par>
        <p:cTn id="1" dur="indefinite" restart="never" nodeType="tmRoot"/>
      </p:par>
    </p:tnLst>
  </p:timing>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5"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962083888"/>
      </p:ext>
    </p:extLst>
  </p:cSld>
  <p:clrMapOvr>
    <a:masterClrMapping/>
  </p:clrMapOvr>
  <p:transition>
    <p:fade/>
  </p:transition>
  <p:timing>
    <p:tnLst>
      <p:par>
        <p:cTn id="1" dur="indefinite" restart="never" nodeType="tmRoot"/>
      </p:par>
    </p:tnLst>
  </p:timing>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1905003"/>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2"/>
            <a:ext cx="2507213" cy="291353"/>
          </a:xfrm>
          <a:prstGeom prst="rect">
            <a:avLst/>
          </a:prstGeom>
        </p:spPr>
      </p:pic>
    </p:spTree>
    <p:extLst>
      <p:ext uri="{BB962C8B-B14F-4D97-AF65-F5344CB8AC3E}">
        <p14:creationId xmlns:p14="http://schemas.microsoft.com/office/powerpoint/2010/main" val="2633984759"/>
      </p:ext>
    </p:extLst>
  </p:cSld>
  <p:clrMapOvr>
    <a:masterClrMapping/>
  </p:clrMapOvr>
  <p:transition>
    <p:fade/>
  </p:transition>
  <p:timing>
    <p:tnLst>
      <p:par>
        <p:cTn id="1" dur="indefinite" restart="never" nodeType="tmRoot"/>
      </p:par>
    </p:tnLst>
  </p:timing>
</p:sldLayout>
</file>

<file path=ppt/slideLayouts/slideLayout74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5"/>
            <a:ext cx="11176000" cy="415484"/>
          </a:xfrm>
          <a:prstGeom prst="rect">
            <a:avLst/>
          </a:prstGeom>
          <a:noFill/>
          <a:ln w="12700">
            <a:noFill/>
            <a:miter lim="800000"/>
            <a:headEnd type="none" w="sm" len="sm"/>
            <a:tailEnd type="none" w="sm" len="sm"/>
          </a:ln>
          <a:effectLst/>
        </p:spPr>
        <p:txBody>
          <a:bodyPr vert="horz" wrap="square" lIns="91408" tIns="45705" rIns="91408" bIns="45705" numCol="1" anchor="t" anchorCtr="0" compatLnSpc="1">
            <a:prstTxWarp prst="textNoShape">
              <a:avLst/>
            </a:prstTxWarp>
            <a:spAutoFit/>
          </a:bodyPr>
          <a:lstStyle/>
          <a:p>
            <a:pPr algn="ctr" defTabSz="913934"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34"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846754795"/>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611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3"/>
            <a:ext cx="7515594" cy="448127"/>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2075582394"/>
      </p:ext>
    </p:extLst>
  </p:cSld>
  <p:clrMapOvr>
    <a:masterClrMapping/>
  </p:clrMapOvr>
  <p:transition>
    <p:fade/>
  </p:transition>
  <p:timing>
    <p:tnLst>
      <p:par>
        <p:cTn id="1" dur="indefinite" restart="never" nodeType="tmRoot"/>
      </p:par>
    </p:tnLst>
  </p:timing>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0198450"/>
      </p:ext>
    </p:extLst>
  </p:cSld>
  <p:clrMapOvr>
    <a:masterClrMapping/>
  </p:clrMapOvr>
  <p:transition>
    <p:fade/>
  </p:transition>
  <p:timing>
    <p:tnLst>
      <p:par>
        <p:cTn id="1" dur="indefinite" restart="never" nodeType="tmRoot"/>
      </p:par>
    </p:tnLst>
  </p:timing>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66" tIns="76181" rIns="152366" bIns="7618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7981006"/>
      </p:ext>
    </p:extLst>
  </p:cSld>
  <p:clrMapOvr>
    <a:masterClrMapping/>
  </p:clrMapOvr>
  <p:transition>
    <p:fade/>
  </p:transition>
  <p:timing>
    <p:tnLst>
      <p:par>
        <p:cTn id="1" dur="indefinite" restart="never" nodeType="tmRoot"/>
      </p:par>
    </p:tnLst>
  </p:timing>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86114955"/>
      </p:ext>
    </p:extLst>
  </p:cSld>
  <p:clrMapOvr>
    <a:masterClrMapping/>
  </p:clrMapOvr>
  <p:transition>
    <p:fade/>
  </p:transition>
  <p:timing>
    <p:tnLst>
      <p:par>
        <p:cTn id="1" dur="indefinite" restart="never" nodeType="tmRoot"/>
      </p:par>
    </p:tnLst>
  </p:timing>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03129285"/>
      </p:ext>
    </p:extLst>
  </p:cSld>
  <p:clrMapOvr>
    <a:masterClrMapping/>
  </p:clrMapOvr>
  <p:transition>
    <p:fade/>
  </p:transition>
  <p:timing>
    <p:tnLst>
      <p:par>
        <p:cTn id="1" dur="indefinite" restart="never" nodeType="tmRoot"/>
      </p:par>
    </p:tnLst>
  </p:timing>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15201201"/>
      </p:ext>
    </p:extLst>
  </p:cSld>
  <p:clrMapOvr>
    <a:masterClrMapping/>
  </p:clrMapOvr>
  <p:transition>
    <p:fade/>
  </p:transition>
</p:sldLayout>
</file>

<file path=ppt/slideLayouts/slideLayout7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71808372"/>
      </p:ext>
    </p:extLst>
  </p:cSld>
  <p:clrMapOvr>
    <a:masterClrMapping/>
  </p:clrMapOvr>
  <p:transition>
    <p:fade/>
  </p:transition>
  <p:timing>
    <p:tnLst>
      <p:par>
        <p:cTn id="1" dur="indefinite" restart="never" nodeType="tmRoot"/>
      </p:par>
    </p:tnLst>
  </p:timing>
</p:sldLayout>
</file>

<file path=ppt/slideLayouts/slideLayout7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8602040"/>
      </p:ext>
    </p:extLst>
  </p:cSld>
  <p:clrMapOvr>
    <a:masterClrMapping/>
  </p:clrMapOvr>
  <p:transition>
    <p:fade/>
  </p:transition>
  <p:timing>
    <p:tnLst>
      <p:par>
        <p:cTn id="1" dur="indefinite" restart="never" nodeType="tmRoot"/>
      </p:par>
    </p:tnLst>
  </p:timing>
</p:sldLayout>
</file>

<file path=ppt/slideLayouts/slideLayout7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57813869"/>
      </p:ext>
    </p:extLst>
  </p:cSld>
  <p:clrMapOvr>
    <a:masterClrMapping/>
  </p:clrMapOvr>
  <p:transition>
    <p:fade/>
  </p:transition>
  <p:timing>
    <p:tnLst>
      <p:par>
        <p:cTn id="1" dur="indefinite" restart="never" nodeType="tmRoot"/>
      </p:par>
    </p:tnLst>
  </p:timing>
</p:sldLayout>
</file>

<file path=ppt/slideLayouts/slideLayout7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42149526"/>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4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67650373"/>
      </p:ext>
    </p:extLst>
  </p:cSld>
  <p:clrMapOvr>
    <a:masterClrMapping/>
  </p:clrMapOvr>
  <p:transition>
    <p:fade/>
  </p:transition>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111745202"/>
      </p:ext>
    </p:extLst>
  </p:cSld>
  <p:clrMapOvr>
    <a:masterClrMapping/>
  </p:clrMapOvr>
  <p:transition>
    <p:fade/>
  </p:transition>
  <p:timing>
    <p:tnLst>
      <p:par>
        <p:cTn id="1" dur="indefinite" restart="never" nodeType="tmRoot"/>
      </p:par>
    </p:tnLst>
  </p:timing>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399179252"/>
      </p:ext>
    </p:extLst>
  </p:cSld>
  <p:clrMapOvr>
    <a:masterClrMapping/>
  </p:clrMapOvr>
  <p:transition>
    <p:fade/>
  </p:transition>
  <p:timing>
    <p:tnLst>
      <p:par>
        <p:cTn id="1" dur="indefinite" restart="never" nodeType="tmRoot"/>
      </p:par>
    </p:tnLst>
  </p:timing>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3916347300"/>
      </p:ext>
    </p:extLst>
  </p:cSld>
  <p:clrMapOvr>
    <a:masterClrMapping/>
  </p:clrMapOvr>
  <p:transition>
    <p:fade/>
  </p:transition>
  <p:timing>
    <p:tnLst>
      <p:par>
        <p:cTn id="1" dur="indefinite" restart="never" nodeType="tmRoot"/>
      </p:par>
    </p:tnLst>
  </p:timing>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94372233"/>
      </p:ext>
    </p:extLst>
  </p:cSld>
  <p:clrMapOvr>
    <a:masterClrMapping/>
  </p:clrMapOvr>
  <p:transition>
    <p:fade/>
  </p:transition>
  <p:timing>
    <p:tnLst>
      <p:par>
        <p:cTn id="1" dur="indefinite" restart="never" nodeType="tmRoot"/>
      </p:par>
    </p:tnLst>
  </p:timing>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41084662"/>
      </p:ext>
    </p:extLst>
  </p:cSld>
  <p:clrMapOvr>
    <a:masterClrMapping/>
  </p:clrMapOvr>
  <p:transition>
    <p:fade/>
  </p:transition>
  <p:timing>
    <p:tnLst>
      <p:par>
        <p:cTn id="1" dur="indefinite" restart="never" nodeType="tmRoot"/>
      </p:par>
    </p:tnLst>
  </p:timing>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745147806"/>
      </p:ext>
    </p:extLst>
  </p:cSld>
  <p:clrMapOvr>
    <a:masterClrMapping/>
  </p:clrMapOvr>
  <p:transition>
    <p:fade/>
  </p:transition>
  <p:timing>
    <p:tnLst>
      <p:par>
        <p:cTn id="1" dur="indefinite" restart="never" nodeType="tmRoot"/>
      </p:par>
    </p:tnLst>
  </p:timing>
</p:sldLayout>
</file>

<file path=ppt/slideLayouts/slideLayout76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959481122"/>
      </p:ext>
    </p:extLst>
  </p:cSld>
  <p:clrMapOvr>
    <a:masterClrMapping/>
  </p:clrMapOvr>
  <p:transition>
    <p:fade/>
  </p:transition>
  <p:timing>
    <p:tnLst>
      <p:par>
        <p:cTn id="1" dur="indefinite" restart="never" nodeType="tmRoot"/>
      </p:par>
    </p:tnLst>
  </p:timing>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752214815"/>
      </p:ext>
    </p:extLst>
  </p:cSld>
  <p:clrMapOvr>
    <a:masterClrMapping/>
  </p:clrMapOvr>
  <p:transition>
    <p:fade/>
  </p:transition>
  <p:timing>
    <p:tnLst>
      <p:par>
        <p:cTn id="1" dur="indefinite" restart="never" nodeType="tmRoot"/>
      </p:par>
    </p:tnLst>
  </p:timing>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20251917"/>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64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37038038"/>
      </p:ext>
    </p:extLst>
  </p:cSld>
  <p:clrMapOvr>
    <a:masterClrMapping/>
  </p:clrMapOvr>
  <p:transition>
    <p:fade/>
  </p:transition>
  <p:timing>
    <p:tnLst>
      <p:par>
        <p:cTn id="1" dur="indefinite" restart="never" nodeType="tmRoot"/>
      </p:par>
    </p:tnLst>
  </p:timing>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8" cy="56771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8" cy="712851"/>
          </a:xfrm>
        </p:spPr>
        <p:txBody>
          <a:bodyPr/>
          <a:lstStyle>
            <a:lvl1pPr marL="0" indent="0">
              <a:spcBef>
                <a:spcPts val="0"/>
              </a:spcBef>
              <a:spcAft>
                <a:spcPts val="675"/>
              </a:spcAft>
              <a:buNone/>
              <a:defRPr sz="2999" spc="-75" baseline="0">
                <a:latin typeface="Segoe UI Light" pitchFamily="34" charset="0"/>
              </a:defRPr>
            </a:lvl1pPr>
            <a:lvl2pPr marL="0" indent="0">
              <a:spcBef>
                <a:spcPts val="0"/>
              </a:spcBef>
              <a:spcAft>
                <a:spcPts val="300"/>
              </a:spcAft>
              <a:buNone/>
              <a:defRPr sz="1500" spc="-38" baseline="0"/>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24917858"/>
      </p:ext>
    </p:extLst>
  </p:cSld>
  <p:clrMapOvr>
    <a:masterClrMapping/>
  </p:clrMapOvr>
  <p:transition>
    <p:fade/>
  </p:transition>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8" cy="56771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4"/>
            <a:ext cx="11151918" cy="150006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29091945"/>
      </p:ext>
    </p:extLst>
  </p:cSld>
  <p:clrMapOvr>
    <a:masterClrMapping/>
  </p:clrMapOvr>
  <p:transition>
    <p:fade/>
  </p:transition>
</p:sldLayout>
</file>

<file path=ppt/slideLayouts/slideLayout7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4"/>
            <a:ext cx="11151918" cy="1500064"/>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174173"/>
      </p:ext>
    </p:extLst>
  </p:cSld>
  <p:clrMapOvr>
    <a:masterClrMapping/>
  </p:clrMapOvr>
  <p:transition>
    <p:fade/>
  </p:transition>
</p:sldLayout>
</file>

<file path=ppt/slideLayouts/slideLayout7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494087306"/>
      </p:ext>
    </p:extLst>
  </p:cSld>
  <p:clrMapOvr>
    <a:masterClrMapping/>
  </p:clrMapOvr>
  <p:transition>
    <p:fade/>
  </p:transition>
</p:sldLayout>
</file>

<file path=ppt/slideLayouts/slideLayout7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9837991"/>
      </p:ext>
    </p:extLst>
  </p:cSld>
  <p:clrMapOvr>
    <a:masterClrMapping/>
  </p:clrMapOvr>
  <p:transition>
    <p:fade/>
  </p:transition>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4"/>
            <a:ext cx="11151918" cy="150006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15340825"/>
      </p:ext>
    </p:extLst>
  </p:cSld>
  <p:clrMapOvr>
    <a:masterClrMapping/>
  </p:clrMapOvr>
  <p:transition>
    <p:fade/>
  </p:transition>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4"/>
            <a:ext cx="11151918" cy="150006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4" y="6238876"/>
            <a:ext cx="12192001" cy="619126"/>
          </a:xfrm>
          <a:solidFill>
            <a:srgbClr val="FFFF99"/>
          </a:solidFill>
        </p:spPr>
        <p:txBody>
          <a:bodyPr wrap="square" lIns="114301" tIns="57149" rIns="114301" bIns="57149"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93227301"/>
      </p:ext>
    </p:extLst>
  </p:cSld>
  <p:clrMapOvr>
    <a:masterClrMapping/>
  </p:clrMapOvr>
  <p:transition>
    <p:fade/>
  </p:transition>
</p:sldLayout>
</file>

<file path=ppt/slideLayouts/slideLayout77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567717"/>
          </a:xfrm>
        </p:spPr>
        <p:txBody>
          <a:bodyPr/>
          <a:lstStyle/>
          <a:p>
            <a:r>
              <a:rPr lang="en-US" smtClean="0"/>
              <a:t>Click to edit Master title style</a:t>
            </a:r>
            <a:endParaRPr lang="en-GB"/>
          </a:p>
        </p:txBody>
      </p:sp>
      <p:sp>
        <p:nvSpPr>
          <p:cNvPr id="3" name="Subtitle 2"/>
          <p:cNvSpPr>
            <a:spLocks noGrp="1"/>
          </p:cNvSpPr>
          <p:nvPr>
            <p:ph type="subTitle" idx="1"/>
          </p:nvPr>
        </p:nvSpPr>
        <p:spPr>
          <a:xfrm>
            <a:off x="1828802" y="3886202"/>
            <a:ext cx="8534400" cy="332322"/>
          </a:xfrm>
        </p:spPr>
        <p:txBody>
          <a:bodyPr/>
          <a:lstStyle>
            <a:lvl1pPr marL="0" indent="0" algn="ctr">
              <a:buNone/>
              <a:defRPr>
                <a:solidFill>
                  <a:schemeClr val="tx1">
                    <a:tint val="75000"/>
                  </a:schemeClr>
                </a:solidFill>
              </a:defRPr>
            </a:lvl1pPr>
            <a:lvl2pPr marL="457109" indent="0" algn="ctr">
              <a:buNone/>
              <a:defRPr>
                <a:solidFill>
                  <a:schemeClr val="tx1">
                    <a:tint val="75000"/>
                  </a:schemeClr>
                </a:solidFill>
              </a:defRPr>
            </a:lvl2pPr>
            <a:lvl3pPr marL="914217" indent="0" algn="ctr">
              <a:buNone/>
              <a:defRPr>
                <a:solidFill>
                  <a:schemeClr val="tx1">
                    <a:tint val="75000"/>
                  </a:schemeClr>
                </a:solidFill>
              </a:defRPr>
            </a:lvl3pPr>
            <a:lvl4pPr marL="1371326" indent="0" algn="ctr">
              <a:buNone/>
              <a:defRPr>
                <a:solidFill>
                  <a:schemeClr val="tx1">
                    <a:tint val="75000"/>
                  </a:schemeClr>
                </a:solidFill>
              </a:defRPr>
            </a:lvl4pPr>
            <a:lvl5pPr marL="1828434" indent="0" algn="ctr">
              <a:buNone/>
              <a:defRPr>
                <a:solidFill>
                  <a:schemeClr val="tx1">
                    <a:tint val="75000"/>
                  </a:schemeClr>
                </a:solidFill>
              </a:defRPr>
            </a:lvl5pPr>
            <a:lvl6pPr marL="2285543" indent="0" algn="ctr">
              <a:buNone/>
              <a:defRPr>
                <a:solidFill>
                  <a:schemeClr val="tx1">
                    <a:tint val="75000"/>
                  </a:schemeClr>
                </a:solidFill>
              </a:defRPr>
            </a:lvl6pPr>
            <a:lvl7pPr marL="2742651" indent="0" algn="ctr">
              <a:buNone/>
              <a:defRPr>
                <a:solidFill>
                  <a:schemeClr val="tx1">
                    <a:tint val="75000"/>
                  </a:schemeClr>
                </a:solidFill>
              </a:defRPr>
            </a:lvl7pPr>
            <a:lvl8pPr marL="3199760" indent="0" algn="ctr">
              <a:buNone/>
              <a:defRPr>
                <a:solidFill>
                  <a:schemeClr val="tx1">
                    <a:tint val="75000"/>
                  </a:schemeClr>
                </a:solidFill>
              </a:defRPr>
            </a:lvl8pPr>
            <a:lvl9pPr marL="3656868"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609601" y="6356350"/>
            <a:ext cx="2844800" cy="365125"/>
          </a:xfrm>
          <a:prstGeom prst="rect">
            <a:avLst/>
          </a:prstGeom>
        </p:spPr>
        <p:txBody>
          <a:bodyPr/>
          <a:lstStyle/>
          <a:p>
            <a:fld id="{E40CCAD6-371C-4043-9A93-CB19AC28A452}" type="datetimeFigureOut">
              <a:rPr lang="en-GB">
                <a:solidFill>
                  <a:srgbClr val="000000"/>
                </a:solidFill>
              </a:rPr>
              <a:pPr/>
              <a:t>16/09/2013</a:t>
            </a:fld>
            <a:endParaRPr lang="en-GB">
              <a:solidFill>
                <a:srgbClr val="000000"/>
              </a:solidFill>
            </a:endParaRPr>
          </a:p>
        </p:txBody>
      </p:sp>
      <p:sp>
        <p:nvSpPr>
          <p:cNvPr id="5" name="Footer Placeholder 4"/>
          <p:cNvSpPr>
            <a:spLocks noGrp="1"/>
          </p:cNvSpPr>
          <p:nvPr>
            <p:ph type="ftr" sz="quarter" idx="11"/>
          </p:nvPr>
        </p:nvSpPr>
        <p:spPr>
          <a:xfrm>
            <a:off x="4165600" y="6356350"/>
            <a:ext cx="38608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8737601" y="6356350"/>
            <a:ext cx="2844800" cy="365125"/>
          </a:xfrm>
          <a:prstGeom prst="rect">
            <a:avLst/>
          </a:prstGeom>
        </p:spPr>
        <p:txBody>
          <a:bodyPr/>
          <a:lstStyle/>
          <a:p>
            <a:fld id="{F140845E-2269-4C1E-A9FA-EBF94E211345}"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942149009"/>
      </p:ext>
    </p:extLst>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1" tIns="45686" rIns="91371" bIns="45686" numCol="1" spcCol="0" rtlCol="0" anchor="ctr" anchorCtr="0" compatLnSpc="1">
            <a:prstTxWarp prst="textNoShape">
              <a:avLst/>
            </a:prstTxWarp>
          </a:bodyPr>
          <a:lstStyle/>
          <a:p>
            <a:pPr algn="ctr" defTabSz="91351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248" y="228602"/>
            <a:ext cx="11151918" cy="747596"/>
          </a:xfrm>
        </p:spPr>
        <p:txBody>
          <a:bodyPr/>
          <a:lstStyle>
            <a:lvl1pPr algn="l" defTabSz="914089" rtl="0" eaLnBrk="1" latinLnBrk="0" hangingPunct="1">
              <a:lnSpc>
                <a:spcPct val="90000"/>
              </a:lnSpc>
              <a:spcBef>
                <a:spcPct val="0"/>
              </a:spcBef>
              <a:buNone/>
              <a:defRPr lang="en-US" sz="5398"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503" indent="-571329">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71" indent="-342797">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4" lvl="0" indent="0" algn="l" defTabSz="914089" rtl="0" eaLnBrk="1" latinLnBrk="0" hangingPunct="1">
              <a:lnSpc>
                <a:spcPct val="90000"/>
              </a:lnSpc>
              <a:spcBef>
                <a:spcPts val="0"/>
              </a:spcBef>
              <a:spcAft>
                <a:spcPts val="900"/>
              </a:spcAft>
              <a:buSzPct val="80000"/>
            </a:pPr>
            <a:r>
              <a:rPr lang="en-US" smtClean="0"/>
              <a:t>Click to edit Master text styles</a:t>
            </a:r>
          </a:p>
          <a:p>
            <a:pPr marL="3174" lvl="1" indent="0" algn="l" defTabSz="91408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5" tIns="41138" rIns="82275" bIns="41138" numCol="1" anchor="t" anchorCtr="0" compatLnSpc="1">
            <a:prstTxWarp prst="textNoShape">
              <a:avLst/>
            </a:prstTxWarp>
          </a:bodyPr>
          <a:lstStyle/>
          <a:p>
            <a:pPr defTabSz="1218621"/>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1" y="1"/>
          <a:ext cx="158791" cy="158750"/>
        </p:xfrm>
        <a:graphic>
          <a:graphicData uri="http://schemas.openxmlformats.org/presentationml/2006/ole">
            <mc:AlternateContent xmlns:mc="http://schemas.openxmlformats.org/markup-compatibility/2006">
              <mc:Choice xmlns:v="urn:schemas-microsoft-com:vml" Requires="v">
                <p:oleObj spid="_x0000_s3175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 y="1"/>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1" tIns="45686" rIns="91371" bIns="45686" numCol="1" spcCol="0" rtlCol="0" anchor="ctr" anchorCtr="0" compatLnSpc="1">
            <a:prstTxWarp prst="textNoShape">
              <a:avLst/>
            </a:prstTxWarp>
          </a:bodyPr>
          <a:lstStyle/>
          <a:p>
            <a:pPr algn="ctr" defTabSz="91351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5" tIns="41138" rIns="82275" bIns="41138" numCol="1" anchor="t" anchorCtr="0" compatLnSpc="1">
            <a:prstTxWarp prst="textNoShape">
              <a:avLst/>
            </a:prstTxWarp>
          </a:bodyPr>
          <a:lstStyle/>
          <a:p>
            <a:pPr defTabSz="1218621"/>
            <a:endParaRPr lang="en-US" sz="1600">
              <a:solidFill>
                <a:srgbClr val="292929"/>
              </a:solidFill>
            </a:endParaRPr>
          </a:p>
        </p:txBody>
      </p:sp>
    </p:spTree>
    <p:extLst>
      <p:ext uri="{BB962C8B-B14F-4D97-AF65-F5344CB8AC3E}">
        <p14:creationId xmlns:p14="http://schemas.microsoft.com/office/powerpoint/2010/main" val="8046692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228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graphicFrame>
        <p:nvGraphicFramePr>
          <p:cNvPr id="5" name="Object 4"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380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197228146"/>
      </p:ext>
    </p:extLst>
  </p:cSld>
  <p:clrMapOvr>
    <a:masterClrMapping/>
  </p:clrMapOvr>
  <p:transition>
    <p:fade/>
  </p:transition>
  <p:timing>
    <p:tnLst>
      <p:par>
        <p:cTn id="1" dur="indefinite" restart="never" nodeType="tmRoot"/>
      </p:par>
    </p:tnLst>
  </p:timing>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482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541673641"/>
      </p:ext>
    </p:extLst>
  </p:cSld>
  <p:clrMapOvr>
    <a:masterClrMapping/>
  </p:clrMapOvr>
  <p:transition>
    <p:fade/>
  </p:transition>
  <p:timing>
    <p:tnLst>
      <p:par>
        <p:cTn id="1" dur="indefinite" restart="never" nodeType="tmRoot"/>
      </p:par>
    </p:tnLst>
  </p:timing>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584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395027146"/>
      </p:ext>
    </p:extLst>
  </p:cSld>
  <p:clrMapOvr>
    <a:masterClrMapping/>
  </p:clrMapOvr>
  <p:transition>
    <p:fade/>
  </p:transition>
</p:sldLayout>
</file>

<file path=ppt/slideLayouts/slideLayout7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35560808"/>
      </p:ext>
    </p:extLst>
  </p:cSld>
  <p:clrMapOvr>
    <a:masterClrMapping/>
  </p:clrMapOvr>
  <p:transition>
    <p:fade/>
  </p:transition>
  <p:timing>
    <p:tnLst>
      <p:par>
        <p:cTn id="1" dur="indefinite" restart="never" nodeType="tmRoot"/>
      </p:par>
    </p:tnLst>
  </p:timing>
</p:sldLayout>
</file>

<file path=ppt/slideLayouts/slideLayout7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687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32157015"/>
      </p:ext>
    </p:extLst>
  </p:cSld>
  <p:clrMapOvr>
    <a:masterClrMapping/>
  </p:clrMapOvr>
  <p:transition>
    <p:fade/>
  </p:transition>
  <p:timing>
    <p:tnLst>
      <p:par>
        <p:cTn id="1" dur="indefinite" restart="never" nodeType="tmRoot"/>
      </p:par>
    </p:tnLst>
  </p:timing>
</p:sldLayout>
</file>

<file path=ppt/slideLayouts/slideLayout7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789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3827794256"/>
      </p:ext>
    </p:extLst>
  </p:cSld>
  <p:clrMapOvr>
    <a:masterClrMapping/>
  </p:clrMapOvr>
  <p:transition>
    <p:fade/>
  </p:transition>
  <p:timing>
    <p:tnLst>
      <p:par>
        <p:cTn id="1" dur="indefinite" restart="never" nodeType="tmRoot"/>
      </p:par>
    </p:tnLst>
  </p:timing>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892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241749638"/>
      </p:ext>
    </p:extLst>
  </p:cSld>
  <p:clrMapOvr>
    <a:masterClrMapping/>
  </p:clrMapOvr>
  <p:transition>
    <p:fade/>
  </p:transition>
</p:sldLayout>
</file>

<file path=ppt/slideLayouts/slideLayout787.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994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7715394" y="2136047"/>
            <a:ext cx="3500039" cy="2114058"/>
            <a:chOff x="1411369" y="3975421"/>
            <a:chExt cx="1714604" cy="1035908"/>
          </a:xfrm>
        </p:grpSpPr>
        <p:sp>
          <p:nvSpPr>
            <p:cNvPr id="11"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160320820"/>
      </p:ext>
    </p:extLst>
  </p:cSld>
  <p:clrMapOvr>
    <a:masterClrMapping/>
  </p:clrMapOvr>
  <p:transition>
    <p:fade/>
  </p:transition>
  <p:timing>
    <p:tnLst>
      <p:par>
        <p:cTn id="1" dur="indefinite" restart="never" nodeType="tmRoot"/>
      </p:par>
    </p:tnLst>
  </p:timing>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graphicFrame>
        <p:nvGraphicFramePr>
          <p:cNvPr id="11" name="Object 10"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4096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3" name="Group 12"/>
          <p:cNvGrpSpPr/>
          <p:nvPr userDrawn="1">
            <p:custDataLst>
              <p:tags r:id="rId3"/>
            </p:custDataLst>
          </p:nvPr>
        </p:nvGrpSpPr>
        <p:grpSpPr bwMode="black">
          <a:xfrm>
            <a:off x="7906631" y="2242931"/>
            <a:ext cx="3177742" cy="1934622"/>
            <a:chOff x="10387012" y="4179358"/>
            <a:chExt cx="974726" cy="593725"/>
          </a:xfrm>
          <a:solidFill>
            <a:srgbClr val="FFFFFF"/>
          </a:solidFill>
        </p:grpSpPr>
        <p:sp>
          <p:nvSpPr>
            <p:cNvPr id="17"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3616988745"/>
      </p:ext>
    </p:extLst>
  </p:cSld>
  <p:clrMapOvr>
    <a:masterClrMapping/>
  </p:clrMapOvr>
  <p:transition>
    <p:fade/>
  </p:transition>
  <p:timing>
    <p:tnLst>
      <p:par>
        <p:cTn id="1" dur="indefinite" restart="never" nodeType="tmRoot"/>
      </p:par>
    </p:tnLst>
  </p:timing>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4199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684567898"/>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508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4301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2"/>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6" name="Text Box 3"/>
          <p:cNvSpPr txBox="1">
            <a:spLocks noChangeArrowheads="1"/>
          </p:cNvSpPr>
          <p:nvPr userDrawn="1">
            <p:custDataLst>
              <p:tags r:id="rId4"/>
            </p:custDataLst>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Segoe UI"/>
              </a:rPr>
              <a:t>© </a:t>
            </a:r>
            <a:r>
              <a:rPr lang="en-US" sz="700" dirty="0" smtClean="0">
                <a:solidFill>
                  <a:srgbClr val="FFFFFF">
                    <a:alpha val="99000"/>
                  </a:srgbClr>
                </a:solidFill>
                <a:cs typeface="Segoe UI"/>
              </a:rPr>
              <a:t>2011 Microsoft </a:t>
            </a:r>
            <a:r>
              <a:rPr lang="en-US" sz="700" dirty="0">
                <a:solidFill>
                  <a:srgbClr val="FFFFFF">
                    <a:alpha val="99000"/>
                  </a:srgbClr>
                </a:solidFill>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Segoe UI"/>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Segoe UI"/>
              </a:rPr>
              <a:t>. Because </a:t>
            </a:r>
            <a:r>
              <a:rPr lang="en-US" sz="700" dirty="0">
                <a:solidFill>
                  <a:srgbClr val="FFFFFF">
                    <a:alpha val="99000"/>
                  </a:srgbClr>
                </a:solidFill>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Segoe UI"/>
              </a:rPr>
              <a:t>. MICROSOFT </a:t>
            </a:r>
            <a:r>
              <a:rPr lang="en-US" sz="700" dirty="0">
                <a:solidFill>
                  <a:srgbClr val="FFFFFF">
                    <a:alpha val="99000"/>
                  </a:srgbClr>
                </a:solidFill>
                <a:cs typeface="Segoe UI"/>
              </a:rPr>
              <a:t>MAKES NO WARRANTIES, EXPRESS, IMPLIED OR STATUTORY, AS TO THE INFORMATION IN THIS PRESENTATION.</a:t>
            </a:r>
          </a:p>
        </p:txBody>
      </p:sp>
    </p:spTree>
    <p:extLst>
      <p:ext uri="{BB962C8B-B14F-4D97-AF65-F5344CB8AC3E}">
        <p14:creationId xmlns:p14="http://schemas.microsoft.com/office/powerpoint/2010/main" val="3621652844"/>
      </p:ext>
    </p:extLst>
  </p:cSld>
  <p:clrMapOvr>
    <a:masterClrMapping/>
  </p:clrMapOvr>
  <p:transition>
    <p:fade/>
  </p:transition>
  <p:timing>
    <p:tnLst>
      <p:par>
        <p:cTn id="1" dur="indefinite" restart="never" nodeType="tmRoot"/>
      </p:par>
    </p:tnLst>
  </p:timing>
</p:sldLayout>
</file>

<file path=ppt/slideLayouts/slideLayout79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68430"/>
          </a:xfrm>
          <a:prstGeom prst="rect">
            <a:avLst/>
          </a:prstGeom>
        </p:spPr>
        <p:txBody>
          <a:bodyPr lIns="67227" tIns="33613" rIns="67227" bIns="33613">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241" y="289512"/>
            <a:ext cx="11655840" cy="815780"/>
          </a:xfrm>
          <a:prstGeom prst="rect">
            <a:avLst/>
          </a:prstGeom>
        </p:spPr>
        <p:txBody>
          <a:bodyPr lIns="67227" tIns="33613" rIns="67227" bIns="33613"/>
          <a:lstStyle/>
          <a:p>
            <a:r>
              <a:rPr lang="en-US" smtClean="0"/>
              <a:t>Click to edit Master title style</a:t>
            </a:r>
            <a:endParaRPr lang="en-US"/>
          </a:p>
        </p:txBody>
      </p:sp>
      <p:sp>
        <p:nvSpPr>
          <p:cNvPr id="5" name="TextBox 7"/>
          <p:cNvSpPr txBox="1"/>
          <p:nvPr userDrawn="1"/>
        </p:nvSpPr>
        <p:spPr bwMode="white">
          <a:xfrm>
            <a:off x="4184819" y="6564104"/>
            <a:ext cx="3822361" cy="16401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66" spc="147"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814323378"/>
      </p:ext>
    </p:extLst>
  </p:cSld>
  <p:clrMapOvr>
    <a:masterClrMapping/>
  </p:clrMapOvr>
  <p:transition>
    <p:fade/>
  </p:transition>
  <p:timing>
    <p:tnLst>
      <p:par>
        <p:cTn id="1" dur="indefinite" restart="never" nodeType="tmRoot"/>
      </p:par>
    </p:tnLst>
  </p:timing>
</p:sldLayout>
</file>

<file path=ppt/slideLayouts/slideLayout792.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418430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graphicFrame>
        <p:nvGraphicFramePr>
          <p:cNvPr id="5" name="Object 4"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4506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979260645"/>
      </p:ext>
    </p:extLst>
  </p:cSld>
  <p:clrMapOvr>
    <a:masterClrMapping/>
  </p:clrMapOvr>
  <p:transition>
    <p:fade/>
  </p:transition>
  <p:timing>
    <p:tnLst>
      <p:par>
        <p:cTn id="1" dur="indefinite" restart="never" nodeType="tmRoot"/>
      </p:par>
    </p:tnLst>
  </p:timing>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4608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34514906"/>
      </p:ext>
    </p:extLst>
  </p:cSld>
  <p:clrMapOvr>
    <a:masterClrMapping/>
  </p:clrMapOvr>
  <p:transition>
    <p:fade/>
  </p:transition>
  <p:timing>
    <p:tnLst>
      <p:par>
        <p:cTn id="1" dur="indefinite" restart="never" nodeType="tmRoot"/>
      </p:par>
    </p:tnLst>
  </p:timing>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4711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544952543"/>
      </p:ext>
    </p:extLst>
  </p:cSld>
  <p:clrMapOvr>
    <a:masterClrMapping/>
  </p:clrMapOvr>
  <p:transition>
    <p:fade/>
  </p:transition>
</p:sldLayout>
</file>

<file path=ppt/slideLayouts/slideLayout7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68090892"/>
      </p:ext>
    </p:extLst>
  </p:cSld>
  <p:clrMapOvr>
    <a:masterClrMapping/>
  </p:clrMapOvr>
  <p:transition>
    <p:fade/>
  </p:transition>
  <p:timing>
    <p:tnLst>
      <p:par>
        <p:cTn id="1" dur="indefinite" restart="never" nodeType="tmRoot"/>
      </p:par>
    </p:tnLst>
  </p:timing>
</p:sldLayout>
</file>

<file path=ppt/slideLayouts/slideLayout7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4813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3817266483"/>
      </p:ext>
    </p:extLst>
  </p:cSld>
  <p:clrMapOvr>
    <a:masterClrMapping/>
  </p:clrMapOvr>
  <p:transition>
    <p:fade/>
  </p:transition>
  <p:timing>
    <p:tnLst>
      <p:par>
        <p:cTn id="1" dur="indefinite" restart="never" nodeType="tmRoot"/>
      </p:par>
    </p:tnLst>
  </p:timing>
</p:sldLayout>
</file>

<file path=ppt/slideLayouts/slideLayout7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4916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182885521"/>
      </p:ext>
    </p:extLst>
  </p:cSld>
  <p:clrMapOvr>
    <a:masterClrMapping/>
  </p:clrMapOvr>
  <p:transition>
    <p:fade/>
  </p:transition>
  <p:timing>
    <p:tnLst>
      <p:par>
        <p:cTn id="1" dur="indefinite" restart="never" nodeType="tmRoot"/>
      </p:par>
    </p:tnLst>
  </p:timing>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5018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4856346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53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414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5120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7715394" y="2136047"/>
            <a:ext cx="3500039" cy="2114058"/>
            <a:chOff x="1411369" y="3975421"/>
            <a:chExt cx="1714604" cy="1035908"/>
          </a:xfrm>
        </p:grpSpPr>
        <p:sp>
          <p:nvSpPr>
            <p:cNvPr id="11"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768371177"/>
      </p:ext>
    </p:extLst>
  </p:cSld>
  <p:clrMapOvr>
    <a:masterClrMapping/>
  </p:clrMapOvr>
  <p:transition>
    <p:fade/>
  </p:transition>
  <p:timing>
    <p:tnLst>
      <p:par>
        <p:cTn id="1" dur="indefinite" restart="never" nodeType="tmRoot"/>
      </p:par>
    </p:tnLst>
  </p:timing>
</p:sldLayout>
</file>

<file path=ppt/slideLayouts/slideLayout80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graphicFrame>
        <p:nvGraphicFramePr>
          <p:cNvPr id="11" name="Object 10"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5223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3" name="Group 12"/>
          <p:cNvGrpSpPr/>
          <p:nvPr userDrawn="1">
            <p:custDataLst>
              <p:tags r:id="rId3"/>
            </p:custDataLst>
          </p:nvPr>
        </p:nvGrpSpPr>
        <p:grpSpPr bwMode="black">
          <a:xfrm>
            <a:off x="7906631" y="2242931"/>
            <a:ext cx="3177742" cy="1934622"/>
            <a:chOff x="10387012" y="4179358"/>
            <a:chExt cx="974726" cy="593725"/>
          </a:xfrm>
          <a:solidFill>
            <a:srgbClr val="FFFFFF"/>
          </a:solidFill>
        </p:grpSpPr>
        <p:sp>
          <p:nvSpPr>
            <p:cNvPr id="17"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753434051"/>
      </p:ext>
    </p:extLst>
  </p:cSld>
  <p:clrMapOvr>
    <a:masterClrMapping/>
  </p:clrMapOvr>
  <p:transition>
    <p:fade/>
  </p:transition>
  <p:timing>
    <p:tnLst>
      <p:par>
        <p:cTn id="1" dur="indefinite" restart="never" nodeType="tmRoot"/>
      </p:par>
    </p:tnLst>
  </p:timing>
</p:sldLayout>
</file>

<file path=ppt/slideLayouts/slideLayout802.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5325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972728661"/>
      </p:ext>
    </p:extLst>
  </p:cSld>
  <p:clrMapOvr>
    <a:masterClrMapping/>
  </p:clrMapOvr>
  <p:transition>
    <p:fade/>
  </p:transition>
  <p:timing>
    <p:tnLst>
      <p:par>
        <p:cTn id="1" dur="indefinite" restart="never" nodeType="tmRoot"/>
      </p:par>
    </p:tnLst>
  </p:timing>
</p:sldLayout>
</file>

<file path=ppt/slideLayouts/slideLayout80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5428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2"/>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6" name="Text Box 3"/>
          <p:cNvSpPr txBox="1">
            <a:spLocks noChangeArrowheads="1"/>
          </p:cNvSpPr>
          <p:nvPr userDrawn="1">
            <p:custDataLst>
              <p:tags r:id="rId4"/>
            </p:custDataLst>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Segoe UI"/>
              </a:rPr>
              <a:t>© </a:t>
            </a:r>
            <a:r>
              <a:rPr lang="en-US" sz="700" dirty="0" smtClean="0">
                <a:solidFill>
                  <a:srgbClr val="FFFFFF">
                    <a:alpha val="99000"/>
                  </a:srgbClr>
                </a:solidFill>
                <a:cs typeface="Segoe UI"/>
              </a:rPr>
              <a:t>2011 Microsoft </a:t>
            </a:r>
            <a:r>
              <a:rPr lang="en-US" sz="700" dirty="0">
                <a:solidFill>
                  <a:srgbClr val="FFFFFF">
                    <a:alpha val="99000"/>
                  </a:srgbClr>
                </a:solidFill>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Segoe UI"/>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Segoe UI"/>
              </a:rPr>
              <a:t>. Because </a:t>
            </a:r>
            <a:r>
              <a:rPr lang="en-US" sz="700" dirty="0">
                <a:solidFill>
                  <a:srgbClr val="FFFFFF">
                    <a:alpha val="99000"/>
                  </a:srgbClr>
                </a:solidFill>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Segoe UI"/>
              </a:rPr>
              <a:t>. MICROSOFT </a:t>
            </a:r>
            <a:r>
              <a:rPr lang="en-US" sz="700" dirty="0">
                <a:solidFill>
                  <a:srgbClr val="FFFFFF">
                    <a:alpha val="99000"/>
                  </a:srgbClr>
                </a:solidFill>
                <a:cs typeface="Segoe UI"/>
              </a:rPr>
              <a:t>MAKES NO WARRANTIES, EXPRESS, IMPLIED OR STATUTORY, AS TO THE INFORMATION IN THIS PRESENTATION.</a:t>
            </a:r>
          </a:p>
        </p:txBody>
      </p:sp>
    </p:spTree>
    <p:extLst>
      <p:ext uri="{BB962C8B-B14F-4D97-AF65-F5344CB8AC3E}">
        <p14:creationId xmlns:p14="http://schemas.microsoft.com/office/powerpoint/2010/main" val="2644672087"/>
      </p:ext>
    </p:extLst>
  </p:cSld>
  <p:clrMapOvr>
    <a:masterClrMapping/>
  </p:clrMapOvr>
  <p:transition>
    <p:fade/>
  </p:transition>
  <p:timing>
    <p:tnLst>
      <p:par>
        <p:cTn id="1" dur="indefinite" restart="never" nodeType="tmRoot"/>
      </p:par>
    </p:tnLst>
  </p:timing>
</p:sldLayout>
</file>

<file path=ppt/slideLayouts/slideLayout80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68430"/>
          </a:xfrm>
          <a:prstGeom prst="rect">
            <a:avLst/>
          </a:prstGeom>
        </p:spPr>
        <p:txBody>
          <a:bodyPr lIns="67227" tIns="33613" rIns="67227" bIns="33613">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241" y="289512"/>
            <a:ext cx="11655840" cy="815780"/>
          </a:xfrm>
          <a:prstGeom prst="rect">
            <a:avLst/>
          </a:prstGeom>
        </p:spPr>
        <p:txBody>
          <a:bodyPr lIns="67227" tIns="33613" rIns="67227" bIns="33613"/>
          <a:lstStyle/>
          <a:p>
            <a:r>
              <a:rPr lang="en-US" smtClean="0"/>
              <a:t>Click to edit Master title style</a:t>
            </a:r>
            <a:endParaRPr lang="en-US"/>
          </a:p>
        </p:txBody>
      </p:sp>
      <p:sp>
        <p:nvSpPr>
          <p:cNvPr id="5" name="TextBox 7"/>
          <p:cNvSpPr txBox="1"/>
          <p:nvPr userDrawn="1"/>
        </p:nvSpPr>
        <p:spPr bwMode="white">
          <a:xfrm>
            <a:off x="4184819" y="6564104"/>
            <a:ext cx="3822361" cy="16401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66" spc="147"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16308041"/>
      </p:ext>
    </p:extLst>
  </p:cSld>
  <p:clrMapOvr>
    <a:masterClrMapping/>
  </p:clrMapOvr>
  <p:transition>
    <p:fade/>
  </p:transition>
  <p:timing>
    <p:tnLst>
      <p:par>
        <p:cTn id="1" dur="indefinite" restart="never" nodeType="tmRoot"/>
      </p:par>
    </p:tnLst>
  </p:timing>
</p:sldLayout>
</file>

<file path=ppt/slideLayouts/slideLayout805.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1729033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6.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554166705"/>
      </p:ext>
    </p:extLst>
  </p:cSld>
  <p:clrMapOvr>
    <a:masterClrMapping/>
  </p:clrMapOvr>
  <p:transition>
    <p:fade/>
  </p:transition>
  <p:timing>
    <p:tnLst>
      <p:par>
        <p:cTn id="1" dur="indefinite" restart="never" nodeType="tmRoot"/>
      </p:par>
    </p:tnLst>
  </p:timing>
</p:sldLayout>
</file>

<file path=ppt/slideLayouts/slideLayout80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408636422"/>
      </p:ext>
    </p:extLst>
  </p:cSld>
  <p:clrMapOvr>
    <a:masterClrMapping/>
  </p:clrMapOvr>
  <p:transition>
    <p:fade/>
  </p:transition>
  <p:timing>
    <p:tnLst>
      <p:par>
        <p:cTn id="1" dur="indefinite" restart="never" nodeType="tmRoot"/>
      </p:par>
    </p:tnLst>
  </p:timing>
</p:sldLayout>
</file>

<file path=ppt/slideLayouts/slideLayout808.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093348641"/>
      </p:ext>
    </p:extLst>
  </p:cSld>
  <p:clrMapOvr>
    <a:masterClrMapping/>
  </p:clrMapOvr>
  <p:transition>
    <p:fade/>
  </p:transition>
  <p:timing>
    <p:tnLst>
      <p:par>
        <p:cTn id="1" dur="indefinite" restart="never" nodeType="tmRoot"/>
      </p:par>
    </p:tnLst>
  </p:timing>
</p:sldLayout>
</file>

<file path=ppt/slideLayouts/slideLayout8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368818013"/>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05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277929763"/>
      </p:ext>
    </p:extLst>
  </p:cSld>
  <p:clrMapOvr>
    <a:masterClrMapping/>
  </p:clrMapOvr>
  <p:transition>
    <p:fade/>
  </p:transition>
  <p:timing>
    <p:tnLst>
      <p:par>
        <p:cTn id="1" dur="indefinite" restart="never" nodeType="tmRoot"/>
      </p:par>
    </p:tnLst>
  </p:timing>
</p:sldLayout>
</file>

<file path=ppt/slideLayouts/slideLayout8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229678312"/>
      </p:ext>
    </p:extLst>
  </p:cSld>
  <p:clrMapOvr>
    <a:masterClrMapping/>
  </p:clrMapOvr>
  <p:transition>
    <p:fade/>
  </p:transition>
  <p:timing>
    <p:tnLst>
      <p:par>
        <p:cTn id="1" dur="indefinite" restart="never" nodeType="tmRoot"/>
      </p:par>
    </p:tnLst>
  </p:timing>
</p:sldLayout>
</file>

<file path=ppt/slideLayouts/slideLayout8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114719576"/>
      </p:ext>
    </p:extLst>
  </p:cSld>
  <p:clrMapOvr>
    <a:masterClrMapping/>
  </p:clrMapOvr>
  <p:transition>
    <p:fade/>
  </p:transition>
  <p:timing>
    <p:tnLst>
      <p:par>
        <p:cTn id="1" dur="indefinite" restart="never" nodeType="tmRoot"/>
      </p:par>
    </p:tnLst>
  </p:timing>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199213865"/>
      </p:ext>
    </p:extLst>
  </p:cSld>
  <p:clrMapOvr>
    <a:masterClrMapping/>
  </p:clrMapOvr>
  <p:transition>
    <p:fade/>
  </p:transition>
  <p:timing>
    <p:tnLst>
      <p:par>
        <p:cTn id="1" dur="indefinite" restart="never" nodeType="tmRoot"/>
      </p:par>
    </p:tnLst>
  </p:timing>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438140695"/>
      </p:ext>
    </p:extLst>
  </p:cSld>
  <p:clrMapOvr>
    <a:masterClrMapping/>
  </p:clrMapOvr>
  <p:transition>
    <p:fade/>
  </p:transition>
  <p:timing>
    <p:tnLst>
      <p:par>
        <p:cTn id="1" dur="indefinite" restart="never" nodeType="tmRoot"/>
      </p:par>
    </p:tnLst>
  </p:timing>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984983589"/>
      </p:ext>
    </p:extLst>
  </p:cSld>
  <p:clrMapOvr>
    <a:masterClrMapping/>
  </p:clrMapOvr>
  <p:transition>
    <p:fade/>
  </p:transition>
  <p:timing>
    <p:tnLst>
      <p:par>
        <p:cTn id="1" dur="indefinite" restart="never" nodeType="tmRoot"/>
      </p:par>
    </p:tnLst>
  </p:timing>
</p:sldLayout>
</file>

<file path=ppt/slideLayouts/slideLayout816.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3630961878"/>
      </p:ext>
    </p:extLst>
  </p:cSld>
  <p:clrMapOvr>
    <a:masterClrMapping/>
  </p:clrMapOvr>
  <p:transition>
    <p:fade/>
  </p:transition>
  <p:timing>
    <p:tnLst>
      <p:par>
        <p:cTn id="1" dur="indefinite" restart="never" nodeType="tmRoot"/>
      </p:par>
    </p:tnLst>
  </p:timing>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2165043957"/>
      </p:ext>
    </p:extLst>
  </p:cSld>
  <p:clrMapOvr>
    <a:masterClrMapping/>
  </p:clrMapOvr>
  <p:transition>
    <p:fade/>
  </p:transition>
  <p:timing>
    <p:tnLst>
      <p:par>
        <p:cTn id="1" dur="indefinite" restart="never" nodeType="tmRoot"/>
      </p:par>
    </p:tnLst>
  </p:timing>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4095037209"/>
      </p:ext>
    </p:extLst>
  </p:cSld>
  <p:clrMapOvr>
    <a:masterClrMapping/>
  </p:clrMapOvr>
  <p:transition>
    <p:fade/>
  </p:transition>
  <p:timing>
    <p:tnLst>
      <p:par>
        <p:cTn id="1" dur="indefinite" restart="never" nodeType="tmRoot"/>
      </p:par>
    </p:tnLst>
  </p:timing>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1610500420"/>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514132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747905270"/>
      </p:ext>
    </p:extLst>
  </p:cSld>
  <p:clrMapOvr>
    <a:masterClrMapping/>
  </p:clrMapOvr>
  <p:transition>
    <p:fade/>
  </p:transition>
  <p:timing>
    <p:tnLst>
      <p:par>
        <p:cTn id="1" dur="indefinite" restart="never" nodeType="tmRoot"/>
      </p:par>
    </p:tnLst>
  </p:timing>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1258026607"/>
      </p:ext>
    </p:extLst>
  </p:cSld>
  <p:clrMapOvr>
    <a:masterClrMapping/>
  </p:clrMapOvr>
  <p:transition>
    <p:fade/>
  </p:transition>
  <p:timing>
    <p:tnLst>
      <p:par>
        <p:cTn id="1" dur="indefinite" restart="never" nodeType="tmRoot"/>
      </p:par>
    </p:tnLst>
  </p:timing>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6607837"/>
      </p:ext>
    </p:extLst>
  </p:cSld>
  <p:clrMapOvr>
    <a:masterClrMapping/>
  </p:clrMapOvr>
  <p:transition>
    <p:fade/>
  </p:transition>
  <p:timing>
    <p:tnLst>
      <p:par>
        <p:cTn id="1" dur="indefinite" restart="never" nodeType="tmRoot"/>
      </p:par>
    </p:tnLst>
  </p:timing>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850875924"/>
      </p:ext>
    </p:extLst>
  </p:cSld>
  <p:clrMapOvr>
    <a:masterClrMapping/>
  </p:clrMapOvr>
  <p:transition>
    <p:fade/>
  </p:transition>
  <p:timing>
    <p:tnLst>
      <p:par>
        <p:cTn id="1" dur="indefinite" restart="never" nodeType="tmRoot"/>
      </p:par>
    </p:tnLst>
  </p:timing>
</p:sldLayout>
</file>

<file path=ppt/slideLayouts/slideLayout824.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3557586"/>
      </p:ext>
    </p:extLst>
  </p:cSld>
  <p:clrMapOvr>
    <a:masterClrMapping/>
  </p:clrMapOvr>
  <p:transition>
    <p:fade/>
  </p:transition>
  <p:timing>
    <p:tnLst>
      <p:par>
        <p:cTn id="1" dur="indefinite" restart="never" nodeType="tmRoot"/>
      </p:par>
    </p:tnLst>
  </p:timing>
</p:sldLayout>
</file>

<file path=ppt/slideLayouts/slideLayout825.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4782482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98094709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44688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739827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20191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3302928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06163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447850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29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215714524"/>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945487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503264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4495821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000914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26884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25611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0513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739803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00115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 Type="http://schemas.openxmlformats.org/officeDocument/2006/relationships/slideLayout" Target="../slideLayouts/slideLayout198.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theme" Target="../theme/theme10.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2.xml"/><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3" Type="http://schemas.openxmlformats.org/officeDocument/2006/relationships/slideLayout" Target="../slideLayouts/slideLayout217.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0" Type="http://schemas.openxmlformats.org/officeDocument/2006/relationships/theme" Target="../theme/theme11.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5" Type="http://schemas.openxmlformats.org/officeDocument/2006/relationships/slideLayout" Target="../slideLayouts/slideLayout219.xml"/><Relationship Id="rId15" Type="http://schemas.openxmlformats.org/officeDocument/2006/relationships/slideLayout" Target="../slideLayouts/slideLayout229.xml"/><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246.xml"/><Relationship Id="rId18" Type="http://schemas.openxmlformats.org/officeDocument/2006/relationships/slideLayout" Target="../slideLayouts/slideLayout251.xml"/><Relationship Id="rId26" Type="http://schemas.openxmlformats.org/officeDocument/2006/relationships/slideLayout" Target="../slideLayouts/slideLayout259.xml"/><Relationship Id="rId3" Type="http://schemas.openxmlformats.org/officeDocument/2006/relationships/slideLayout" Target="../slideLayouts/slideLayout236.xml"/><Relationship Id="rId21" Type="http://schemas.openxmlformats.org/officeDocument/2006/relationships/slideLayout" Target="../slideLayouts/slideLayout254.xml"/><Relationship Id="rId7" Type="http://schemas.openxmlformats.org/officeDocument/2006/relationships/slideLayout" Target="../slideLayouts/slideLayout240.xml"/><Relationship Id="rId12" Type="http://schemas.openxmlformats.org/officeDocument/2006/relationships/slideLayout" Target="../slideLayouts/slideLayout245.xml"/><Relationship Id="rId17" Type="http://schemas.openxmlformats.org/officeDocument/2006/relationships/slideLayout" Target="../slideLayouts/slideLayout250.xml"/><Relationship Id="rId25" Type="http://schemas.openxmlformats.org/officeDocument/2006/relationships/slideLayout" Target="../slideLayouts/slideLayout258.xml"/><Relationship Id="rId33" Type="http://schemas.openxmlformats.org/officeDocument/2006/relationships/theme" Target="../theme/theme12.xml"/><Relationship Id="rId2" Type="http://schemas.openxmlformats.org/officeDocument/2006/relationships/slideLayout" Target="../slideLayouts/slideLayout235.xml"/><Relationship Id="rId16" Type="http://schemas.openxmlformats.org/officeDocument/2006/relationships/slideLayout" Target="../slideLayouts/slideLayout249.xml"/><Relationship Id="rId20" Type="http://schemas.openxmlformats.org/officeDocument/2006/relationships/slideLayout" Target="../slideLayouts/slideLayout253.xml"/><Relationship Id="rId29" Type="http://schemas.openxmlformats.org/officeDocument/2006/relationships/slideLayout" Target="../slideLayouts/slideLayout262.xml"/><Relationship Id="rId1" Type="http://schemas.openxmlformats.org/officeDocument/2006/relationships/slideLayout" Target="../slideLayouts/slideLayout234.xml"/><Relationship Id="rId6" Type="http://schemas.openxmlformats.org/officeDocument/2006/relationships/slideLayout" Target="../slideLayouts/slideLayout239.xml"/><Relationship Id="rId11" Type="http://schemas.openxmlformats.org/officeDocument/2006/relationships/slideLayout" Target="../slideLayouts/slideLayout244.xml"/><Relationship Id="rId24" Type="http://schemas.openxmlformats.org/officeDocument/2006/relationships/slideLayout" Target="../slideLayouts/slideLayout257.xml"/><Relationship Id="rId32" Type="http://schemas.openxmlformats.org/officeDocument/2006/relationships/slideLayout" Target="../slideLayouts/slideLayout265.xml"/><Relationship Id="rId5" Type="http://schemas.openxmlformats.org/officeDocument/2006/relationships/slideLayout" Target="../slideLayouts/slideLayout238.xml"/><Relationship Id="rId15" Type="http://schemas.openxmlformats.org/officeDocument/2006/relationships/slideLayout" Target="../slideLayouts/slideLayout248.xml"/><Relationship Id="rId23" Type="http://schemas.openxmlformats.org/officeDocument/2006/relationships/slideLayout" Target="../slideLayouts/slideLayout256.xml"/><Relationship Id="rId28" Type="http://schemas.openxmlformats.org/officeDocument/2006/relationships/slideLayout" Target="../slideLayouts/slideLayout261.xml"/><Relationship Id="rId10" Type="http://schemas.openxmlformats.org/officeDocument/2006/relationships/slideLayout" Target="../slideLayouts/slideLayout243.xml"/><Relationship Id="rId19" Type="http://schemas.openxmlformats.org/officeDocument/2006/relationships/slideLayout" Target="../slideLayouts/slideLayout252.xml"/><Relationship Id="rId31" Type="http://schemas.openxmlformats.org/officeDocument/2006/relationships/slideLayout" Target="../slideLayouts/slideLayout264.xml"/><Relationship Id="rId4" Type="http://schemas.openxmlformats.org/officeDocument/2006/relationships/slideLayout" Target="../slideLayouts/slideLayout237.xml"/><Relationship Id="rId9" Type="http://schemas.openxmlformats.org/officeDocument/2006/relationships/slideLayout" Target="../slideLayouts/slideLayout242.xml"/><Relationship Id="rId14" Type="http://schemas.openxmlformats.org/officeDocument/2006/relationships/slideLayout" Target="../slideLayouts/slideLayout247.xml"/><Relationship Id="rId22" Type="http://schemas.openxmlformats.org/officeDocument/2006/relationships/slideLayout" Target="../slideLayouts/slideLayout255.xml"/><Relationship Id="rId27" Type="http://schemas.openxmlformats.org/officeDocument/2006/relationships/slideLayout" Target="../slideLayouts/slideLayout260.xml"/><Relationship Id="rId30" Type="http://schemas.openxmlformats.org/officeDocument/2006/relationships/slideLayout" Target="../slideLayouts/slideLayout263.xml"/><Relationship Id="rId8" Type="http://schemas.openxmlformats.org/officeDocument/2006/relationships/slideLayout" Target="../slideLayouts/slideLayout241.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278.xml"/><Relationship Id="rId18" Type="http://schemas.openxmlformats.org/officeDocument/2006/relationships/slideLayout" Target="../slideLayouts/slideLayout283.xml"/><Relationship Id="rId26" Type="http://schemas.openxmlformats.org/officeDocument/2006/relationships/slideLayout" Target="../slideLayouts/slideLayout291.xml"/><Relationship Id="rId3" Type="http://schemas.openxmlformats.org/officeDocument/2006/relationships/slideLayout" Target="../slideLayouts/slideLayout268.xml"/><Relationship Id="rId21" Type="http://schemas.openxmlformats.org/officeDocument/2006/relationships/slideLayout" Target="../slideLayouts/slideLayout286.xml"/><Relationship Id="rId7" Type="http://schemas.openxmlformats.org/officeDocument/2006/relationships/slideLayout" Target="../slideLayouts/slideLayout272.xml"/><Relationship Id="rId12" Type="http://schemas.openxmlformats.org/officeDocument/2006/relationships/slideLayout" Target="../slideLayouts/slideLayout277.xml"/><Relationship Id="rId17" Type="http://schemas.openxmlformats.org/officeDocument/2006/relationships/slideLayout" Target="../slideLayouts/slideLayout282.xml"/><Relationship Id="rId25" Type="http://schemas.openxmlformats.org/officeDocument/2006/relationships/slideLayout" Target="../slideLayouts/slideLayout290.xml"/><Relationship Id="rId33" Type="http://schemas.openxmlformats.org/officeDocument/2006/relationships/theme" Target="../theme/theme13.xml"/><Relationship Id="rId2" Type="http://schemas.openxmlformats.org/officeDocument/2006/relationships/slideLayout" Target="../slideLayouts/slideLayout267.xml"/><Relationship Id="rId16" Type="http://schemas.openxmlformats.org/officeDocument/2006/relationships/slideLayout" Target="../slideLayouts/slideLayout281.xml"/><Relationship Id="rId20" Type="http://schemas.openxmlformats.org/officeDocument/2006/relationships/slideLayout" Target="../slideLayouts/slideLayout285.xml"/><Relationship Id="rId29" Type="http://schemas.openxmlformats.org/officeDocument/2006/relationships/slideLayout" Target="../slideLayouts/slideLayout294.xml"/><Relationship Id="rId1" Type="http://schemas.openxmlformats.org/officeDocument/2006/relationships/slideLayout" Target="../slideLayouts/slideLayout266.xml"/><Relationship Id="rId6" Type="http://schemas.openxmlformats.org/officeDocument/2006/relationships/slideLayout" Target="../slideLayouts/slideLayout271.xml"/><Relationship Id="rId11" Type="http://schemas.openxmlformats.org/officeDocument/2006/relationships/slideLayout" Target="../slideLayouts/slideLayout276.xml"/><Relationship Id="rId24" Type="http://schemas.openxmlformats.org/officeDocument/2006/relationships/slideLayout" Target="../slideLayouts/slideLayout289.xml"/><Relationship Id="rId32" Type="http://schemas.openxmlformats.org/officeDocument/2006/relationships/slideLayout" Target="../slideLayouts/slideLayout297.xml"/><Relationship Id="rId5" Type="http://schemas.openxmlformats.org/officeDocument/2006/relationships/slideLayout" Target="../slideLayouts/slideLayout270.xml"/><Relationship Id="rId15" Type="http://schemas.openxmlformats.org/officeDocument/2006/relationships/slideLayout" Target="../slideLayouts/slideLayout280.xml"/><Relationship Id="rId23" Type="http://schemas.openxmlformats.org/officeDocument/2006/relationships/slideLayout" Target="../slideLayouts/slideLayout288.xml"/><Relationship Id="rId28" Type="http://schemas.openxmlformats.org/officeDocument/2006/relationships/slideLayout" Target="../slideLayouts/slideLayout293.xml"/><Relationship Id="rId10" Type="http://schemas.openxmlformats.org/officeDocument/2006/relationships/slideLayout" Target="../slideLayouts/slideLayout275.xml"/><Relationship Id="rId19" Type="http://schemas.openxmlformats.org/officeDocument/2006/relationships/slideLayout" Target="../slideLayouts/slideLayout284.xml"/><Relationship Id="rId31" Type="http://schemas.openxmlformats.org/officeDocument/2006/relationships/slideLayout" Target="../slideLayouts/slideLayout296.xml"/><Relationship Id="rId4" Type="http://schemas.openxmlformats.org/officeDocument/2006/relationships/slideLayout" Target="../slideLayouts/slideLayout269.xml"/><Relationship Id="rId9" Type="http://schemas.openxmlformats.org/officeDocument/2006/relationships/slideLayout" Target="../slideLayouts/slideLayout274.xml"/><Relationship Id="rId14" Type="http://schemas.openxmlformats.org/officeDocument/2006/relationships/slideLayout" Target="../slideLayouts/slideLayout279.xml"/><Relationship Id="rId22" Type="http://schemas.openxmlformats.org/officeDocument/2006/relationships/slideLayout" Target="../slideLayouts/slideLayout287.xml"/><Relationship Id="rId27" Type="http://schemas.openxmlformats.org/officeDocument/2006/relationships/slideLayout" Target="../slideLayouts/slideLayout292.xml"/><Relationship Id="rId30" Type="http://schemas.openxmlformats.org/officeDocument/2006/relationships/slideLayout" Target="../slideLayouts/slideLayout295.xml"/><Relationship Id="rId8" Type="http://schemas.openxmlformats.org/officeDocument/2006/relationships/slideLayout" Target="../slideLayouts/slideLayout273.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310.xml"/><Relationship Id="rId18" Type="http://schemas.openxmlformats.org/officeDocument/2006/relationships/slideLayout" Target="../slideLayouts/slideLayout315.xml"/><Relationship Id="rId26" Type="http://schemas.openxmlformats.org/officeDocument/2006/relationships/slideLayout" Target="../slideLayouts/slideLayout323.xml"/><Relationship Id="rId3" Type="http://schemas.openxmlformats.org/officeDocument/2006/relationships/slideLayout" Target="../slideLayouts/slideLayout300.xml"/><Relationship Id="rId21" Type="http://schemas.openxmlformats.org/officeDocument/2006/relationships/slideLayout" Target="../slideLayouts/slideLayout318.xml"/><Relationship Id="rId7" Type="http://schemas.openxmlformats.org/officeDocument/2006/relationships/slideLayout" Target="../slideLayouts/slideLayout304.xml"/><Relationship Id="rId12" Type="http://schemas.openxmlformats.org/officeDocument/2006/relationships/slideLayout" Target="../slideLayouts/slideLayout309.xml"/><Relationship Id="rId17" Type="http://schemas.openxmlformats.org/officeDocument/2006/relationships/slideLayout" Target="../slideLayouts/slideLayout314.xml"/><Relationship Id="rId25" Type="http://schemas.openxmlformats.org/officeDocument/2006/relationships/slideLayout" Target="../slideLayouts/slideLayout322.xml"/><Relationship Id="rId33" Type="http://schemas.openxmlformats.org/officeDocument/2006/relationships/theme" Target="../theme/theme14.xml"/><Relationship Id="rId2" Type="http://schemas.openxmlformats.org/officeDocument/2006/relationships/slideLayout" Target="../slideLayouts/slideLayout299.xml"/><Relationship Id="rId16" Type="http://schemas.openxmlformats.org/officeDocument/2006/relationships/slideLayout" Target="../slideLayouts/slideLayout313.xml"/><Relationship Id="rId20" Type="http://schemas.openxmlformats.org/officeDocument/2006/relationships/slideLayout" Target="../slideLayouts/slideLayout317.xml"/><Relationship Id="rId29" Type="http://schemas.openxmlformats.org/officeDocument/2006/relationships/slideLayout" Target="../slideLayouts/slideLayout326.xml"/><Relationship Id="rId1" Type="http://schemas.openxmlformats.org/officeDocument/2006/relationships/slideLayout" Target="../slideLayouts/slideLayout298.xml"/><Relationship Id="rId6" Type="http://schemas.openxmlformats.org/officeDocument/2006/relationships/slideLayout" Target="../slideLayouts/slideLayout303.xml"/><Relationship Id="rId11" Type="http://schemas.openxmlformats.org/officeDocument/2006/relationships/slideLayout" Target="../slideLayouts/slideLayout308.xml"/><Relationship Id="rId24" Type="http://schemas.openxmlformats.org/officeDocument/2006/relationships/slideLayout" Target="../slideLayouts/slideLayout321.xml"/><Relationship Id="rId32" Type="http://schemas.openxmlformats.org/officeDocument/2006/relationships/slideLayout" Target="../slideLayouts/slideLayout329.xml"/><Relationship Id="rId5" Type="http://schemas.openxmlformats.org/officeDocument/2006/relationships/slideLayout" Target="../slideLayouts/slideLayout302.xml"/><Relationship Id="rId15" Type="http://schemas.openxmlformats.org/officeDocument/2006/relationships/slideLayout" Target="../slideLayouts/slideLayout312.xml"/><Relationship Id="rId23" Type="http://schemas.openxmlformats.org/officeDocument/2006/relationships/slideLayout" Target="../slideLayouts/slideLayout320.xml"/><Relationship Id="rId28" Type="http://schemas.openxmlformats.org/officeDocument/2006/relationships/slideLayout" Target="../slideLayouts/slideLayout325.xml"/><Relationship Id="rId10" Type="http://schemas.openxmlformats.org/officeDocument/2006/relationships/slideLayout" Target="../slideLayouts/slideLayout307.xml"/><Relationship Id="rId19" Type="http://schemas.openxmlformats.org/officeDocument/2006/relationships/slideLayout" Target="../slideLayouts/slideLayout316.xml"/><Relationship Id="rId31" Type="http://schemas.openxmlformats.org/officeDocument/2006/relationships/slideLayout" Target="../slideLayouts/slideLayout328.xml"/><Relationship Id="rId4" Type="http://schemas.openxmlformats.org/officeDocument/2006/relationships/slideLayout" Target="../slideLayouts/slideLayout301.xml"/><Relationship Id="rId9" Type="http://schemas.openxmlformats.org/officeDocument/2006/relationships/slideLayout" Target="../slideLayouts/slideLayout306.xml"/><Relationship Id="rId14" Type="http://schemas.openxmlformats.org/officeDocument/2006/relationships/slideLayout" Target="../slideLayouts/slideLayout311.xml"/><Relationship Id="rId22" Type="http://schemas.openxmlformats.org/officeDocument/2006/relationships/slideLayout" Target="../slideLayouts/slideLayout319.xml"/><Relationship Id="rId27" Type="http://schemas.openxmlformats.org/officeDocument/2006/relationships/slideLayout" Target="../slideLayouts/slideLayout324.xml"/><Relationship Id="rId30" Type="http://schemas.openxmlformats.org/officeDocument/2006/relationships/slideLayout" Target="../slideLayouts/slideLayout327.xml"/><Relationship Id="rId8" Type="http://schemas.openxmlformats.org/officeDocument/2006/relationships/slideLayout" Target="../slideLayouts/slideLayout305.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42.xml"/><Relationship Id="rId18" Type="http://schemas.openxmlformats.org/officeDocument/2006/relationships/slideLayout" Target="../slideLayouts/slideLayout347.xml"/><Relationship Id="rId26" Type="http://schemas.openxmlformats.org/officeDocument/2006/relationships/slideLayout" Target="../slideLayouts/slideLayout355.xml"/><Relationship Id="rId3" Type="http://schemas.openxmlformats.org/officeDocument/2006/relationships/slideLayout" Target="../slideLayouts/slideLayout332.xml"/><Relationship Id="rId21" Type="http://schemas.openxmlformats.org/officeDocument/2006/relationships/slideLayout" Target="../slideLayouts/slideLayout350.xml"/><Relationship Id="rId7" Type="http://schemas.openxmlformats.org/officeDocument/2006/relationships/slideLayout" Target="../slideLayouts/slideLayout336.xml"/><Relationship Id="rId12" Type="http://schemas.openxmlformats.org/officeDocument/2006/relationships/slideLayout" Target="../slideLayouts/slideLayout341.xml"/><Relationship Id="rId17" Type="http://schemas.openxmlformats.org/officeDocument/2006/relationships/slideLayout" Target="../slideLayouts/slideLayout346.xml"/><Relationship Id="rId25" Type="http://schemas.openxmlformats.org/officeDocument/2006/relationships/slideLayout" Target="../slideLayouts/slideLayout354.xml"/><Relationship Id="rId33" Type="http://schemas.openxmlformats.org/officeDocument/2006/relationships/theme" Target="../theme/theme15.xml"/><Relationship Id="rId2" Type="http://schemas.openxmlformats.org/officeDocument/2006/relationships/slideLayout" Target="../slideLayouts/slideLayout331.xml"/><Relationship Id="rId16" Type="http://schemas.openxmlformats.org/officeDocument/2006/relationships/slideLayout" Target="../slideLayouts/slideLayout345.xml"/><Relationship Id="rId20" Type="http://schemas.openxmlformats.org/officeDocument/2006/relationships/slideLayout" Target="../slideLayouts/slideLayout349.xml"/><Relationship Id="rId29" Type="http://schemas.openxmlformats.org/officeDocument/2006/relationships/slideLayout" Target="../slideLayouts/slideLayout358.xml"/><Relationship Id="rId1" Type="http://schemas.openxmlformats.org/officeDocument/2006/relationships/slideLayout" Target="../slideLayouts/slideLayout330.xml"/><Relationship Id="rId6" Type="http://schemas.openxmlformats.org/officeDocument/2006/relationships/slideLayout" Target="../slideLayouts/slideLayout335.xml"/><Relationship Id="rId11" Type="http://schemas.openxmlformats.org/officeDocument/2006/relationships/slideLayout" Target="../slideLayouts/slideLayout340.xml"/><Relationship Id="rId24" Type="http://schemas.openxmlformats.org/officeDocument/2006/relationships/slideLayout" Target="../slideLayouts/slideLayout353.xml"/><Relationship Id="rId32" Type="http://schemas.openxmlformats.org/officeDocument/2006/relationships/slideLayout" Target="../slideLayouts/slideLayout361.xml"/><Relationship Id="rId5" Type="http://schemas.openxmlformats.org/officeDocument/2006/relationships/slideLayout" Target="../slideLayouts/slideLayout334.xml"/><Relationship Id="rId15" Type="http://schemas.openxmlformats.org/officeDocument/2006/relationships/slideLayout" Target="../slideLayouts/slideLayout344.xml"/><Relationship Id="rId23" Type="http://schemas.openxmlformats.org/officeDocument/2006/relationships/slideLayout" Target="../slideLayouts/slideLayout352.xml"/><Relationship Id="rId28" Type="http://schemas.openxmlformats.org/officeDocument/2006/relationships/slideLayout" Target="../slideLayouts/slideLayout357.xml"/><Relationship Id="rId10" Type="http://schemas.openxmlformats.org/officeDocument/2006/relationships/slideLayout" Target="../slideLayouts/slideLayout339.xml"/><Relationship Id="rId19" Type="http://schemas.openxmlformats.org/officeDocument/2006/relationships/slideLayout" Target="../slideLayouts/slideLayout348.xml"/><Relationship Id="rId31" Type="http://schemas.openxmlformats.org/officeDocument/2006/relationships/slideLayout" Target="../slideLayouts/slideLayout360.xml"/><Relationship Id="rId4" Type="http://schemas.openxmlformats.org/officeDocument/2006/relationships/slideLayout" Target="../slideLayouts/slideLayout333.xml"/><Relationship Id="rId9" Type="http://schemas.openxmlformats.org/officeDocument/2006/relationships/slideLayout" Target="../slideLayouts/slideLayout338.xml"/><Relationship Id="rId14" Type="http://schemas.openxmlformats.org/officeDocument/2006/relationships/slideLayout" Target="../slideLayouts/slideLayout343.xml"/><Relationship Id="rId22" Type="http://schemas.openxmlformats.org/officeDocument/2006/relationships/slideLayout" Target="../slideLayouts/slideLayout351.xml"/><Relationship Id="rId27" Type="http://schemas.openxmlformats.org/officeDocument/2006/relationships/slideLayout" Target="../slideLayouts/slideLayout356.xml"/><Relationship Id="rId30" Type="http://schemas.openxmlformats.org/officeDocument/2006/relationships/slideLayout" Target="../slideLayouts/slideLayout359.xml"/><Relationship Id="rId8" Type="http://schemas.openxmlformats.org/officeDocument/2006/relationships/slideLayout" Target="../slideLayouts/slideLayout337.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69.xml"/><Relationship Id="rId13" Type="http://schemas.openxmlformats.org/officeDocument/2006/relationships/slideLayout" Target="../slideLayouts/slideLayout374.xml"/><Relationship Id="rId18" Type="http://schemas.openxmlformats.org/officeDocument/2006/relationships/slideLayout" Target="../slideLayouts/slideLayout379.xml"/><Relationship Id="rId3" Type="http://schemas.openxmlformats.org/officeDocument/2006/relationships/slideLayout" Target="../slideLayouts/slideLayout364.xml"/><Relationship Id="rId7" Type="http://schemas.openxmlformats.org/officeDocument/2006/relationships/slideLayout" Target="../slideLayouts/slideLayout368.xml"/><Relationship Id="rId12" Type="http://schemas.openxmlformats.org/officeDocument/2006/relationships/slideLayout" Target="../slideLayouts/slideLayout373.xml"/><Relationship Id="rId17" Type="http://schemas.openxmlformats.org/officeDocument/2006/relationships/slideLayout" Target="../slideLayouts/slideLayout378.xml"/><Relationship Id="rId2" Type="http://schemas.openxmlformats.org/officeDocument/2006/relationships/slideLayout" Target="../slideLayouts/slideLayout363.xml"/><Relationship Id="rId16" Type="http://schemas.openxmlformats.org/officeDocument/2006/relationships/slideLayout" Target="../slideLayouts/slideLayout377.xml"/><Relationship Id="rId1" Type="http://schemas.openxmlformats.org/officeDocument/2006/relationships/slideLayout" Target="../slideLayouts/slideLayout362.xml"/><Relationship Id="rId6" Type="http://schemas.openxmlformats.org/officeDocument/2006/relationships/slideLayout" Target="../slideLayouts/slideLayout367.xml"/><Relationship Id="rId11" Type="http://schemas.openxmlformats.org/officeDocument/2006/relationships/slideLayout" Target="../slideLayouts/slideLayout372.xml"/><Relationship Id="rId5" Type="http://schemas.openxmlformats.org/officeDocument/2006/relationships/slideLayout" Target="../slideLayouts/slideLayout366.xml"/><Relationship Id="rId15" Type="http://schemas.openxmlformats.org/officeDocument/2006/relationships/slideLayout" Target="../slideLayouts/slideLayout376.xml"/><Relationship Id="rId10" Type="http://schemas.openxmlformats.org/officeDocument/2006/relationships/slideLayout" Target="../slideLayouts/slideLayout371.xml"/><Relationship Id="rId19" Type="http://schemas.openxmlformats.org/officeDocument/2006/relationships/theme" Target="../theme/theme16.xml"/><Relationship Id="rId4" Type="http://schemas.openxmlformats.org/officeDocument/2006/relationships/slideLayout" Target="../slideLayouts/slideLayout365.xml"/><Relationship Id="rId9" Type="http://schemas.openxmlformats.org/officeDocument/2006/relationships/slideLayout" Target="../slideLayouts/slideLayout370.xml"/><Relationship Id="rId14" Type="http://schemas.openxmlformats.org/officeDocument/2006/relationships/slideLayout" Target="../slideLayouts/slideLayout375.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87.xml"/><Relationship Id="rId13" Type="http://schemas.openxmlformats.org/officeDocument/2006/relationships/slideLayout" Target="../slideLayouts/slideLayout392.xml"/><Relationship Id="rId18" Type="http://schemas.openxmlformats.org/officeDocument/2006/relationships/slideLayout" Target="../slideLayouts/slideLayout397.xml"/><Relationship Id="rId3" Type="http://schemas.openxmlformats.org/officeDocument/2006/relationships/slideLayout" Target="../slideLayouts/slideLayout382.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17" Type="http://schemas.openxmlformats.org/officeDocument/2006/relationships/slideLayout" Target="../slideLayouts/slideLayout396.xml"/><Relationship Id="rId2" Type="http://schemas.openxmlformats.org/officeDocument/2006/relationships/slideLayout" Target="../slideLayouts/slideLayout381.xml"/><Relationship Id="rId16" Type="http://schemas.openxmlformats.org/officeDocument/2006/relationships/slideLayout" Target="../slideLayouts/slideLayout395.xml"/><Relationship Id="rId20" Type="http://schemas.openxmlformats.org/officeDocument/2006/relationships/theme" Target="../theme/theme17.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5" Type="http://schemas.openxmlformats.org/officeDocument/2006/relationships/slideLayout" Target="../slideLayouts/slideLayout384.xml"/><Relationship Id="rId15" Type="http://schemas.openxmlformats.org/officeDocument/2006/relationships/slideLayout" Target="../slideLayouts/slideLayout394.xml"/><Relationship Id="rId10" Type="http://schemas.openxmlformats.org/officeDocument/2006/relationships/slideLayout" Target="../slideLayouts/slideLayout389.xml"/><Relationship Id="rId19" Type="http://schemas.openxmlformats.org/officeDocument/2006/relationships/slideLayout" Target="../slideLayouts/slideLayout398.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slideLayout" Target="../slideLayouts/slideLayout393.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06.xml"/><Relationship Id="rId13" Type="http://schemas.openxmlformats.org/officeDocument/2006/relationships/slideLayout" Target="../slideLayouts/slideLayout411.xml"/><Relationship Id="rId18" Type="http://schemas.openxmlformats.org/officeDocument/2006/relationships/slideLayout" Target="../slideLayouts/slideLayout416.xml"/><Relationship Id="rId3" Type="http://schemas.openxmlformats.org/officeDocument/2006/relationships/slideLayout" Target="../slideLayouts/slideLayout401.xml"/><Relationship Id="rId7" Type="http://schemas.openxmlformats.org/officeDocument/2006/relationships/slideLayout" Target="../slideLayouts/slideLayout405.xml"/><Relationship Id="rId12" Type="http://schemas.openxmlformats.org/officeDocument/2006/relationships/slideLayout" Target="../slideLayouts/slideLayout410.xml"/><Relationship Id="rId17" Type="http://schemas.openxmlformats.org/officeDocument/2006/relationships/slideLayout" Target="../slideLayouts/slideLayout415.xml"/><Relationship Id="rId2" Type="http://schemas.openxmlformats.org/officeDocument/2006/relationships/slideLayout" Target="../slideLayouts/slideLayout400.xml"/><Relationship Id="rId16" Type="http://schemas.openxmlformats.org/officeDocument/2006/relationships/slideLayout" Target="../slideLayouts/slideLayout414.xml"/><Relationship Id="rId1" Type="http://schemas.openxmlformats.org/officeDocument/2006/relationships/slideLayout" Target="../slideLayouts/slideLayout399.xml"/><Relationship Id="rId6" Type="http://schemas.openxmlformats.org/officeDocument/2006/relationships/slideLayout" Target="../slideLayouts/slideLayout404.xml"/><Relationship Id="rId11" Type="http://schemas.openxmlformats.org/officeDocument/2006/relationships/slideLayout" Target="../slideLayouts/slideLayout409.xml"/><Relationship Id="rId5" Type="http://schemas.openxmlformats.org/officeDocument/2006/relationships/slideLayout" Target="../slideLayouts/slideLayout403.xml"/><Relationship Id="rId15" Type="http://schemas.openxmlformats.org/officeDocument/2006/relationships/slideLayout" Target="../slideLayouts/slideLayout413.xml"/><Relationship Id="rId10" Type="http://schemas.openxmlformats.org/officeDocument/2006/relationships/slideLayout" Target="../slideLayouts/slideLayout408.xml"/><Relationship Id="rId19" Type="http://schemas.openxmlformats.org/officeDocument/2006/relationships/theme" Target="../theme/theme18.xml"/><Relationship Id="rId4" Type="http://schemas.openxmlformats.org/officeDocument/2006/relationships/slideLayout" Target="../slideLayouts/slideLayout402.xml"/><Relationship Id="rId9" Type="http://schemas.openxmlformats.org/officeDocument/2006/relationships/slideLayout" Target="../slideLayouts/slideLayout407.xml"/><Relationship Id="rId14" Type="http://schemas.openxmlformats.org/officeDocument/2006/relationships/slideLayout" Target="../slideLayouts/slideLayout41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24.xml"/><Relationship Id="rId13" Type="http://schemas.openxmlformats.org/officeDocument/2006/relationships/slideLayout" Target="../slideLayouts/slideLayout429.xml"/><Relationship Id="rId18" Type="http://schemas.openxmlformats.org/officeDocument/2006/relationships/slideLayout" Target="../slideLayouts/slideLayout434.xml"/><Relationship Id="rId3" Type="http://schemas.openxmlformats.org/officeDocument/2006/relationships/slideLayout" Target="../slideLayouts/slideLayout419.xml"/><Relationship Id="rId7" Type="http://schemas.openxmlformats.org/officeDocument/2006/relationships/slideLayout" Target="../slideLayouts/slideLayout423.xml"/><Relationship Id="rId12" Type="http://schemas.openxmlformats.org/officeDocument/2006/relationships/slideLayout" Target="../slideLayouts/slideLayout428.xml"/><Relationship Id="rId17" Type="http://schemas.openxmlformats.org/officeDocument/2006/relationships/slideLayout" Target="../slideLayouts/slideLayout433.xml"/><Relationship Id="rId2" Type="http://schemas.openxmlformats.org/officeDocument/2006/relationships/slideLayout" Target="../slideLayouts/slideLayout418.xml"/><Relationship Id="rId16" Type="http://schemas.openxmlformats.org/officeDocument/2006/relationships/slideLayout" Target="../slideLayouts/slideLayout432.xml"/><Relationship Id="rId20" Type="http://schemas.openxmlformats.org/officeDocument/2006/relationships/theme" Target="../theme/theme19.xml"/><Relationship Id="rId1" Type="http://schemas.openxmlformats.org/officeDocument/2006/relationships/slideLayout" Target="../slideLayouts/slideLayout417.xml"/><Relationship Id="rId6" Type="http://schemas.openxmlformats.org/officeDocument/2006/relationships/slideLayout" Target="../slideLayouts/slideLayout422.xml"/><Relationship Id="rId11" Type="http://schemas.openxmlformats.org/officeDocument/2006/relationships/slideLayout" Target="../slideLayouts/slideLayout427.xml"/><Relationship Id="rId5" Type="http://schemas.openxmlformats.org/officeDocument/2006/relationships/slideLayout" Target="../slideLayouts/slideLayout421.xml"/><Relationship Id="rId15" Type="http://schemas.openxmlformats.org/officeDocument/2006/relationships/slideLayout" Target="../slideLayouts/slideLayout431.xml"/><Relationship Id="rId10" Type="http://schemas.openxmlformats.org/officeDocument/2006/relationships/slideLayout" Target="../slideLayouts/slideLayout426.xml"/><Relationship Id="rId19" Type="http://schemas.openxmlformats.org/officeDocument/2006/relationships/slideLayout" Target="../slideLayouts/slideLayout435.xml"/><Relationship Id="rId4" Type="http://schemas.openxmlformats.org/officeDocument/2006/relationships/slideLayout" Target="../slideLayouts/slideLayout420.xml"/><Relationship Id="rId9" Type="http://schemas.openxmlformats.org/officeDocument/2006/relationships/slideLayout" Target="../slideLayouts/slideLayout425.xml"/><Relationship Id="rId14" Type="http://schemas.openxmlformats.org/officeDocument/2006/relationships/slideLayout" Target="../slideLayouts/slideLayout4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43.xml"/><Relationship Id="rId13" Type="http://schemas.openxmlformats.org/officeDocument/2006/relationships/slideLayout" Target="../slideLayouts/slideLayout448.xml"/><Relationship Id="rId18" Type="http://schemas.openxmlformats.org/officeDocument/2006/relationships/slideLayout" Target="../slideLayouts/slideLayout453.xml"/><Relationship Id="rId3" Type="http://schemas.openxmlformats.org/officeDocument/2006/relationships/slideLayout" Target="../slideLayouts/slideLayout438.xml"/><Relationship Id="rId7" Type="http://schemas.openxmlformats.org/officeDocument/2006/relationships/slideLayout" Target="../slideLayouts/slideLayout442.xml"/><Relationship Id="rId12" Type="http://schemas.openxmlformats.org/officeDocument/2006/relationships/slideLayout" Target="../slideLayouts/slideLayout447.xml"/><Relationship Id="rId17" Type="http://schemas.openxmlformats.org/officeDocument/2006/relationships/slideLayout" Target="../slideLayouts/slideLayout452.xml"/><Relationship Id="rId2" Type="http://schemas.openxmlformats.org/officeDocument/2006/relationships/slideLayout" Target="../slideLayouts/slideLayout437.xml"/><Relationship Id="rId16" Type="http://schemas.openxmlformats.org/officeDocument/2006/relationships/slideLayout" Target="../slideLayouts/slideLayout451.xml"/><Relationship Id="rId20" Type="http://schemas.openxmlformats.org/officeDocument/2006/relationships/theme" Target="../theme/theme20.xml"/><Relationship Id="rId1" Type="http://schemas.openxmlformats.org/officeDocument/2006/relationships/slideLayout" Target="../slideLayouts/slideLayout436.xml"/><Relationship Id="rId6" Type="http://schemas.openxmlformats.org/officeDocument/2006/relationships/slideLayout" Target="../slideLayouts/slideLayout441.xml"/><Relationship Id="rId11" Type="http://schemas.openxmlformats.org/officeDocument/2006/relationships/slideLayout" Target="../slideLayouts/slideLayout446.xml"/><Relationship Id="rId5" Type="http://schemas.openxmlformats.org/officeDocument/2006/relationships/slideLayout" Target="../slideLayouts/slideLayout440.xml"/><Relationship Id="rId15" Type="http://schemas.openxmlformats.org/officeDocument/2006/relationships/slideLayout" Target="../slideLayouts/slideLayout450.xml"/><Relationship Id="rId10" Type="http://schemas.openxmlformats.org/officeDocument/2006/relationships/slideLayout" Target="../slideLayouts/slideLayout445.xml"/><Relationship Id="rId19" Type="http://schemas.openxmlformats.org/officeDocument/2006/relationships/slideLayout" Target="../slideLayouts/slideLayout454.xml"/><Relationship Id="rId4" Type="http://schemas.openxmlformats.org/officeDocument/2006/relationships/slideLayout" Target="../slideLayouts/slideLayout439.xml"/><Relationship Id="rId9" Type="http://schemas.openxmlformats.org/officeDocument/2006/relationships/slideLayout" Target="../slideLayouts/slideLayout444.xml"/><Relationship Id="rId14" Type="http://schemas.openxmlformats.org/officeDocument/2006/relationships/slideLayout" Target="../slideLayouts/slideLayout449.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62.xml"/><Relationship Id="rId13" Type="http://schemas.openxmlformats.org/officeDocument/2006/relationships/slideLayout" Target="../slideLayouts/slideLayout467.xml"/><Relationship Id="rId18" Type="http://schemas.openxmlformats.org/officeDocument/2006/relationships/slideLayout" Target="../slideLayouts/slideLayout472.xml"/><Relationship Id="rId3" Type="http://schemas.openxmlformats.org/officeDocument/2006/relationships/slideLayout" Target="../slideLayouts/slideLayout457.xml"/><Relationship Id="rId7" Type="http://schemas.openxmlformats.org/officeDocument/2006/relationships/slideLayout" Target="../slideLayouts/slideLayout461.xml"/><Relationship Id="rId12" Type="http://schemas.openxmlformats.org/officeDocument/2006/relationships/slideLayout" Target="../slideLayouts/slideLayout466.xml"/><Relationship Id="rId17" Type="http://schemas.openxmlformats.org/officeDocument/2006/relationships/slideLayout" Target="../slideLayouts/slideLayout471.xml"/><Relationship Id="rId2" Type="http://schemas.openxmlformats.org/officeDocument/2006/relationships/slideLayout" Target="../slideLayouts/slideLayout456.xml"/><Relationship Id="rId16" Type="http://schemas.openxmlformats.org/officeDocument/2006/relationships/slideLayout" Target="../slideLayouts/slideLayout470.xml"/><Relationship Id="rId1" Type="http://schemas.openxmlformats.org/officeDocument/2006/relationships/slideLayout" Target="../slideLayouts/slideLayout455.xml"/><Relationship Id="rId6" Type="http://schemas.openxmlformats.org/officeDocument/2006/relationships/slideLayout" Target="../slideLayouts/slideLayout460.xml"/><Relationship Id="rId11" Type="http://schemas.openxmlformats.org/officeDocument/2006/relationships/slideLayout" Target="../slideLayouts/slideLayout465.xml"/><Relationship Id="rId5" Type="http://schemas.openxmlformats.org/officeDocument/2006/relationships/slideLayout" Target="../slideLayouts/slideLayout459.xml"/><Relationship Id="rId15" Type="http://schemas.openxmlformats.org/officeDocument/2006/relationships/slideLayout" Target="../slideLayouts/slideLayout469.xml"/><Relationship Id="rId10" Type="http://schemas.openxmlformats.org/officeDocument/2006/relationships/slideLayout" Target="../slideLayouts/slideLayout464.xml"/><Relationship Id="rId19" Type="http://schemas.openxmlformats.org/officeDocument/2006/relationships/theme" Target="../theme/theme21.xml"/><Relationship Id="rId4" Type="http://schemas.openxmlformats.org/officeDocument/2006/relationships/slideLayout" Target="../slideLayouts/slideLayout458.xml"/><Relationship Id="rId9" Type="http://schemas.openxmlformats.org/officeDocument/2006/relationships/slideLayout" Target="../slideLayouts/slideLayout463.xml"/><Relationship Id="rId14" Type="http://schemas.openxmlformats.org/officeDocument/2006/relationships/slideLayout" Target="../slideLayouts/slideLayout468.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80.xml"/><Relationship Id="rId13" Type="http://schemas.openxmlformats.org/officeDocument/2006/relationships/slideLayout" Target="../slideLayouts/slideLayout485.xml"/><Relationship Id="rId18" Type="http://schemas.openxmlformats.org/officeDocument/2006/relationships/slideLayout" Target="../slideLayouts/slideLayout490.xml"/><Relationship Id="rId3" Type="http://schemas.openxmlformats.org/officeDocument/2006/relationships/slideLayout" Target="../slideLayouts/slideLayout475.xml"/><Relationship Id="rId7" Type="http://schemas.openxmlformats.org/officeDocument/2006/relationships/slideLayout" Target="../slideLayouts/slideLayout479.xml"/><Relationship Id="rId12" Type="http://schemas.openxmlformats.org/officeDocument/2006/relationships/slideLayout" Target="../slideLayouts/slideLayout484.xml"/><Relationship Id="rId17" Type="http://schemas.openxmlformats.org/officeDocument/2006/relationships/slideLayout" Target="../slideLayouts/slideLayout489.xml"/><Relationship Id="rId2" Type="http://schemas.openxmlformats.org/officeDocument/2006/relationships/slideLayout" Target="../slideLayouts/slideLayout474.xml"/><Relationship Id="rId16" Type="http://schemas.openxmlformats.org/officeDocument/2006/relationships/slideLayout" Target="../slideLayouts/slideLayout488.xml"/><Relationship Id="rId20" Type="http://schemas.openxmlformats.org/officeDocument/2006/relationships/theme" Target="../theme/theme22.xml"/><Relationship Id="rId1" Type="http://schemas.openxmlformats.org/officeDocument/2006/relationships/slideLayout" Target="../slideLayouts/slideLayout473.xml"/><Relationship Id="rId6" Type="http://schemas.openxmlformats.org/officeDocument/2006/relationships/slideLayout" Target="../slideLayouts/slideLayout478.xml"/><Relationship Id="rId11" Type="http://schemas.openxmlformats.org/officeDocument/2006/relationships/slideLayout" Target="../slideLayouts/slideLayout483.xml"/><Relationship Id="rId5" Type="http://schemas.openxmlformats.org/officeDocument/2006/relationships/slideLayout" Target="../slideLayouts/slideLayout477.xml"/><Relationship Id="rId15" Type="http://schemas.openxmlformats.org/officeDocument/2006/relationships/slideLayout" Target="../slideLayouts/slideLayout487.xml"/><Relationship Id="rId10" Type="http://schemas.openxmlformats.org/officeDocument/2006/relationships/slideLayout" Target="../slideLayouts/slideLayout482.xml"/><Relationship Id="rId19" Type="http://schemas.openxmlformats.org/officeDocument/2006/relationships/slideLayout" Target="../slideLayouts/slideLayout491.xml"/><Relationship Id="rId4" Type="http://schemas.openxmlformats.org/officeDocument/2006/relationships/slideLayout" Target="../slideLayouts/slideLayout476.xml"/><Relationship Id="rId9" Type="http://schemas.openxmlformats.org/officeDocument/2006/relationships/slideLayout" Target="../slideLayouts/slideLayout481.xml"/><Relationship Id="rId14" Type="http://schemas.openxmlformats.org/officeDocument/2006/relationships/slideLayout" Target="../slideLayouts/slideLayout486.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99.xml"/><Relationship Id="rId13" Type="http://schemas.openxmlformats.org/officeDocument/2006/relationships/slideLayout" Target="../slideLayouts/slideLayout504.xml"/><Relationship Id="rId18" Type="http://schemas.openxmlformats.org/officeDocument/2006/relationships/slideLayout" Target="../slideLayouts/slideLayout509.xml"/><Relationship Id="rId3" Type="http://schemas.openxmlformats.org/officeDocument/2006/relationships/slideLayout" Target="../slideLayouts/slideLayout494.xml"/><Relationship Id="rId7" Type="http://schemas.openxmlformats.org/officeDocument/2006/relationships/slideLayout" Target="../slideLayouts/slideLayout498.xml"/><Relationship Id="rId12" Type="http://schemas.openxmlformats.org/officeDocument/2006/relationships/slideLayout" Target="../slideLayouts/slideLayout503.xml"/><Relationship Id="rId17" Type="http://schemas.openxmlformats.org/officeDocument/2006/relationships/slideLayout" Target="../slideLayouts/slideLayout508.xml"/><Relationship Id="rId2" Type="http://schemas.openxmlformats.org/officeDocument/2006/relationships/slideLayout" Target="../slideLayouts/slideLayout493.xml"/><Relationship Id="rId16" Type="http://schemas.openxmlformats.org/officeDocument/2006/relationships/slideLayout" Target="../slideLayouts/slideLayout507.xml"/><Relationship Id="rId1" Type="http://schemas.openxmlformats.org/officeDocument/2006/relationships/slideLayout" Target="../slideLayouts/slideLayout492.xml"/><Relationship Id="rId6" Type="http://schemas.openxmlformats.org/officeDocument/2006/relationships/slideLayout" Target="../slideLayouts/slideLayout497.xml"/><Relationship Id="rId11" Type="http://schemas.openxmlformats.org/officeDocument/2006/relationships/slideLayout" Target="../slideLayouts/slideLayout502.xml"/><Relationship Id="rId5" Type="http://schemas.openxmlformats.org/officeDocument/2006/relationships/slideLayout" Target="../slideLayouts/slideLayout496.xml"/><Relationship Id="rId15" Type="http://schemas.openxmlformats.org/officeDocument/2006/relationships/slideLayout" Target="../slideLayouts/slideLayout506.xml"/><Relationship Id="rId10" Type="http://schemas.openxmlformats.org/officeDocument/2006/relationships/slideLayout" Target="../slideLayouts/slideLayout501.xml"/><Relationship Id="rId19" Type="http://schemas.openxmlformats.org/officeDocument/2006/relationships/theme" Target="../theme/theme23.xml"/><Relationship Id="rId4" Type="http://schemas.openxmlformats.org/officeDocument/2006/relationships/slideLayout" Target="../slideLayouts/slideLayout495.xml"/><Relationship Id="rId9" Type="http://schemas.openxmlformats.org/officeDocument/2006/relationships/slideLayout" Target="../slideLayouts/slideLayout500.xml"/><Relationship Id="rId14" Type="http://schemas.openxmlformats.org/officeDocument/2006/relationships/slideLayout" Target="../slideLayouts/slideLayout505.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17.xml"/><Relationship Id="rId13" Type="http://schemas.openxmlformats.org/officeDocument/2006/relationships/slideLayout" Target="../slideLayouts/slideLayout522.xml"/><Relationship Id="rId18" Type="http://schemas.openxmlformats.org/officeDocument/2006/relationships/slideLayout" Target="../slideLayouts/slideLayout527.xml"/><Relationship Id="rId3" Type="http://schemas.openxmlformats.org/officeDocument/2006/relationships/slideLayout" Target="../slideLayouts/slideLayout512.xml"/><Relationship Id="rId7" Type="http://schemas.openxmlformats.org/officeDocument/2006/relationships/slideLayout" Target="../slideLayouts/slideLayout516.xml"/><Relationship Id="rId12" Type="http://schemas.openxmlformats.org/officeDocument/2006/relationships/slideLayout" Target="../slideLayouts/slideLayout521.xml"/><Relationship Id="rId17" Type="http://schemas.openxmlformats.org/officeDocument/2006/relationships/slideLayout" Target="../slideLayouts/slideLayout526.xml"/><Relationship Id="rId2" Type="http://schemas.openxmlformats.org/officeDocument/2006/relationships/slideLayout" Target="../slideLayouts/slideLayout511.xml"/><Relationship Id="rId16" Type="http://schemas.openxmlformats.org/officeDocument/2006/relationships/slideLayout" Target="../slideLayouts/slideLayout525.xml"/><Relationship Id="rId20" Type="http://schemas.openxmlformats.org/officeDocument/2006/relationships/theme" Target="../theme/theme24.xml"/><Relationship Id="rId1" Type="http://schemas.openxmlformats.org/officeDocument/2006/relationships/slideLayout" Target="../slideLayouts/slideLayout510.xml"/><Relationship Id="rId6" Type="http://schemas.openxmlformats.org/officeDocument/2006/relationships/slideLayout" Target="../slideLayouts/slideLayout515.xml"/><Relationship Id="rId11" Type="http://schemas.openxmlformats.org/officeDocument/2006/relationships/slideLayout" Target="../slideLayouts/slideLayout520.xml"/><Relationship Id="rId5" Type="http://schemas.openxmlformats.org/officeDocument/2006/relationships/slideLayout" Target="../slideLayouts/slideLayout514.xml"/><Relationship Id="rId15" Type="http://schemas.openxmlformats.org/officeDocument/2006/relationships/slideLayout" Target="../slideLayouts/slideLayout524.xml"/><Relationship Id="rId10" Type="http://schemas.openxmlformats.org/officeDocument/2006/relationships/slideLayout" Target="../slideLayouts/slideLayout519.xml"/><Relationship Id="rId19" Type="http://schemas.openxmlformats.org/officeDocument/2006/relationships/slideLayout" Target="../slideLayouts/slideLayout528.xml"/><Relationship Id="rId4" Type="http://schemas.openxmlformats.org/officeDocument/2006/relationships/slideLayout" Target="../slideLayouts/slideLayout513.xml"/><Relationship Id="rId9" Type="http://schemas.openxmlformats.org/officeDocument/2006/relationships/slideLayout" Target="../slideLayouts/slideLayout518.xml"/><Relationship Id="rId14" Type="http://schemas.openxmlformats.org/officeDocument/2006/relationships/slideLayout" Target="../slideLayouts/slideLayout523.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36.xml"/><Relationship Id="rId13" Type="http://schemas.openxmlformats.org/officeDocument/2006/relationships/slideLayout" Target="../slideLayouts/slideLayout541.xml"/><Relationship Id="rId18" Type="http://schemas.openxmlformats.org/officeDocument/2006/relationships/image" Target="../media/image17.png"/><Relationship Id="rId3" Type="http://schemas.openxmlformats.org/officeDocument/2006/relationships/slideLayout" Target="../slideLayouts/slideLayout531.xml"/><Relationship Id="rId7" Type="http://schemas.openxmlformats.org/officeDocument/2006/relationships/slideLayout" Target="../slideLayouts/slideLayout535.xml"/><Relationship Id="rId12" Type="http://schemas.openxmlformats.org/officeDocument/2006/relationships/slideLayout" Target="../slideLayouts/slideLayout540.xml"/><Relationship Id="rId17" Type="http://schemas.openxmlformats.org/officeDocument/2006/relationships/theme" Target="../theme/theme25.xml"/><Relationship Id="rId2" Type="http://schemas.openxmlformats.org/officeDocument/2006/relationships/slideLayout" Target="../slideLayouts/slideLayout530.xml"/><Relationship Id="rId16" Type="http://schemas.openxmlformats.org/officeDocument/2006/relationships/slideLayout" Target="../slideLayouts/slideLayout544.xml"/><Relationship Id="rId1" Type="http://schemas.openxmlformats.org/officeDocument/2006/relationships/slideLayout" Target="../slideLayouts/slideLayout529.xml"/><Relationship Id="rId6" Type="http://schemas.openxmlformats.org/officeDocument/2006/relationships/slideLayout" Target="../slideLayouts/slideLayout534.xml"/><Relationship Id="rId11" Type="http://schemas.openxmlformats.org/officeDocument/2006/relationships/slideLayout" Target="../slideLayouts/slideLayout539.xml"/><Relationship Id="rId5" Type="http://schemas.openxmlformats.org/officeDocument/2006/relationships/slideLayout" Target="../slideLayouts/slideLayout533.xml"/><Relationship Id="rId15" Type="http://schemas.openxmlformats.org/officeDocument/2006/relationships/slideLayout" Target="../slideLayouts/slideLayout543.xml"/><Relationship Id="rId10" Type="http://schemas.openxmlformats.org/officeDocument/2006/relationships/slideLayout" Target="../slideLayouts/slideLayout538.xml"/><Relationship Id="rId19" Type="http://schemas.microsoft.com/office/2007/relationships/hdphoto" Target="../media/hdphoto2.wdp"/><Relationship Id="rId4" Type="http://schemas.openxmlformats.org/officeDocument/2006/relationships/slideLayout" Target="../slideLayouts/slideLayout532.xml"/><Relationship Id="rId9" Type="http://schemas.openxmlformats.org/officeDocument/2006/relationships/slideLayout" Target="../slideLayouts/slideLayout537.xml"/><Relationship Id="rId14" Type="http://schemas.openxmlformats.org/officeDocument/2006/relationships/slideLayout" Target="../slideLayouts/slideLayout542.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52.xml"/><Relationship Id="rId13" Type="http://schemas.openxmlformats.org/officeDocument/2006/relationships/slideLayout" Target="../slideLayouts/slideLayout557.xml"/><Relationship Id="rId18" Type="http://schemas.openxmlformats.org/officeDocument/2006/relationships/image" Target="../media/image17.png"/><Relationship Id="rId3" Type="http://schemas.openxmlformats.org/officeDocument/2006/relationships/slideLayout" Target="../slideLayouts/slideLayout547.xml"/><Relationship Id="rId7" Type="http://schemas.openxmlformats.org/officeDocument/2006/relationships/slideLayout" Target="../slideLayouts/slideLayout551.xml"/><Relationship Id="rId12" Type="http://schemas.openxmlformats.org/officeDocument/2006/relationships/slideLayout" Target="../slideLayouts/slideLayout556.xml"/><Relationship Id="rId17" Type="http://schemas.openxmlformats.org/officeDocument/2006/relationships/theme" Target="../theme/theme26.xml"/><Relationship Id="rId2" Type="http://schemas.openxmlformats.org/officeDocument/2006/relationships/slideLayout" Target="../slideLayouts/slideLayout546.xml"/><Relationship Id="rId16" Type="http://schemas.openxmlformats.org/officeDocument/2006/relationships/slideLayout" Target="../slideLayouts/slideLayout560.xml"/><Relationship Id="rId1" Type="http://schemas.openxmlformats.org/officeDocument/2006/relationships/slideLayout" Target="../slideLayouts/slideLayout545.xml"/><Relationship Id="rId6" Type="http://schemas.openxmlformats.org/officeDocument/2006/relationships/slideLayout" Target="../slideLayouts/slideLayout550.xml"/><Relationship Id="rId11" Type="http://schemas.openxmlformats.org/officeDocument/2006/relationships/slideLayout" Target="../slideLayouts/slideLayout555.xml"/><Relationship Id="rId5" Type="http://schemas.openxmlformats.org/officeDocument/2006/relationships/slideLayout" Target="../slideLayouts/slideLayout549.xml"/><Relationship Id="rId15" Type="http://schemas.openxmlformats.org/officeDocument/2006/relationships/slideLayout" Target="../slideLayouts/slideLayout559.xml"/><Relationship Id="rId10" Type="http://schemas.openxmlformats.org/officeDocument/2006/relationships/slideLayout" Target="../slideLayouts/slideLayout554.xml"/><Relationship Id="rId19" Type="http://schemas.microsoft.com/office/2007/relationships/hdphoto" Target="../media/hdphoto2.wdp"/><Relationship Id="rId4" Type="http://schemas.openxmlformats.org/officeDocument/2006/relationships/slideLayout" Target="../slideLayouts/slideLayout548.xml"/><Relationship Id="rId9" Type="http://schemas.openxmlformats.org/officeDocument/2006/relationships/slideLayout" Target="../slideLayouts/slideLayout553.xml"/><Relationship Id="rId14" Type="http://schemas.openxmlformats.org/officeDocument/2006/relationships/slideLayout" Target="../slideLayouts/slideLayout558.xml"/></Relationships>
</file>

<file path=ppt/slideMasters/_rels/slideMaster27.xml.rels><?xml version="1.0" encoding="UTF-8" standalone="yes"?>
<Relationships xmlns="http://schemas.openxmlformats.org/package/2006/relationships"><Relationship Id="rId2" Type="http://schemas.openxmlformats.org/officeDocument/2006/relationships/theme" Target="../theme/theme27.xml"/><Relationship Id="rId1" Type="http://schemas.openxmlformats.org/officeDocument/2006/relationships/slideLayout" Target="../slideLayouts/slideLayout561.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569.xml"/><Relationship Id="rId13" Type="http://schemas.openxmlformats.org/officeDocument/2006/relationships/slideLayout" Target="../slideLayouts/slideLayout574.xml"/><Relationship Id="rId18" Type="http://schemas.openxmlformats.org/officeDocument/2006/relationships/image" Target="../media/image17.png"/><Relationship Id="rId3" Type="http://schemas.openxmlformats.org/officeDocument/2006/relationships/slideLayout" Target="../slideLayouts/slideLayout564.xml"/><Relationship Id="rId7" Type="http://schemas.openxmlformats.org/officeDocument/2006/relationships/slideLayout" Target="../slideLayouts/slideLayout568.xml"/><Relationship Id="rId12" Type="http://schemas.openxmlformats.org/officeDocument/2006/relationships/slideLayout" Target="../slideLayouts/slideLayout573.xml"/><Relationship Id="rId17" Type="http://schemas.openxmlformats.org/officeDocument/2006/relationships/theme" Target="../theme/theme28.xml"/><Relationship Id="rId2" Type="http://schemas.openxmlformats.org/officeDocument/2006/relationships/slideLayout" Target="../slideLayouts/slideLayout563.xml"/><Relationship Id="rId16" Type="http://schemas.openxmlformats.org/officeDocument/2006/relationships/slideLayout" Target="../slideLayouts/slideLayout577.xml"/><Relationship Id="rId1" Type="http://schemas.openxmlformats.org/officeDocument/2006/relationships/slideLayout" Target="../slideLayouts/slideLayout562.xml"/><Relationship Id="rId6" Type="http://schemas.openxmlformats.org/officeDocument/2006/relationships/slideLayout" Target="../slideLayouts/slideLayout567.xml"/><Relationship Id="rId11" Type="http://schemas.openxmlformats.org/officeDocument/2006/relationships/slideLayout" Target="../slideLayouts/slideLayout572.xml"/><Relationship Id="rId5" Type="http://schemas.openxmlformats.org/officeDocument/2006/relationships/slideLayout" Target="../slideLayouts/slideLayout566.xml"/><Relationship Id="rId15" Type="http://schemas.openxmlformats.org/officeDocument/2006/relationships/slideLayout" Target="../slideLayouts/slideLayout576.xml"/><Relationship Id="rId10" Type="http://schemas.openxmlformats.org/officeDocument/2006/relationships/slideLayout" Target="../slideLayouts/slideLayout571.xml"/><Relationship Id="rId19" Type="http://schemas.microsoft.com/office/2007/relationships/hdphoto" Target="../media/hdphoto2.wdp"/><Relationship Id="rId4" Type="http://schemas.openxmlformats.org/officeDocument/2006/relationships/slideLayout" Target="../slideLayouts/slideLayout565.xml"/><Relationship Id="rId9" Type="http://schemas.openxmlformats.org/officeDocument/2006/relationships/slideLayout" Target="../slideLayouts/slideLayout570.xml"/><Relationship Id="rId14" Type="http://schemas.openxmlformats.org/officeDocument/2006/relationships/slideLayout" Target="../slideLayouts/slideLayout575.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585.xml"/><Relationship Id="rId13" Type="http://schemas.openxmlformats.org/officeDocument/2006/relationships/slideLayout" Target="../slideLayouts/slideLayout590.xml"/><Relationship Id="rId18" Type="http://schemas.openxmlformats.org/officeDocument/2006/relationships/image" Target="../media/image17.png"/><Relationship Id="rId3" Type="http://schemas.openxmlformats.org/officeDocument/2006/relationships/slideLayout" Target="../slideLayouts/slideLayout580.xml"/><Relationship Id="rId7" Type="http://schemas.openxmlformats.org/officeDocument/2006/relationships/slideLayout" Target="../slideLayouts/slideLayout584.xml"/><Relationship Id="rId12" Type="http://schemas.openxmlformats.org/officeDocument/2006/relationships/slideLayout" Target="../slideLayouts/slideLayout589.xml"/><Relationship Id="rId17" Type="http://schemas.openxmlformats.org/officeDocument/2006/relationships/theme" Target="../theme/theme29.xml"/><Relationship Id="rId2" Type="http://schemas.openxmlformats.org/officeDocument/2006/relationships/slideLayout" Target="../slideLayouts/slideLayout579.xml"/><Relationship Id="rId16" Type="http://schemas.openxmlformats.org/officeDocument/2006/relationships/slideLayout" Target="../slideLayouts/slideLayout593.xml"/><Relationship Id="rId1" Type="http://schemas.openxmlformats.org/officeDocument/2006/relationships/slideLayout" Target="../slideLayouts/slideLayout578.xml"/><Relationship Id="rId6" Type="http://schemas.openxmlformats.org/officeDocument/2006/relationships/slideLayout" Target="../slideLayouts/slideLayout583.xml"/><Relationship Id="rId11" Type="http://schemas.openxmlformats.org/officeDocument/2006/relationships/slideLayout" Target="../slideLayouts/slideLayout588.xml"/><Relationship Id="rId5" Type="http://schemas.openxmlformats.org/officeDocument/2006/relationships/slideLayout" Target="../slideLayouts/slideLayout582.xml"/><Relationship Id="rId15" Type="http://schemas.openxmlformats.org/officeDocument/2006/relationships/slideLayout" Target="../slideLayouts/slideLayout592.xml"/><Relationship Id="rId10" Type="http://schemas.openxmlformats.org/officeDocument/2006/relationships/slideLayout" Target="../slideLayouts/slideLayout587.xml"/><Relationship Id="rId19" Type="http://schemas.microsoft.com/office/2007/relationships/hdphoto" Target="../media/hdphoto2.wdp"/><Relationship Id="rId4" Type="http://schemas.openxmlformats.org/officeDocument/2006/relationships/slideLayout" Target="../slideLayouts/slideLayout581.xml"/><Relationship Id="rId9" Type="http://schemas.openxmlformats.org/officeDocument/2006/relationships/slideLayout" Target="../slideLayouts/slideLayout586.xml"/><Relationship Id="rId14" Type="http://schemas.openxmlformats.org/officeDocument/2006/relationships/slideLayout" Target="../slideLayouts/slideLayout59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3.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01.xml"/><Relationship Id="rId13" Type="http://schemas.openxmlformats.org/officeDocument/2006/relationships/slideLayout" Target="../slideLayouts/slideLayout606.xml"/><Relationship Id="rId18" Type="http://schemas.openxmlformats.org/officeDocument/2006/relationships/slideLayout" Target="../slideLayouts/slideLayout611.xml"/><Relationship Id="rId3" Type="http://schemas.openxmlformats.org/officeDocument/2006/relationships/slideLayout" Target="../slideLayouts/slideLayout596.xml"/><Relationship Id="rId7" Type="http://schemas.openxmlformats.org/officeDocument/2006/relationships/slideLayout" Target="../slideLayouts/slideLayout600.xml"/><Relationship Id="rId12" Type="http://schemas.openxmlformats.org/officeDocument/2006/relationships/slideLayout" Target="../slideLayouts/slideLayout605.xml"/><Relationship Id="rId17" Type="http://schemas.openxmlformats.org/officeDocument/2006/relationships/slideLayout" Target="../slideLayouts/slideLayout610.xml"/><Relationship Id="rId2" Type="http://schemas.openxmlformats.org/officeDocument/2006/relationships/slideLayout" Target="../slideLayouts/slideLayout595.xml"/><Relationship Id="rId16" Type="http://schemas.openxmlformats.org/officeDocument/2006/relationships/slideLayout" Target="../slideLayouts/slideLayout609.xml"/><Relationship Id="rId20" Type="http://schemas.openxmlformats.org/officeDocument/2006/relationships/theme" Target="../theme/theme30.xml"/><Relationship Id="rId1" Type="http://schemas.openxmlformats.org/officeDocument/2006/relationships/slideLayout" Target="../slideLayouts/slideLayout594.xml"/><Relationship Id="rId6" Type="http://schemas.openxmlformats.org/officeDocument/2006/relationships/slideLayout" Target="../slideLayouts/slideLayout599.xml"/><Relationship Id="rId11" Type="http://schemas.openxmlformats.org/officeDocument/2006/relationships/slideLayout" Target="../slideLayouts/slideLayout604.xml"/><Relationship Id="rId5" Type="http://schemas.openxmlformats.org/officeDocument/2006/relationships/slideLayout" Target="../slideLayouts/slideLayout598.xml"/><Relationship Id="rId15" Type="http://schemas.openxmlformats.org/officeDocument/2006/relationships/slideLayout" Target="../slideLayouts/slideLayout608.xml"/><Relationship Id="rId10" Type="http://schemas.openxmlformats.org/officeDocument/2006/relationships/slideLayout" Target="../slideLayouts/slideLayout603.xml"/><Relationship Id="rId19" Type="http://schemas.openxmlformats.org/officeDocument/2006/relationships/slideLayout" Target="../slideLayouts/slideLayout612.xml"/><Relationship Id="rId4" Type="http://schemas.openxmlformats.org/officeDocument/2006/relationships/slideLayout" Target="../slideLayouts/slideLayout597.xml"/><Relationship Id="rId9" Type="http://schemas.openxmlformats.org/officeDocument/2006/relationships/slideLayout" Target="../slideLayouts/slideLayout602.xml"/><Relationship Id="rId14" Type="http://schemas.openxmlformats.org/officeDocument/2006/relationships/slideLayout" Target="../slideLayouts/slideLayout607.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620.xml"/><Relationship Id="rId13" Type="http://schemas.openxmlformats.org/officeDocument/2006/relationships/slideLayout" Target="../slideLayouts/slideLayout625.xml"/><Relationship Id="rId18" Type="http://schemas.openxmlformats.org/officeDocument/2006/relationships/slideLayout" Target="../slideLayouts/slideLayout630.xml"/><Relationship Id="rId3" Type="http://schemas.openxmlformats.org/officeDocument/2006/relationships/slideLayout" Target="../slideLayouts/slideLayout615.xml"/><Relationship Id="rId7" Type="http://schemas.openxmlformats.org/officeDocument/2006/relationships/slideLayout" Target="../slideLayouts/slideLayout619.xml"/><Relationship Id="rId12" Type="http://schemas.openxmlformats.org/officeDocument/2006/relationships/slideLayout" Target="../slideLayouts/slideLayout624.xml"/><Relationship Id="rId17" Type="http://schemas.openxmlformats.org/officeDocument/2006/relationships/slideLayout" Target="../slideLayouts/slideLayout629.xml"/><Relationship Id="rId2" Type="http://schemas.openxmlformats.org/officeDocument/2006/relationships/slideLayout" Target="../slideLayouts/slideLayout614.xml"/><Relationship Id="rId16" Type="http://schemas.openxmlformats.org/officeDocument/2006/relationships/slideLayout" Target="../slideLayouts/slideLayout628.xml"/><Relationship Id="rId20" Type="http://schemas.openxmlformats.org/officeDocument/2006/relationships/theme" Target="../theme/theme31.xml"/><Relationship Id="rId1" Type="http://schemas.openxmlformats.org/officeDocument/2006/relationships/slideLayout" Target="../slideLayouts/slideLayout613.xml"/><Relationship Id="rId6" Type="http://schemas.openxmlformats.org/officeDocument/2006/relationships/slideLayout" Target="../slideLayouts/slideLayout618.xml"/><Relationship Id="rId11" Type="http://schemas.openxmlformats.org/officeDocument/2006/relationships/slideLayout" Target="../slideLayouts/slideLayout623.xml"/><Relationship Id="rId5" Type="http://schemas.openxmlformats.org/officeDocument/2006/relationships/slideLayout" Target="../slideLayouts/slideLayout617.xml"/><Relationship Id="rId15" Type="http://schemas.openxmlformats.org/officeDocument/2006/relationships/slideLayout" Target="../slideLayouts/slideLayout627.xml"/><Relationship Id="rId10" Type="http://schemas.openxmlformats.org/officeDocument/2006/relationships/slideLayout" Target="../slideLayouts/slideLayout622.xml"/><Relationship Id="rId19" Type="http://schemas.openxmlformats.org/officeDocument/2006/relationships/slideLayout" Target="../slideLayouts/slideLayout631.xml"/><Relationship Id="rId4" Type="http://schemas.openxmlformats.org/officeDocument/2006/relationships/slideLayout" Target="../slideLayouts/slideLayout616.xml"/><Relationship Id="rId9" Type="http://schemas.openxmlformats.org/officeDocument/2006/relationships/slideLayout" Target="../slideLayouts/slideLayout621.xml"/><Relationship Id="rId14" Type="http://schemas.openxmlformats.org/officeDocument/2006/relationships/slideLayout" Target="../slideLayouts/slideLayout626.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639.xml"/><Relationship Id="rId13" Type="http://schemas.openxmlformats.org/officeDocument/2006/relationships/slideLayout" Target="../slideLayouts/slideLayout644.xml"/><Relationship Id="rId18" Type="http://schemas.openxmlformats.org/officeDocument/2006/relationships/slideLayout" Target="../slideLayouts/slideLayout649.xml"/><Relationship Id="rId3" Type="http://schemas.openxmlformats.org/officeDocument/2006/relationships/slideLayout" Target="../slideLayouts/slideLayout634.xml"/><Relationship Id="rId7" Type="http://schemas.openxmlformats.org/officeDocument/2006/relationships/slideLayout" Target="../slideLayouts/slideLayout638.xml"/><Relationship Id="rId12" Type="http://schemas.openxmlformats.org/officeDocument/2006/relationships/slideLayout" Target="../slideLayouts/slideLayout643.xml"/><Relationship Id="rId17" Type="http://schemas.openxmlformats.org/officeDocument/2006/relationships/slideLayout" Target="../slideLayouts/slideLayout648.xml"/><Relationship Id="rId2" Type="http://schemas.openxmlformats.org/officeDocument/2006/relationships/slideLayout" Target="../slideLayouts/slideLayout633.xml"/><Relationship Id="rId16" Type="http://schemas.openxmlformats.org/officeDocument/2006/relationships/slideLayout" Target="../slideLayouts/slideLayout647.xml"/><Relationship Id="rId1" Type="http://schemas.openxmlformats.org/officeDocument/2006/relationships/slideLayout" Target="../slideLayouts/slideLayout632.xml"/><Relationship Id="rId6" Type="http://schemas.openxmlformats.org/officeDocument/2006/relationships/slideLayout" Target="../slideLayouts/slideLayout637.xml"/><Relationship Id="rId11" Type="http://schemas.openxmlformats.org/officeDocument/2006/relationships/slideLayout" Target="../slideLayouts/slideLayout642.xml"/><Relationship Id="rId5" Type="http://schemas.openxmlformats.org/officeDocument/2006/relationships/slideLayout" Target="../slideLayouts/slideLayout636.xml"/><Relationship Id="rId15" Type="http://schemas.openxmlformats.org/officeDocument/2006/relationships/slideLayout" Target="../slideLayouts/slideLayout646.xml"/><Relationship Id="rId10" Type="http://schemas.openxmlformats.org/officeDocument/2006/relationships/slideLayout" Target="../slideLayouts/slideLayout641.xml"/><Relationship Id="rId19" Type="http://schemas.openxmlformats.org/officeDocument/2006/relationships/theme" Target="../theme/theme32.xml"/><Relationship Id="rId4" Type="http://schemas.openxmlformats.org/officeDocument/2006/relationships/slideLayout" Target="../slideLayouts/slideLayout635.xml"/><Relationship Id="rId9" Type="http://schemas.openxmlformats.org/officeDocument/2006/relationships/slideLayout" Target="../slideLayouts/slideLayout640.xml"/><Relationship Id="rId14" Type="http://schemas.openxmlformats.org/officeDocument/2006/relationships/slideLayout" Target="../slideLayouts/slideLayout645.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657.xml"/><Relationship Id="rId13" Type="http://schemas.openxmlformats.org/officeDocument/2006/relationships/slideLayout" Target="../slideLayouts/slideLayout662.xml"/><Relationship Id="rId18" Type="http://schemas.openxmlformats.org/officeDocument/2006/relationships/slideLayout" Target="../slideLayouts/slideLayout667.xml"/><Relationship Id="rId3" Type="http://schemas.openxmlformats.org/officeDocument/2006/relationships/slideLayout" Target="../slideLayouts/slideLayout652.xml"/><Relationship Id="rId7" Type="http://schemas.openxmlformats.org/officeDocument/2006/relationships/slideLayout" Target="../slideLayouts/slideLayout656.xml"/><Relationship Id="rId12" Type="http://schemas.openxmlformats.org/officeDocument/2006/relationships/slideLayout" Target="../slideLayouts/slideLayout661.xml"/><Relationship Id="rId17" Type="http://schemas.openxmlformats.org/officeDocument/2006/relationships/slideLayout" Target="../slideLayouts/slideLayout666.xml"/><Relationship Id="rId2" Type="http://schemas.openxmlformats.org/officeDocument/2006/relationships/slideLayout" Target="../slideLayouts/slideLayout651.xml"/><Relationship Id="rId16" Type="http://schemas.openxmlformats.org/officeDocument/2006/relationships/slideLayout" Target="../slideLayouts/slideLayout665.xml"/><Relationship Id="rId20" Type="http://schemas.openxmlformats.org/officeDocument/2006/relationships/theme" Target="../theme/theme33.xml"/><Relationship Id="rId1" Type="http://schemas.openxmlformats.org/officeDocument/2006/relationships/slideLayout" Target="../slideLayouts/slideLayout650.xml"/><Relationship Id="rId6" Type="http://schemas.openxmlformats.org/officeDocument/2006/relationships/slideLayout" Target="../slideLayouts/slideLayout655.xml"/><Relationship Id="rId11" Type="http://schemas.openxmlformats.org/officeDocument/2006/relationships/slideLayout" Target="../slideLayouts/slideLayout660.xml"/><Relationship Id="rId5" Type="http://schemas.openxmlformats.org/officeDocument/2006/relationships/slideLayout" Target="../slideLayouts/slideLayout654.xml"/><Relationship Id="rId15" Type="http://schemas.openxmlformats.org/officeDocument/2006/relationships/slideLayout" Target="../slideLayouts/slideLayout664.xml"/><Relationship Id="rId10" Type="http://schemas.openxmlformats.org/officeDocument/2006/relationships/slideLayout" Target="../slideLayouts/slideLayout659.xml"/><Relationship Id="rId19" Type="http://schemas.openxmlformats.org/officeDocument/2006/relationships/slideLayout" Target="../slideLayouts/slideLayout668.xml"/><Relationship Id="rId4" Type="http://schemas.openxmlformats.org/officeDocument/2006/relationships/slideLayout" Target="../slideLayouts/slideLayout653.xml"/><Relationship Id="rId9" Type="http://schemas.openxmlformats.org/officeDocument/2006/relationships/slideLayout" Target="../slideLayouts/slideLayout658.xml"/><Relationship Id="rId14" Type="http://schemas.openxmlformats.org/officeDocument/2006/relationships/slideLayout" Target="../slideLayouts/slideLayout663.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676.xml"/><Relationship Id="rId13" Type="http://schemas.openxmlformats.org/officeDocument/2006/relationships/slideLayout" Target="../slideLayouts/slideLayout681.xml"/><Relationship Id="rId18" Type="http://schemas.openxmlformats.org/officeDocument/2006/relationships/slideLayout" Target="../slideLayouts/slideLayout686.xml"/><Relationship Id="rId3" Type="http://schemas.openxmlformats.org/officeDocument/2006/relationships/slideLayout" Target="../slideLayouts/slideLayout671.xml"/><Relationship Id="rId7" Type="http://schemas.openxmlformats.org/officeDocument/2006/relationships/slideLayout" Target="../slideLayouts/slideLayout675.xml"/><Relationship Id="rId12" Type="http://schemas.openxmlformats.org/officeDocument/2006/relationships/slideLayout" Target="../slideLayouts/slideLayout680.xml"/><Relationship Id="rId17" Type="http://schemas.openxmlformats.org/officeDocument/2006/relationships/slideLayout" Target="../slideLayouts/slideLayout685.xml"/><Relationship Id="rId2" Type="http://schemas.openxmlformats.org/officeDocument/2006/relationships/slideLayout" Target="../slideLayouts/slideLayout670.xml"/><Relationship Id="rId16" Type="http://schemas.openxmlformats.org/officeDocument/2006/relationships/slideLayout" Target="../slideLayouts/slideLayout684.xml"/><Relationship Id="rId1" Type="http://schemas.openxmlformats.org/officeDocument/2006/relationships/slideLayout" Target="../slideLayouts/slideLayout669.xml"/><Relationship Id="rId6" Type="http://schemas.openxmlformats.org/officeDocument/2006/relationships/slideLayout" Target="../slideLayouts/slideLayout674.xml"/><Relationship Id="rId11" Type="http://schemas.openxmlformats.org/officeDocument/2006/relationships/slideLayout" Target="../slideLayouts/slideLayout679.xml"/><Relationship Id="rId5" Type="http://schemas.openxmlformats.org/officeDocument/2006/relationships/slideLayout" Target="../slideLayouts/slideLayout673.xml"/><Relationship Id="rId15" Type="http://schemas.openxmlformats.org/officeDocument/2006/relationships/slideLayout" Target="../slideLayouts/slideLayout683.xml"/><Relationship Id="rId10" Type="http://schemas.openxmlformats.org/officeDocument/2006/relationships/slideLayout" Target="../slideLayouts/slideLayout678.xml"/><Relationship Id="rId19" Type="http://schemas.openxmlformats.org/officeDocument/2006/relationships/theme" Target="../theme/theme34.xml"/><Relationship Id="rId4" Type="http://schemas.openxmlformats.org/officeDocument/2006/relationships/slideLayout" Target="../slideLayouts/slideLayout672.xml"/><Relationship Id="rId9" Type="http://schemas.openxmlformats.org/officeDocument/2006/relationships/slideLayout" Target="../slideLayouts/slideLayout677.xml"/><Relationship Id="rId14" Type="http://schemas.openxmlformats.org/officeDocument/2006/relationships/slideLayout" Target="../slideLayouts/slideLayout682.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694.xml"/><Relationship Id="rId13" Type="http://schemas.openxmlformats.org/officeDocument/2006/relationships/slideLayout" Target="../slideLayouts/slideLayout699.xml"/><Relationship Id="rId18" Type="http://schemas.openxmlformats.org/officeDocument/2006/relationships/slideLayout" Target="../slideLayouts/slideLayout704.xml"/><Relationship Id="rId3" Type="http://schemas.openxmlformats.org/officeDocument/2006/relationships/slideLayout" Target="../slideLayouts/slideLayout689.xml"/><Relationship Id="rId21" Type="http://schemas.openxmlformats.org/officeDocument/2006/relationships/image" Target="../media/image17.png"/><Relationship Id="rId7" Type="http://schemas.openxmlformats.org/officeDocument/2006/relationships/slideLayout" Target="../slideLayouts/slideLayout693.xml"/><Relationship Id="rId12" Type="http://schemas.openxmlformats.org/officeDocument/2006/relationships/slideLayout" Target="../slideLayouts/slideLayout698.xml"/><Relationship Id="rId17" Type="http://schemas.openxmlformats.org/officeDocument/2006/relationships/slideLayout" Target="../slideLayouts/slideLayout703.xml"/><Relationship Id="rId2" Type="http://schemas.openxmlformats.org/officeDocument/2006/relationships/slideLayout" Target="../slideLayouts/slideLayout688.xml"/><Relationship Id="rId16" Type="http://schemas.openxmlformats.org/officeDocument/2006/relationships/slideLayout" Target="../slideLayouts/slideLayout702.xml"/><Relationship Id="rId20" Type="http://schemas.openxmlformats.org/officeDocument/2006/relationships/theme" Target="../theme/theme35.xml"/><Relationship Id="rId1" Type="http://schemas.openxmlformats.org/officeDocument/2006/relationships/slideLayout" Target="../slideLayouts/slideLayout687.xml"/><Relationship Id="rId6" Type="http://schemas.openxmlformats.org/officeDocument/2006/relationships/slideLayout" Target="../slideLayouts/slideLayout692.xml"/><Relationship Id="rId11" Type="http://schemas.openxmlformats.org/officeDocument/2006/relationships/slideLayout" Target="../slideLayouts/slideLayout697.xml"/><Relationship Id="rId5" Type="http://schemas.openxmlformats.org/officeDocument/2006/relationships/slideLayout" Target="../slideLayouts/slideLayout691.xml"/><Relationship Id="rId15" Type="http://schemas.openxmlformats.org/officeDocument/2006/relationships/slideLayout" Target="../slideLayouts/slideLayout701.xml"/><Relationship Id="rId10" Type="http://schemas.openxmlformats.org/officeDocument/2006/relationships/slideLayout" Target="../slideLayouts/slideLayout696.xml"/><Relationship Id="rId19" Type="http://schemas.openxmlformats.org/officeDocument/2006/relationships/slideLayout" Target="../slideLayouts/slideLayout705.xml"/><Relationship Id="rId4" Type="http://schemas.openxmlformats.org/officeDocument/2006/relationships/slideLayout" Target="../slideLayouts/slideLayout690.xml"/><Relationship Id="rId9" Type="http://schemas.openxmlformats.org/officeDocument/2006/relationships/slideLayout" Target="../slideLayouts/slideLayout695.xml"/><Relationship Id="rId14" Type="http://schemas.openxmlformats.org/officeDocument/2006/relationships/slideLayout" Target="../slideLayouts/slideLayout700.xml"/><Relationship Id="rId22" Type="http://schemas.microsoft.com/office/2007/relationships/hdphoto" Target="../media/hdphoto2.wdp"/></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713.xml"/><Relationship Id="rId13" Type="http://schemas.openxmlformats.org/officeDocument/2006/relationships/slideLayout" Target="../slideLayouts/slideLayout718.xml"/><Relationship Id="rId18" Type="http://schemas.openxmlformats.org/officeDocument/2006/relationships/slideLayout" Target="../slideLayouts/slideLayout723.xml"/><Relationship Id="rId26" Type="http://schemas.openxmlformats.org/officeDocument/2006/relationships/slideLayout" Target="../slideLayouts/slideLayout731.xml"/><Relationship Id="rId3" Type="http://schemas.openxmlformats.org/officeDocument/2006/relationships/slideLayout" Target="../slideLayouts/slideLayout708.xml"/><Relationship Id="rId21" Type="http://schemas.openxmlformats.org/officeDocument/2006/relationships/slideLayout" Target="../slideLayouts/slideLayout726.xml"/><Relationship Id="rId7" Type="http://schemas.openxmlformats.org/officeDocument/2006/relationships/slideLayout" Target="../slideLayouts/slideLayout712.xml"/><Relationship Id="rId12" Type="http://schemas.openxmlformats.org/officeDocument/2006/relationships/slideLayout" Target="../slideLayouts/slideLayout717.xml"/><Relationship Id="rId17" Type="http://schemas.openxmlformats.org/officeDocument/2006/relationships/slideLayout" Target="../slideLayouts/slideLayout722.xml"/><Relationship Id="rId25" Type="http://schemas.openxmlformats.org/officeDocument/2006/relationships/slideLayout" Target="../slideLayouts/slideLayout730.xml"/><Relationship Id="rId2" Type="http://schemas.openxmlformats.org/officeDocument/2006/relationships/slideLayout" Target="../slideLayouts/slideLayout707.xml"/><Relationship Id="rId16" Type="http://schemas.openxmlformats.org/officeDocument/2006/relationships/slideLayout" Target="../slideLayouts/slideLayout721.xml"/><Relationship Id="rId20" Type="http://schemas.openxmlformats.org/officeDocument/2006/relationships/slideLayout" Target="../slideLayouts/slideLayout725.xml"/><Relationship Id="rId29" Type="http://schemas.openxmlformats.org/officeDocument/2006/relationships/slideLayout" Target="../slideLayouts/slideLayout734.xml"/><Relationship Id="rId1" Type="http://schemas.openxmlformats.org/officeDocument/2006/relationships/slideLayout" Target="../slideLayouts/slideLayout706.xml"/><Relationship Id="rId6" Type="http://schemas.openxmlformats.org/officeDocument/2006/relationships/slideLayout" Target="../slideLayouts/slideLayout711.xml"/><Relationship Id="rId11" Type="http://schemas.openxmlformats.org/officeDocument/2006/relationships/slideLayout" Target="../slideLayouts/slideLayout716.xml"/><Relationship Id="rId24" Type="http://schemas.openxmlformats.org/officeDocument/2006/relationships/slideLayout" Target="../slideLayouts/slideLayout729.xml"/><Relationship Id="rId5" Type="http://schemas.openxmlformats.org/officeDocument/2006/relationships/slideLayout" Target="../slideLayouts/slideLayout710.xml"/><Relationship Id="rId15" Type="http://schemas.openxmlformats.org/officeDocument/2006/relationships/slideLayout" Target="../slideLayouts/slideLayout720.xml"/><Relationship Id="rId23" Type="http://schemas.openxmlformats.org/officeDocument/2006/relationships/slideLayout" Target="../slideLayouts/slideLayout728.xml"/><Relationship Id="rId28" Type="http://schemas.openxmlformats.org/officeDocument/2006/relationships/slideLayout" Target="../slideLayouts/slideLayout733.xml"/><Relationship Id="rId10" Type="http://schemas.openxmlformats.org/officeDocument/2006/relationships/slideLayout" Target="../slideLayouts/slideLayout715.xml"/><Relationship Id="rId19" Type="http://schemas.openxmlformats.org/officeDocument/2006/relationships/slideLayout" Target="../slideLayouts/slideLayout724.xml"/><Relationship Id="rId4" Type="http://schemas.openxmlformats.org/officeDocument/2006/relationships/slideLayout" Target="../slideLayouts/slideLayout709.xml"/><Relationship Id="rId9" Type="http://schemas.openxmlformats.org/officeDocument/2006/relationships/slideLayout" Target="../slideLayouts/slideLayout714.xml"/><Relationship Id="rId14" Type="http://schemas.openxmlformats.org/officeDocument/2006/relationships/slideLayout" Target="../slideLayouts/slideLayout719.xml"/><Relationship Id="rId22" Type="http://schemas.openxmlformats.org/officeDocument/2006/relationships/slideLayout" Target="../slideLayouts/slideLayout727.xml"/><Relationship Id="rId27" Type="http://schemas.openxmlformats.org/officeDocument/2006/relationships/slideLayout" Target="../slideLayouts/slideLayout732.xml"/><Relationship Id="rId30" Type="http://schemas.openxmlformats.org/officeDocument/2006/relationships/theme" Target="../theme/theme36.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742.xml"/><Relationship Id="rId13" Type="http://schemas.openxmlformats.org/officeDocument/2006/relationships/slideLayout" Target="../slideLayouts/slideLayout747.xml"/><Relationship Id="rId18" Type="http://schemas.openxmlformats.org/officeDocument/2006/relationships/slideLayout" Target="../slideLayouts/slideLayout752.xml"/><Relationship Id="rId3" Type="http://schemas.openxmlformats.org/officeDocument/2006/relationships/slideLayout" Target="../slideLayouts/slideLayout737.xml"/><Relationship Id="rId7" Type="http://schemas.openxmlformats.org/officeDocument/2006/relationships/slideLayout" Target="../slideLayouts/slideLayout741.xml"/><Relationship Id="rId12" Type="http://schemas.openxmlformats.org/officeDocument/2006/relationships/slideLayout" Target="../slideLayouts/slideLayout746.xml"/><Relationship Id="rId17" Type="http://schemas.openxmlformats.org/officeDocument/2006/relationships/slideLayout" Target="../slideLayouts/slideLayout751.xml"/><Relationship Id="rId2" Type="http://schemas.openxmlformats.org/officeDocument/2006/relationships/slideLayout" Target="../slideLayouts/slideLayout736.xml"/><Relationship Id="rId16" Type="http://schemas.openxmlformats.org/officeDocument/2006/relationships/slideLayout" Target="../slideLayouts/slideLayout750.xml"/><Relationship Id="rId1" Type="http://schemas.openxmlformats.org/officeDocument/2006/relationships/slideLayout" Target="../slideLayouts/slideLayout735.xml"/><Relationship Id="rId6" Type="http://schemas.openxmlformats.org/officeDocument/2006/relationships/slideLayout" Target="../slideLayouts/slideLayout740.xml"/><Relationship Id="rId11" Type="http://schemas.openxmlformats.org/officeDocument/2006/relationships/slideLayout" Target="../slideLayouts/slideLayout745.xml"/><Relationship Id="rId5" Type="http://schemas.openxmlformats.org/officeDocument/2006/relationships/slideLayout" Target="../slideLayouts/slideLayout739.xml"/><Relationship Id="rId15" Type="http://schemas.openxmlformats.org/officeDocument/2006/relationships/slideLayout" Target="../slideLayouts/slideLayout749.xml"/><Relationship Id="rId10" Type="http://schemas.openxmlformats.org/officeDocument/2006/relationships/slideLayout" Target="../slideLayouts/slideLayout744.xml"/><Relationship Id="rId19" Type="http://schemas.openxmlformats.org/officeDocument/2006/relationships/theme" Target="../theme/theme37.xml"/><Relationship Id="rId4" Type="http://schemas.openxmlformats.org/officeDocument/2006/relationships/slideLayout" Target="../slideLayouts/slideLayout738.xml"/><Relationship Id="rId9" Type="http://schemas.openxmlformats.org/officeDocument/2006/relationships/slideLayout" Target="../slideLayouts/slideLayout743.xml"/><Relationship Id="rId14" Type="http://schemas.openxmlformats.org/officeDocument/2006/relationships/slideLayout" Target="../slideLayouts/slideLayout748.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760.xml"/><Relationship Id="rId13" Type="http://schemas.openxmlformats.org/officeDocument/2006/relationships/slideLayout" Target="../slideLayouts/slideLayout765.xml"/><Relationship Id="rId18" Type="http://schemas.openxmlformats.org/officeDocument/2006/relationships/slideLayout" Target="../slideLayouts/slideLayout770.xml"/><Relationship Id="rId3" Type="http://schemas.openxmlformats.org/officeDocument/2006/relationships/slideLayout" Target="../slideLayouts/slideLayout755.xml"/><Relationship Id="rId7" Type="http://schemas.openxmlformats.org/officeDocument/2006/relationships/slideLayout" Target="../slideLayouts/slideLayout759.xml"/><Relationship Id="rId12" Type="http://schemas.openxmlformats.org/officeDocument/2006/relationships/slideLayout" Target="../slideLayouts/slideLayout764.xml"/><Relationship Id="rId17" Type="http://schemas.openxmlformats.org/officeDocument/2006/relationships/slideLayout" Target="../slideLayouts/slideLayout769.xml"/><Relationship Id="rId2" Type="http://schemas.openxmlformats.org/officeDocument/2006/relationships/slideLayout" Target="../slideLayouts/slideLayout754.xml"/><Relationship Id="rId16" Type="http://schemas.openxmlformats.org/officeDocument/2006/relationships/slideLayout" Target="../slideLayouts/slideLayout768.xml"/><Relationship Id="rId1" Type="http://schemas.openxmlformats.org/officeDocument/2006/relationships/slideLayout" Target="../slideLayouts/slideLayout753.xml"/><Relationship Id="rId6" Type="http://schemas.openxmlformats.org/officeDocument/2006/relationships/slideLayout" Target="../slideLayouts/slideLayout758.xml"/><Relationship Id="rId11" Type="http://schemas.openxmlformats.org/officeDocument/2006/relationships/slideLayout" Target="../slideLayouts/slideLayout763.xml"/><Relationship Id="rId5" Type="http://schemas.openxmlformats.org/officeDocument/2006/relationships/slideLayout" Target="../slideLayouts/slideLayout757.xml"/><Relationship Id="rId15" Type="http://schemas.openxmlformats.org/officeDocument/2006/relationships/slideLayout" Target="../slideLayouts/slideLayout767.xml"/><Relationship Id="rId10" Type="http://schemas.openxmlformats.org/officeDocument/2006/relationships/slideLayout" Target="../slideLayouts/slideLayout762.xml"/><Relationship Id="rId19" Type="http://schemas.openxmlformats.org/officeDocument/2006/relationships/theme" Target="../theme/theme38.xml"/><Relationship Id="rId4" Type="http://schemas.openxmlformats.org/officeDocument/2006/relationships/slideLayout" Target="../slideLayouts/slideLayout756.xml"/><Relationship Id="rId9" Type="http://schemas.openxmlformats.org/officeDocument/2006/relationships/slideLayout" Target="../slideLayouts/slideLayout761.xml"/><Relationship Id="rId14" Type="http://schemas.openxmlformats.org/officeDocument/2006/relationships/slideLayout" Target="../slideLayouts/slideLayout766.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778.xml"/><Relationship Id="rId3" Type="http://schemas.openxmlformats.org/officeDocument/2006/relationships/slideLayout" Target="../slideLayouts/slideLayout773.xml"/><Relationship Id="rId7" Type="http://schemas.openxmlformats.org/officeDocument/2006/relationships/slideLayout" Target="../slideLayouts/slideLayout777.xml"/><Relationship Id="rId2" Type="http://schemas.openxmlformats.org/officeDocument/2006/relationships/slideLayout" Target="../slideLayouts/slideLayout772.xml"/><Relationship Id="rId1" Type="http://schemas.openxmlformats.org/officeDocument/2006/relationships/slideLayout" Target="../slideLayouts/slideLayout771.xml"/><Relationship Id="rId6" Type="http://schemas.openxmlformats.org/officeDocument/2006/relationships/slideLayout" Target="../slideLayouts/slideLayout776.xml"/><Relationship Id="rId5" Type="http://schemas.openxmlformats.org/officeDocument/2006/relationships/slideLayout" Target="../slideLayouts/slideLayout775.xml"/><Relationship Id="rId10" Type="http://schemas.openxmlformats.org/officeDocument/2006/relationships/theme" Target="../theme/theme39.xml"/><Relationship Id="rId4" Type="http://schemas.openxmlformats.org/officeDocument/2006/relationships/slideLayout" Target="../slideLayouts/slideLayout774.xml"/><Relationship Id="rId9" Type="http://schemas.openxmlformats.org/officeDocument/2006/relationships/slideLayout" Target="../slideLayouts/slideLayout77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4.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787.xml"/><Relationship Id="rId13" Type="http://schemas.openxmlformats.org/officeDocument/2006/relationships/slideLayout" Target="../slideLayouts/slideLayout792.xml"/><Relationship Id="rId18" Type="http://schemas.openxmlformats.org/officeDocument/2006/relationships/image" Target="../media/image37.emf"/><Relationship Id="rId3" Type="http://schemas.openxmlformats.org/officeDocument/2006/relationships/slideLayout" Target="../slideLayouts/slideLayout782.xml"/><Relationship Id="rId7" Type="http://schemas.openxmlformats.org/officeDocument/2006/relationships/slideLayout" Target="../slideLayouts/slideLayout786.xml"/><Relationship Id="rId12" Type="http://schemas.openxmlformats.org/officeDocument/2006/relationships/slideLayout" Target="../slideLayouts/slideLayout791.xml"/><Relationship Id="rId17" Type="http://schemas.openxmlformats.org/officeDocument/2006/relationships/oleObject" Target="../embeddings/oleObject2.bin"/><Relationship Id="rId2" Type="http://schemas.openxmlformats.org/officeDocument/2006/relationships/slideLayout" Target="../slideLayouts/slideLayout781.xml"/><Relationship Id="rId16" Type="http://schemas.openxmlformats.org/officeDocument/2006/relationships/tags" Target="../tags/tag4.xml"/><Relationship Id="rId1" Type="http://schemas.openxmlformats.org/officeDocument/2006/relationships/slideLayout" Target="../slideLayouts/slideLayout780.xml"/><Relationship Id="rId6" Type="http://schemas.openxmlformats.org/officeDocument/2006/relationships/slideLayout" Target="../slideLayouts/slideLayout785.xml"/><Relationship Id="rId11" Type="http://schemas.openxmlformats.org/officeDocument/2006/relationships/slideLayout" Target="../slideLayouts/slideLayout790.xml"/><Relationship Id="rId5" Type="http://schemas.openxmlformats.org/officeDocument/2006/relationships/slideLayout" Target="../slideLayouts/slideLayout784.xml"/><Relationship Id="rId15" Type="http://schemas.openxmlformats.org/officeDocument/2006/relationships/vmlDrawing" Target="../drawings/vmlDrawing2.vml"/><Relationship Id="rId10" Type="http://schemas.openxmlformats.org/officeDocument/2006/relationships/slideLayout" Target="../slideLayouts/slideLayout789.xml"/><Relationship Id="rId4" Type="http://schemas.openxmlformats.org/officeDocument/2006/relationships/slideLayout" Target="../slideLayouts/slideLayout783.xml"/><Relationship Id="rId9" Type="http://schemas.openxmlformats.org/officeDocument/2006/relationships/slideLayout" Target="../slideLayouts/slideLayout788.xml"/><Relationship Id="rId14" Type="http://schemas.openxmlformats.org/officeDocument/2006/relationships/theme" Target="../theme/theme40.xml"/></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800.xml"/><Relationship Id="rId13" Type="http://schemas.openxmlformats.org/officeDocument/2006/relationships/slideLayout" Target="../slideLayouts/slideLayout805.xml"/><Relationship Id="rId18" Type="http://schemas.openxmlformats.org/officeDocument/2006/relationships/image" Target="../media/image37.emf"/><Relationship Id="rId3" Type="http://schemas.openxmlformats.org/officeDocument/2006/relationships/slideLayout" Target="../slideLayouts/slideLayout795.xml"/><Relationship Id="rId7" Type="http://schemas.openxmlformats.org/officeDocument/2006/relationships/slideLayout" Target="../slideLayouts/slideLayout799.xml"/><Relationship Id="rId12" Type="http://schemas.openxmlformats.org/officeDocument/2006/relationships/slideLayout" Target="../slideLayouts/slideLayout804.xml"/><Relationship Id="rId17" Type="http://schemas.openxmlformats.org/officeDocument/2006/relationships/oleObject" Target="../embeddings/oleObject13.bin"/><Relationship Id="rId2" Type="http://schemas.openxmlformats.org/officeDocument/2006/relationships/slideLayout" Target="../slideLayouts/slideLayout794.xml"/><Relationship Id="rId16" Type="http://schemas.openxmlformats.org/officeDocument/2006/relationships/tags" Target="../tags/tag23.xml"/><Relationship Id="rId1" Type="http://schemas.openxmlformats.org/officeDocument/2006/relationships/slideLayout" Target="../slideLayouts/slideLayout793.xml"/><Relationship Id="rId6" Type="http://schemas.openxmlformats.org/officeDocument/2006/relationships/slideLayout" Target="../slideLayouts/slideLayout798.xml"/><Relationship Id="rId11" Type="http://schemas.openxmlformats.org/officeDocument/2006/relationships/slideLayout" Target="../slideLayouts/slideLayout803.xml"/><Relationship Id="rId5" Type="http://schemas.openxmlformats.org/officeDocument/2006/relationships/slideLayout" Target="../slideLayouts/slideLayout797.xml"/><Relationship Id="rId15" Type="http://schemas.openxmlformats.org/officeDocument/2006/relationships/vmlDrawing" Target="../drawings/vmlDrawing13.vml"/><Relationship Id="rId10" Type="http://schemas.openxmlformats.org/officeDocument/2006/relationships/slideLayout" Target="../slideLayouts/slideLayout802.xml"/><Relationship Id="rId4" Type="http://schemas.openxmlformats.org/officeDocument/2006/relationships/slideLayout" Target="../slideLayouts/slideLayout796.xml"/><Relationship Id="rId9" Type="http://schemas.openxmlformats.org/officeDocument/2006/relationships/slideLayout" Target="../slideLayouts/slideLayout801.xml"/><Relationship Id="rId14" Type="http://schemas.openxmlformats.org/officeDocument/2006/relationships/theme" Target="../theme/theme41.xml"/></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813.xml"/><Relationship Id="rId13" Type="http://schemas.openxmlformats.org/officeDocument/2006/relationships/slideLayout" Target="../slideLayouts/slideLayout818.xml"/><Relationship Id="rId18" Type="http://schemas.openxmlformats.org/officeDocument/2006/relationships/slideLayout" Target="../slideLayouts/slideLayout823.xml"/><Relationship Id="rId3" Type="http://schemas.openxmlformats.org/officeDocument/2006/relationships/slideLayout" Target="../slideLayouts/slideLayout808.xml"/><Relationship Id="rId21" Type="http://schemas.openxmlformats.org/officeDocument/2006/relationships/theme" Target="../theme/theme42.xml"/><Relationship Id="rId7" Type="http://schemas.openxmlformats.org/officeDocument/2006/relationships/slideLayout" Target="../slideLayouts/slideLayout812.xml"/><Relationship Id="rId12" Type="http://schemas.openxmlformats.org/officeDocument/2006/relationships/slideLayout" Target="../slideLayouts/slideLayout817.xml"/><Relationship Id="rId17" Type="http://schemas.openxmlformats.org/officeDocument/2006/relationships/slideLayout" Target="../slideLayouts/slideLayout822.xml"/><Relationship Id="rId2" Type="http://schemas.openxmlformats.org/officeDocument/2006/relationships/slideLayout" Target="../slideLayouts/slideLayout807.xml"/><Relationship Id="rId16" Type="http://schemas.openxmlformats.org/officeDocument/2006/relationships/slideLayout" Target="../slideLayouts/slideLayout821.xml"/><Relationship Id="rId20" Type="http://schemas.openxmlformats.org/officeDocument/2006/relationships/slideLayout" Target="../slideLayouts/slideLayout825.xml"/><Relationship Id="rId1" Type="http://schemas.openxmlformats.org/officeDocument/2006/relationships/slideLayout" Target="../slideLayouts/slideLayout806.xml"/><Relationship Id="rId6" Type="http://schemas.openxmlformats.org/officeDocument/2006/relationships/slideLayout" Target="../slideLayouts/slideLayout811.xml"/><Relationship Id="rId11" Type="http://schemas.openxmlformats.org/officeDocument/2006/relationships/slideLayout" Target="../slideLayouts/slideLayout816.xml"/><Relationship Id="rId5" Type="http://schemas.openxmlformats.org/officeDocument/2006/relationships/slideLayout" Target="../slideLayouts/slideLayout810.xml"/><Relationship Id="rId15" Type="http://schemas.openxmlformats.org/officeDocument/2006/relationships/slideLayout" Target="../slideLayouts/slideLayout820.xml"/><Relationship Id="rId10" Type="http://schemas.openxmlformats.org/officeDocument/2006/relationships/slideLayout" Target="../slideLayouts/slideLayout815.xml"/><Relationship Id="rId19" Type="http://schemas.openxmlformats.org/officeDocument/2006/relationships/slideLayout" Target="../slideLayouts/slideLayout824.xml"/><Relationship Id="rId4" Type="http://schemas.openxmlformats.org/officeDocument/2006/relationships/slideLayout" Target="../slideLayouts/slideLayout809.xml"/><Relationship Id="rId9" Type="http://schemas.openxmlformats.org/officeDocument/2006/relationships/slideLayout" Target="../slideLayouts/slideLayout814.xml"/><Relationship Id="rId14" Type="http://schemas.openxmlformats.org/officeDocument/2006/relationships/slideLayout" Target="../slideLayouts/slideLayout81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theme" Target="../theme/theme5.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0" Type="http://schemas.openxmlformats.org/officeDocument/2006/relationships/theme" Target="../theme/theme6.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5" Type="http://schemas.openxmlformats.org/officeDocument/2006/relationships/slideLayout" Target="../slideLayouts/slideLayout134.xml"/><Relationship Id="rId10" Type="http://schemas.openxmlformats.org/officeDocument/2006/relationships/slideLayout" Target="../slideLayouts/slideLayout129.xml"/><Relationship Id="rId19" Type="http://schemas.openxmlformats.org/officeDocument/2006/relationships/slideLayout" Target="../slideLayouts/slideLayout138.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3" Type="http://schemas.openxmlformats.org/officeDocument/2006/relationships/slideLayout" Target="../slideLayouts/slideLayout141.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0" Type="http://schemas.openxmlformats.org/officeDocument/2006/relationships/theme" Target="../theme/theme7.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theme" Target="../theme/theme8.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slideLayout" Target="../slideLayouts/slideLayout189.xml"/><Relationship Id="rId18" Type="http://schemas.openxmlformats.org/officeDocument/2006/relationships/slideLayout" Target="../slideLayouts/slideLayout194.xml"/><Relationship Id="rId3" Type="http://schemas.openxmlformats.org/officeDocument/2006/relationships/slideLayout" Target="../slideLayouts/slideLayout179.xml"/><Relationship Id="rId7" Type="http://schemas.openxmlformats.org/officeDocument/2006/relationships/slideLayout" Target="../slideLayouts/slideLayout183.xml"/><Relationship Id="rId12" Type="http://schemas.openxmlformats.org/officeDocument/2006/relationships/slideLayout" Target="../slideLayouts/slideLayout188.xml"/><Relationship Id="rId17" Type="http://schemas.openxmlformats.org/officeDocument/2006/relationships/slideLayout" Target="../slideLayouts/slideLayout193.xml"/><Relationship Id="rId2" Type="http://schemas.openxmlformats.org/officeDocument/2006/relationships/slideLayout" Target="../slideLayouts/slideLayout178.xml"/><Relationship Id="rId16" Type="http://schemas.openxmlformats.org/officeDocument/2006/relationships/slideLayout" Target="../slideLayouts/slideLayout192.xml"/><Relationship Id="rId20" Type="http://schemas.openxmlformats.org/officeDocument/2006/relationships/theme" Target="../theme/theme9.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slideLayout" Target="../slideLayouts/slideLayout187.xml"/><Relationship Id="rId5" Type="http://schemas.openxmlformats.org/officeDocument/2006/relationships/slideLayout" Target="../slideLayouts/slideLayout181.xml"/><Relationship Id="rId15" Type="http://schemas.openxmlformats.org/officeDocument/2006/relationships/slideLayout" Target="../slideLayouts/slideLayout191.xml"/><Relationship Id="rId10" Type="http://schemas.openxmlformats.org/officeDocument/2006/relationships/slideLayout" Target="../slideLayouts/slideLayout186.xml"/><Relationship Id="rId19" Type="http://schemas.openxmlformats.org/officeDocument/2006/relationships/slideLayout" Target="../slideLayouts/slideLayout195.xml"/><Relationship Id="rId4" Type="http://schemas.openxmlformats.org/officeDocument/2006/relationships/slideLayout" Target="../slideLayouts/slideLayout180.xml"/><Relationship Id="rId9" Type="http://schemas.openxmlformats.org/officeDocument/2006/relationships/slideLayout" Target="../slideLayouts/slideLayout185.xml"/><Relationship Id="rId14" Type="http://schemas.openxmlformats.org/officeDocument/2006/relationships/slideLayout" Target="../slideLayouts/slideLayout19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8685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70640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152450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3052732"/>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2" r:id="rId19"/>
    <p:sldLayoutId id="2147483923" r:id="rId20"/>
    <p:sldLayoutId id="2147483924" r:id="rId21"/>
    <p:sldLayoutId id="2147483925" r:id="rId22"/>
    <p:sldLayoutId id="2147483926" r:id="rId23"/>
    <p:sldLayoutId id="2147483927" r:id="rId24"/>
    <p:sldLayoutId id="2147483928" r:id="rId25"/>
    <p:sldLayoutId id="2147483929" r:id="rId26"/>
    <p:sldLayoutId id="2147483930" r:id="rId27"/>
    <p:sldLayoutId id="2147483931" r:id="rId28"/>
    <p:sldLayoutId id="2147483932" r:id="rId29"/>
    <p:sldLayoutId id="2147483933" r:id="rId30"/>
    <p:sldLayoutId id="2147483934" r:id="rId31"/>
    <p:sldLayoutId id="2147483935" r:id="rId3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1300966"/>
      </p:ext>
    </p:extLst>
  </p:cSld>
  <p:clrMap bg1="lt1" tx1="dk1" bg2="lt2" tx2="dk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 id="2147483944" r:id="rId8"/>
    <p:sldLayoutId id="2147483945" r:id="rId9"/>
    <p:sldLayoutId id="2147483946" r:id="rId10"/>
    <p:sldLayoutId id="2147483947" r:id="rId11"/>
    <p:sldLayoutId id="2147483948" r:id="rId12"/>
    <p:sldLayoutId id="2147483949" r:id="rId13"/>
    <p:sldLayoutId id="2147483950" r:id="rId14"/>
    <p:sldLayoutId id="2147483951" r:id="rId15"/>
    <p:sldLayoutId id="2147483952" r:id="rId16"/>
    <p:sldLayoutId id="2147483953" r:id="rId17"/>
    <p:sldLayoutId id="2147483954" r:id="rId18"/>
    <p:sldLayoutId id="2147483955" r:id="rId19"/>
    <p:sldLayoutId id="2147483956" r:id="rId20"/>
    <p:sldLayoutId id="2147483957" r:id="rId21"/>
    <p:sldLayoutId id="2147483958" r:id="rId22"/>
    <p:sldLayoutId id="2147483959" r:id="rId23"/>
    <p:sldLayoutId id="2147483960" r:id="rId24"/>
    <p:sldLayoutId id="2147483961" r:id="rId25"/>
    <p:sldLayoutId id="2147483962" r:id="rId26"/>
    <p:sldLayoutId id="2147483963" r:id="rId27"/>
    <p:sldLayoutId id="2147483964" r:id="rId28"/>
    <p:sldLayoutId id="2147483965" r:id="rId29"/>
    <p:sldLayoutId id="2147483966" r:id="rId30"/>
    <p:sldLayoutId id="2147483967" r:id="rId31"/>
    <p:sldLayoutId id="2147483968" r:id="rId3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06154983"/>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 id="2147483982" r:id="rId13"/>
    <p:sldLayoutId id="2147483983" r:id="rId14"/>
    <p:sldLayoutId id="2147483984" r:id="rId15"/>
    <p:sldLayoutId id="2147483985" r:id="rId16"/>
    <p:sldLayoutId id="2147483986" r:id="rId17"/>
    <p:sldLayoutId id="2147483987" r:id="rId18"/>
    <p:sldLayoutId id="2147483988" r:id="rId19"/>
    <p:sldLayoutId id="2147483989" r:id="rId20"/>
    <p:sldLayoutId id="2147483990" r:id="rId21"/>
    <p:sldLayoutId id="2147483991" r:id="rId22"/>
    <p:sldLayoutId id="2147483992" r:id="rId23"/>
    <p:sldLayoutId id="2147483993" r:id="rId24"/>
    <p:sldLayoutId id="2147483994" r:id="rId25"/>
    <p:sldLayoutId id="2147483995" r:id="rId26"/>
    <p:sldLayoutId id="2147483996" r:id="rId27"/>
    <p:sldLayoutId id="2147483997" r:id="rId28"/>
    <p:sldLayoutId id="2147483998" r:id="rId29"/>
    <p:sldLayoutId id="2147483999" r:id="rId30"/>
    <p:sldLayoutId id="2147484000" r:id="rId31"/>
    <p:sldLayoutId id="2147484001" r:id="rId3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7998619"/>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 id="2147484012" r:id="rId10"/>
    <p:sldLayoutId id="2147484013" r:id="rId11"/>
    <p:sldLayoutId id="2147484014" r:id="rId12"/>
    <p:sldLayoutId id="2147484015" r:id="rId13"/>
    <p:sldLayoutId id="2147484016" r:id="rId14"/>
    <p:sldLayoutId id="2147484017" r:id="rId15"/>
    <p:sldLayoutId id="2147484018" r:id="rId16"/>
    <p:sldLayoutId id="2147484019" r:id="rId17"/>
    <p:sldLayoutId id="2147484020" r:id="rId18"/>
    <p:sldLayoutId id="2147484021" r:id="rId19"/>
    <p:sldLayoutId id="2147484022" r:id="rId20"/>
    <p:sldLayoutId id="2147484023" r:id="rId21"/>
    <p:sldLayoutId id="2147484024" r:id="rId22"/>
    <p:sldLayoutId id="2147484025" r:id="rId23"/>
    <p:sldLayoutId id="2147484026" r:id="rId24"/>
    <p:sldLayoutId id="2147484027" r:id="rId25"/>
    <p:sldLayoutId id="2147484028" r:id="rId26"/>
    <p:sldLayoutId id="2147484029" r:id="rId27"/>
    <p:sldLayoutId id="2147484030" r:id="rId28"/>
    <p:sldLayoutId id="2147484031" r:id="rId29"/>
    <p:sldLayoutId id="2147484032" r:id="rId30"/>
    <p:sldLayoutId id="2147484033" r:id="rId31"/>
    <p:sldLayoutId id="2147484034" r:id="rId3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5603988"/>
      </p:ext>
    </p:extLst>
  </p:cSld>
  <p:clrMap bg1="lt1" tx1="dk1" bg2="lt2" tx2="dk2" accent1="accent1" accent2="accent2" accent3="accent3" accent4="accent4" accent5="accent5" accent6="accent6" hlink="hlink" folHlink="folHlink"/>
  <p:sldLayoutIdLst>
    <p:sldLayoutId id="2147484036" r:id="rId1"/>
    <p:sldLayoutId id="2147484037" r:id="rId2"/>
    <p:sldLayoutId id="2147484038" r:id="rId3"/>
    <p:sldLayoutId id="2147484039" r:id="rId4"/>
    <p:sldLayoutId id="2147484040" r:id="rId5"/>
    <p:sldLayoutId id="2147484041" r:id="rId6"/>
    <p:sldLayoutId id="2147484042" r:id="rId7"/>
    <p:sldLayoutId id="2147484043" r:id="rId8"/>
    <p:sldLayoutId id="2147484044" r:id="rId9"/>
    <p:sldLayoutId id="2147484045" r:id="rId10"/>
    <p:sldLayoutId id="2147484046" r:id="rId11"/>
    <p:sldLayoutId id="2147484047" r:id="rId12"/>
    <p:sldLayoutId id="2147484048" r:id="rId13"/>
    <p:sldLayoutId id="2147484049" r:id="rId14"/>
    <p:sldLayoutId id="2147484050" r:id="rId15"/>
    <p:sldLayoutId id="2147484051" r:id="rId16"/>
    <p:sldLayoutId id="2147484052" r:id="rId17"/>
    <p:sldLayoutId id="2147484053"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99306083"/>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 id="2147484061" r:id="rId7"/>
    <p:sldLayoutId id="2147484062" r:id="rId8"/>
    <p:sldLayoutId id="2147484063" r:id="rId9"/>
    <p:sldLayoutId id="2147484064" r:id="rId10"/>
    <p:sldLayoutId id="2147484065" r:id="rId11"/>
    <p:sldLayoutId id="2147484066" r:id="rId12"/>
    <p:sldLayoutId id="2147484067" r:id="rId13"/>
    <p:sldLayoutId id="2147484068" r:id="rId14"/>
    <p:sldLayoutId id="2147484069" r:id="rId15"/>
    <p:sldLayoutId id="2147484070" r:id="rId16"/>
    <p:sldLayoutId id="2147484071" r:id="rId17"/>
    <p:sldLayoutId id="2147484072" r:id="rId18"/>
    <p:sldLayoutId id="2147484073"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4493879"/>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1" r:id="rId7"/>
    <p:sldLayoutId id="2147484082" r:id="rId8"/>
    <p:sldLayoutId id="2147484083" r:id="rId9"/>
    <p:sldLayoutId id="2147484084" r:id="rId10"/>
    <p:sldLayoutId id="2147484085" r:id="rId11"/>
    <p:sldLayoutId id="2147484086" r:id="rId12"/>
    <p:sldLayoutId id="2147484087" r:id="rId13"/>
    <p:sldLayoutId id="2147484088" r:id="rId14"/>
    <p:sldLayoutId id="2147484089" r:id="rId15"/>
    <p:sldLayoutId id="2147484090" r:id="rId16"/>
    <p:sldLayoutId id="2147484091" r:id="rId17"/>
    <p:sldLayoutId id="2147484092"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49266758"/>
      </p:ext>
    </p:extLst>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 id="2147484100" r:id="rId7"/>
    <p:sldLayoutId id="2147484101" r:id="rId8"/>
    <p:sldLayoutId id="2147484102" r:id="rId9"/>
    <p:sldLayoutId id="2147484103" r:id="rId10"/>
    <p:sldLayoutId id="2147484104" r:id="rId11"/>
    <p:sldLayoutId id="2147484105" r:id="rId12"/>
    <p:sldLayoutId id="2147484106" r:id="rId13"/>
    <p:sldLayoutId id="2147484107" r:id="rId14"/>
    <p:sldLayoutId id="2147484108" r:id="rId15"/>
    <p:sldLayoutId id="2147484109" r:id="rId16"/>
    <p:sldLayoutId id="2147484110" r:id="rId17"/>
    <p:sldLayoutId id="2147484111" r:id="rId18"/>
    <p:sldLayoutId id="214748411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626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64236974"/>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7" r:id="rId4"/>
    <p:sldLayoutId id="2147484118" r:id="rId5"/>
    <p:sldLayoutId id="2147484119" r:id="rId6"/>
    <p:sldLayoutId id="2147484120" r:id="rId7"/>
    <p:sldLayoutId id="2147484121" r:id="rId8"/>
    <p:sldLayoutId id="2147484122" r:id="rId9"/>
    <p:sldLayoutId id="2147484123" r:id="rId10"/>
    <p:sldLayoutId id="2147484124" r:id="rId11"/>
    <p:sldLayoutId id="2147484125" r:id="rId12"/>
    <p:sldLayoutId id="2147484126" r:id="rId13"/>
    <p:sldLayoutId id="2147484127" r:id="rId14"/>
    <p:sldLayoutId id="2147484128" r:id="rId15"/>
    <p:sldLayoutId id="2147484129" r:id="rId16"/>
    <p:sldLayoutId id="2147484130" r:id="rId17"/>
    <p:sldLayoutId id="2147484131" r:id="rId18"/>
    <p:sldLayoutId id="214748413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65334805"/>
      </p:ext>
    </p:extLst>
  </p:cSld>
  <p:clrMap bg1="lt1" tx1="dk1" bg2="lt2" tx2="dk2" accent1="accent1" accent2="accent2" accent3="accent3" accent4="accent4" accent5="accent5" accent6="accent6" hlink="hlink" folHlink="folHlink"/>
  <p:sldLayoutIdLst>
    <p:sldLayoutId id="2147484134" r:id="rId1"/>
    <p:sldLayoutId id="2147484135" r:id="rId2"/>
    <p:sldLayoutId id="2147484136" r:id="rId3"/>
    <p:sldLayoutId id="2147484137" r:id="rId4"/>
    <p:sldLayoutId id="2147484138" r:id="rId5"/>
    <p:sldLayoutId id="2147484139" r:id="rId6"/>
    <p:sldLayoutId id="2147484140" r:id="rId7"/>
    <p:sldLayoutId id="2147484141" r:id="rId8"/>
    <p:sldLayoutId id="2147484142" r:id="rId9"/>
    <p:sldLayoutId id="2147484143" r:id="rId10"/>
    <p:sldLayoutId id="2147484144" r:id="rId11"/>
    <p:sldLayoutId id="2147484145" r:id="rId12"/>
    <p:sldLayoutId id="2147484146" r:id="rId13"/>
    <p:sldLayoutId id="2147484147" r:id="rId14"/>
    <p:sldLayoutId id="2147484148" r:id="rId15"/>
    <p:sldLayoutId id="2147484149" r:id="rId16"/>
    <p:sldLayoutId id="2147484150" r:id="rId17"/>
    <p:sldLayoutId id="2147484151"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77645"/>
      </p:ext>
    </p:extLst>
  </p:cSld>
  <p:clrMap bg1="lt1" tx1="dk1" bg2="lt2" tx2="dk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 id="2147484165" r:id="rId13"/>
    <p:sldLayoutId id="2147484166" r:id="rId14"/>
    <p:sldLayoutId id="2147484167" r:id="rId15"/>
    <p:sldLayoutId id="2147484168" r:id="rId16"/>
    <p:sldLayoutId id="2147484169" r:id="rId17"/>
    <p:sldLayoutId id="2147484170" r:id="rId18"/>
    <p:sldLayoutId id="2147484171"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9347834"/>
      </p:ext>
    </p:extLst>
  </p:cSld>
  <p:clrMap bg1="lt1" tx1="dk1" bg2="lt2" tx2="dk2" accent1="accent1" accent2="accent2" accent3="accent3" accent4="accent4" accent5="accent5" accent6="accent6" hlink="hlink" folHlink="folHlink"/>
  <p:sldLayoutIdLst>
    <p:sldLayoutId id="2147484173" r:id="rId1"/>
    <p:sldLayoutId id="2147484174" r:id="rId2"/>
    <p:sldLayoutId id="2147484175" r:id="rId3"/>
    <p:sldLayoutId id="2147484176" r:id="rId4"/>
    <p:sldLayoutId id="2147484177" r:id="rId5"/>
    <p:sldLayoutId id="2147484178" r:id="rId6"/>
    <p:sldLayoutId id="2147484179" r:id="rId7"/>
    <p:sldLayoutId id="2147484180" r:id="rId8"/>
    <p:sldLayoutId id="2147484181" r:id="rId9"/>
    <p:sldLayoutId id="2147484182" r:id="rId10"/>
    <p:sldLayoutId id="2147484183" r:id="rId11"/>
    <p:sldLayoutId id="2147484184" r:id="rId12"/>
    <p:sldLayoutId id="2147484185" r:id="rId13"/>
    <p:sldLayoutId id="2147484186" r:id="rId14"/>
    <p:sldLayoutId id="2147484187" r:id="rId15"/>
    <p:sldLayoutId id="2147484188" r:id="rId16"/>
    <p:sldLayoutId id="2147484189" r:id="rId17"/>
    <p:sldLayoutId id="2147484190"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8523547"/>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06" y="1463041"/>
            <a:ext cx="11158586"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91007243"/>
      </p:ext>
    </p:extLst>
  </p:cSld>
  <p:clrMap bg1="lt1" tx1="dk1" bg2="lt2" tx2="dk2" accent1="accent1" accent2="accent2" accent3="accent3" accent4="accent4" accent5="accent5" accent6="accent6" hlink="hlink" folHlink="folHlink"/>
  <p:sldLayoutIdLst>
    <p:sldLayoutId id="2147484212" r:id="rId1"/>
    <p:sldLayoutId id="2147484213" r:id="rId2"/>
    <p:sldLayoutId id="2147484214" r:id="rId3"/>
    <p:sldLayoutId id="2147484215" r:id="rId4"/>
    <p:sldLayoutId id="2147484216" r:id="rId5"/>
    <p:sldLayoutId id="2147484217" r:id="rId6"/>
    <p:sldLayoutId id="2147484218" r:id="rId7"/>
    <p:sldLayoutId id="2147484219" r:id="rId8"/>
    <p:sldLayoutId id="2147484220" r:id="rId9"/>
    <p:sldLayoutId id="2147484221" r:id="rId10"/>
    <p:sldLayoutId id="2147484222" r:id="rId11"/>
    <p:sldLayoutId id="2147484223" r:id="rId12"/>
    <p:sldLayoutId id="2147484224" r:id="rId13"/>
    <p:sldLayoutId id="2147484225" r:id="rId14"/>
    <p:sldLayoutId id="2147484226" r:id="rId15"/>
    <p:sldLayoutId id="2147484227"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06" y="1463041"/>
            <a:ext cx="11158586"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54025654"/>
      </p:ext>
    </p:extLst>
  </p:cSld>
  <p:clrMap bg1="lt1" tx1="dk1" bg2="lt2" tx2="dk2" accent1="accent1" accent2="accent2" accent3="accent3" accent4="accent4" accent5="accent5" accent6="accent6" hlink="hlink" folHlink="folHlink"/>
  <p:sldLayoutIdLst>
    <p:sldLayoutId id="2147484229" r:id="rId1"/>
    <p:sldLayoutId id="2147484230" r:id="rId2"/>
    <p:sldLayoutId id="2147484231" r:id="rId3"/>
    <p:sldLayoutId id="2147484232" r:id="rId4"/>
    <p:sldLayoutId id="2147484233" r:id="rId5"/>
    <p:sldLayoutId id="2147484234" r:id="rId6"/>
    <p:sldLayoutId id="2147484235" r:id="rId7"/>
    <p:sldLayoutId id="2147484236" r:id="rId8"/>
    <p:sldLayoutId id="2147484237" r:id="rId9"/>
    <p:sldLayoutId id="2147484238" r:id="rId10"/>
    <p:sldLayoutId id="2147484239" r:id="rId11"/>
    <p:sldLayoutId id="2147484240" r:id="rId12"/>
    <p:sldLayoutId id="2147484241" r:id="rId13"/>
    <p:sldLayoutId id="2147484242" r:id="rId14"/>
    <p:sldLayoutId id="2147484243" r:id="rId15"/>
    <p:sldLayoutId id="2147484244"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42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rgbClr val="FFFFFF">
                    <a:alpha val="0"/>
                  </a:srgbClr>
                </a:solidFill>
              </a:ln>
              <a:gradFill>
                <a:gsLst>
                  <a:gs pos="0">
                    <a:srgbClr val="FFFFFF"/>
                  </a:gs>
                  <a:gs pos="100000">
                    <a:srgbClr val="FFFFFF"/>
                  </a:gs>
                </a:gsLst>
                <a:lin ang="5400000" scaled="0"/>
              </a:gradFill>
            </a:endParaRPr>
          </a:p>
        </p:txBody>
      </p:sp>
      <p:sp>
        <p:nvSpPr>
          <p:cNvPr id="5" name="Rectangle 4"/>
          <p:cNvSpPr/>
          <p:nvPr/>
        </p:nvSpPr>
        <p:spPr bwMode="auto">
          <a:xfrm>
            <a:off x="1" y="0"/>
            <a:ext cx="12192000"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rgbClr val="FFFFFF">
                    <a:alpha val="0"/>
                  </a:srgb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706" y="228602"/>
            <a:ext cx="11158586"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691641"/>
            <a:ext cx="11151916" cy="184665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2191018"/>
      </p:ext>
    </p:extLst>
  </p:cSld>
  <p:clrMap bg1="lt1" tx1="dk1" bg2="lt2" tx2="dk2" accent1="accent1" accent2="accent2" accent3="accent3" accent4="accent4" accent5="accent5" accent6="accent6" hlink="hlink" folHlink="folHlink"/>
  <p:sldLayoutIdLst>
    <p:sldLayoutId id="2147484246"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06" y="1463041"/>
            <a:ext cx="11158586"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447952"/>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 id="2147484257" r:id="rId10"/>
    <p:sldLayoutId id="2147484258" r:id="rId11"/>
    <p:sldLayoutId id="2147484259" r:id="rId12"/>
    <p:sldLayoutId id="2147484260" r:id="rId13"/>
    <p:sldLayoutId id="2147484261" r:id="rId14"/>
    <p:sldLayoutId id="2147484262" r:id="rId15"/>
    <p:sldLayoutId id="2147484263"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06" y="1463041"/>
            <a:ext cx="11158586"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75006685"/>
      </p:ext>
    </p:extLst>
  </p:cSld>
  <p:clrMap bg1="lt1" tx1="dk1" bg2="lt2" tx2="dk2" accent1="accent1" accent2="accent2" accent3="accent3" accent4="accent4" accent5="accent5" accent6="accent6" hlink="hlink" folHlink="folHlink"/>
  <p:sldLayoutIdLst>
    <p:sldLayoutId id="2147484265" r:id="rId1"/>
    <p:sldLayoutId id="2147484266" r:id="rId2"/>
    <p:sldLayoutId id="2147484267" r:id="rId3"/>
    <p:sldLayoutId id="2147484268" r:id="rId4"/>
    <p:sldLayoutId id="2147484269" r:id="rId5"/>
    <p:sldLayoutId id="2147484270" r:id="rId6"/>
    <p:sldLayoutId id="2147484271" r:id="rId7"/>
    <p:sldLayoutId id="2147484272" r:id="rId8"/>
    <p:sldLayoutId id="2147484273" r:id="rId9"/>
    <p:sldLayoutId id="2147484274" r:id="rId10"/>
    <p:sldLayoutId id="2147484275" r:id="rId11"/>
    <p:sldLayoutId id="2147484276" r:id="rId12"/>
    <p:sldLayoutId id="2147484277" r:id="rId13"/>
    <p:sldLayoutId id="2147484278" r:id="rId14"/>
    <p:sldLayoutId id="2147484279" r:id="rId15"/>
    <p:sldLayoutId id="2147484280"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200601"/>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8938732"/>
      </p:ext>
    </p:extLst>
  </p:cSld>
  <p:clrMap bg1="lt1" tx1="dk1" bg2="lt2" tx2="dk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 id="2147484286" r:id="rId5"/>
    <p:sldLayoutId id="2147484287" r:id="rId6"/>
    <p:sldLayoutId id="2147484288" r:id="rId7"/>
    <p:sldLayoutId id="2147484289" r:id="rId8"/>
    <p:sldLayoutId id="2147484290" r:id="rId9"/>
    <p:sldLayoutId id="2147484291" r:id="rId10"/>
    <p:sldLayoutId id="2147484292" r:id="rId11"/>
    <p:sldLayoutId id="2147484293" r:id="rId12"/>
    <p:sldLayoutId id="2147484294" r:id="rId13"/>
    <p:sldLayoutId id="2147484295" r:id="rId14"/>
    <p:sldLayoutId id="2147484296" r:id="rId15"/>
    <p:sldLayoutId id="2147484297" r:id="rId16"/>
    <p:sldLayoutId id="2147484298" r:id="rId17"/>
    <p:sldLayoutId id="2147484299" r:id="rId18"/>
    <p:sldLayoutId id="2147484300"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2850780"/>
      </p:ext>
    </p:extLst>
  </p:cSld>
  <p:clrMap bg1="lt1" tx1="dk1" bg2="lt2" tx2="dk2" accent1="accent1" accent2="accent2" accent3="accent3" accent4="accent4" accent5="accent5" accent6="accent6" hlink="hlink" folHlink="folHlink"/>
  <p:sldLayoutIdLst>
    <p:sldLayoutId id="2147484302" r:id="rId1"/>
    <p:sldLayoutId id="2147484303" r:id="rId2"/>
    <p:sldLayoutId id="2147484304" r:id="rId3"/>
    <p:sldLayoutId id="2147484305" r:id="rId4"/>
    <p:sldLayoutId id="2147484306" r:id="rId5"/>
    <p:sldLayoutId id="2147484307" r:id="rId6"/>
    <p:sldLayoutId id="2147484308" r:id="rId7"/>
    <p:sldLayoutId id="2147484309" r:id="rId8"/>
    <p:sldLayoutId id="2147484310" r:id="rId9"/>
    <p:sldLayoutId id="2147484311" r:id="rId10"/>
    <p:sldLayoutId id="2147484312" r:id="rId11"/>
    <p:sldLayoutId id="2147484313" r:id="rId12"/>
    <p:sldLayoutId id="2147484314" r:id="rId13"/>
    <p:sldLayoutId id="2147484315" r:id="rId14"/>
    <p:sldLayoutId id="2147484316" r:id="rId15"/>
    <p:sldLayoutId id="2147484317" r:id="rId16"/>
    <p:sldLayoutId id="2147484318" r:id="rId17"/>
    <p:sldLayoutId id="2147484319" r:id="rId18"/>
    <p:sldLayoutId id="2147484320"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2"/>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1896386"/>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6" r:id="rId5"/>
    <p:sldLayoutId id="2147484327" r:id="rId6"/>
    <p:sldLayoutId id="2147484328" r:id="rId7"/>
    <p:sldLayoutId id="2147484329" r:id="rId8"/>
    <p:sldLayoutId id="2147484330" r:id="rId9"/>
    <p:sldLayoutId id="2147484331" r:id="rId10"/>
    <p:sldLayoutId id="2147484332" r:id="rId11"/>
    <p:sldLayoutId id="2147484333" r:id="rId12"/>
    <p:sldLayoutId id="2147484334" r:id="rId13"/>
    <p:sldLayoutId id="2147484335" r:id="rId14"/>
    <p:sldLayoutId id="2147484336" r:id="rId15"/>
    <p:sldLayoutId id="2147484337" r:id="rId16"/>
    <p:sldLayoutId id="2147484338" r:id="rId17"/>
    <p:sldLayoutId id="2147484339" r:id="rId18"/>
  </p:sldLayoutIdLst>
  <p:transition>
    <p:fade/>
  </p:transition>
  <p:timing>
    <p:tnLst>
      <p:par>
        <p:cTn id="1" dur="indefinite" restart="never" nodeType="tmRoot"/>
      </p:par>
    </p:tnLst>
  </p:timing>
  <p:txStyles>
    <p:titleStyle>
      <a:lvl1pPr algn="l" defTabSz="914197"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90" indent="-460290" algn="l" defTabSz="914197"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09" indent="-395218" algn="l" defTabSz="914197"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661" indent="-403151" algn="l" defTabSz="914197"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671" indent="-346013"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161" indent="-336489"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044"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2"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0"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100"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7"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0" algn="l" defTabSz="914197" rtl="0" eaLnBrk="1" latinLnBrk="0" hangingPunct="1">
        <a:defRPr sz="19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1"/>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64257914"/>
      </p:ext>
    </p:extLst>
  </p:cSld>
  <p:clrMap bg1="lt1" tx1="dk1" bg2="lt2" tx2="dk2" accent1="accent1" accent2="accent2" accent3="accent3" accent4="accent4" accent5="accent5" accent6="accent6" hlink="hlink" folHlink="folHlink"/>
  <p:sldLayoutIdLst>
    <p:sldLayoutId id="2147484341" r:id="rId1"/>
    <p:sldLayoutId id="2147484342" r:id="rId2"/>
    <p:sldLayoutId id="2147484343" r:id="rId3"/>
    <p:sldLayoutId id="2147484344" r:id="rId4"/>
    <p:sldLayoutId id="2147484345" r:id="rId5"/>
    <p:sldLayoutId id="2147484346" r:id="rId6"/>
    <p:sldLayoutId id="2147484347" r:id="rId7"/>
    <p:sldLayoutId id="2147484348" r:id="rId8"/>
    <p:sldLayoutId id="2147484349" r:id="rId9"/>
    <p:sldLayoutId id="2147484350" r:id="rId10"/>
    <p:sldLayoutId id="2147484351" r:id="rId11"/>
    <p:sldLayoutId id="2147484352" r:id="rId12"/>
    <p:sldLayoutId id="2147484353" r:id="rId13"/>
    <p:sldLayoutId id="2147484354" r:id="rId14"/>
    <p:sldLayoutId id="2147484355" r:id="rId15"/>
    <p:sldLayoutId id="2147484356" r:id="rId16"/>
    <p:sldLayoutId id="2147484357" r:id="rId17"/>
    <p:sldLayoutId id="2147484358" r:id="rId18"/>
    <p:sldLayoutId id="2147484359" r:id="rId19"/>
  </p:sldLayoutIdLst>
  <p:transition>
    <p:fade/>
  </p:transition>
  <p:timing>
    <p:tnLst>
      <p:par>
        <p:cTn id="1" dur="indefinite" restart="never" nodeType="tmRoot"/>
      </p:par>
    </p:tnLst>
  </p:timing>
  <p:txStyles>
    <p:titleStyle>
      <a:lvl1pPr algn="l" defTabSz="914235"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0" indent="-460310" algn="l" defTabSz="914235"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44" indent="-395233" algn="l" defTabSz="914235"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13" indent="-403168" algn="l" defTabSz="91423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38" indent="-346027" algn="l" defTabSz="91423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42" indent="-336503" algn="l" defTabSz="91423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48" indent="-228558" algn="l" defTabSz="91423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66" indent="-228558" algn="l" defTabSz="91423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4" indent="-228558" algn="l" defTabSz="91423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2" indent="-228558" algn="l" defTabSz="91423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5" rtl="0" eaLnBrk="1" latinLnBrk="0" hangingPunct="1">
        <a:defRPr sz="1900" kern="1200">
          <a:solidFill>
            <a:schemeClr val="tx1"/>
          </a:solidFill>
          <a:latin typeface="+mn-lt"/>
          <a:ea typeface="+mn-ea"/>
          <a:cs typeface="+mn-cs"/>
        </a:defRPr>
      </a:lvl1pPr>
      <a:lvl2pPr marL="457118" algn="l" defTabSz="914235" rtl="0" eaLnBrk="1" latinLnBrk="0" hangingPunct="1">
        <a:defRPr sz="1900" kern="1200">
          <a:solidFill>
            <a:schemeClr val="tx1"/>
          </a:solidFill>
          <a:latin typeface="+mn-lt"/>
          <a:ea typeface="+mn-ea"/>
          <a:cs typeface="+mn-cs"/>
        </a:defRPr>
      </a:lvl2pPr>
      <a:lvl3pPr marL="914235" algn="l" defTabSz="914235" rtl="0" eaLnBrk="1" latinLnBrk="0" hangingPunct="1">
        <a:defRPr sz="1900" kern="1200">
          <a:solidFill>
            <a:schemeClr val="tx1"/>
          </a:solidFill>
          <a:latin typeface="+mn-lt"/>
          <a:ea typeface="+mn-ea"/>
          <a:cs typeface="+mn-cs"/>
        </a:defRPr>
      </a:lvl3pPr>
      <a:lvl4pPr marL="1371354" algn="l" defTabSz="914235" rtl="0" eaLnBrk="1" latinLnBrk="0" hangingPunct="1">
        <a:defRPr sz="1900" kern="1200">
          <a:solidFill>
            <a:schemeClr val="tx1"/>
          </a:solidFill>
          <a:latin typeface="+mn-lt"/>
          <a:ea typeface="+mn-ea"/>
          <a:cs typeface="+mn-cs"/>
        </a:defRPr>
      </a:lvl4pPr>
      <a:lvl5pPr marL="1828472" algn="l" defTabSz="914235" rtl="0" eaLnBrk="1" latinLnBrk="0" hangingPunct="1">
        <a:defRPr sz="1900" kern="1200">
          <a:solidFill>
            <a:schemeClr val="tx1"/>
          </a:solidFill>
          <a:latin typeface="+mn-lt"/>
          <a:ea typeface="+mn-ea"/>
          <a:cs typeface="+mn-cs"/>
        </a:defRPr>
      </a:lvl5pPr>
      <a:lvl6pPr marL="2285589" algn="l" defTabSz="914235" rtl="0" eaLnBrk="1" latinLnBrk="0" hangingPunct="1">
        <a:defRPr sz="1900" kern="1200">
          <a:solidFill>
            <a:schemeClr val="tx1"/>
          </a:solidFill>
          <a:latin typeface="+mn-lt"/>
          <a:ea typeface="+mn-ea"/>
          <a:cs typeface="+mn-cs"/>
        </a:defRPr>
      </a:lvl6pPr>
      <a:lvl7pPr marL="2742707" algn="l" defTabSz="914235" rtl="0" eaLnBrk="1" latinLnBrk="0" hangingPunct="1">
        <a:defRPr sz="1900" kern="1200">
          <a:solidFill>
            <a:schemeClr val="tx1"/>
          </a:solidFill>
          <a:latin typeface="+mn-lt"/>
          <a:ea typeface="+mn-ea"/>
          <a:cs typeface="+mn-cs"/>
        </a:defRPr>
      </a:lvl7pPr>
      <a:lvl8pPr marL="3199826" algn="l" defTabSz="914235" rtl="0" eaLnBrk="1" latinLnBrk="0" hangingPunct="1">
        <a:defRPr sz="1900" kern="1200">
          <a:solidFill>
            <a:schemeClr val="tx1"/>
          </a:solidFill>
          <a:latin typeface="+mn-lt"/>
          <a:ea typeface="+mn-ea"/>
          <a:cs typeface="+mn-cs"/>
        </a:defRPr>
      </a:lvl8pPr>
      <a:lvl9pPr marL="3656943" algn="l" defTabSz="914235" rtl="0" eaLnBrk="1" latinLnBrk="0" hangingPunct="1">
        <a:defRPr sz="19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2"/>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75003235"/>
      </p:ext>
    </p:extLst>
  </p:cSld>
  <p:clrMap bg1="lt1" tx1="dk1" bg2="lt2" tx2="dk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 id="2147484371" r:id="rId11"/>
    <p:sldLayoutId id="2147484372" r:id="rId12"/>
    <p:sldLayoutId id="2147484373" r:id="rId13"/>
    <p:sldLayoutId id="2147484374" r:id="rId14"/>
    <p:sldLayoutId id="2147484375" r:id="rId15"/>
    <p:sldLayoutId id="2147484376" r:id="rId16"/>
    <p:sldLayoutId id="2147484377" r:id="rId17"/>
    <p:sldLayoutId id="2147484378" r:id="rId18"/>
  </p:sldLayoutIdLst>
  <p:transition>
    <p:fade/>
  </p:transition>
  <p:timing>
    <p:tnLst>
      <p:par>
        <p:cTn id="1" dur="indefinite" restart="never" nodeType="tmRoot"/>
      </p:par>
    </p:tnLst>
  </p:timing>
  <p:txStyles>
    <p:titleStyle>
      <a:lvl1pPr algn="l" defTabSz="914197"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90" indent="-460290" algn="l" defTabSz="914197"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09" indent="-395218" algn="l" defTabSz="914197"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661" indent="-403151" algn="l" defTabSz="914197"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671" indent="-346013"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161" indent="-336489"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044"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2"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0"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100"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7"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0" algn="l" defTabSz="914197" rtl="0" eaLnBrk="1" latinLnBrk="0" hangingPunct="1">
        <a:defRPr sz="19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13" y="228602"/>
            <a:ext cx="11158585" cy="75713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13" y="1463048"/>
            <a:ext cx="11158585"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21" cstate="print">
            <a:duotone>
              <a:prstClr val="black"/>
              <a:schemeClr val="tx2">
                <a:tint val="45000"/>
                <a:satMod val="400000"/>
              </a:schemeClr>
            </a:duotone>
            <a:extLst>
              <a:ext uri="{BEBA8EAE-BF5A-486C-A8C5-ECC9F3942E4B}">
                <a14:imgProps xmlns:a14="http://schemas.microsoft.com/office/drawing/2010/main">
                  <a14:imgLayer r:embed="rId22">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2" y="6372550"/>
            <a:ext cx="1682359" cy="195501"/>
          </a:xfrm>
          <a:prstGeom prst="rect">
            <a:avLst/>
          </a:prstGeom>
        </p:spPr>
      </p:pic>
    </p:spTree>
    <p:extLst>
      <p:ext uri="{BB962C8B-B14F-4D97-AF65-F5344CB8AC3E}">
        <p14:creationId xmlns:p14="http://schemas.microsoft.com/office/powerpoint/2010/main" val="2792427440"/>
      </p:ext>
    </p:extLst>
  </p:cSld>
  <p:clrMap bg1="lt1" tx1="dk1" bg2="lt2" tx2="dk2" accent1="accent1" accent2="accent2" accent3="accent3" accent4="accent4" accent5="accent5" accent6="accent6" hlink="hlink" folHlink="folHlink"/>
  <p:sldLayoutIdLst>
    <p:sldLayoutId id="2147484380" r:id="rId1"/>
    <p:sldLayoutId id="2147484381" r:id="rId2"/>
    <p:sldLayoutId id="2147484382" r:id="rId3"/>
    <p:sldLayoutId id="2147484383" r:id="rId4"/>
    <p:sldLayoutId id="2147484384" r:id="rId5"/>
    <p:sldLayoutId id="2147484385" r:id="rId6"/>
    <p:sldLayoutId id="2147484386" r:id="rId7"/>
    <p:sldLayoutId id="2147484387" r:id="rId8"/>
    <p:sldLayoutId id="2147484388" r:id="rId9"/>
    <p:sldLayoutId id="2147484389" r:id="rId10"/>
    <p:sldLayoutId id="2147484390" r:id="rId11"/>
    <p:sldLayoutId id="2147484391" r:id="rId12"/>
    <p:sldLayoutId id="2147484392" r:id="rId13"/>
    <p:sldLayoutId id="2147484393" r:id="rId14"/>
    <p:sldLayoutId id="2147484394" r:id="rId15"/>
    <p:sldLayoutId id="2147484395" r:id="rId16"/>
    <p:sldLayoutId id="2147484396" r:id="rId17"/>
    <p:sldLayoutId id="2147484397" r:id="rId18"/>
    <p:sldLayoutId id="2147484398" r:id="rId19"/>
  </p:sldLayoutIdLst>
  <p:transition>
    <p:fade/>
  </p:transition>
  <p:timing>
    <p:tnLst>
      <p:par>
        <p:cTn id="1" dur="indefinite" restart="never" nodeType="tmRoot"/>
      </p:par>
    </p:tnLst>
  </p:timing>
  <p:txStyles>
    <p:titleStyle>
      <a:lvl1pPr algn="l" defTabSz="914084" rtl="0" eaLnBrk="1" latinLnBrk="0" hangingPunct="1">
        <a:lnSpc>
          <a:spcPct val="90000"/>
        </a:lnSpc>
        <a:spcBef>
          <a:spcPct val="0"/>
        </a:spcBef>
        <a:buNone/>
        <a:defRPr lang="en-US" sz="55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381" indent="-344381" algn="l" defTabSz="914084"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443" indent="-341209" algn="l" defTabSz="914084"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504" indent="-344381" algn="l" defTabSz="914084"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5561" indent="-345968" algn="l" defTabSz="914084"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2621" indent="-336447" algn="l" defTabSz="914084"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3733" indent="-228522" algn="l" defTabSz="9140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70" indent="-228522" algn="l" defTabSz="9140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13" indent="-228522" algn="l" defTabSz="9140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54" indent="-228522" algn="l" defTabSz="9140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4" rtl="0" eaLnBrk="1" latinLnBrk="0" hangingPunct="1">
        <a:defRPr sz="1900" kern="1200">
          <a:solidFill>
            <a:schemeClr val="tx1"/>
          </a:solidFill>
          <a:latin typeface="+mn-lt"/>
          <a:ea typeface="+mn-ea"/>
          <a:cs typeface="+mn-cs"/>
        </a:defRPr>
      </a:lvl1pPr>
      <a:lvl2pPr marL="457040" algn="l" defTabSz="914084" rtl="0" eaLnBrk="1" latinLnBrk="0" hangingPunct="1">
        <a:defRPr sz="1900" kern="1200">
          <a:solidFill>
            <a:schemeClr val="tx1"/>
          </a:solidFill>
          <a:latin typeface="+mn-lt"/>
          <a:ea typeface="+mn-ea"/>
          <a:cs typeface="+mn-cs"/>
        </a:defRPr>
      </a:lvl2pPr>
      <a:lvl3pPr marL="914084" algn="l" defTabSz="914084" rtl="0" eaLnBrk="1" latinLnBrk="0" hangingPunct="1">
        <a:defRPr sz="1900" kern="1200">
          <a:solidFill>
            <a:schemeClr val="tx1"/>
          </a:solidFill>
          <a:latin typeface="+mn-lt"/>
          <a:ea typeface="+mn-ea"/>
          <a:cs typeface="+mn-cs"/>
        </a:defRPr>
      </a:lvl3pPr>
      <a:lvl4pPr marL="1371124" algn="l" defTabSz="914084" rtl="0" eaLnBrk="1" latinLnBrk="0" hangingPunct="1">
        <a:defRPr sz="1900" kern="1200">
          <a:solidFill>
            <a:schemeClr val="tx1"/>
          </a:solidFill>
          <a:latin typeface="+mn-lt"/>
          <a:ea typeface="+mn-ea"/>
          <a:cs typeface="+mn-cs"/>
        </a:defRPr>
      </a:lvl4pPr>
      <a:lvl5pPr marL="1828168" algn="l" defTabSz="914084" rtl="0" eaLnBrk="1" latinLnBrk="0" hangingPunct="1">
        <a:defRPr sz="1900" kern="1200">
          <a:solidFill>
            <a:schemeClr val="tx1"/>
          </a:solidFill>
          <a:latin typeface="+mn-lt"/>
          <a:ea typeface="+mn-ea"/>
          <a:cs typeface="+mn-cs"/>
        </a:defRPr>
      </a:lvl5pPr>
      <a:lvl6pPr marL="2285205" algn="l" defTabSz="914084" rtl="0" eaLnBrk="1" latinLnBrk="0" hangingPunct="1">
        <a:defRPr sz="1900" kern="1200">
          <a:solidFill>
            <a:schemeClr val="tx1"/>
          </a:solidFill>
          <a:latin typeface="+mn-lt"/>
          <a:ea typeface="+mn-ea"/>
          <a:cs typeface="+mn-cs"/>
        </a:defRPr>
      </a:lvl6pPr>
      <a:lvl7pPr marL="2742251" algn="l" defTabSz="914084" rtl="0" eaLnBrk="1" latinLnBrk="0" hangingPunct="1">
        <a:defRPr sz="1900" kern="1200">
          <a:solidFill>
            <a:schemeClr val="tx1"/>
          </a:solidFill>
          <a:latin typeface="+mn-lt"/>
          <a:ea typeface="+mn-ea"/>
          <a:cs typeface="+mn-cs"/>
        </a:defRPr>
      </a:lvl7pPr>
      <a:lvl8pPr marL="3199291" algn="l" defTabSz="914084" rtl="0" eaLnBrk="1" latinLnBrk="0" hangingPunct="1">
        <a:defRPr sz="1900" kern="1200">
          <a:solidFill>
            <a:schemeClr val="tx1"/>
          </a:solidFill>
          <a:latin typeface="+mn-lt"/>
          <a:ea typeface="+mn-ea"/>
          <a:cs typeface="+mn-cs"/>
        </a:defRPr>
      </a:lvl8pPr>
      <a:lvl9pPr marL="3656334" algn="l" defTabSz="914084" rtl="0" eaLnBrk="1" latinLnBrk="0" hangingPunct="1">
        <a:defRPr sz="19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198823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00817676"/>
      </p:ext>
    </p:extLst>
  </p:cSld>
  <p:clrMap bg1="lt1" tx1="dk1" bg2="lt2" tx2="dk2" accent1="accent1" accent2="accent2" accent3="accent3" accent4="accent4" accent5="accent5" accent6="accent6" hlink="hlink" folHlink="folHlink"/>
  <p:sldLayoutIdLst>
    <p:sldLayoutId id="2147484400" r:id="rId1"/>
    <p:sldLayoutId id="2147484401" r:id="rId2"/>
    <p:sldLayoutId id="2147484402" r:id="rId3"/>
    <p:sldLayoutId id="2147484403" r:id="rId4"/>
    <p:sldLayoutId id="2147484404" r:id="rId5"/>
    <p:sldLayoutId id="2147484405" r:id="rId6"/>
    <p:sldLayoutId id="2147484406" r:id="rId7"/>
    <p:sldLayoutId id="2147484407" r:id="rId8"/>
    <p:sldLayoutId id="2147484408" r:id="rId9"/>
    <p:sldLayoutId id="2147484409" r:id="rId10"/>
    <p:sldLayoutId id="2147484410" r:id="rId11"/>
    <p:sldLayoutId id="2147484411" r:id="rId12"/>
    <p:sldLayoutId id="2147484412" r:id="rId13"/>
    <p:sldLayoutId id="2147484413" r:id="rId14"/>
    <p:sldLayoutId id="2147484414" r:id="rId15"/>
    <p:sldLayoutId id="2147484415" r:id="rId16"/>
    <p:sldLayoutId id="2147484416" r:id="rId17"/>
    <p:sldLayoutId id="2147484417" r:id="rId18"/>
    <p:sldLayoutId id="2147484418" r:id="rId19"/>
    <p:sldLayoutId id="2147484419" r:id="rId20"/>
    <p:sldLayoutId id="2147484420" r:id="rId21"/>
    <p:sldLayoutId id="2147484421" r:id="rId22"/>
    <p:sldLayoutId id="2147484422" r:id="rId23"/>
    <p:sldLayoutId id="2147484423" r:id="rId24"/>
    <p:sldLayoutId id="2147484424" r:id="rId25"/>
    <p:sldLayoutId id="2147484425" r:id="rId26"/>
    <p:sldLayoutId id="2147484426" r:id="rId27"/>
    <p:sldLayoutId id="2147484427" r:id="rId28"/>
    <p:sldLayoutId id="2147484428" r:id="rId29"/>
  </p:sldLayoutIdLst>
  <p:transition>
    <p:fade/>
  </p:transition>
  <p:timing>
    <p:tnLst>
      <p:par>
        <p:cTn id="1" dur="indefinite" restart="never" nodeType="tmRoot"/>
      </p:par>
    </p:tnLst>
  </p:timing>
  <p:txStyles>
    <p:titleStyle>
      <a:lvl1pPr algn="l" defTabSz="914197"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664" marR="0" indent="-339664" algn="l" defTabSz="914197"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2984" marR="0" indent="-233321" algn="l" defTabSz="914197"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369" marR="0" indent="-225384" algn="l" defTabSz="914197" rtl="0" eaLnBrk="1" fontAlgn="auto" latinLnBrk="0" hangingPunct="1">
        <a:lnSpc>
          <a:spcPct val="90000"/>
        </a:lnSpc>
        <a:spcBef>
          <a:spcPct val="20000"/>
        </a:spcBef>
        <a:spcAft>
          <a:spcPts val="0"/>
        </a:spcAft>
        <a:buClrTx/>
        <a:buSzPct val="90000"/>
        <a:buFont typeface="Wingdings" pitchFamily="2" charset="2"/>
        <a:buChar char=""/>
        <a:tabLst>
          <a:tab pos="798369" algn="l"/>
        </a:tabLst>
        <a:defRPr sz="2400" kern="1200" spc="0" baseline="0">
          <a:solidFill>
            <a:schemeClr val="tx1">
              <a:alpha val="99000"/>
            </a:schemeClr>
          </a:solidFill>
          <a:latin typeface="+mn-lt"/>
          <a:ea typeface="+mn-ea"/>
          <a:cs typeface="+mn-cs"/>
        </a:defRPr>
      </a:lvl3pPr>
      <a:lvl4pPr marL="1030101" marR="0" indent="-231732" algn="l" defTabSz="914197"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485" marR="0" indent="-225384" algn="l" defTabSz="914197" rtl="0" eaLnBrk="1" fontAlgn="auto" latinLnBrk="0" hangingPunct="1">
        <a:lnSpc>
          <a:spcPct val="90000"/>
        </a:lnSpc>
        <a:spcBef>
          <a:spcPct val="20000"/>
        </a:spcBef>
        <a:spcAft>
          <a:spcPts val="0"/>
        </a:spcAft>
        <a:buClrTx/>
        <a:buSzPct val="90000"/>
        <a:buFont typeface="Wingdings" pitchFamily="2" charset="2"/>
        <a:buChar char=""/>
        <a:tabLst>
          <a:tab pos="1255485" algn="l"/>
        </a:tabLst>
        <a:defRPr sz="2000" kern="1200" spc="0" baseline="0">
          <a:solidFill>
            <a:schemeClr val="tx1">
              <a:alpha val="99000"/>
            </a:schemeClr>
          </a:solidFill>
          <a:latin typeface="+mn-lt"/>
          <a:ea typeface="+mn-ea"/>
          <a:cs typeface="+mn-cs"/>
        </a:defRPr>
      </a:lvl5pPr>
      <a:lvl6pPr marL="2514044"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2"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0"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100"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7"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0" algn="l" defTabSz="914197" rtl="0" eaLnBrk="1" latinLnBrk="0" hangingPunct="1">
        <a:defRPr sz="19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2"/>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68642526"/>
      </p:ext>
    </p:extLst>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 id="2147484440" r:id="rId11"/>
    <p:sldLayoutId id="2147484441" r:id="rId12"/>
    <p:sldLayoutId id="2147484442" r:id="rId13"/>
    <p:sldLayoutId id="2147484443" r:id="rId14"/>
    <p:sldLayoutId id="2147484444" r:id="rId15"/>
    <p:sldLayoutId id="2147484445" r:id="rId16"/>
    <p:sldLayoutId id="2147484446" r:id="rId17"/>
    <p:sldLayoutId id="2147484447" r:id="rId18"/>
  </p:sldLayoutIdLst>
  <p:transition>
    <p:fade/>
  </p:transition>
  <p:timing>
    <p:tnLst>
      <p:par>
        <p:cTn id="1" dur="indefinite" restart="never" nodeType="tmRoot"/>
      </p:par>
    </p:tnLst>
  </p:timing>
  <p:txStyles>
    <p:titleStyle>
      <a:lvl1pPr algn="l" defTabSz="914197"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90" indent="-460290" algn="l" defTabSz="914197"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09" indent="-395218" algn="l" defTabSz="914197"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661" indent="-403151" algn="l" defTabSz="914197"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671" indent="-346013"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161" indent="-336489"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044"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2"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0"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100"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7"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0" algn="l" defTabSz="914197" rtl="0" eaLnBrk="1" latinLnBrk="0" hangingPunct="1">
        <a:defRPr sz="19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1243808"/>
      </p:ext>
    </p:extLst>
  </p:cSld>
  <p:clrMap bg1="lt1" tx1="dk1" bg2="lt2" tx2="dk2" accent1="accent1" accent2="accent2" accent3="accent3" accent4="accent4" accent5="accent5" accent6="accent6" hlink="hlink" folHlink="folHlink"/>
  <p:sldLayoutIdLst>
    <p:sldLayoutId id="2147484450" r:id="rId1"/>
    <p:sldLayoutId id="2147484451" r:id="rId2"/>
    <p:sldLayoutId id="2147484452" r:id="rId3"/>
    <p:sldLayoutId id="2147484453" r:id="rId4"/>
    <p:sldLayoutId id="2147484454" r:id="rId5"/>
    <p:sldLayoutId id="2147484455" r:id="rId6"/>
    <p:sldLayoutId id="2147484456" r:id="rId7"/>
    <p:sldLayoutId id="2147484457" r:id="rId8"/>
    <p:sldLayoutId id="2147484458" r:id="rId9"/>
    <p:sldLayoutId id="2147484459" r:id="rId10"/>
    <p:sldLayoutId id="2147484460" r:id="rId11"/>
    <p:sldLayoutId id="2147484461" r:id="rId12"/>
    <p:sldLayoutId id="2147484462" r:id="rId13"/>
    <p:sldLayoutId id="2147484463" r:id="rId14"/>
    <p:sldLayoutId id="2147484464" r:id="rId15"/>
    <p:sldLayoutId id="2147484465" r:id="rId16"/>
    <p:sldLayoutId id="2147484466" r:id="rId17"/>
    <p:sldLayoutId id="2147484467"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8" cy="56771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4"/>
            <a:ext cx="11151916" cy="150006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5612814"/>
      </p:ext>
    </p:extLst>
  </p:cSld>
  <p:clrMap bg1="lt1" tx1="dk1" bg2="lt2" tx2="dk2" accent1="accent1" accent2="accent2" accent3="accent3" accent4="accent4" accent5="accent5" accent6="accent6" hlink="hlink" folHlink="folHlink"/>
  <p:sldLayoutIdLst>
    <p:sldLayoutId id="2147484469" r:id="rId1"/>
    <p:sldLayoutId id="2147484470" r:id="rId2"/>
    <p:sldLayoutId id="2147484471" r:id="rId3"/>
    <p:sldLayoutId id="2147484472" r:id="rId4"/>
    <p:sldLayoutId id="2147484473" r:id="rId5"/>
    <p:sldLayoutId id="2147484474" r:id="rId6"/>
    <p:sldLayoutId id="2147484475" r:id="rId7"/>
    <p:sldLayoutId id="2147484476" r:id="rId8"/>
    <p:sldLayoutId id="2147484477" r:id="rId9"/>
  </p:sldLayoutIdLst>
  <p:transition>
    <p:fade/>
  </p:transition>
  <p:txStyles>
    <p:titleStyle>
      <a:lvl1pPr algn="l" defTabSz="685698" rtl="0" eaLnBrk="1" latinLnBrk="0" hangingPunct="1">
        <a:lnSpc>
          <a:spcPct val="90000"/>
        </a:lnSpc>
        <a:spcBef>
          <a:spcPct val="0"/>
        </a:spcBef>
        <a:buNone/>
        <a:defRPr lang="en-US" sz="4099"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259528" indent="-259528" algn="l" defTabSz="685698"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627" indent="-213099" algn="l" defTabSz="685698" rtl="0" eaLnBrk="1" latinLnBrk="0" hangingPunct="1">
        <a:lnSpc>
          <a:spcPct val="90000"/>
        </a:lnSpc>
        <a:spcBef>
          <a:spcPct val="20000"/>
        </a:spcBef>
        <a:buSzPct val="90000"/>
        <a:buFont typeface="Arial" pitchFamily="34" charset="0"/>
        <a:buChar char="•"/>
        <a:tabLst>
          <a:tab pos="472627" algn="l"/>
        </a:tabLst>
        <a:defRPr sz="21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725" indent="-213099" algn="l" defTabSz="685698"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1924" indent="-167860" algn="l" defTabSz="685698" rtl="0" eaLnBrk="1" latinLnBrk="0" hangingPunct="1">
        <a:lnSpc>
          <a:spcPct val="90000"/>
        </a:lnSpc>
        <a:spcBef>
          <a:spcPct val="20000"/>
        </a:spcBef>
        <a:buSzPct val="90000"/>
        <a:buFont typeface="Arial" pitchFamily="34" charset="0"/>
        <a:buChar char="•"/>
        <a:tabLst>
          <a:tab pos="685725"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546" indent="-172622" algn="l" defTabSz="685698"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5671"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19"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69"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218"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8" rtl="0" eaLnBrk="1" latinLnBrk="0" hangingPunct="1">
        <a:defRPr sz="1400" kern="1200">
          <a:solidFill>
            <a:schemeClr val="tx1"/>
          </a:solidFill>
          <a:latin typeface="+mn-lt"/>
          <a:ea typeface="+mn-ea"/>
          <a:cs typeface="+mn-cs"/>
        </a:defRPr>
      </a:lvl1pPr>
      <a:lvl2pPr marL="342849" algn="l" defTabSz="685698" rtl="0" eaLnBrk="1" latinLnBrk="0" hangingPunct="1">
        <a:defRPr sz="1400" kern="1200">
          <a:solidFill>
            <a:schemeClr val="tx1"/>
          </a:solidFill>
          <a:latin typeface="+mn-lt"/>
          <a:ea typeface="+mn-ea"/>
          <a:cs typeface="+mn-cs"/>
        </a:defRPr>
      </a:lvl2pPr>
      <a:lvl3pPr marL="685698" algn="l" defTabSz="685698" rtl="0" eaLnBrk="1" latinLnBrk="0" hangingPunct="1">
        <a:defRPr sz="1400" kern="1200">
          <a:solidFill>
            <a:schemeClr val="tx1"/>
          </a:solidFill>
          <a:latin typeface="+mn-lt"/>
          <a:ea typeface="+mn-ea"/>
          <a:cs typeface="+mn-cs"/>
        </a:defRPr>
      </a:lvl3pPr>
      <a:lvl4pPr marL="1028547" algn="l" defTabSz="685698" rtl="0" eaLnBrk="1" latinLnBrk="0" hangingPunct="1">
        <a:defRPr sz="1400" kern="1200">
          <a:solidFill>
            <a:schemeClr val="tx1"/>
          </a:solidFill>
          <a:latin typeface="+mn-lt"/>
          <a:ea typeface="+mn-ea"/>
          <a:cs typeface="+mn-cs"/>
        </a:defRPr>
      </a:lvl4pPr>
      <a:lvl5pPr marL="1371397" algn="l" defTabSz="685698" rtl="0" eaLnBrk="1" latinLnBrk="0" hangingPunct="1">
        <a:defRPr sz="1400" kern="1200">
          <a:solidFill>
            <a:schemeClr val="tx1"/>
          </a:solidFill>
          <a:latin typeface="+mn-lt"/>
          <a:ea typeface="+mn-ea"/>
          <a:cs typeface="+mn-cs"/>
        </a:defRPr>
      </a:lvl5pPr>
      <a:lvl6pPr marL="1714245" algn="l" defTabSz="685698" rtl="0" eaLnBrk="1" latinLnBrk="0" hangingPunct="1">
        <a:defRPr sz="1400" kern="1200">
          <a:solidFill>
            <a:schemeClr val="tx1"/>
          </a:solidFill>
          <a:latin typeface="+mn-lt"/>
          <a:ea typeface="+mn-ea"/>
          <a:cs typeface="+mn-cs"/>
        </a:defRPr>
      </a:lvl6pPr>
      <a:lvl7pPr marL="2057094" algn="l" defTabSz="685698" rtl="0" eaLnBrk="1" latinLnBrk="0" hangingPunct="1">
        <a:defRPr sz="1400" kern="1200">
          <a:solidFill>
            <a:schemeClr val="tx1"/>
          </a:solidFill>
          <a:latin typeface="+mn-lt"/>
          <a:ea typeface="+mn-ea"/>
          <a:cs typeface="+mn-cs"/>
        </a:defRPr>
      </a:lvl7pPr>
      <a:lvl8pPr marL="2399944" algn="l" defTabSz="685698" rtl="0" eaLnBrk="1" latinLnBrk="0" hangingPunct="1">
        <a:defRPr sz="1400" kern="1200">
          <a:solidFill>
            <a:schemeClr val="tx1"/>
          </a:solidFill>
          <a:latin typeface="+mn-lt"/>
          <a:ea typeface="+mn-ea"/>
          <a:cs typeface="+mn-cs"/>
        </a:defRPr>
      </a:lvl8pPr>
      <a:lvl9pPr marL="2742792" algn="l" defTabSz="685698"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505061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16"/>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2776"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233340982"/>
      </p:ext>
    </p:extLst>
  </p:cSld>
  <p:clrMap bg1="lt1" tx1="dk1" bg2="lt2" tx2="dk2" accent1="accent1" accent2="accent2" accent3="accent3" accent4="accent4" accent5="accent5" accent6="accent6" hlink="hlink" folHlink="folHlink"/>
  <p:sldLayoutIdLst>
    <p:sldLayoutId id="2147484479" r:id="rId1"/>
    <p:sldLayoutId id="2147484480" r:id="rId2"/>
    <p:sldLayoutId id="2147484481" r:id="rId3"/>
    <p:sldLayoutId id="2147484482" r:id="rId4"/>
    <p:sldLayoutId id="2147484483" r:id="rId5"/>
    <p:sldLayoutId id="2147484484" r:id="rId6"/>
    <p:sldLayoutId id="2147484485" r:id="rId7"/>
    <p:sldLayoutId id="2147484486" r:id="rId8"/>
    <p:sldLayoutId id="2147484487" r:id="rId9"/>
    <p:sldLayoutId id="2147484488" r:id="rId10"/>
    <p:sldLayoutId id="2147484489" r:id="rId11"/>
    <p:sldLayoutId id="2147484490" r:id="rId12"/>
    <p:sldLayoutId id="2147484491" r:id="rId13"/>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16"/>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44040"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3911076590"/>
      </p:ext>
    </p:extLst>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 id="2147484503" r:id="rId11"/>
    <p:sldLayoutId id="2147484504" r:id="rId12"/>
    <p:sldLayoutId id="2147484505" r:id="rId13"/>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61786110"/>
      </p:ext>
    </p:extLst>
  </p:cSld>
  <p:clrMap bg1="lt1" tx1="dk1" bg2="lt2" tx2="dk2" accent1="accent1" accent2="accent2" accent3="accent3" accent4="accent4" accent5="accent5" accent6="accent6" hlink="hlink" folHlink="folHlink"/>
  <p:sldLayoutIdLst>
    <p:sldLayoutId id="2147484507" r:id="rId1"/>
    <p:sldLayoutId id="2147484508" r:id="rId2"/>
    <p:sldLayoutId id="2147484509" r:id="rId3"/>
    <p:sldLayoutId id="2147484510" r:id="rId4"/>
    <p:sldLayoutId id="2147484511" r:id="rId5"/>
    <p:sldLayoutId id="2147484512" r:id="rId6"/>
    <p:sldLayoutId id="2147484513" r:id="rId7"/>
    <p:sldLayoutId id="2147484514" r:id="rId8"/>
    <p:sldLayoutId id="2147484515" r:id="rId9"/>
    <p:sldLayoutId id="2147484516" r:id="rId10"/>
    <p:sldLayoutId id="2147484517" r:id="rId11"/>
    <p:sldLayoutId id="2147484518" r:id="rId12"/>
    <p:sldLayoutId id="2147484519" r:id="rId13"/>
    <p:sldLayoutId id="2147484520" r:id="rId14"/>
    <p:sldLayoutId id="2147484521" r:id="rId15"/>
    <p:sldLayoutId id="2147484522" r:id="rId16"/>
    <p:sldLayoutId id="2147484523" r:id="rId17"/>
    <p:sldLayoutId id="2147484524" r:id="rId18"/>
    <p:sldLayoutId id="2147484525" r:id="rId19"/>
    <p:sldLayoutId id="2147484526"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39316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4448"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149363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235348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102403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638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5.xml"/></Relationships>
</file>

<file path=ppt/slides/_rels/slide10.xml.rels><?xml version="1.0" encoding="UTF-8" standalone="yes"?>
<Relationships xmlns="http://schemas.openxmlformats.org/package/2006/relationships"><Relationship Id="rId8" Type="http://schemas.openxmlformats.org/officeDocument/2006/relationships/image" Target="../media/image70.jpe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image" Target="../media/image64.png"/><Relationship Id="rId1" Type="http://schemas.openxmlformats.org/officeDocument/2006/relationships/slideLayout" Target="../slideLayouts/slideLayout119.xml"/><Relationship Id="rId6" Type="http://schemas.openxmlformats.org/officeDocument/2006/relationships/image" Target="../media/image68.png"/><Relationship Id="rId11" Type="http://schemas.openxmlformats.org/officeDocument/2006/relationships/image" Target="../media/image63.png"/><Relationship Id="rId5" Type="http://schemas.openxmlformats.org/officeDocument/2006/relationships/image" Target="../media/image67.jpeg"/><Relationship Id="rId10" Type="http://schemas.openxmlformats.org/officeDocument/2006/relationships/image" Target="../media/image72.jpeg"/><Relationship Id="rId4" Type="http://schemas.openxmlformats.org/officeDocument/2006/relationships/image" Target="../media/image66.jpeg"/><Relationship Id="rId9" Type="http://schemas.openxmlformats.org/officeDocument/2006/relationships/image" Target="../media/image71.jpeg"/></Relationships>
</file>

<file path=ppt/slides/_rels/slide100.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91.xml"/><Relationship Id="rId1" Type="http://schemas.openxmlformats.org/officeDocument/2006/relationships/slideLayout" Target="../slideLayouts/slideLayout798.xml"/></Relationships>
</file>

<file path=ppt/slides/_rels/slide101.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92.xml"/><Relationship Id="rId1" Type="http://schemas.openxmlformats.org/officeDocument/2006/relationships/slideLayout" Target="../slideLayouts/slideLayout793.xml"/></Relationships>
</file>

<file path=ppt/slides/_rels/slide102.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93.xml"/><Relationship Id="rId1" Type="http://schemas.openxmlformats.org/officeDocument/2006/relationships/slideLayout" Target="../slideLayouts/slideLayout804.xml"/></Relationships>
</file>

<file path=ppt/slides/_rels/slide103.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804.xml"/></Relationships>
</file>

<file path=ppt/slides/_rels/slide104.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94.xml"/><Relationship Id="rId1" Type="http://schemas.openxmlformats.org/officeDocument/2006/relationships/slideLayout" Target="../slideLayouts/slideLayout804.xml"/></Relationships>
</file>

<file path=ppt/slides/_rels/slide105.xml.rels><?xml version="1.0" encoding="UTF-8" standalone="yes"?>
<Relationships xmlns="http://schemas.openxmlformats.org/package/2006/relationships"><Relationship Id="rId3" Type="http://schemas.openxmlformats.org/officeDocument/2006/relationships/image" Target="../media/image154.jpg"/><Relationship Id="rId2" Type="http://schemas.openxmlformats.org/officeDocument/2006/relationships/notesSlide" Target="../notesSlides/notesSlide95.xml"/><Relationship Id="rId1" Type="http://schemas.openxmlformats.org/officeDocument/2006/relationships/slideLayout" Target="../slideLayouts/slideLayout804.xml"/></Relationships>
</file>

<file path=ppt/slides/_rels/slide106.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799.xml"/></Relationships>
</file>

<file path=ppt/slides/_rels/slide107.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799.xml"/></Relationships>
</file>

<file path=ppt/slides/_rels/slide108.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Layout" Target="../slideLayouts/slideLayout799.xml"/></Relationships>
</file>

<file path=ppt/slides/_rels/slide109.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Layout" Target="../slideLayouts/slideLayout795.xml"/></Relationships>
</file>

<file path=ppt/slides/_rels/slide1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73.jpeg"/><Relationship Id="rId1" Type="http://schemas.openxmlformats.org/officeDocument/2006/relationships/slideLayout" Target="../slideLayouts/slideLayout101.xml"/><Relationship Id="rId5" Type="http://schemas.openxmlformats.org/officeDocument/2006/relationships/image" Target="../media/image63.png"/><Relationship Id="rId4" Type="http://schemas.openxmlformats.org/officeDocument/2006/relationships/image" Target="../media/image75.jpeg"/></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795.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795.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61.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10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9.xml"/></Relationships>
</file>

<file path=ppt/slides/_rels/slide1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05.xml"/></Relationships>
</file>

<file path=ppt/slides/_rels/slide14.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76.png"/><Relationship Id="rId1" Type="http://schemas.openxmlformats.org/officeDocument/2006/relationships/slideLayout" Target="../slideLayouts/slideLayout105.xml"/><Relationship Id="rId6" Type="http://schemas.openxmlformats.org/officeDocument/2006/relationships/image" Target="../media/image63.png"/><Relationship Id="rId5" Type="http://schemas.microsoft.com/office/2007/relationships/hdphoto" Target="../media/hdphoto13.wdp"/><Relationship Id="rId4" Type="http://schemas.openxmlformats.org/officeDocument/2006/relationships/image" Target="../media/image77.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81.xml"/></Relationships>
</file>

<file path=ppt/slides/_rels/slide16.xml.rels><?xml version="1.0" encoding="UTF-8" standalone="yes"?>
<Relationships xmlns="http://schemas.openxmlformats.org/package/2006/relationships"><Relationship Id="rId8" Type="http://schemas.microsoft.com/office/2007/relationships/hdphoto" Target="../media/hdphoto16.wdp"/><Relationship Id="rId3" Type="http://schemas.openxmlformats.org/officeDocument/2006/relationships/image" Target="../media/image78.png"/><Relationship Id="rId7" Type="http://schemas.openxmlformats.org/officeDocument/2006/relationships/image" Target="../media/image80.png"/><Relationship Id="rId2" Type="http://schemas.openxmlformats.org/officeDocument/2006/relationships/notesSlide" Target="../notesSlides/notesSlide10.xml"/><Relationship Id="rId1" Type="http://schemas.openxmlformats.org/officeDocument/2006/relationships/slideLayout" Target="../slideLayouts/slideLayout824.xml"/><Relationship Id="rId6" Type="http://schemas.microsoft.com/office/2007/relationships/hdphoto" Target="../media/hdphoto15.wdp"/><Relationship Id="rId5" Type="http://schemas.openxmlformats.org/officeDocument/2006/relationships/image" Target="../media/image79.png"/><Relationship Id="rId4" Type="http://schemas.microsoft.com/office/2007/relationships/hdphoto" Target="../media/hdphoto14.wdp"/></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3.xml"/></Relationships>
</file>

<file path=ppt/slides/_rels/slide19.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43.xml"/><Relationship Id="rId7" Type="http://schemas.openxmlformats.org/officeDocument/2006/relationships/oleObject" Target="../embeddings/oleObject24.bin"/><Relationship Id="rId2" Type="http://schemas.openxmlformats.org/officeDocument/2006/relationships/tags" Target="../tags/tag42.xml"/><Relationship Id="rId1" Type="http://schemas.openxmlformats.org/officeDocument/2006/relationships/vmlDrawing" Target="../drawings/vmlDrawing24.vml"/><Relationship Id="rId6" Type="http://schemas.openxmlformats.org/officeDocument/2006/relationships/notesSlide" Target="../notesSlides/notesSlide13.xml"/><Relationship Id="rId5" Type="http://schemas.openxmlformats.org/officeDocument/2006/relationships/slideLayout" Target="../slideLayouts/slideLayout535.xml"/><Relationship Id="rId4" Type="http://schemas.openxmlformats.org/officeDocument/2006/relationships/tags" Target="../tags/tag44.xml"/></Relationships>
</file>

<file path=ppt/slides/_rels/slide2.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6.png"/><Relationship Id="rId2" Type="http://schemas.openxmlformats.org/officeDocument/2006/relationships/notesSlide" Target="../notesSlides/notesSlide2.xml"/><Relationship Id="rId1" Type="http://schemas.openxmlformats.org/officeDocument/2006/relationships/slideLayout" Target="../slideLayouts/slideLayout773.xml"/><Relationship Id="rId6" Type="http://schemas.openxmlformats.org/officeDocument/2006/relationships/image" Target="../media/image45.png"/><Relationship Id="rId5" Type="http://schemas.openxmlformats.org/officeDocument/2006/relationships/image" Target="../media/image44.png"/><Relationship Id="rId4" Type="http://schemas.microsoft.com/office/2007/relationships/hdphoto" Target="../media/hdphoto11.wdp"/></Relationships>
</file>

<file path=ppt/slides/_rels/slide20.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37.emf"/><Relationship Id="rId2" Type="http://schemas.openxmlformats.org/officeDocument/2006/relationships/tags" Target="../tags/tag45.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14.xml"/><Relationship Id="rId4" Type="http://schemas.openxmlformats.org/officeDocument/2006/relationships/slideLayout" Target="../slideLayouts/slideLayout535.xml"/></Relationships>
</file>

<file path=ppt/slides/_rels/slide21.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37.emf"/><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15.xml"/><Relationship Id="rId4" Type="http://schemas.openxmlformats.org/officeDocument/2006/relationships/slideLayout" Target="../slideLayouts/slideLayout534.xml"/></Relationships>
</file>

<file path=ppt/slides/_rels/slide22.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18" Type="http://schemas.openxmlformats.org/officeDocument/2006/relationships/tags" Target="../tags/tag65.xml"/><Relationship Id="rId26" Type="http://schemas.openxmlformats.org/officeDocument/2006/relationships/notesSlide" Target="../notesSlides/notesSlide16.xml"/><Relationship Id="rId3" Type="http://schemas.openxmlformats.org/officeDocument/2006/relationships/tags" Target="../tags/tag50.xml"/><Relationship Id="rId21" Type="http://schemas.openxmlformats.org/officeDocument/2006/relationships/tags" Target="../tags/tag68.xml"/><Relationship Id="rId7" Type="http://schemas.openxmlformats.org/officeDocument/2006/relationships/tags" Target="../tags/tag54.xml"/><Relationship Id="rId12" Type="http://schemas.openxmlformats.org/officeDocument/2006/relationships/tags" Target="../tags/tag59.xml"/><Relationship Id="rId17" Type="http://schemas.openxmlformats.org/officeDocument/2006/relationships/tags" Target="../tags/tag64.xml"/><Relationship Id="rId25" Type="http://schemas.openxmlformats.org/officeDocument/2006/relationships/slideLayout" Target="../slideLayouts/slideLayout535.xml"/><Relationship Id="rId2" Type="http://schemas.openxmlformats.org/officeDocument/2006/relationships/tags" Target="../tags/tag49.xml"/><Relationship Id="rId16" Type="http://schemas.openxmlformats.org/officeDocument/2006/relationships/tags" Target="../tags/tag63.xml"/><Relationship Id="rId20" Type="http://schemas.openxmlformats.org/officeDocument/2006/relationships/tags" Target="../tags/tag67.xml"/><Relationship Id="rId1" Type="http://schemas.openxmlformats.org/officeDocument/2006/relationships/vmlDrawing" Target="../drawings/vmlDrawing27.vml"/><Relationship Id="rId6" Type="http://schemas.openxmlformats.org/officeDocument/2006/relationships/tags" Target="../tags/tag53.xml"/><Relationship Id="rId11" Type="http://schemas.openxmlformats.org/officeDocument/2006/relationships/tags" Target="../tags/tag58.xml"/><Relationship Id="rId24" Type="http://schemas.openxmlformats.org/officeDocument/2006/relationships/tags" Target="../tags/tag71.xml"/><Relationship Id="rId5" Type="http://schemas.openxmlformats.org/officeDocument/2006/relationships/tags" Target="../tags/tag52.xml"/><Relationship Id="rId15" Type="http://schemas.openxmlformats.org/officeDocument/2006/relationships/tags" Target="../tags/tag62.xml"/><Relationship Id="rId23" Type="http://schemas.openxmlformats.org/officeDocument/2006/relationships/tags" Target="../tags/tag70.xml"/><Relationship Id="rId28" Type="http://schemas.openxmlformats.org/officeDocument/2006/relationships/image" Target="../media/image37.emf"/><Relationship Id="rId10" Type="http://schemas.openxmlformats.org/officeDocument/2006/relationships/tags" Target="../tags/tag57.xml"/><Relationship Id="rId19" Type="http://schemas.openxmlformats.org/officeDocument/2006/relationships/tags" Target="../tags/tag66.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tags" Target="../tags/tag61.xml"/><Relationship Id="rId22" Type="http://schemas.openxmlformats.org/officeDocument/2006/relationships/tags" Target="../tags/tag69.xml"/><Relationship Id="rId27" Type="http://schemas.openxmlformats.org/officeDocument/2006/relationships/oleObject" Target="../embeddings/oleObject27.bin"/></Relationships>
</file>

<file path=ppt/slides/_rels/slide23.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73.xml"/><Relationship Id="rId7" Type="http://schemas.openxmlformats.org/officeDocument/2006/relationships/oleObject" Target="../embeddings/oleObject28.bin"/><Relationship Id="rId2" Type="http://schemas.openxmlformats.org/officeDocument/2006/relationships/tags" Target="../tags/tag72.xml"/><Relationship Id="rId1" Type="http://schemas.openxmlformats.org/officeDocument/2006/relationships/vmlDrawing" Target="../drawings/vmlDrawing28.vml"/><Relationship Id="rId6" Type="http://schemas.openxmlformats.org/officeDocument/2006/relationships/notesSlide" Target="../notesSlides/notesSlide17.xml"/><Relationship Id="rId5" Type="http://schemas.openxmlformats.org/officeDocument/2006/relationships/slideLayout" Target="../slideLayouts/slideLayout534.xml"/><Relationship Id="rId4" Type="http://schemas.openxmlformats.org/officeDocument/2006/relationships/tags" Target="../tags/tag74.xml"/></Relationships>
</file>

<file path=ppt/slides/_rels/slide24.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37.emf"/><Relationship Id="rId2" Type="http://schemas.openxmlformats.org/officeDocument/2006/relationships/tags" Target="../tags/tag75.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18.xml"/><Relationship Id="rId4" Type="http://schemas.openxmlformats.org/officeDocument/2006/relationships/slideLayout" Target="../slideLayouts/slideLayout534.xml"/></Relationships>
</file>

<file path=ppt/slides/_rels/slide25.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18" Type="http://schemas.openxmlformats.org/officeDocument/2006/relationships/tags" Target="../tags/tag93.xml"/><Relationship Id="rId3" Type="http://schemas.openxmlformats.org/officeDocument/2006/relationships/tags" Target="../tags/tag78.xml"/><Relationship Id="rId21" Type="http://schemas.openxmlformats.org/officeDocument/2006/relationships/tags" Target="../tags/tag96.xml"/><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tags" Target="../tags/tag92.xml"/><Relationship Id="rId25" Type="http://schemas.openxmlformats.org/officeDocument/2006/relationships/image" Target="../media/image37.emf"/><Relationship Id="rId2" Type="http://schemas.openxmlformats.org/officeDocument/2006/relationships/tags" Target="../tags/tag77.xml"/><Relationship Id="rId16" Type="http://schemas.openxmlformats.org/officeDocument/2006/relationships/tags" Target="../tags/tag91.xml"/><Relationship Id="rId20" Type="http://schemas.openxmlformats.org/officeDocument/2006/relationships/tags" Target="../tags/tag95.xml"/><Relationship Id="rId1" Type="http://schemas.openxmlformats.org/officeDocument/2006/relationships/vmlDrawing" Target="../drawings/vmlDrawing30.vml"/><Relationship Id="rId6" Type="http://schemas.openxmlformats.org/officeDocument/2006/relationships/tags" Target="../tags/tag81.xml"/><Relationship Id="rId11" Type="http://schemas.openxmlformats.org/officeDocument/2006/relationships/tags" Target="../tags/tag86.xml"/><Relationship Id="rId24" Type="http://schemas.openxmlformats.org/officeDocument/2006/relationships/oleObject" Target="../embeddings/oleObject30.bin"/><Relationship Id="rId5" Type="http://schemas.openxmlformats.org/officeDocument/2006/relationships/tags" Target="../tags/tag80.xml"/><Relationship Id="rId15" Type="http://schemas.openxmlformats.org/officeDocument/2006/relationships/tags" Target="../tags/tag90.xml"/><Relationship Id="rId23" Type="http://schemas.openxmlformats.org/officeDocument/2006/relationships/notesSlide" Target="../notesSlides/notesSlide19.xml"/><Relationship Id="rId10" Type="http://schemas.openxmlformats.org/officeDocument/2006/relationships/tags" Target="../tags/tag85.xml"/><Relationship Id="rId19" Type="http://schemas.openxmlformats.org/officeDocument/2006/relationships/tags" Target="../tags/tag94.xml"/><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tags" Target="../tags/tag89.xml"/><Relationship Id="rId22" Type="http://schemas.openxmlformats.org/officeDocument/2006/relationships/slideLayout" Target="../slideLayouts/slideLayout535.xml"/></Relationships>
</file>

<file path=ppt/slides/_rels/slide26.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tags" Target="../tags/tag108.xml"/><Relationship Id="rId18" Type="http://schemas.openxmlformats.org/officeDocument/2006/relationships/slideLayout" Target="../slideLayouts/slideLayout535.xml"/><Relationship Id="rId3" Type="http://schemas.openxmlformats.org/officeDocument/2006/relationships/tags" Target="../tags/tag98.xml"/><Relationship Id="rId21" Type="http://schemas.openxmlformats.org/officeDocument/2006/relationships/image" Target="../media/image37.emf"/><Relationship Id="rId7" Type="http://schemas.openxmlformats.org/officeDocument/2006/relationships/tags" Target="../tags/tag102.xml"/><Relationship Id="rId12" Type="http://schemas.openxmlformats.org/officeDocument/2006/relationships/tags" Target="../tags/tag107.xml"/><Relationship Id="rId17" Type="http://schemas.openxmlformats.org/officeDocument/2006/relationships/tags" Target="../tags/tag112.xml"/><Relationship Id="rId2" Type="http://schemas.openxmlformats.org/officeDocument/2006/relationships/tags" Target="../tags/tag97.xml"/><Relationship Id="rId16" Type="http://schemas.openxmlformats.org/officeDocument/2006/relationships/tags" Target="../tags/tag111.xml"/><Relationship Id="rId20" Type="http://schemas.openxmlformats.org/officeDocument/2006/relationships/oleObject" Target="../embeddings/oleObject31.bin"/><Relationship Id="rId1" Type="http://schemas.openxmlformats.org/officeDocument/2006/relationships/vmlDrawing" Target="../drawings/vmlDrawing31.vml"/><Relationship Id="rId6" Type="http://schemas.openxmlformats.org/officeDocument/2006/relationships/tags" Target="../tags/tag101.xml"/><Relationship Id="rId11" Type="http://schemas.openxmlformats.org/officeDocument/2006/relationships/tags" Target="../tags/tag106.xml"/><Relationship Id="rId5" Type="http://schemas.openxmlformats.org/officeDocument/2006/relationships/tags" Target="../tags/tag100.xml"/><Relationship Id="rId15" Type="http://schemas.openxmlformats.org/officeDocument/2006/relationships/tags" Target="../tags/tag110.xml"/><Relationship Id="rId10" Type="http://schemas.openxmlformats.org/officeDocument/2006/relationships/tags" Target="../tags/tag105.xml"/><Relationship Id="rId19" Type="http://schemas.openxmlformats.org/officeDocument/2006/relationships/notesSlide" Target="../notesSlides/notesSlide20.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tags" Target="../tags/tag10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50.xml"/></Relationships>
</file>

<file path=ppt/slides/_rels/slide28.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114.xml"/><Relationship Id="rId7" Type="http://schemas.openxmlformats.org/officeDocument/2006/relationships/notesSlide" Target="../notesSlides/notesSlide22.xml"/><Relationship Id="rId2" Type="http://schemas.openxmlformats.org/officeDocument/2006/relationships/tags" Target="../tags/tag113.xml"/><Relationship Id="rId1" Type="http://schemas.openxmlformats.org/officeDocument/2006/relationships/vmlDrawing" Target="../drawings/vmlDrawing32.vml"/><Relationship Id="rId6" Type="http://schemas.openxmlformats.org/officeDocument/2006/relationships/slideLayout" Target="../slideLayouts/slideLayout551.xml"/><Relationship Id="rId11" Type="http://schemas.microsoft.com/office/2007/relationships/hdphoto" Target="../media/hdphoto17.wdp"/><Relationship Id="rId5" Type="http://schemas.openxmlformats.org/officeDocument/2006/relationships/tags" Target="../tags/tag116.xml"/><Relationship Id="rId10" Type="http://schemas.openxmlformats.org/officeDocument/2006/relationships/image" Target="../media/image81.png"/><Relationship Id="rId4" Type="http://schemas.openxmlformats.org/officeDocument/2006/relationships/tags" Target="../tags/tag115.xml"/><Relationship Id="rId9" Type="http://schemas.openxmlformats.org/officeDocument/2006/relationships/image" Target="../media/image37.emf"/></Relationships>
</file>

<file path=ppt/slides/_rels/slide29.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118.xml"/><Relationship Id="rId7" Type="http://schemas.openxmlformats.org/officeDocument/2006/relationships/oleObject" Target="../embeddings/oleObject33.bin"/><Relationship Id="rId2" Type="http://schemas.openxmlformats.org/officeDocument/2006/relationships/tags" Target="../tags/tag117.xml"/><Relationship Id="rId1" Type="http://schemas.openxmlformats.org/officeDocument/2006/relationships/vmlDrawing" Target="../drawings/vmlDrawing33.vml"/><Relationship Id="rId6" Type="http://schemas.openxmlformats.org/officeDocument/2006/relationships/notesSlide" Target="../notesSlides/notesSlide23.xml"/><Relationship Id="rId5" Type="http://schemas.openxmlformats.org/officeDocument/2006/relationships/slideLayout" Target="../slideLayouts/slideLayout550.xml"/><Relationship Id="rId4" Type="http://schemas.openxmlformats.org/officeDocument/2006/relationships/tags" Target="../tags/tag1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73.xml"/></Relationships>
</file>

<file path=ppt/slides/_rels/slide30.xml.rels><?xml version="1.0" encoding="UTF-8" standalone="yes"?>
<Relationships xmlns="http://schemas.openxmlformats.org/package/2006/relationships"><Relationship Id="rId8" Type="http://schemas.openxmlformats.org/officeDocument/2006/relationships/tags" Target="../tags/tag126.xml"/><Relationship Id="rId13" Type="http://schemas.openxmlformats.org/officeDocument/2006/relationships/tags" Target="../tags/tag131.xml"/><Relationship Id="rId18" Type="http://schemas.openxmlformats.org/officeDocument/2006/relationships/tags" Target="../tags/tag136.xml"/><Relationship Id="rId3" Type="http://schemas.openxmlformats.org/officeDocument/2006/relationships/tags" Target="../tags/tag121.xml"/><Relationship Id="rId21" Type="http://schemas.openxmlformats.org/officeDocument/2006/relationships/slideLayout" Target="../slideLayouts/slideLayout550.xml"/><Relationship Id="rId7" Type="http://schemas.openxmlformats.org/officeDocument/2006/relationships/tags" Target="../tags/tag125.xml"/><Relationship Id="rId12" Type="http://schemas.openxmlformats.org/officeDocument/2006/relationships/tags" Target="../tags/tag130.xml"/><Relationship Id="rId17" Type="http://schemas.openxmlformats.org/officeDocument/2006/relationships/tags" Target="../tags/tag135.xml"/><Relationship Id="rId2" Type="http://schemas.openxmlformats.org/officeDocument/2006/relationships/tags" Target="../tags/tag120.xml"/><Relationship Id="rId16" Type="http://schemas.openxmlformats.org/officeDocument/2006/relationships/tags" Target="../tags/tag134.xml"/><Relationship Id="rId20" Type="http://schemas.openxmlformats.org/officeDocument/2006/relationships/tags" Target="../tags/tag138.xml"/><Relationship Id="rId1" Type="http://schemas.openxmlformats.org/officeDocument/2006/relationships/vmlDrawing" Target="../drawings/vmlDrawing34.vml"/><Relationship Id="rId6" Type="http://schemas.openxmlformats.org/officeDocument/2006/relationships/tags" Target="../tags/tag124.xml"/><Relationship Id="rId11" Type="http://schemas.openxmlformats.org/officeDocument/2006/relationships/tags" Target="../tags/tag129.xml"/><Relationship Id="rId24" Type="http://schemas.openxmlformats.org/officeDocument/2006/relationships/image" Target="../media/image37.emf"/><Relationship Id="rId5" Type="http://schemas.openxmlformats.org/officeDocument/2006/relationships/tags" Target="../tags/tag123.xml"/><Relationship Id="rId15" Type="http://schemas.openxmlformats.org/officeDocument/2006/relationships/tags" Target="../tags/tag133.xml"/><Relationship Id="rId23" Type="http://schemas.openxmlformats.org/officeDocument/2006/relationships/oleObject" Target="../embeddings/oleObject34.bin"/><Relationship Id="rId10" Type="http://schemas.openxmlformats.org/officeDocument/2006/relationships/tags" Target="../tags/tag128.xml"/><Relationship Id="rId19" Type="http://schemas.openxmlformats.org/officeDocument/2006/relationships/tags" Target="../tags/tag137.xml"/><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tags" Target="../tags/tag132.xml"/><Relationship Id="rId22" Type="http://schemas.openxmlformats.org/officeDocument/2006/relationships/notesSlide" Target="../notesSlides/notesSlide24.xml"/></Relationships>
</file>

<file path=ppt/slides/_rels/slide31.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140.xml"/><Relationship Id="rId7" Type="http://schemas.openxmlformats.org/officeDocument/2006/relationships/oleObject" Target="../embeddings/oleObject35.bin"/><Relationship Id="rId2" Type="http://schemas.openxmlformats.org/officeDocument/2006/relationships/tags" Target="../tags/tag139.xml"/><Relationship Id="rId1" Type="http://schemas.openxmlformats.org/officeDocument/2006/relationships/vmlDrawing" Target="../drawings/vmlDrawing35.vml"/><Relationship Id="rId6" Type="http://schemas.openxmlformats.org/officeDocument/2006/relationships/notesSlide" Target="../notesSlides/notesSlide25.xml"/><Relationship Id="rId5" Type="http://schemas.openxmlformats.org/officeDocument/2006/relationships/slideLayout" Target="../slideLayouts/slideLayout550.xml"/><Relationship Id="rId4" Type="http://schemas.openxmlformats.org/officeDocument/2006/relationships/tags" Target="../tags/tag141.xml"/></Relationships>
</file>

<file path=ppt/slides/_rels/slide32.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143.xml"/><Relationship Id="rId7" Type="http://schemas.openxmlformats.org/officeDocument/2006/relationships/oleObject" Target="../embeddings/oleObject36.bin"/><Relationship Id="rId2" Type="http://schemas.openxmlformats.org/officeDocument/2006/relationships/tags" Target="../tags/tag142.xml"/><Relationship Id="rId1" Type="http://schemas.openxmlformats.org/officeDocument/2006/relationships/vmlDrawing" Target="../drawings/vmlDrawing36.vml"/><Relationship Id="rId6" Type="http://schemas.openxmlformats.org/officeDocument/2006/relationships/notesSlide" Target="../notesSlides/notesSlide26.xml"/><Relationship Id="rId5" Type="http://schemas.openxmlformats.org/officeDocument/2006/relationships/slideLayout" Target="../slideLayouts/slideLayout550.xml"/><Relationship Id="rId4" Type="http://schemas.openxmlformats.org/officeDocument/2006/relationships/tags" Target="../tags/tag144.xml"/></Relationships>
</file>

<file path=ppt/slides/_rels/slide33.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146.xml"/><Relationship Id="rId7" Type="http://schemas.openxmlformats.org/officeDocument/2006/relationships/oleObject" Target="../embeddings/oleObject37.bin"/><Relationship Id="rId2" Type="http://schemas.openxmlformats.org/officeDocument/2006/relationships/tags" Target="../tags/tag145.xml"/><Relationship Id="rId1" Type="http://schemas.openxmlformats.org/officeDocument/2006/relationships/vmlDrawing" Target="../drawings/vmlDrawing37.vml"/><Relationship Id="rId6" Type="http://schemas.openxmlformats.org/officeDocument/2006/relationships/notesSlide" Target="../notesSlides/notesSlide27.xml"/><Relationship Id="rId5" Type="http://schemas.openxmlformats.org/officeDocument/2006/relationships/slideLayout" Target="../slideLayouts/slideLayout550.xml"/><Relationship Id="rId4" Type="http://schemas.openxmlformats.org/officeDocument/2006/relationships/tags" Target="../tags/tag147.xml"/></Relationships>
</file>

<file path=ppt/slides/_rels/slide34.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149.xml"/><Relationship Id="rId7" Type="http://schemas.openxmlformats.org/officeDocument/2006/relationships/oleObject" Target="../embeddings/oleObject38.bin"/><Relationship Id="rId2" Type="http://schemas.openxmlformats.org/officeDocument/2006/relationships/tags" Target="../tags/tag148.xml"/><Relationship Id="rId1" Type="http://schemas.openxmlformats.org/officeDocument/2006/relationships/vmlDrawing" Target="../drawings/vmlDrawing38.vml"/><Relationship Id="rId6" Type="http://schemas.openxmlformats.org/officeDocument/2006/relationships/notesSlide" Target="../notesSlides/notesSlide28.xml"/><Relationship Id="rId5" Type="http://schemas.openxmlformats.org/officeDocument/2006/relationships/slideLayout" Target="../slideLayouts/slideLayout561.xml"/><Relationship Id="rId4" Type="http://schemas.openxmlformats.org/officeDocument/2006/relationships/tags" Target="../tags/tag150.xml"/></Relationships>
</file>

<file path=ppt/slides/_rels/slide35.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152.xml"/><Relationship Id="rId7" Type="http://schemas.openxmlformats.org/officeDocument/2006/relationships/oleObject" Target="../embeddings/oleObject39.bin"/><Relationship Id="rId2" Type="http://schemas.openxmlformats.org/officeDocument/2006/relationships/tags" Target="../tags/tag151.xml"/><Relationship Id="rId1" Type="http://schemas.openxmlformats.org/officeDocument/2006/relationships/vmlDrawing" Target="../drawings/vmlDrawing39.vml"/><Relationship Id="rId6" Type="http://schemas.openxmlformats.org/officeDocument/2006/relationships/notesSlide" Target="../notesSlides/notesSlide29.xml"/><Relationship Id="rId5" Type="http://schemas.openxmlformats.org/officeDocument/2006/relationships/slideLayout" Target="../slideLayouts/slideLayout561.xml"/><Relationship Id="rId4" Type="http://schemas.openxmlformats.org/officeDocument/2006/relationships/tags" Target="../tags/tag153.xml"/><Relationship Id="rId9" Type="http://schemas.openxmlformats.org/officeDocument/2006/relationships/hyperlink" Target="http://schemas.microsoft.com/ServiceHosting/2008/10/ServiceDefinition" TargetMode="External"/></Relationships>
</file>

<file path=ppt/slides/_rels/slide36.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155.xml"/><Relationship Id="rId7" Type="http://schemas.openxmlformats.org/officeDocument/2006/relationships/oleObject" Target="../embeddings/oleObject40.bin"/><Relationship Id="rId2" Type="http://schemas.openxmlformats.org/officeDocument/2006/relationships/tags" Target="../tags/tag154.xml"/><Relationship Id="rId1" Type="http://schemas.openxmlformats.org/officeDocument/2006/relationships/vmlDrawing" Target="../drawings/vmlDrawing40.vml"/><Relationship Id="rId6" Type="http://schemas.openxmlformats.org/officeDocument/2006/relationships/notesSlide" Target="../notesSlides/notesSlide30.xml"/><Relationship Id="rId5" Type="http://schemas.openxmlformats.org/officeDocument/2006/relationships/slideLayout" Target="../slideLayouts/slideLayout561.xml"/><Relationship Id="rId4" Type="http://schemas.openxmlformats.org/officeDocument/2006/relationships/tags" Target="../tags/tag156.xml"/></Relationships>
</file>

<file path=ppt/slides/_rels/slide37.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158.xml"/><Relationship Id="rId7" Type="http://schemas.openxmlformats.org/officeDocument/2006/relationships/oleObject" Target="../embeddings/oleObject41.bin"/><Relationship Id="rId2" Type="http://schemas.openxmlformats.org/officeDocument/2006/relationships/tags" Target="../tags/tag157.xml"/><Relationship Id="rId1" Type="http://schemas.openxmlformats.org/officeDocument/2006/relationships/vmlDrawing" Target="../drawings/vmlDrawing41.vml"/><Relationship Id="rId6" Type="http://schemas.openxmlformats.org/officeDocument/2006/relationships/notesSlide" Target="../notesSlides/notesSlide31.xml"/><Relationship Id="rId5" Type="http://schemas.openxmlformats.org/officeDocument/2006/relationships/slideLayout" Target="../slideLayouts/slideLayout561.xml"/><Relationship Id="rId4" Type="http://schemas.openxmlformats.org/officeDocument/2006/relationships/tags" Target="../tags/tag159.xml"/><Relationship Id="rId9" Type="http://schemas.openxmlformats.org/officeDocument/2006/relationships/hyperlink" Target="http://schemas.microsoft.com/serviceHosting/2008/10ServiceConfiguration" TargetMode="External"/></Relationships>
</file>

<file path=ppt/slides/_rels/slide38.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161.xml"/><Relationship Id="rId7" Type="http://schemas.openxmlformats.org/officeDocument/2006/relationships/oleObject" Target="../embeddings/oleObject42.bin"/><Relationship Id="rId2" Type="http://schemas.openxmlformats.org/officeDocument/2006/relationships/tags" Target="../tags/tag160.xml"/><Relationship Id="rId1" Type="http://schemas.openxmlformats.org/officeDocument/2006/relationships/vmlDrawing" Target="../drawings/vmlDrawing42.vml"/><Relationship Id="rId6" Type="http://schemas.openxmlformats.org/officeDocument/2006/relationships/notesSlide" Target="../notesSlides/notesSlide32.xml"/><Relationship Id="rId5" Type="http://schemas.openxmlformats.org/officeDocument/2006/relationships/slideLayout" Target="../slideLayouts/slideLayout561.xml"/><Relationship Id="rId4" Type="http://schemas.openxmlformats.org/officeDocument/2006/relationships/tags" Target="../tags/tag162.xml"/></Relationships>
</file>

<file path=ppt/slides/_rels/slide39.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164.xml"/><Relationship Id="rId7" Type="http://schemas.openxmlformats.org/officeDocument/2006/relationships/oleObject" Target="../embeddings/oleObject43.bin"/><Relationship Id="rId2" Type="http://schemas.openxmlformats.org/officeDocument/2006/relationships/tags" Target="../tags/tag163.xml"/><Relationship Id="rId1" Type="http://schemas.openxmlformats.org/officeDocument/2006/relationships/vmlDrawing" Target="../drawings/vmlDrawing43.vml"/><Relationship Id="rId6" Type="http://schemas.openxmlformats.org/officeDocument/2006/relationships/notesSlide" Target="../notesSlides/notesSlide33.xml"/><Relationship Id="rId5" Type="http://schemas.openxmlformats.org/officeDocument/2006/relationships/slideLayout" Target="../slideLayouts/slideLayout561.xml"/><Relationship Id="rId4" Type="http://schemas.openxmlformats.org/officeDocument/2006/relationships/tags" Target="../tags/tag16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7.xml"/></Relationships>
</file>

<file path=ppt/slides/_rels/slide40.xml.rels><?xml version="1.0" encoding="UTF-8" standalone="yes"?>
<Relationships xmlns="http://schemas.openxmlformats.org/package/2006/relationships"><Relationship Id="rId3" Type="http://schemas.openxmlformats.org/officeDocument/2006/relationships/tags" Target="../tags/tag167.xml"/><Relationship Id="rId7" Type="http://schemas.openxmlformats.org/officeDocument/2006/relationships/image" Target="../media/image37.emf"/><Relationship Id="rId2" Type="http://schemas.openxmlformats.org/officeDocument/2006/relationships/tags" Target="../tags/tag166.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notesSlide" Target="../notesSlides/notesSlide34.xml"/><Relationship Id="rId4" Type="http://schemas.openxmlformats.org/officeDocument/2006/relationships/slideLayout" Target="../slideLayouts/slideLayout567.xml"/></Relationships>
</file>

<file path=ppt/slides/_rels/slide41.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169.xml"/><Relationship Id="rId7" Type="http://schemas.openxmlformats.org/officeDocument/2006/relationships/oleObject" Target="../embeddings/oleObject45.bin"/><Relationship Id="rId2" Type="http://schemas.openxmlformats.org/officeDocument/2006/relationships/tags" Target="../tags/tag168.xml"/><Relationship Id="rId1" Type="http://schemas.openxmlformats.org/officeDocument/2006/relationships/vmlDrawing" Target="../drawings/vmlDrawing45.vml"/><Relationship Id="rId6" Type="http://schemas.openxmlformats.org/officeDocument/2006/relationships/notesSlide" Target="../notesSlides/notesSlide35.xml"/><Relationship Id="rId5" Type="http://schemas.openxmlformats.org/officeDocument/2006/relationships/slideLayout" Target="../slideLayouts/slideLayout567.xml"/><Relationship Id="rId4" Type="http://schemas.openxmlformats.org/officeDocument/2006/relationships/tags" Target="../tags/tag170.xml"/></Relationships>
</file>

<file path=ppt/slides/_rels/slide42.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172.xml"/><Relationship Id="rId7" Type="http://schemas.openxmlformats.org/officeDocument/2006/relationships/oleObject" Target="../embeddings/oleObject46.bin"/><Relationship Id="rId2" Type="http://schemas.openxmlformats.org/officeDocument/2006/relationships/tags" Target="../tags/tag171.xml"/><Relationship Id="rId1" Type="http://schemas.openxmlformats.org/officeDocument/2006/relationships/vmlDrawing" Target="../drawings/vmlDrawing46.vml"/><Relationship Id="rId6" Type="http://schemas.openxmlformats.org/officeDocument/2006/relationships/notesSlide" Target="../notesSlides/notesSlide36.xml"/><Relationship Id="rId5" Type="http://schemas.openxmlformats.org/officeDocument/2006/relationships/slideLayout" Target="../slideLayouts/slideLayout567.xml"/><Relationship Id="rId4" Type="http://schemas.openxmlformats.org/officeDocument/2006/relationships/tags" Target="../tags/tag173.xml"/></Relationships>
</file>

<file path=ppt/slides/_rels/slide43.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175.xml"/><Relationship Id="rId7" Type="http://schemas.openxmlformats.org/officeDocument/2006/relationships/oleObject" Target="../embeddings/oleObject47.bin"/><Relationship Id="rId2" Type="http://schemas.openxmlformats.org/officeDocument/2006/relationships/tags" Target="../tags/tag174.xml"/><Relationship Id="rId1" Type="http://schemas.openxmlformats.org/officeDocument/2006/relationships/vmlDrawing" Target="../drawings/vmlDrawing47.vml"/><Relationship Id="rId6" Type="http://schemas.openxmlformats.org/officeDocument/2006/relationships/notesSlide" Target="../notesSlides/notesSlide37.xml"/><Relationship Id="rId5" Type="http://schemas.openxmlformats.org/officeDocument/2006/relationships/slideLayout" Target="../slideLayouts/slideLayout567.xml"/><Relationship Id="rId4" Type="http://schemas.openxmlformats.org/officeDocument/2006/relationships/tags" Target="../tags/tag176.xml"/></Relationships>
</file>

<file path=ppt/slides/_rels/slide44.xml.rels><?xml version="1.0" encoding="UTF-8" standalone="yes"?>
<Relationships xmlns="http://schemas.openxmlformats.org/package/2006/relationships"><Relationship Id="rId8" Type="http://schemas.openxmlformats.org/officeDocument/2006/relationships/slideLayout" Target="../slideLayouts/slideLayout568.xml"/><Relationship Id="rId3" Type="http://schemas.openxmlformats.org/officeDocument/2006/relationships/tags" Target="../tags/tag178.xml"/><Relationship Id="rId7" Type="http://schemas.openxmlformats.org/officeDocument/2006/relationships/tags" Target="../tags/tag182.xml"/><Relationship Id="rId2" Type="http://schemas.openxmlformats.org/officeDocument/2006/relationships/tags" Target="../tags/tag177.xml"/><Relationship Id="rId1" Type="http://schemas.openxmlformats.org/officeDocument/2006/relationships/vmlDrawing" Target="../drawings/vmlDrawing48.vml"/><Relationship Id="rId6" Type="http://schemas.openxmlformats.org/officeDocument/2006/relationships/tags" Target="../tags/tag181.xml"/><Relationship Id="rId11" Type="http://schemas.openxmlformats.org/officeDocument/2006/relationships/image" Target="../media/image37.emf"/><Relationship Id="rId5" Type="http://schemas.openxmlformats.org/officeDocument/2006/relationships/tags" Target="../tags/tag180.xml"/><Relationship Id="rId10" Type="http://schemas.openxmlformats.org/officeDocument/2006/relationships/oleObject" Target="../embeddings/oleObject48.bin"/><Relationship Id="rId4" Type="http://schemas.openxmlformats.org/officeDocument/2006/relationships/tags" Target="../tags/tag179.xml"/><Relationship Id="rId9" Type="http://schemas.openxmlformats.org/officeDocument/2006/relationships/notesSlide" Target="../notesSlides/notesSlide38.xml"/></Relationships>
</file>

<file path=ppt/slides/_rels/slide45.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184.xml"/><Relationship Id="rId7" Type="http://schemas.openxmlformats.org/officeDocument/2006/relationships/oleObject" Target="../embeddings/oleObject49.bin"/><Relationship Id="rId2" Type="http://schemas.openxmlformats.org/officeDocument/2006/relationships/tags" Target="../tags/tag183.xml"/><Relationship Id="rId1" Type="http://schemas.openxmlformats.org/officeDocument/2006/relationships/vmlDrawing" Target="../drawings/vmlDrawing49.vml"/><Relationship Id="rId6" Type="http://schemas.openxmlformats.org/officeDocument/2006/relationships/notesSlide" Target="../notesSlides/notesSlide39.xml"/><Relationship Id="rId5" Type="http://schemas.openxmlformats.org/officeDocument/2006/relationships/slideLayout" Target="../slideLayouts/slideLayout567.xml"/><Relationship Id="rId4" Type="http://schemas.openxmlformats.org/officeDocument/2006/relationships/tags" Target="../tags/tag185.xml"/></Relationships>
</file>

<file path=ppt/slides/_rels/slide46.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187.xml"/><Relationship Id="rId7" Type="http://schemas.openxmlformats.org/officeDocument/2006/relationships/oleObject" Target="../embeddings/oleObject50.bin"/><Relationship Id="rId2" Type="http://schemas.openxmlformats.org/officeDocument/2006/relationships/tags" Target="../tags/tag186.xml"/><Relationship Id="rId1" Type="http://schemas.openxmlformats.org/officeDocument/2006/relationships/vmlDrawing" Target="../drawings/vmlDrawing50.vml"/><Relationship Id="rId6" Type="http://schemas.openxmlformats.org/officeDocument/2006/relationships/notesSlide" Target="../notesSlides/notesSlide40.xml"/><Relationship Id="rId5" Type="http://schemas.openxmlformats.org/officeDocument/2006/relationships/slideLayout" Target="../slideLayouts/slideLayout567.xml"/><Relationship Id="rId4" Type="http://schemas.openxmlformats.org/officeDocument/2006/relationships/tags" Target="../tags/tag188.xml"/></Relationships>
</file>

<file path=ppt/slides/_rels/slide47.xml.rels><?xml version="1.0" encoding="UTF-8" standalone="yes"?>
<Relationships xmlns="http://schemas.openxmlformats.org/package/2006/relationships"><Relationship Id="rId8" Type="http://schemas.openxmlformats.org/officeDocument/2006/relationships/tags" Target="../tags/tag195.xml"/><Relationship Id="rId13" Type="http://schemas.openxmlformats.org/officeDocument/2006/relationships/tags" Target="../tags/tag200.xml"/><Relationship Id="rId18" Type="http://schemas.openxmlformats.org/officeDocument/2006/relationships/tags" Target="../tags/tag205.xml"/><Relationship Id="rId3" Type="http://schemas.openxmlformats.org/officeDocument/2006/relationships/tags" Target="../tags/tag190.xml"/><Relationship Id="rId21" Type="http://schemas.openxmlformats.org/officeDocument/2006/relationships/tags" Target="../tags/tag208.xml"/><Relationship Id="rId7" Type="http://schemas.openxmlformats.org/officeDocument/2006/relationships/tags" Target="../tags/tag194.xml"/><Relationship Id="rId12" Type="http://schemas.openxmlformats.org/officeDocument/2006/relationships/tags" Target="../tags/tag199.xml"/><Relationship Id="rId17" Type="http://schemas.openxmlformats.org/officeDocument/2006/relationships/tags" Target="../tags/tag204.xml"/><Relationship Id="rId25" Type="http://schemas.openxmlformats.org/officeDocument/2006/relationships/image" Target="../media/image37.emf"/><Relationship Id="rId2" Type="http://schemas.openxmlformats.org/officeDocument/2006/relationships/tags" Target="../tags/tag189.xml"/><Relationship Id="rId16" Type="http://schemas.openxmlformats.org/officeDocument/2006/relationships/tags" Target="../tags/tag203.xml"/><Relationship Id="rId20" Type="http://schemas.openxmlformats.org/officeDocument/2006/relationships/tags" Target="../tags/tag207.xml"/><Relationship Id="rId1" Type="http://schemas.openxmlformats.org/officeDocument/2006/relationships/vmlDrawing" Target="../drawings/vmlDrawing51.vml"/><Relationship Id="rId6" Type="http://schemas.openxmlformats.org/officeDocument/2006/relationships/tags" Target="../tags/tag193.xml"/><Relationship Id="rId11" Type="http://schemas.openxmlformats.org/officeDocument/2006/relationships/tags" Target="../tags/tag198.xml"/><Relationship Id="rId24" Type="http://schemas.openxmlformats.org/officeDocument/2006/relationships/oleObject" Target="../embeddings/oleObject51.bin"/><Relationship Id="rId5" Type="http://schemas.openxmlformats.org/officeDocument/2006/relationships/tags" Target="../tags/tag192.xml"/><Relationship Id="rId15" Type="http://schemas.openxmlformats.org/officeDocument/2006/relationships/tags" Target="../tags/tag202.xml"/><Relationship Id="rId23" Type="http://schemas.openxmlformats.org/officeDocument/2006/relationships/notesSlide" Target="../notesSlides/notesSlide41.xml"/><Relationship Id="rId10" Type="http://schemas.openxmlformats.org/officeDocument/2006/relationships/tags" Target="../tags/tag197.xml"/><Relationship Id="rId19" Type="http://schemas.openxmlformats.org/officeDocument/2006/relationships/tags" Target="../tags/tag206.xml"/><Relationship Id="rId4" Type="http://schemas.openxmlformats.org/officeDocument/2006/relationships/tags" Target="../tags/tag191.xml"/><Relationship Id="rId9" Type="http://schemas.openxmlformats.org/officeDocument/2006/relationships/tags" Target="../tags/tag196.xml"/><Relationship Id="rId14" Type="http://schemas.openxmlformats.org/officeDocument/2006/relationships/tags" Target="../tags/tag201.xml"/><Relationship Id="rId22" Type="http://schemas.openxmlformats.org/officeDocument/2006/relationships/slideLayout" Target="../slideLayouts/slideLayout56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67.xml"/></Relationships>
</file>

<file path=ppt/slides/_rels/slide49.xml.rels><?xml version="1.0" encoding="UTF-8" standalone="yes"?>
<Relationships xmlns="http://schemas.openxmlformats.org/package/2006/relationships"><Relationship Id="rId13" Type="http://schemas.openxmlformats.org/officeDocument/2006/relationships/tags" Target="../tags/tag220.xml"/><Relationship Id="rId18" Type="http://schemas.openxmlformats.org/officeDocument/2006/relationships/tags" Target="../tags/tag225.xml"/><Relationship Id="rId26" Type="http://schemas.openxmlformats.org/officeDocument/2006/relationships/tags" Target="../tags/tag233.xml"/><Relationship Id="rId39" Type="http://schemas.microsoft.com/office/2007/relationships/hdphoto" Target="../media/hdphoto18.wdp"/><Relationship Id="rId21" Type="http://schemas.openxmlformats.org/officeDocument/2006/relationships/tags" Target="../tags/tag228.xml"/><Relationship Id="rId34" Type="http://schemas.openxmlformats.org/officeDocument/2006/relationships/slideLayout" Target="../slideLayouts/slideLayout584.xml"/><Relationship Id="rId7" Type="http://schemas.openxmlformats.org/officeDocument/2006/relationships/tags" Target="../tags/tag214.xml"/><Relationship Id="rId12" Type="http://schemas.openxmlformats.org/officeDocument/2006/relationships/tags" Target="../tags/tag219.xml"/><Relationship Id="rId17" Type="http://schemas.openxmlformats.org/officeDocument/2006/relationships/tags" Target="../tags/tag224.xml"/><Relationship Id="rId25" Type="http://schemas.openxmlformats.org/officeDocument/2006/relationships/tags" Target="../tags/tag232.xml"/><Relationship Id="rId33" Type="http://schemas.openxmlformats.org/officeDocument/2006/relationships/tags" Target="../tags/tag240.xml"/><Relationship Id="rId38" Type="http://schemas.openxmlformats.org/officeDocument/2006/relationships/image" Target="../media/image82.png"/><Relationship Id="rId2" Type="http://schemas.openxmlformats.org/officeDocument/2006/relationships/tags" Target="../tags/tag209.xml"/><Relationship Id="rId16" Type="http://schemas.openxmlformats.org/officeDocument/2006/relationships/tags" Target="../tags/tag223.xml"/><Relationship Id="rId20" Type="http://schemas.openxmlformats.org/officeDocument/2006/relationships/tags" Target="../tags/tag227.xml"/><Relationship Id="rId29" Type="http://schemas.openxmlformats.org/officeDocument/2006/relationships/tags" Target="../tags/tag236.xml"/><Relationship Id="rId1" Type="http://schemas.openxmlformats.org/officeDocument/2006/relationships/vmlDrawing" Target="../drawings/vmlDrawing52.vml"/><Relationship Id="rId6" Type="http://schemas.openxmlformats.org/officeDocument/2006/relationships/tags" Target="../tags/tag213.xml"/><Relationship Id="rId11" Type="http://schemas.openxmlformats.org/officeDocument/2006/relationships/tags" Target="../tags/tag218.xml"/><Relationship Id="rId24" Type="http://schemas.openxmlformats.org/officeDocument/2006/relationships/tags" Target="../tags/tag231.xml"/><Relationship Id="rId32" Type="http://schemas.openxmlformats.org/officeDocument/2006/relationships/tags" Target="../tags/tag239.xml"/><Relationship Id="rId37" Type="http://schemas.openxmlformats.org/officeDocument/2006/relationships/image" Target="../media/image37.emf"/><Relationship Id="rId5" Type="http://schemas.openxmlformats.org/officeDocument/2006/relationships/tags" Target="../tags/tag212.xml"/><Relationship Id="rId15" Type="http://schemas.openxmlformats.org/officeDocument/2006/relationships/tags" Target="../tags/tag222.xml"/><Relationship Id="rId23" Type="http://schemas.openxmlformats.org/officeDocument/2006/relationships/tags" Target="../tags/tag230.xml"/><Relationship Id="rId28" Type="http://schemas.openxmlformats.org/officeDocument/2006/relationships/tags" Target="../tags/tag235.xml"/><Relationship Id="rId36" Type="http://schemas.openxmlformats.org/officeDocument/2006/relationships/oleObject" Target="../embeddings/oleObject52.bin"/><Relationship Id="rId10" Type="http://schemas.openxmlformats.org/officeDocument/2006/relationships/tags" Target="../tags/tag217.xml"/><Relationship Id="rId19" Type="http://schemas.openxmlformats.org/officeDocument/2006/relationships/tags" Target="../tags/tag226.xml"/><Relationship Id="rId31" Type="http://schemas.openxmlformats.org/officeDocument/2006/relationships/tags" Target="../tags/tag238.xml"/><Relationship Id="rId4" Type="http://schemas.openxmlformats.org/officeDocument/2006/relationships/tags" Target="../tags/tag211.xml"/><Relationship Id="rId9" Type="http://schemas.openxmlformats.org/officeDocument/2006/relationships/tags" Target="../tags/tag216.xml"/><Relationship Id="rId14" Type="http://schemas.openxmlformats.org/officeDocument/2006/relationships/tags" Target="../tags/tag221.xml"/><Relationship Id="rId22" Type="http://schemas.openxmlformats.org/officeDocument/2006/relationships/tags" Target="../tags/tag229.xml"/><Relationship Id="rId27" Type="http://schemas.openxmlformats.org/officeDocument/2006/relationships/tags" Target="../tags/tag234.xml"/><Relationship Id="rId30" Type="http://schemas.openxmlformats.org/officeDocument/2006/relationships/tags" Target="../tags/tag237.xml"/><Relationship Id="rId35" Type="http://schemas.openxmlformats.org/officeDocument/2006/relationships/notesSlide" Target="../notesSlides/notesSlide43.xml"/><Relationship Id="rId8" Type="http://schemas.openxmlformats.org/officeDocument/2006/relationships/tags" Target="../tags/tag215.xml"/><Relationship Id="rId3" Type="http://schemas.openxmlformats.org/officeDocument/2006/relationships/tags" Target="../tags/tag210.xml"/></Relationships>
</file>

<file path=ppt/slides/_rels/slide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xml"/><Relationship Id="rId1" Type="http://schemas.openxmlformats.org/officeDocument/2006/relationships/slideLayout" Target="../slideLayouts/slideLayout759.xml"/><Relationship Id="rId5" Type="http://schemas.openxmlformats.org/officeDocument/2006/relationships/image" Target="../media/image49.png"/><Relationship Id="rId4" Type="http://schemas.openxmlformats.org/officeDocument/2006/relationships/image" Target="../media/image48.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1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58.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85.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81.xml"/></Relationships>
</file>

<file path=ppt/slides/_rels/slide5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9.xml"/><Relationship Id="rId1" Type="http://schemas.openxmlformats.org/officeDocument/2006/relationships/slideLayout" Target="../slideLayouts/slideLayout407.xml"/></Relationships>
</file>

<file path=ppt/slides/_rels/slide5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50.xml"/><Relationship Id="rId1" Type="http://schemas.openxmlformats.org/officeDocument/2006/relationships/slideLayout" Target="../slideLayouts/slideLayout410.xml"/><Relationship Id="rId4" Type="http://schemas.openxmlformats.org/officeDocument/2006/relationships/image" Target="../media/image85.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2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41.xml"/></Relationships>
</file>

<file path=ppt/slides/_rels/slide5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53.xml"/><Relationship Id="rId1" Type="http://schemas.openxmlformats.org/officeDocument/2006/relationships/slideLayout" Target="../slideLayouts/slideLayout437.xml"/></Relationships>
</file>

<file path=ppt/slides/_rels/slide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5.xml"/><Relationship Id="rId1" Type="http://schemas.openxmlformats.org/officeDocument/2006/relationships/slideLayout" Target="../slideLayouts/slideLayout119.xml"/><Relationship Id="rId5" Type="http://schemas.openxmlformats.org/officeDocument/2006/relationships/image" Target="../media/image52.png"/><Relationship Id="rId4" Type="http://schemas.openxmlformats.org/officeDocument/2006/relationships/image" Target="../media/image51.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464.xml"/></Relationships>
</file>

<file path=ppt/slides/_rels/slide6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55.xml"/><Relationship Id="rId1" Type="http://schemas.openxmlformats.org/officeDocument/2006/relationships/slideLayout" Target="../slideLayouts/slideLayout478.xml"/><Relationship Id="rId5" Type="http://schemas.openxmlformats.org/officeDocument/2006/relationships/image" Target="../media/image89.png"/><Relationship Id="rId4" Type="http://schemas.openxmlformats.org/officeDocument/2006/relationships/image" Target="../media/image88.pn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501.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501.xml"/></Relationships>
</file>

<file path=ppt/slides/_rels/slide64.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515.xml"/></Relationships>
</file>

<file path=ppt/slides/_rels/slide6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8.xml"/><Relationship Id="rId1" Type="http://schemas.openxmlformats.org/officeDocument/2006/relationships/slideLayout" Target="../slideLayouts/slideLayout258.xml"/><Relationship Id="rId4" Type="http://schemas.microsoft.com/office/2007/relationships/hdphoto" Target="../media/hdphoto19.wdp"/></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61.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13.xml"/></Relationships>
</file>

<file path=ppt/slides/_rels/slide6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61.xml"/><Relationship Id="rId1" Type="http://schemas.openxmlformats.org/officeDocument/2006/relationships/slideLayout" Target="../slideLayouts/slideLayout258.xml"/><Relationship Id="rId4" Type="http://schemas.microsoft.com/office/2007/relationships/hdphoto" Target="../media/hdphoto20.wdp"/></Relationships>
</file>

<file path=ppt/slides/_rels/slide6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62.xml"/><Relationship Id="rId1" Type="http://schemas.openxmlformats.org/officeDocument/2006/relationships/slideLayout" Target="../slideLayouts/slideLayout290.xml"/></Relationships>
</file>

<file path=ppt/slides/_rels/slide7.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6.xml"/><Relationship Id="rId1" Type="http://schemas.openxmlformats.org/officeDocument/2006/relationships/slideLayout" Target="../slideLayouts/slideLayout119.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7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63.xml"/><Relationship Id="rId1" Type="http://schemas.openxmlformats.org/officeDocument/2006/relationships/slideLayout" Target="../slideLayouts/slideLayout295.xml"/></Relationships>
</file>

<file path=ppt/slides/_rels/slide7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64.xml"/><Relationship Id="rId1" Type="http://schemas.openxmlformats.org/officeDocument/2006/relationships/slideLayout" Target="../slideLayouts/slideLayout290.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13.xml"/></Relationships>
</file>

<file path=ppt/slides/_rels/slide73.xml.rels><?xml version="1.0" encoding="UTF-8" standalone="yes"?>
<Relationships xmlns="http://schemas.openxmlformats.org/package/2006/relationships"><Relationship Id="rId8" Type="http://schemas.openxmlformats.org/officeDocument/2006/relationships/slideLayout" Target="../slideLayouts/slideLayout633.xml"/><Relationship Id="rId3" Type="http://schemas.openxmlformats.org/officeDocument/2006/relationships/tags" Target="../tags/tag243.xml"/><Relationship Id="rId7" Type="http://schemas.openxmlformats.org/officeDocument/2006/relationships/tags" Target="../tags/tag247.xml"/><Relationship Id="rId12" Type="http://schemas.openxmlformats.org/officeDocument/2006/relationships/image" Target="../media/image96.png"/><Relationship Id="rId2" Type="http://schemas.openxmlformats.org/officeDocument/2006/relationships/tags" Target="../tags/tag242.xml"/><Relationship Id="rId1" Type="http://schemas.openxmlformats.org/officeDocument/2006/relationships/tags" Target="../tags/tag241.xml"/><Relationship Id="rId6" Type="http://schemas.openxmlformats.org/officeDocument/2006/relationships/tags" Target="../tags/tag246.xml"/><Relationship Id="rId11" Type="http://schemas.openxmlformats.org/officeDocument/2006/relationships/image" Target="../media/image95.png"/><Relationship Id="rId5" Type="http://schemas.openxmlformats.org/officeDocument/2006/relationships/tags" Target="../tags/tag245.xml"/><Relationship Id="rId10" Type="http://schemas.openxmlformats.org/officeDocument/2006/relationships/image" Target="../media/image94.png"/><Relationship Id="rId4" Type="http://schemas.openxmlformats.org/officeDocument/2006/relationships/tags" Target="../tags/tag244.xml"/><Relationship Id="rId9" Type="http://schemas.openxmlformats.org/officeDocument/2006/relationships/notesSlide" Target="../notesSlides/notesSlide66.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655.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670.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693.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734.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736.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61.xml"/></Relationships>
</file>

<file path=ppt/slides/_rels/slide8.xml.rels><?xml version="1.0" encoding="UTF-8" standalone="yes"?>
<Relationships xmlns="http://schemas.openxmlformats.org/package/2006/relationships"><Relationship Id="rId3" Type="http://schemas.openxmlformats.org/officeDocument/2006/relationships/image" Target="../media/image59.gif"/><Relationship Id="rId7" Type="http://schemas.openxmlformats.org/officeDocument/2006/relationships/image" Target="../media/image63.png"/><Relationship Id="rId2" Type="http://schemas.openxmlformats.org/officeDocument/2006/relationships/image" Target="../media/image58.png"/><Relationship Id="rId1" Type="http://schemas.openxmlformats.org/officeDocument/2006/relationships/slideLayout" Target="../slideLayouts/slideLayout105.xml"/><Relationship Id="rId6" Type="http://schemas.openxmlformats.org/officeDocument/2006/relationships/image" Target="../media/image62.png"/><Relationship Id="rId5" Type="http://schemas.openxmlformats.org/officeDocument/2006/relationships/image" Target="../media/image61.jpeg"/><Relationship Id="rId4" Type="http://schemas.openxmlformats.org/officeDocument/2006/relationships/image" Target="../media/image60.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13.xml"/></Relationships>
</file>

<file path=ppt/slides/_rels/slide81.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74.xml"/><Relationship Id="rId1" Type="http://schemas.openxmlformats.org/officeDocument/2006/relationships/slideLayout" Target="../slideLayouts/slideLayout322.xml"/><Relationship Id="rId4" Type="http://schemas.microsoft.com/office/2007/relationships/hdphoto" Target="../media/hdphoto21.wdp"/></Relationships>
</file>

<file path=ppt/slides/_rels/slide82.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75.xml"/><Relationship Id="rId1" Type="http://schemas.openxmlformats.org/officeDocument/2006/relationships/slideLayout" Target="../slideLayouts/slideLayout612.xml"/><Relationship Id="rId5" Type="http://schemas.openxmlformats.org/officeDocument/2006/relationships/image" Target="../media/image100.png"/><Relationship Id="rId4" Type="http://schemas.openxmlformats.org/officeDocument/2006/relationships/image" Target="../media/image99.png"/></Relationships>
</file>

<file path=ppt/slides/_rels/slide8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76.xml"/><Relationship Id="rId1" Type="http://schemas.openxmlformats.org/officeDocument/2006/relationships/slideLayout" Target="../slideLayouts/slideLayout618.xml"/><Relationship Id="rId4" Type="http://schemas.openxmlformats.org/officeDocument/2006/relationships/image" Target="../media/image102.png"/></Relationships>
</file>

<file path=ppt/slides/_rels/slide84.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103.png"/><Relationship Id="rId7" Type="http://schemas.openxmlformats.org/officeDocument/2006/relationships/image" Target="../media/image106.png"/><Relationship Id="rId2" Type="http://schemas.openxmlformats.org/officeDocument/2006/relationships/notesSlide" Target="../notesSlides/notesSlide77.xml"/><Relationship Id="rId1" Type="http://schemas.openxmlformats.org/officeDocument/2006/relationships/slideLayout" Target="../slideLayouts/slideLayout618.xml"/><Relationship Id="rId6" Type="http://schemas.openxmlformats.org/officeDocument/2006/relationships/image" Target="../media/image105.png"/><Relationship Id="rId5" Type="http://schemas.openxmlformats.org/officeDocument/2006/relationships/image" Target="../media/image99.png"/><Relationship Id="rId4" Type="http://schemas.openxmlformats.org/officeDocument/2006/relationships/image" Target="../media/image104.png"/></Relationships>
</file>

<file path=ppt/slides/_rels/slide85.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7.png"/><Relationship Id="rId18" Type="http://schemas.microsoft.com/office/2007/relationships/hdphoto" Target="../media/hdphoto23.wdp"/><Relationship Id="rId3" Type="http://schemas.openxmlformats.org/officeDocument/2006/relationships/image" Target="../media/image108.png"/><Relationship Id="rId7" Type="http://schemas.openxmlformats.org/officeDocument/2006/relationships/image" Target="../media/image112.png"/><Relationship Id="rId12" Type="http://schemas.openxmlformats.org/officeDocument/2006/relationships/image" Target="../media/image116.png"/><Relationship Id="rId17" Type="http://schemas.openxmlformats.org/officeDocument/2006/relationships/image" Target="../media/image120.png"/><Relationship Id="rId2" Type="http://schemas.openxmlformats.org/officeDocument/2006/relationships/notesSlide" Target="../notesSlides/notesSlide78.xml"/><Relationship Id="rId16" Type="http://schemas.openxmlformats.org/officeDocument/2006/relationships/image" Target="../media/image107.png"/><Relationship Id="rId1" Type="http://schemas.openxmlformats.org/officeDocument/2006/relationships/slideLayout" Target="../slideLayouts/slideLayout618.xml"/><Relationship Id="rId6" Type="http://schemas.openxmlformats.org/officeDocument/2006/relationships/image" Target="../media/image111.png"/><Relationship Id="rId11" Type="http://schemas.microsoft.com/office/2007/relationships/hdphoto" Target="../media/hdphoto22.wdp"/><Relationship Id="rId5" Type="http://schemas.openxmlformats.org/officeDocument/2006/relationships/image" Target="../media/image110.png"/><Relationship Id="rId15" Type="http://schemas.openxmlformats.org/officeDocument/2006/relationships/image" Target="../media/image119.png"/><Relationship Id="rId10" Type="http://schemas.openxmlformats.org/officeDocument/2006/relationships/image" Target="../media/image115.png"/><Relationship Id="rId19" Type="http://schemas.openxmlformats.org/officeDocument/2006/relationships/image" Target="../media/image121.png"/><Relationship Id="rId4" Type="http://schemas.openxmlformats.org/officeDocument/2006/relationships/image" Target="../media/image109.png"/><Relationship Id="rId9" Type="http://schemas.openxmlformats.org/officeDocument/2006/relationships/image" Target="../media/image114.png"/><Relationship Id="rId14" Type="http://schemas.openxmlformats.org/officeDocument/2006/relationships/image" Target="../media/image118.png"/></Relationships>
</file>

<file path=ppt/slides/_rels/slide86.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9.xml"/><Relationship Id="rId1" Type="http://schemas.openxmlformats.org/officeDocument/2006/relationships/slideLayout" Target="../slideLayouts/slideLayout322.xml"/><Relationship Id="rId4" Type="http://schemas.microsoft.com/office/2007/relationships/hdphoto" Target="../media/hdphoto24.wdp"/></Relationships>
</file>

<file path=ppt/slides/_rels/slide87.xml.rels><?xml version="1.0" encoding="UTF-8" standalone="yes"?>
<Relationships xmlns="http://schemas.openxmlformats.org/package/2006/relationships"><Relationship Id="rId8" Type="http://schemas.microsoft.com/office/2007/relationships/hdphoto" Target="../media/hdphoto27.wdp"/><Relationship Id="rId3" Type="http://schemas.openxmlformats.org/officeDocument/2006/relationships/image" Target="../media/image123.png"/><Relationship Id="rId7" Type="http://schemas.openxmlformats.org/officeDocument/2006/relationships/image" Target="../media/image125.png"/><Relationship Id="rId12" Type="http://schemas.openxmlformats.org/officeDocument/2006/relationships/image" Target="../media/image128.png"/><Relationship Id="rId2" Type="http://schemas.openxmlformats.org/officeDocument/2006/relationships/notesSlide" Target="../notesSlides/notesSlide80.xml"/><Relationship Id="rId1" Type="http://schemas.openxmlformats.org/officeDocument/2006/relationships/slideLayout" Target="../slideLayouts/slideLayout326.xml"/><Relationship Id="rId6" Type="http://schemas.microsoft.com/office/2007/relationships/hdphoto" Target="../media/hdphoto26.wdp"/><Relationship Id="rId11" Type="http://schemas.microsoft.com/office/2007/relationships/hdphoto" Target="../media/hdphoto28.wdp"/><Relationship Id="rId5" Type="http://schemas.openxmlformats.org/officeDocument/2006/relationships/image" Target="../media/image124.png"/><Relationship Id="rId10" Type="http://schemas.openxmlformats.org/officeDocument/2006/relationships/image" Target="../media/image127.png"/><Relationship Id="rId4" Type="http://schemas.microsoft.com/office/2007/relationships/hdphoto" Target="../media/hdphoto25.wdp"/><Relationship Id="rId9" Type="http://schemas.openxmlformats.org/officeDocument/2006/relationships/image" Target="../media/image126.png"/></Relationships>
</file>

<file path=ppt/slides/_rels/slide88.xml.rels><?xml version="1.0" encoding="UTF-8" standalone="yes"?>
<Relationships xmlns="http://schemas.openxmlformats.org/package/2006/relationships"><Relationship Id="rId8" Type="http://schemas.openxmlformats.org/officeDocument/2006/relationships/image" Target="../media/image133.png"/><Relationship Id="rId3" Type="http://schemas.openxmlformats.org/officeDocument/2006/relationships/image" Target="../media/image129.png"/><Relationship Id="rId7" Type="http://schemas.openxmlformats.org/officeDocument/2006/relationships/image" Target="../media/image132.png"/><Relationship Id="rId12" Type="http://schemas.openxmlformats.org/officeDocument/2006/relationships/image" Target="../media/image137.png"/><Relationship Id="rId2" Type="http://schemas.openxmlformats.org/officeDocument/2006/relationships/notesSlide" Target="../notesSlides/notesSlide81.xml"/><Relationship Id="rId1" Type="http://schemas.openxmlformats.org/officeDocument/2006/relationships/slideLayout" Target="../slideLayouts/slideLayout358.xml"/><Relationship Id="rId6" Type="http://schemas.openxmlformats.org/officeDocument/2006/relationships/image" Target="../media/image131.png"/><Relationship Id="rId11" Type="http://schemas.openxmlformats.org/officeDocument/2006/relationships/image" Target="../media/image136.png"/><Relationship Id="rId5" Type="http://schemas.openxmlformats.org/officeDocument/2006/relationships/image" Target="../media/image96.png"/><Relationship Id="rId10" Type="http://schemas.openxmlformats.org/officeDocument/2006/relationships/image" Target="../media/image135.png"/><Relationship Id="rId4" Type="http://schemas.openxmlformats.org/officeDocument/2006/relationships/image" Target="../media/image130.png"/><Relationship Id="rId9" Type="http://schemas.openxmlformats.org/officeDocument/2006/relationships/image" Target="../media/image134.png"/></Relationships>
</file>

<file path=ppt/slides/_rels/slide89.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82.xml"/><Relationship Id="rId1" Type="http://schemas.openxmlformats.org/officeDocument/2006/relationships/slideLayout" Target="../slideLayouts/slideLayout354.xml"/><Relationship Id="rId4" Type="http://schemas.microsoft.com/office/2007/relationships/hdphoto" Target="../media/hdphoto29.wdp"/></Relationships>
</file>

<file path=ppt/slides/_rels/slide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7.xml"/><Relationship Id="rId1" Type="http://schemas.openxmlformats.org/officeDocument/2006/relationships/slideLayout" Target="../slideLayouts/slideLayout105.xml"/></Relationships>
</file>

<file path=ppt/slides/_rels/slide9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9.png"/><Relationship Id="rId1" Type="http://schemas.openxmlformats.org/officeDocument/2006/relationships/slideLayout" Target="../slideLayouts/slideLayout363.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345.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61.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61.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61.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61.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7.xml.rels><?xml version="1.0" encoding="UTF-8" standalone="yes"?>
<Relationships xmlns="http://schemas.openxmlformats.org/package/2006/relationships"><Relationship Id="rId3" Type="http://schemas.openxmlformats.org/officeDocument/2006/relationships/image" Target="../media/image140.jpg"/><Relationship Id="rId2" Type="http://schemas.openxmlformats.org/officeDocument/2006/relationships/notesSlide" Target="../notesSlides/notesSlide88.xml"/><Relationship Id="rId1" Type="http://schemas.openxmlformats.org/officeDocument/2006/relationships/slideLayout" Target="../slideLayouts/slideLayout798.xml"/><Relationship Id="rId6" Type="http://schemas.openxmlformats.org/officeDocument/2006/relationships/image" Target="../media/image141.png"/><Relationship Id="rId5" Type="http://schemas.openxmlformats.org/officeDocument/2006/relationships/hyperlink" Target="http://weatherservice.cloudapp.net/" TargetMode="External"/><Relationship Id="rId4" Type="http://schemas.openxmlformats.org/officeDocument/2006/relationships/hyperlink" Target="http://aka.ms/oljnt2"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142.png"/><Relationship Id="rId7" Type="http://schemas.openxmlformats.org/officeDocument/2006/relationships/hyperlink" Target="http://weatherservice.cloudapp.net/" TargetMode="External"/><Relationship Id="rId2" Type="http://schemas.openxmlformats.org/officeDocument/2006/relationships/notesSlide" Target="../notesSlides/notesSlide89.xml"/><Relationship Id="rId1" Type="http://schemas.openxmlformats.org/officeDocument/2006/relationships/slideLayout" Target="../slideLayouts/slideLayout793.xml"/><Relationship Id="rId6" Type="http://schemas.openxmlformats.org/officeDocument/2006/relationships/image" Target="../media/image145.png"/><Relationship Id="rId5" Type="http://schemas.openxmlformats.org/officeDocument/2006/relationships/image" Target="../media/image144.png"/><Relationship Id="rId4" Type="http://schemas.openxmlformats.org/officeDocument/2006/relationships/image" Target="../media/image143.png"/></Relationships>
</file>

<file path=ppt/slides/_rels/slide99.xml.rels><?xml version="1.0" encoding="UTF-8" standalone="yes"?>
<Relationships xmlns="http://schemas.openxmlformats.org/package/2006/relationships"><Relationship Id="rId8" Type="http://schemas.openxmlformats.org/officeDocument/2006/relationships/tags" Target="../tags/tag254.xml"/><Relationship Id="rId13" Type="http://schemas.openxmlformats.org/officeDocument/2006/relationships/slideLayout" Target="../slideLayouts/slideLayout797.xml"/><Relationship Id="rId18" Type="http://schemas.openxmlformats.org/officeDocument/2006/relationships/image" Target="../media/image147.emf"/><Relationship Id="rId3" Type="http://schemas.openxmlformats.org/officeDocument/2006/relationships/tags" Target="../tags/tag249.xml"/><Relationship Id="rId7" Type="http://schemas.openxmlformats.org/officeDocument/2006/relationships/tags" Target="../tags/tag253.xml"/><Relationship Id="rId12" Type="http://schemas.openxmlformats.org/officeDocument/2006/relationships/tags" Target="../tags/tag258.xml"/><Relationship Id="rId17" Type="http://schemas.openxmlformats.org/officeDocument/2006/relationships/image" Target="../media/image146.png"/><Relationship Id="rId2" Type="http://schemas.openxmlformats.org/officeDocument/2006/relationships/tags" Target="../tags/tag248.xml"/><Relationship Id="rId16" Type="http://schemas.openxmlformats.org/officeDocument/2006/relationships/image" Target="../media/image37.emf"/><Relationship Id="rId1" Type="http://schemas.openxmlformats.org/officeDocument/2006/relationships/vmlDrawing" Target="../drawings/vmlDrawing53.vml"/><Relationship Id="rId6" Type="http://schemas.openxmlformats.org/officeDocument/2006/relationships/tags" Target="../tags/tag252.xml"/><Relationship Id="rId11" Type="http://schemas.openxmlformats.org/officeDocument/2006/relationships/tags" Target="../tags/tag257.xml"/><Relationship Id="rId5" Type="http://schemas.openxmlformats.org/officeDocument/2006/relationships/tags" Target="../tags/tag251.xml"/><Relationship Id="rId15" Type="http://schemas.openxmlformats.org/officeDocument/2006/relationships/oleObject" Target="../embeddings/oleObject53.bin"/><Relationship Id="rId10" Type="http://schemas.openxmlformats.org/officeDocument/2006/relationships/tags" Target="../tags/tag256.xml"/><Relationship Id="rId19" Type="http://schemas.openxmlformats.org/officeDocument/2006/relationships/image" Target="../media/image148.png"/><Relationship Id="rId4" Type="http://schemas.openxmlformats.org/officeDocument/2006/relationships/tags" Target="../tags/tag250.xml"/><Relationship Id="rId9" Type="http://schemas.openxmlformats.org/officeDocument/2006/relationships/tags" Target="../tags/tag255.xml"/><Relationship Id="rId14" Type="http://schemas.openxmlformats.org/officeDocument/2006/relationships/notesSlide" Target="../notesSlides/notesSlide9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Overview of Windows Azure Services</a:t>
            </a:r>
            <a:endParaRPr lang="en-US" dirty="0"/>
          </a:p>
        </p:txBody>
      </p:sp>
      <p:sp>
        <p:nvSpPr>
          <p:cNvPr id="6" name="Text Placeholder 5"/>
          <p:cNvSpPr>
            <a:spLocks noGrp="1"/>
          </p:cNvSpPr>
          <p:nvPr>
            <p:ph type="body" sz="quarter" idx="11"/>
          </p:nvPr>
        </p:nvSpPr>
        <p:spPr>
          <a:xfrm>
            <a:off x="520702" y="4612342"/>
            <a:ext cx="5454333" cy="1144929"/>
          </a:xfrm>
        </p:spPr>
        <p:txBody>
          <a:bodyPr/>
          <a:lstStyle/>
          <a:p>
            <a:r>
              <a:rPr lang="en-US" dirty="0" smtClean="0"/>
              <a:t>Richard Conway</a:t>
            </a:r>
            <a:endParaRPr lang="en-US" dirty="0"/>
          </a:p>
          <a:p>
            <a:r>
              <a:rPr lang="en-US" dirty="0" smtClean="0"/>
              <a:t>Windows Azure MVP</a:t>
            </a:r>
            <a:endParaRPr lang="en-US" dirty="0"/>
          </a:p>
          <a:p>
            <a:r>
              <a:rPr lang="en-US" dirty="0" err="1" smtClean="0"/>
              <a:t>Elastacloud</a:t>
            </a:r>
            <a:r>
              <a:rPr lang="en-US" dirty="0" smtClean="0"/>
              <a:t> Limited</a:t>
            </a:r>
            <a:endParaRPr lang="en-US" dirty="0"/>
          </a:p>
        </p:txBody>
      </p:sp>
    </p:spTree>
    <p:extLst>
      <p:ext uri="{BB962C8B-B14F-4D97-AF65-F5344CB8AC3E}">
        <p14:creationId xmlns:p14="http://schemas.microsoft.com/office/powerpoint/2010/main" val="3505338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p:cNvGrpSpPr>
            <a:grpSpLocks noChangeAspect="1"/>
          </p:cNvGrpSpPr>
          <p:nvPr/>
        </p:nvGrpSpPr>
        <p:grpSpPr>
          <a:xfrm>
            <a:off x="1524000" y="2932850"/>
            <a:ext cx="9144000" cy="3848950"/>
            <a:chOff x="0" y="1031644"/>
            <a:chExt cx="12188825" cy="5331092"/>
          </a:xfrm>
          <a:effectLst>
            <a:outerShdw blurRad="50800" dist="50800" dir="5400000" algn="ctr" rotWithShape="0">
              <a:srgbClr val="000000">
                <a:alpha val="31000"/>
              </a:srgbClr>
            </a:outerShdw>
          </a:effectLst>
        </p:grpSpPr>
        <p:pic>
          <p:nvPicPr>
            <p:cNvPr id="34" name="FIBER OPTICS" descr="fiber-optics-cables.png"/>
            <p:cNvPicPr>
              <a:picLocks noChangeAspect="1"/>
            </p:cNvPicPr>
            <p:nvPr/>
          </p:nvPicPr>
          <p:blipFill>
            <a:blip r:embed="rId2" cstate="email">
              <a:lum bright="6000" contrast="22000"/>
              <a:extLst>
                <a:ext uri="{28A0092B-C50C-407E-A947-70E740481C1C}">
                  <a14:useLocalDpi xmlns:a14="http://schemas.microsoft.com/office/drawing/2010/main" val="0"/>
                </a:ext>
              </a:extLst>
            </a:blip>
            <a:stretch>
              <a:fillRect/>
            </a:stretch>
          </p:blipFill>
          <p:spPr>
            <a:xfrm>
              <a:off x="0" y="1052979"/>
              <a:ext cx="12188825" cy="5309757"/>
            </a:xfrm>
            <a:prstGeom prst="rect">
              <a:avLst/>
            </a:prstGeom>
          </p:spPr>
        </p:pic>
        <p:pic>
          <p:nvPicPr>
            <p:cNvPr id="35" name="World map" descr="world-map.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8744" y="1031644"/>
              <a:ext cx="12171337" cy="5302139"/>
            </a:xfrm>
            <a:prstGeom prst="rect">
              <a:avLst/>
            </a:prstGeom>
          </p:spPr>
        </p:pic>
      </p:grpSp>
      <p:sp>
        <p:nvSpPr>
          <p:cNvPr id="4" name="Title 3"/>
          <p:cNvSpPr>
            <a:spLocks noGrp="1"/>
          </p:cNvSpPr>
          <p:nvPr>
            <p:ph type="title"/>
          </p:nvPr>
        </p:nvSpPr>
        <p:spPr>
          <a:xfrm>
            <a:off x="1752600" y="184666"/>
            <a:ext cx="8229600" cy="639762"/>
          </a:xfrm>
        </p:spPr>
        <p:txBody>
          <a:bodyPr>
            <a:noAutofit/>
          </a:bodyPr>
          <a:lstStyle/>
          <a:p>
            <a:r>
              <a:rPr lang="en-US" sz="4800" dirty="0">
                <a:solidFill>
                  <a:schemeClr val="tx1"/>
                </a:solidFill>
                <a:cs typeface="Segoe UI Light" panose="020B0502040204020203" pitchFamily="34" charset="0"/>
              </a:rPr>
              <a:t>The Microsoft Cloud</a:t>
            </a:r>
          </a:p>
        </p:txBody>
      </p:sp>
      <p:sp>
        <p:nvSpPr>
          <p:cNvPr id="5" name="Content Placeholder 4"/>
          <p:cNvSpPr>
            <a:spLocks noGrp="1"/>
          </p:cNvSpPr>
          <p:nvPr>
            <p:ph idx="1"/>
          </p:nvPr>
        </p:nvSpPr>
        <p:spPr>
          <a:xfrm>
            <a:off x="1914031" y="867144"/>
            <a:ext cx="8363938" cy="5000307"/>
          </a:xfrm>
        </p:spPr>
        <p:txBody>
          <a:bodyPr>
            <a:normAutofit/>
          </a:bodyPr>
          <a:lstStyle/>
          <a:p>
            <a:pPr marL="0" indent="0">
              <a:buNone/>
            </a:pPr>
            <a:r>
              <a:rPr lang="en-US" sz="2400" dirty="0">
                <a:solidFill>
                  <a:schemeClr val="tx1"/>
                </a:solidFill>
                <a:latin typeface="Segoe UI Light" panose="020B0502040204020203" pitchFamily="34" charset="0"/>
                <a:cs typeface="Segoe UI Light" panose="020B0502040204020203" pitchFamily="34" charset="0"/>
              </a:rPr>
              <a:t>~100 Globally Distributed Data Centers</a:t>
            </a:r>
          </a:p>
        </p:txBody>
      </p:sp>
      <p:pic>
        <p:nvPicPr>
          <p:cNvPr id="28" name="Picture 27" descr="Quincy DC Aerial shot.jp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828800" y="1635815"/>
            <a:ext cx="2032264" cy="914401"/>
          </a:xfrm>
          <a:prstGeom prst="roundRect">
            <a:avLst>
              <a:gd name="adj" fmla="val 8594"/>
            </a:avLst>
          </a:prstGeom>
          <a:solidFill>
            <a:srgbClr val="FFFFFF">
              <a:shade val="85000"/>
            </a:srgbClr>
          </a:solidFill>
          <a:ln>
            <a:noFill/>
          </a:ln>
          <a:effectLst/>
        </p:spPr>
      </p:pic>
      <p:pic>
        <p:nvPicPr>
          <p:cNvPr id="1033" name="Picture 9" descr="E:\Documents\Microsoft\Products\GFS\Chicago DC Photos\Chicago dc1.jpg"/>
          <p:cNvPicPr>
            <a:picLocks noChangeAspect="1" noChangeArrowheads="1"/>
          </p:cNvPicPr>
          <p:nvPr/>
        </p:nvPicPr>
        <p:blipFill rotWithShape="1">
          <a:blip r:embed="rId5" cstate="email">
            <a:extLst>
              <a:ext uri="{28A0092B-C50C-407E-A947-70E740481C1C}">
                <a14:useLocalDpi xmlns:a14="http://schemas.microsoft.com/office/drawing/2010/main" val="0"/>
              </a:ext>
            </a:extLst>
          </a:blip>
          <a:srcRect/>
          <a:stretch/>
        </p:blipFill>
        <p:spPr bwMode="auto">
          <a:xfrm>
            <a:off x="3962426" y="1635810"/>
            <a:ext cx="1585455" cy="914400"/>
          </a:xfrm>
          <a:prstGeom prst="roundRect">
            <a:avLst>
              <a:gd name="adj" fmla="val 8594"/>
            </a:avLst>
          </a:prstGeom>
          <a:solidFill>
            <a:srgbClr val="FFFFFF">
              <a:shade val="85000"/>
            </a:srgbClr>
          </a:solidFill>
          <a:ln>
            <a:noFill/>
          </a:ln>
          <a:effectLst/>
          <a:extLst/>
        </p:spPr>
      </p:pic>
      <p:pic>
        <p:nvPicPr>
          <p:cNvPr id="36" name="Picture 2" descr="C:\Users\alexbrad\Documents\Logos\DVD_ART34\Artwork_Imagery\Icons - Illustrations\_XML ICONS\Servers computer.pn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5736287" y="3794347"/>
            <a:ext cx="280945" cy="414416"/>
          </a:xfrm>
          <a:prstGeom prst="rect">
            <a:avLst/>
          </a:prstGeom>
          <a:noFill/>
          <a:effectLst>
            <a:glow rad="101600">
              <a:schemeClr val="accent5">
                <a:satMod val="175000"/>
                <a:alpha val="40000"/>
              </a:schemeClr>
            </a:glow>
          </a:effectLst>
        </p:spPr>
      </p:pic>
      <p:pic>
        <p:nvPicPr>
          <p:cNvPr id="37" name="Picture 2" descr="C:\Users\alexbrad\Documents\Logos\DVD_ART34\Artwork_Imagery\Icons - Illustrations\_XML ICONS\Servers computer.pn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2991376" y="4008392"/>
            <a:ext cx="280945" cy="414416"/>
          </a:xfrm>
          <a:prstGeom prst="rect">
            <a:avLst/>
          </a:prstGeom>
          <a:noFill/>
          <a:effectLst>
            <a:glow rad="101600">
              <a:schemeClr val="accent5">
                <a:satMod val="175000"/>
                <a:alpha val="40000"/>
              </a:schemeClr>
            </a:glow>
          </a:effectLst>
        </p:spPr>
      </p:pic>
      <p:pic>
        <p:nvPicPr>
          <p:cNvPr id="38" name="Picture 2" descr="C:\Users\alexbrad\Documents\Logos\DVD_ART34\Artwork_Imagery\Icons - Illustrations\_XML ICONS\Servers computer.pn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3554742" y="4356001"/>
            <a:ext cx="280945" cy="414416"/>
          </a:xfrm>
          <a:prstGeom prst="rect">
            <a:avLst/>
          </a:prstGeom>
          <a:noFill/>
          <a:effectLst>
            <a:glow rad="101600">
              <a:schemeClr val="accent5">
                <a:satMod val="175000"/>
                <a:alpha val="40000"/>
              </a:schemeClr>
            </a:glow>
          </a:effectLst>
        </p:spPr>
      </p:pic>
      <p:pic>
        <p:nvPicPr>
          <p:cNvPr id="39" name="Picture 2" descr="C:\Users\alexbrad\Documents\Logos\DVD_ART34\Artwork_Imagery\Icons - Illustrations\_XML ICONS\Servers computer.pn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4005092" y="4117983"/>
            <a:ext cx="280945" cy="414416"/>
          </a:xfrm>
          <a:prstGeom prst="rect">
            <a:avLst/>
          </a:prstGeom>
          <a:noFill/>
          <a:effectLst>
            <a:glow rad="101600">
              <a:schemeClr val="accent5">
                <a:satMod val="175000"/>
                <a:alpha val="40000"/>
              </a:schemeClr>
            </a:glow>
          </a:effectLst>
        </p:spPr>
      </p:pic>
      <p:pic>
        <p:nvPicPr>
          <p:cNvPr id="40" name="Picture 2" descr="C:\Users\alexbrad\Documents\Logos\DVD_ART34\Artwork_Imagery\Icons - Illustrations\_XML ICONS\Servers computer.pn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6019803" y="3886200"/>
            <a:ext cx="280945" cy="414416"/>
          </a:xfrm>
          <a:prstGeom prst="rect">
            <a:avLst/>
          </a:prstGeom>
          <a:noFill/>
          <a:effectLst>
            <a:glow rad="101600">
              <a:schemeClr val="accent5">
                <a:satMod val="175000"/>
                <a:alpha val="40000"/>
              </a:schemeClr>
            </a:glow>
          </a:effectLst>
        </p:spPr>
      </p:pic>
      <p:pic>
        <p:nvPicPr>
          <p:cNvPr id="41" name="Picture 2" descr="C:\Users\alexbrad\Documents\Logos\DVD_ART34\Artwork_Imagery\Icons - Illustrations\_XML ICONS\Servers computer.pn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8354099" y="5086694"/>
            <a:ext cx="280945" cy="414416"/>
          </a:xfrm>
          <a:prstGeom prst="rect">
            <a:avLst/>
          </a:prstGeom>
          <a:noFill/>
          <a:effectLst>
            <a:glow rad="139700">
              <a:schemeClr val="accent5">
                <a:satMod val="175000"/>
                <a:alpha val="40000"/>
              </a:schemeClr>
            </a:glow>
          </a:effectLst>
        </p:spPr>
      </p:pic>
      <p:pic>
        <p:nvPicPr>
          <p:cNvPr id="42" name="Picture 2" descr="C:\Users\alexbrad\Documents\Logos\DVD_ART34\Artwork_Imagery\Icons - Illustrations\_XML ICONS\Servers computer.pn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3681456" y="3886200"/>
            <a:ext cx="280945" cy="414416"/>
          </a:xfrm>
          <a:prstGeom prst="rect">
            <a:avLst/>
          </a:prstGeom>
          <a:noFill/>
          <a:effectLst>
            <a:glow rad="101600">
              <a:schemeClr val="accent5">
                <a:satMod val="175000"/>
                <a:alpha val="40000"/>
              </a:schemeClr>
            </a:glow>
          </a:effectLst>
        </p:spPr>
      </p:pic>
      <p:sp>
        <p:nvSpPr>
          <p:cNvPr id="22" name="TextBox 21"/>
          <p:cNvSpPr txBox="1"/>
          <p:nvPr/>
        </p:nvSpPr>
        <p:spPr>
          <a:xfrm>
            <a:off x="1831487" y="2542452"/>
            <a:ext cx="1049198" cy="307777"/>
          </a:xfrm>
          <a:prstGeom prst="rect">
            <a:avLst/>
          </a:prstGeom>
          <a:noFill/>
        </p:spPr>
        <p:txBody>
          <a:bodyPr wrap="none" rtlCol="0">
            <a:spAutoFit/>
          </a:bodyPr>
          <a:lstStyle/>
          <a:p>
            <a:r>
              <a:rPr lang="en-US" sz="1400" dirty="0">
                <a:latin typeface="Segoe UI Light" pitchFamily="34" charset="0"/>
                <a:cs typeface="Calibri" pitchFamily="34" charset="0"/>
              </a:rPr>
              <a:t>Quincy, WA</a:t>
            </a:r>
          </a:p>
        </p:txBody>
      </p:sp>
      <p:sp>
        <p:nvSpPr>
          <p:cNvPr id="45" name="TextBox 44"/>
          <p:cNvSpPr txBox="1"/>
          <p:nvPr/>
        </p:nvSpPr>
        <p:spPr>
          <a:xfrm>
            <a:off x="4003865" y="2542452"/>
            <a:ext cx="1013419" cy="307777"/>
          </a:xfrm>
          <a:prstGeom prst="rect">
            <a:avLst/>
          </a:prstGeom>
          <a:noFill/>
        </p:spPr>
        <p:txBody>
          <a:bodyPr wrap="none" rtlCol="0">
            <a:spAutoFit/>
          </a:bodyPr>
          <a:lstStyle/>
          <a:p>
            <a:r>
              <a:rPr lang="en-US" sz="1400" dirty="0">
                <a:latin typeface="Segoe UI Light" pitchFamily="34" charset="0"/>
                <a:cs typeface="Calibri" pitchFamily="34" charset="0"/>
              </a:rPr>
              <a:t>Chicago, IL</a:t>
            </a:r>
          </a:p>
        </p:txBody>
      </p:sp>
      <p:sp>
        <p:nvSpPr>
          <p:cNvPr id="46" name="TextBox 45"/>
          <p:cNvSpPr txBox="1"/>
          <p:nvPr/>
        </p:nvSpPr>
        <p:spPr>
          <a:xfrm>
            <a:off x="5641487" y="2542452"/>
            <a:ext cx="1386213" cy="307777"/>
          </a:xfrm>
          <a:prstGeom prst="rect">
            <a:avLst/>
          </a:prstGeom>
          <a:noFill/>
        </p:spPr>
        <p:txBody>
          <a:bodyPr wrap="none" rtlCol="0">
            <a:spAutoFit/>
          </a:bodyPr>
          <a:lstStyle/>
          <a:p>
            <a:r>
              <a:rPr lang="en-US" sz="1400" dirty="0">
                <a:latin typeface="Segoe UI Light" pitchFamily="34" charset="0"/>
                <a:cs typeface="Calibri" pitchFamily="34" charset="0"/>
              </a:rPr>
              <a:t>San Antonio, TX</a:t>
            </a:r>
          </a:p>
        </p:txBody>
      </p:sp>
      <p:sp>
        <p:nvSpPr>
          <p:cNvPr id="47" name="TextBox 46"/>
          <p:cNvSpPr txBox="1"/>
          <p:nvPr/>
        </p:nvSpPr>
        <p:spPr>
          <a:xfrm>
            <a:off x="7351465" y="2542452"/>
            <a:ext cx="1272721" cy="307777"/>
          </a:xfrm>
          <a:prstGeom prst="rect">
            <a:avLst/>
          </a:prstGeom>
          <a:noFill/>
        </p:spPr>
        <p:txBody>
          <a:bodyPr wrap="none" rtlCol="0">
            <a:spAutoFit/>
          </a:bodyPr>
          <a:lstStyle/>
          <a:p>
            <a:r>
              <a:rPr lang="en-US" sz="1400" dirty="0">
                <a:latin typeface="Segoe UI Light" pitchFamily="34" charset="0"/>
                <a:cs typeface="Calibri" pitchFamily="34" charset="0"/>
              </a:rPr>
              <a:t>Dublin, Ireland</a:t>
            </a:r>
          </a:p>
        </p:txBody>
      </p:sp>
      <p:pic>
        <p:nvPicPr>
          <p:cNvPr id="48" name="Picture 2" descr="C:\Users\alexbrad\Documents\Logos\DVD_ART34\Artwork_Imagery\Icons - Illustrations\_XML ICONS\Servers computer.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3838420" y="4389120"/>
            <a:ext cx="123980" cy="182880"/>
          </a:xfrm>
          <a:prstGeom prst="rect">
            <a:avLst/>
          </a:prstGeom>
          <a:noFill/>
          <a:effectLst/>
        </p:spPr>
      </p:pic>
      <p:pic>
        <p:nvPicPr>
          <p:cNvPr id="49" name="Picture 2" descr="C:\Users\alexbrad\Documents\Logos\DVD_ART34\Artwork_Imagery\Icons - Illustrations\_XML ICONS\Servers computer.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3076420" y="4419600"/>
            <a:ext cx="123980" cy="182880"/>
          </a:xfrm>
          <a:prstGeom prst="rect">
            <a:avLst/>
          </a:prstGeom>
          <a:noFill/>
          <a:effectLst/>
        </p:spPr>
      </p:pic>
      <p:pic>
        <p:nvPicPr>
          <p:cNvPr id="50" name="Picture 2" descr="C:\Users\alexbrad\Documents\Logos\DVD_ART34\Artwork_Imagery\Icons - Illustrations\_XML ICONS\Servers computer.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3429000" y="3962400"/>
            <a:ext cx="123980" cy="182880"/>
          </a:xfrm>
          <a:prstGeom prst="rect">
            <a:avLst/>
          </a:prstGeom>
          <a:noFill/>
          <a:effectLst/>
        </p:spPr>
      </p:pic>
      <p:pic>
        <p:nvPicPr>
          <p:cNvPr id="51" name="Picture 2" descr="C:\Users\alexbrad\Documents\Logos\DVD_ART34\Artwork_Imagery\Icons - Illustrations\_XML ICONS\Servers computer.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4800600" y="5562600"/>
            <a:ext cx="123980" cy="182880"/>
          </a:xfrm>
          <a:prstGeom prst="rect">
            <a:avLst/>
          </a:prstGeom>
          <a:noFill/>
          <a:effectLst/>
        </p:spPr>
      </p:pic>
      <p:pic>
        <p:nvPicPr>
          <p:cNvPr id="52" name="Picture 2" descr="C:\Users\alexbrad\Documents\Logos\DVD_ART34\Artwork_Imagery\Icons - Illustrations\_XML ICONS\Servers computer.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4267200" y="6019800"/>
            <a:ext cx="123980" cy="182880"/>
          </a:xfrm>
          <a:prstGeom prst="rect">
            <a:avLst/>
          </a:prstGeom>
          <a:noFill/>
          <a:effectLst/>
        </p:spPr>
      </p:pic>
      <p:pic>
        <p:nvPicPr>
          <p:cNvPr id="53" name="Picture 2" descr="C:\Users\alexbrad\Documents\Logos\DVD_ART34\Artwork_Imagery\Icons - Illustrations\_XML ICONS\Servers computer.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3962400" y="4572000"/>
            <a:ext cx="123980" cy="182880"/>
          </a:xfrm>
          <a:prstGeom prst="rect">
            <a:avLst/>
          </a:prstGeom>
          <a:noFill/>
          <a:effectLst/>
        </p:spPr>
      </p:pic>
      <p:pic>
        <p:nvPicPr>
          <p:cNvPr id="54" name="Picture 2" descr="C:\Users\alexbrad\Documents\Logos\DVD_ART34\Artwork_Imagery\Icons - Illustrations\_XML ICONS\Servers computer.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6248400" y="4191000"/>
            <a:ext cx="123980" cy="182880"/>
          </a:xfrm>
          <a:prstGeom prst="rect">
            <a:avLst/>
          </a:prstGeom>
          <a:noFill/>
          <a:effectLst/>
        </p:spPr>
      </p:pic>
      <p:pic>
        <p:nvPicPr>
          <p:cNvPr id="55" name="Picture 2" descr="C:\Users\alexbrad\Documents\Logos\DVD_ART34\Artwork_Imagery\Icons - Illustrations\_XML ICONS\Servers computer.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5867400" y="4191000"/>
            <a:ext cx="123980" cy="182880"/>
          </a:xfrm>
          <a:prstGeom prst="rect">
            <a:avLst/>
          </a:prstGeom>
          <a:noFill/>
          <a:effectLst/>
        </p:spPr>
      </p:pic>
      <p:pic>
        <p:nvPicPr>
          <p:cNvPr id="56" name="Picture 2" descr="C:\Users\alexbrad\Documents\Logos\DVD_ART34\Artwork_Imagery\Icons - Illustrations\_XML ICONS\Servers computer.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9372600" y="5867400"/>
            <a:ext cx="123980" cy="182880"/>
          </a:xfrm>
          <a:prstGeom prst="rect">
            <a:avLst/>
          </a:prstGeom>
          <a:noFill/>
          <a:effectLst/>
        </p:spPr>
      </p:pic>
      <p:pic>
        <p:nvPicPr>
          <p:cNvPr id="57" name="Picture 2" descr="C:\Users\alexbrad\Documents\Logos\DVD_ART34\Artwork_Imagery\Icons - Illustrations\_XML ICONS\Servers computer.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8610600" y="4724400"/>
            <a:ext cx="123980" cy="182880"/>
          </a:xfrm>
          <a:prstGeom prst="rect">
            <a:avLst/>
          </a:prstGeom>
          <a:noFill/>
          <a:effectLst/>
        </p:spPr>
      </p:pic>
      <p:pic>
        <p:nvPicPr>
          <p:cNvPr id="58" name="Picture 2" descr="C:\Users\alexbrad\Documents\Logos\DVD_ART34\Artwork_Imagery\Icons - Illustrations\_XML ICONS\Servers computer.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9144000" y="4419600"/>
            <a:ext cx="123980" cy="182880"/>
          </a:xfrm>
          <a:prstGeom prst="rect">
            <a:avLst/>
          </a:prstGeom>
          <a:noFill/>
          <a:effectLst/>
        </p:spPr>
      </p:pic>
      <p:pic>
        <p:nvPicPr>
          <p:cNvPr id="59" name="Picture 2" descr="C:\Users\alexbrad\Documents\Logos\DVD_ART34\Artwork_Imagery\Icons - Illustrations\_XML ICONS\Servers computer.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8610600" y="4495800"/>
            <a:ext cx="123980" cy="182880"/>
          </a:xfrm>
          <a:prstGeom prst="rect">
            <a:avLst/>
          </a:prstGeom>
          <a:noFill/>
          <a:effectLst/>
        </p:spPr>
      </p:pic>
      <p:pic>
        <p:nvPicPr>
          <p:cNvPr id="60" name="Picture 2" descr="C:\Users\alexbrad\Documents\Logos\DVD_ART34\Artwork_Imagery\Icons - Illustrations\_XML ICONS\Servers computer.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8458200" y="4419600"/>
            <a:ext cx="123980" cy="182880"/>
          </a:xfrm>
          <a:prstGeom prst="rect">
            <a:avLst/>
          </a:prstGeom>
          <a:noFill/>
          <a:effectLst/>
        </p:spPr>
      </p:pic>
      <p:pic>
        <p:nvPicPr>
          <p:cNvPr id="1034" name="Picture 10" descr="E:\Documents\Microsoft\Products\GFS\PhotosDataCenter_public_ok\SanAntonio\Microsoft San Antonio 2 Data Center (credit to Aero Photo) .jpg"/>
          <p:cNvPicPr>
            <a:picLocks noChangeAspect="1" noChangeArrowheads="1"/>
          </p:cNvPicPr>
          <p:nvPr/>
        </p:nvPicPr>
        <p:blipFill rotWithShape="1">
          <a:blip r:embed="rId8" cstate="email">
            <a:extLst>
              <a:ext uri="{28A0092B-C50C-407E-A947-70E740481C1C}">
                <a14:useLocalDpi xmlns:a14="http://schemas.microsoft.com/office/drawing/2010/main" val="0"/>
              </a:ext>
            </a:extLst>
          </a:blip>
          <a:srcRect/>
          <a:stretch/>
        </p:blipFill>
        <p:spPr bwMode="auto">
          <a:xfrm>
            <a:off x="5641486" y="1628003"/>
            <a:ext cx="1600200" cy="925873"/>
          </a:xfrm>
          <a:prstGeom prst="roundRect">
            <a:avLst>
              <a:gd name="adj" fmla="val 8594"/>
            </a:avLst>
          </a:prstGeom>
          <a:solidFill>
            <a:srgbClr val="FFFFFF">
              <a:shade val="85000"/>
            </a:srgbClr>
          </a:solidFill>
          <a:ln>
            <a:noFill/>
          </a:ln>
          <a:effectLst/>
          <a:extLst/>
        </p:spPr>
      </p:pic>
      <p:pic>
        <p:nvPicPr>
          <p:cNvPr id="1035" name="Picture 11" descr="E:\Documents\Microsoft\Products\GFS\Generation4graphics\Aerial.jpg"/>
          <p:cNvPicPr>
            <a:picLocks noChangeAspect="1" noChangeArrowheads="1"/>
          </p:cNvPicPr>
          <p:nvPr/>
        </p:nvPicPr>
        <p:blipFill rotWithShape="1">
          <a:blip r:embed="rId9" cstate="email">
            <a:extLst>
              <a:ext uri="{28A0092B-C50C-407E-A947-70E740481C1C}">
                <a14:useLocalDpi xmlns:a14="http://schemas.microsoft.com/office/drawing/2010/main" val="0"/>
              </a:ext>
            </a:extLst>
          </a:blip>
          <a:srcRect/>
          <a:stretch/>
        </p:blipFill>
        <p:spPr bwMode="auto">
          <a:xfrm>
            <a:off x="9029937" y="1628002"/>
            <a:ext cx="1409489" cy="914400"/>
          </a:xfrm>
          <a:prstGeom prst="roundRect">
            <a:avLst>
              <a:gd name="adj" fmla="val 8594"/>
            </a:avLst>
          </a:prstGeom>
          <a:solidFill>
            <a:srgbClr val="FFFFFF">
              <a:shade val="85000"/>
            </a:srgbClr>
          </a:solidFill>
          <a:ln>
            <a:noFill/>
          </a:ln>
          <a:effectLst/>
          <a:extLst/>
        </p:spPr>
      </p:pic>
      <p:sp>
        <p:nvSpPr>
          <p:cNvPr id="63" name="TextBox 62"/>
          <p:cNvSpPr txBox="1"/>
          <p:nvPr/>
        </p:nvSpPr>
        <p:spPr>
          <a:xfrm>
            <a:off x="9013638" y="2542452"/>
            <a:ext cx="1513556" cy="307777"/>
          </a:xfrm>
          <a:prstGeom prst="rect">
            <a:avLst/>
          </a:prstGeom>
          <a:noFill/>
        </p:spPr>
        <p:txBody>
          <a:bodyPr wrap="none" rtlCol="0">
            <a:spAutoFit/>
          </a:bodyPr>
          <a:lstStyle/>
          <a:p>
            <a:r>
              <a:rPr lang="en-US" sz="1400" dirty="0">
                <a:latin typeface="Segoe UI Light" pitchFamily="34" charset="0"/>
                <a:cs typeface="Calibri" pitchFamily="34" charset="0"/>
              </a:rPr>
              <a:t>Generation 4 DCs</a:t>
            </a:r>
          </a:p>
        </p:txBody>
      </p:sp>
      <p:sp>
        <p:nvSpPr>
          <p:cNvPr id="2" name="Rectangle 1"/>
          <p:cNvSpPr>
            <a:spLocks noChangeArrowheads="1"/>
          </p:cNvSpPr>
          <p:nvPr/>
        </p:nvSpPr>
        <p:spPr bwMode="auto">
          <a:xfrm>
            <a:off x="1524026"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fontAlgn="base">
              <a:spcBef>
                <a:spcPct val="0"/>
              </a:spcBef>
              <a:spcAft>
                <a:spcPct val="0"/>
              </a:spcAft>
            </a:pPr>
            <a:endParaRPr lang="en-US">
              <a:solidFill>
                <a:srgbClr val="FFFFFF"/>
              </a:solidFill>
              <a:cs typeface="Arial" charset="0"/>
            </a:endParaRPr>
          </a:p>
        </p:txBody>
      </p:sp>
      <p:pic>
        <p:nvPicPr>
          <p:cNvPr id="1026" name="Picture 2" descr="C:\Users\Public\Documents\Microsoft\Events\Architect Council\Dublin-DC.bmp"/>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7351465" y="1628005"/>
            <a:ext cx="1551763" cy="909151"/>
          </a:xfrm>
          <a:prstGeom prst="roundRect">
            <a:avLst>
              <a:gd name="adj" fmla="val 8594"/>
            </a:avLst>
          </a:prstGeom>
          <a:solidFill>
            <a:srgbClr val="FFFFFF">
              <a:shade val="85000"/>
            </a:srgbClr>
          </a:solidFill>
          <a:ln>
            <a:noFill/>
          </a:ln>
          <a:effectLst/>
          <a:extLst/>
        </p:spPr>
      </p:pic>
      <p:pic>
        <p:nvPicPr>
          <p:cNvPr id="44" name="Picture 4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609822" y="6248400"/>
            <a:ext cx="1905778" cy="457200"/>
          </a:xfrm>
          <a:prstGeom prst="rect">
            <a:avLst/>
          </a:prstGeom>
        </p:spPr>
      </p:pic>
      <p:pic>
        <p:nvPicPr>
          <p:cNvPr id="43" name="Picture 2" descr="C:\Users\alexbrad\Documents\Logos\DVD_ART34\Artwork_Imagery\Icons - Illustrations\_XML ICONS\Servers computer.pn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8732693" y="4602480"/>
            <a:ext cx="280945" cy="414416"/>
          </a:xfrm>
          <a:prstGeom prst="rect">
            <a:avLst/>
          </a:prstGeom>
          <a:noFill/>
          <a:effectLst>
            <a:glow rad="139700">
              <a:schemeClr val="accent5">
                <a:satMod val="175000"/>
                <a:alpha val="40000"/>
              </a:schemeClr>
            </a:glow>
          </a:effectLst>
        </p:spPr>
      </p:pic>
      <p:pic>
        <p:nvPicPr>
          <p:cNvPr id="61" name="Picture 2" descr="C:\Users\alexbrad\Documents\Logos\DVD_ART34\Artwork_Imagery\Icons - Illustrations\_XML ICONS\Servers computer.pn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8972482" y="3874818"/>
            <a:ext cx="280945" cy="414416"/>
          </a:xfrm>
          <a:prstGeom prst="rect">
            <a:avLst/>
          </a:prstGeom>
          <a:noFill/>
          <a:effectLst>
            <a:glow rad="139700">
              <a:schemeClr val="accent5">
                <a:satMod val="175000"/>
                <a:alpha val="40000"/>
              </a:schemeClr>
            </a:glow>
          </a:effectLst>
        </p:spPr>
      </p:pic>
      <p:pic>
        <p:nvPicPr>
          <p:cNvPr id="62" name="Picture 2" descr="C:\Users\alexbrad\Documents\Logos\DVD_ART34\Artwork_Imagery\Icons - Illustrations\_XML ICONS\Servers computer.pn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9124882" y="4027218"/>
            <a:ext cx="280945" cy="414416"/>
          </a:xfrm>
          <a:prstGeom prst="rect">
            <a:avLst/>
          </a:prstGeom>
          <a:noFill/>
          <a:effectLst>
            <a:glow rad="139700">
              <a:schemeClr val="accent5">
                <a:satMod val="175000"/>
                <a:alpha val="40000"/>
              </a:schemeClr>
            </a:glow>
          </a:effectLst>
        </p:spPr>
      </p:pic>
      <p:pic>
        <p:nvPicPr>
          <p:cNvPr id="64" name="Picture 2" descr="C:\Users\alexbrad\Documents\Logos\DVD_ART34\Artwork_Imagery\Icons - Illustrations\_XML ICONS\Servers computer.pn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9277282" y="4179618"/>
            <a:ext cx="280945" cy="414416"/>
          </a:xfrm>
          <a:prstGeom prst="rect">
            <a:avLst/>
          </a:prstGeom>
          <a:noFill/>
          <a:effectLst>
            <a:glow rad="139700">
              <a:schemeClr val="accent5">
                <a:satMod val="175000"/>
                <a:alpha val="40000"/>
              </a:schemeClr>
            </a:glow>
          </a:effectLst>
        </p:spPr>
      </p:pic>
    </p:spTree>
    <p:extLst>
      <p:ext uri="{BB962C8B-B14F-4D97-AF65-F5344CB8AC3E}">
        <p14:creationId xmlns:p14="http://schemas.microsoft.com/office/powerpoint/2010/main" val="30031587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38"/>
                                        </p:tgtEl>
                                        <p:attrNameLst>
                                          <p:attrName>style.visibility</p:attrName>
                                        </p:attrNameLst>
                                      </p:cBhvr>
                                      <p:to>
                                        <p:strVal val="visible"/>
                                      </p:to>
                                    </p:set>
                                    <p:anim calcmode="lin" valueType="num">
                                      <p:cBhvr additive="base">
                                        <p:cTn id="7" dur="100" fill="hold"/>
                                        <p:tgtEl>
                                          <p:spTgt spid="38"/>
                                        </p:tgtEl>
                                        <p:attrNameLst>
                                          <p:attrName>ppt_x</p:attrName>
                                        </p:attrNameLst>
                                      </p:cBhvr>
                                      <p:tavLst>
                                        <p:tav tm="0">
                                          <p:val>
                                            <p:strVal val="#ppt_x"/>
                                          </p:val>
                                        </p:tav>
                                        <p:tav tm="100000">
                                          <p:val>
                                            <p:strVal val="#ppt_x"/>
                                          </p:val>
                                        </p:tav>
                                      </p:tavLst>
                                    </p:anim>
                                    <p:anim calcmode="lin" valueType="num">
                                      <p:cBhvr additive="base">
                                        <p:cTn id="8" dur="100" fill="hold"/>
                                        <p:tgtEl>
                                          <p:spTgt spid="38"/>
                                        </p:tgtEl>
                                        <p:attrNameLst>
                                          <p:attrName>ppt_y</p:attrName>
                                        </p:attrNameLst>
                                      </p:cBhvr>
                                      <p:tavLst>
                                        <p:tav tm="0">
                                          <p:val>
                                            <p:strVal val="0-#ppt_h/2"/>
                                          </p:val>
                                        </p:tav>
                                        <p:tav tm="100000">
                                          <p:val>
                                            <p:strVal val="#ppt_y"/>
                                          </p:val>
                                        </p:tav>
                                      </p:tavLst>
                                    </p:anim>
                                  </p:childTnLst>
                                </p:cTn>
                              </p:par>
                            </p:childTnLst>
                          </p:cTn>
                        </p:par>
                        <p:par>
                          <p:cTn id="9" fill="hold">
                            <p:stCondLst>
                              <p:cond delay="100"/>
                            </p:stCondLst>
                            <p:childTnLst>
                              <p:par>
                                <p:cTn id="10" presetID="2" presetClass="entr" presetSubtype="1" fill="hold" nodeType="afterEffect">
                                  <p:stCondLst>
                                    <p:cond delay="0"/>
                                  </p:stCondLst>
                                  <p:childTnLst>
                                    <p:set>
                                      <p:cBhvr>
                                        <p:cTn id="11" dur="1" fill="hold">
                                          <p:stCondLst>
                                            <p:cond delay="0"/>
                                          </p:stCondLst>
                                        </p:cTn>
                                        <p:tgtEl>
                                          <p:spTgt spid="37"/>
                                        </p:tgtEl>
                                        <p:attrNameLst>
                                          <p:attrName>style.visibility</p:attrName>
                                        </p:attrNameLst>
                                      </p:cBhvr>
                                      <p:to>
                                        <p:strVal val="visible"/>
                                      </p:to>
                                    </p:set>
                                    <p:anim calcmode="lin" valueType="num">
                                      <p:cBhvr additive="base">
                                        <p:cTn id="12" dur="100" fill="hold"/>
                                        <p:tgtEl>
                                          <p:spTgt spid="37"/>
                                        </p:tgtEl>
                                        <p:attrNameLst>
                                          <p:attrName>ppt_x</p:attrName>
                                        </p:attrNameLst>
                                      </p:cBhvr>
                                      <p:tavLst>
                                        <p:tav tm="0">
                                          <p:val>
                                            <p:strVal val="#ppt_x"/>
                                          </p:val>
                                        </p:tav>
                                        <p:tav tm="100000">
                                          <p:val>
                                            <p:strVal val="#ppt_x"/>
                                          </p:val>
                                        </p:tav>
                                      </p:tavLst>
                                    </p:anim>
                                    <p:anim calcmode="lin" valueType="num">
                                      <p:cBhvr additive="base">
                                        <p:cTn id="13" dur="100" fill="hold"/>
                                        <p:tgtEl>
                                          <p:spTgt spid="37"/>
                                        </p:tgtEl>
                                        <p:attrNameLst>
                                          <p:attrName>ppt_y</p:attrName>
                                        </p:attrNameLst>
                                      </p:cBhvr>
                                      <p:tavLst>
                                        <p:tav tm="0">
                                          <p:val>
                                            <p:strVal val="0-#ppt_h/2"/>
                                          </p:val>
                                        </p:tav>
                                        <p:tav tm="100000">
                                          <p:val>
                                            <p:strVal val="#ppt_y"/>
                                          </p:val>
                                        </p:tav>
                                      </p:tavLst>
                                    </p:anim>
                                  </p:childTnLst>
                                </p:cTn>
                              </p:par>
                            </p:childTnLst>
                          </p:cTn>
                        </p:par>
                        <p:par>
                          <p:cTn id="14" fill="hold">
                            <p:stCondLst>
                              <p:cond delay="200"/>
                            </p:stCondLst>
                            <p:childTnLst>
                              <p:par>
                                <p:cTn id="15" presetID="2" presetClass="entr" presetSubtype="1" fill="hold" nodeType="afterEffect">
                                  <p:stCondLst>
                                    <p:cond delay="0"/>
                                  </p:stCondLst>
                                  <p:childTnLst>
                                    <p:set>
                                      <p:cBhvr>
                                        <p:cTn id="16" dur="1" fill="hold">
                                          <p:stCondLst>
                                            <p:cond delay="0"/>
                                          </p:stCondLst>
                                        </p:cTn>
                                        <p:tgtEl>
                                          <p:spTgt spid="40"/>
                                        </p:tgtEl>
                                        <p:attrNameLst>
                                          <p:attrName>style.visibility</p:attrName>
                                        </p:attrNameLst>
                                      </p:cBhvr>
                                      <p:to>
                                        <p:strVal val="visible"/>
                                      </p:to>
                                    </p:set>
                                    <p:anim calcmode="lin" valueType="num">
                                      <p:cBhvr additive="base">
                                        <p:cTn id="17" dur="100" fill="hold"/>
                                        <p:tgtEl>
                                          <p:spTgt spid="40"/>
                                        </p:tgtEl>
                                        <p:attrNameLst>
                                          <p:attrName>ppt_x</p:attrName>
                                        </p:attrNameLst>
                                      </p:cBhvr>
                                      <p:tavLst>
                                        <p:tav tm="0">
                                          <p:val>
                                            <p:strVal val="#ppt_x"/>
                                          </p:val>
                                        </p:tav>
                                        <p:tav tm="100000">
                                          <p:val>
                                            <p:strVal val="#ppt_x"/>
                                          </p:val>
                                        </p:tav>
                                      </p:tavLst>
                                    </p:anim>
                                    <p:anim calcmode="lin" valueType="num">
                                      <p:cBhvr additive="base">
                                        <p:cTn id="18" dur="100" fill="hold"/>
                                        <p:tgtEl>
                                          <p:spTgt spid="40"/>
                                        </p:tgtEl>
                                        <p:attrNameLst>
                                          <p:attrName>ppt_y</p:attrName>
                                        </p:attrNameLst>
                                      </p:cBhvr>
                                      <p:tavLst>
                                        <p:tav tm="0">
                                          <p:val>
                                            <p:strVal val="0-#ppt_h/2"/>
                                          </p:val>
                                        </p:tav>
                                        <p:tav tm="100000">
                                          <p:val>
                                            <p:strVal val="#ppt_y"/>
                                          </p:val>
                                        </p:tav>
                                      </p:tavLst>
                                    </p:anim>
                                  </p:childTnLst>
                                </p:cTn>
                              </p:par>
                            </p:childTnLst>
                          </p:cTn>
                        </p:par>
                        <p:par>
                          <p:cTn id="19" fill="hold">
                            <p:stCondLst>
                              <p:cond delay="300"/>
                            </p:stCondLst>
                            <p:childTnLst>
                              <p:par>
                                <p:cTn id="20" presetID="2" presetClass="entr" presetSubtype="1"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 calcmode="lin" valueType="num">
                                      <p:cBhvr additive="base">
                                        <p:cTn id="22" dur="100" fill="hold"/>
                                        <p:tgtEl>
                                          <p:spTgt spid="42"/>
                                        </p:tgtEl>
                                        <p:attrNameLst>
                                          <p:attrName>ppt_x</p:attrName>
                                        </p:attrNameLst>
                                      </p:cBhvr>
                                      <p:tavLst>
                                        <p:tav tm="0">
                                          <p:val>
                                            <p:strVal val="#ppt_x"/>
                                          </p:val>
                                        </p:tav>
                                        <p:tav tm="100000">
                                          <p:val>
                                            <p:strVal val="#ppt_x"/>
                                          </p:val>
                                        </p:tav>
                                      </p:tavLst>
                                    </p:anim>
                                    <p:anim calcmode="lin" valueType="num">
                                      <p:cBhvr additive="base">
                                        <p:cTn id="23" dur="100" fill="hold"/>
                                        <p:tgtEl>
                                          <p:spTgt spid="42"/>
                                        </p:tgtEl>
                                        <p:attrNameLst>
                                          <p:attrName>ppt_y</p:attrName>
                                        </p:attrNameLst>
                                      </p:cBhvr>
                                      <p:tavLst>
                                        <p:tav tm="0">
                                          <p:val>
                                            <p:strVal val="0-#ppt_h/2"/>
                                          </p:val>
                                        </p:tav>
                                        <p:tav tm="100000">
                                          <p:val>
                                            <p:strVal val="#ppt_y"/>
                                          </p:val>
                                        </p:tav>
                                      </p:tavLst>
                                    </p:anim>
                                  </p:childTnLst>
                                </p:cTn>
                              </p:par>
                            </p:childTnLst>
                          </p:cTn>
                        </p:par>
                        <p:par>
                          <p:cTn id="24" fill="hold">
                            <p:stCondLst>
                              <p:cond delay="400"/>
                            </p:stCondLst>
                            <p:childTnLst>
                              <p:par>
                                <p:cTn id="25" presetID="2" presetClass="entr" presetSubtype="1" fill="hold" nodeType="afterEffect">
                                  <p:stCondLst>
                                    <p:cond delay="0"/>
                                  </p:stCondLst>
                                  <p:childTnLst>
                                    <p:set>
                                      <p:cBhvr>
                                        <p:cTn id="26" dur="1" fill="hold">
                                          <p:stCondLst>
                                            <p:cond delay="0"/>
                                          </p:stCondLst>
                                        </p:cTn>
                                        <p:tgtEl>
                                          <p:spTgt spid="39"/>
                                        </p:tgtEl>
                                        <p:attrNameLst>
                                          <p:attrName>style.visibility</p:attrName>
                                        </p:attrNameLst>
                                      </p:cBhvr>
                                      <p:to>
                                        <p:strVal val="visible"/>
                                      </p:to>
                                    </p:set>
                                    <p:anim calcmode="lin" valueType="num">
                                      <p:cBhvr additive="base">
                                        <p:cTn id="27" dur="100" fill="hold"/>
                                        <p:tgtEl>
                                          <p:spTgt spid="39"/>
                                        </p:tgtEl>
                                        <p:attrNameLst>
                                          <p:attrName>ppt_x</p:attrName>
                                        </p:attrNameLst>
                                      </p:cBhvr>
                                      <p:tavLst>
                                        <p:tav tm="0">
                                          <p:val>
                                            <p:strVal val="#ppt_x"/>
                                          </p:val>
                                        </p:tav>
                                        <p:tav tm="100000">
                                          <p:val>
                                            <p:strVal val="#ppt_x"/>
                                          </p:val>
                                        </p:tav>
                                      </p:tavLst>
                                    </p:anim>
                                    <p:anim calcmode="lin" valueType="num">
                                      <p:cBhvr additive="base">
                                        <p:cTn id="28" dur="100" fill="hold"/>
                                        <p:tgtEl>
                                          <p:spTgt spid="39"/>
                                        </p:tgtEl>
                                        <p:attrNameLst>
                                          <p:attrName>ppt_y</p:attrName>
                                        </p:attrNameLst>
                                      </p:cBhvr>
                                      <p:tavLst>
                                        <p:tav tm="0">
                                          <p:val>
                                            <p:strVal val="0-#ppt_h/2"/>
                                          </p:val>
                                        </p:tav>
                                        <p:tav tm="100000">
                                          <p:val>
                                            <p:strVal val="#ppt_y"/>
                                          </p:val>
                                        </p:tav>
                                      </p:tavLst>
                                    </p:anim>
                                  </p:childTnLst>
                                </p:cTn>
                              </p:par>
                            </p:childTnLst>
                          </p:cTn>
                        </p:par>
                        <p:par>
                          <p:cTn id="29" fill="hold">
                            <p:stCondLst>
                              <p:cond delay="500"/>
                            </p:stCondLst>
                            <p:childTnLst>
                              <p:par>
                                <p:cTn id="30" presetID="2" presetClass="entr" presetSubtype="1" fill="hold" nodeType="afterEffect">
                                  <p:stCondLst>
                                    <p:cond delay="0"/>
                                  </p:stCondLst>
                                  <p:childTnLst>
                                    <p:set>
                                      <p:cBhvr>
                                        <p:cTn id="31" dur="1" fill="hold">
                                          <p:stCondLst>
                                            <p:cond delay="0"/>
                                          </p:stCondLst>
                                        </p:cTn>
                                        <p:tgtEl>
                                          <p:spTgt spid="41"/>
                                        </p:tgtEl>
                                        <p:attrNameLst>
                                          <p:attrName>style.visibility</p:attrName>
                                        </p:attrNameLst>
                                      </p:cBhvr>
                                      <p:to>
                                        <p:strVal val="visible"/>
                                      </p:to>
                                    </p:set>
                                    <p:anim calcmode="lin" valueType="num">
                                      <p:cBhvr additive="base">
                                        <p:cTn id="32" dur="100" fill="hold"/>
                                        <p:tgtEl>
                                          <p:spTgt spid="41"/>
                                        </p:tgtEl>
                                        <p:attrNameLst>
                                          <p:attrName>ppt_x</p:attrName>
                                        </p:attrNameLst>
                                      </p:cBhvr>
                                      <p:tavLst>
                                        <p:tav tm="0">
                                          <p:val>
                                            <p:strVal val="#ppt_x"/>
                                          </p:val>
                                        </p:tav>
                                        <p:tav tm="100000">
                                          <p:val>
                                            <p:strVal val="#ppt_x"/>
                                          </p:val>
                                        </p:tav>
                                      </p:tavLst>
                                    </p:anim>
                                    <p:anim calcmode="lin" valueType="num">
                                      <p:cBhvr additive="base">
                                        <p:cTn id="33" dur="100" fill="hold"/>
                                        <p:tgtEl>
                                          <p:spTgt spid="41"/>
                                        </p:tgtEl>
                                        <p:attrNameLst>
                                          <p:attrName>ppt_y</p:attrName>
                                        </p:attrNameLst>
                                      </p:cBhvr>
                                      <p:tavLst>
                                        <p:tav tm="0">
                                          <p:val>
                                            <p:strVal val="0-#ppt_h/2"/>
                                          </p:val>
                                        </p:tav>
                                        <p:tav tm="100000">
                                          <p:val>
                                            <p:strVal val="#ppt_y"/>
                                          </p:val>
                                        </p:tav>
                                      </p:tavLst>
                                    </p:anim>
                                  </p:childTnLst>
                                </p:cTn>
                              </p:par>
                            </p:childTnLst>
                          </p:cTn>
                        </p:par>
                        <p:par>
                          <p:cTn id="34" fill="hold">
                            <p:stCondLst>
                              <p:cond delay="600"/>
                            </p:stCondLst>
                            <p:childTnLst>
                              <p:par>
                                <p:cTn id="35" presetID="2" presetClass="entr" presetSubtype="1" fill="hold" nodeType="afterEffect">
                                  <p:stCondLst>
                                    <p:cond delay="0"/>
                                  </p:stCondLst>
                                  <p:childTnLst>
                                    <p:set>
                                      <p:cBhvr>
                                        <p:cTn id="36" dur="1" fill="hold">
                                          <p:stCondLst>
                                            <p:cond delay="0"/>
                                          </p:stCondLst>
                                        </p:cTn>
                                        <p:tgtEl>
                                          <p:spTgt spid="36"/>
                                        </p:tgtEl>
                                        <p:attrNameLst>
                                          <p:attrName>style.visibility</p:attrName>
                                        </p:attrNameLst>
                                      </p:cBhvr>
                                      <p:to>
                                        <p:strVal val="visible"/>
                                      </p:to>
                                    </p:set>
                                    <p:anim calcmode="lin" valueType="num">
                                      <p:cBhvr additive="base">
                                        <p:cTn id="37" dur="100" fill="hold"/>
                                        <p:tgtEl>
                                          <p:spTgt spid="36"/>
                                        </p:tgtEl>
                                        <p:attrNameLst>
                                          <p:attrName>ppt_x</p:attrName>
                                        </p:attrNameLst>
                                      </p:cBhvr>
                                      <p:tavLst>
                                        <p:tav tm="0">
                                          <p:val>
                                            <p:strVal val="#ppt_x"/>
                                          </p:val>
                                        </p:tav>
                                        <p:tav tm="100000">
                                          <p:val>
                                            <p:strVal val="#ppt_x"/>
                                          </p:val>
                                        </p:tav>
                                      </p:tavLst>
                                    </p:anim>
                                    <p:anim calcmode="lin" valueType="num">
                                      <p:cBhvr additive="base">
                                        <p:cTn id="38" dur="100" fill="hold"/>
                                        <p:tgtEl>
                                          <p:spTgt spid="36"/>
                                        </p:tgtEl>
                                        <p:attrNameLst>
                                          <p:attrName>ppt_y</p:attrName>
                                        </p:attrNameLst>
                                      </p:cBhvr>
                                      <p:tavLst>
                                        <p:tav tm="0">
                                          <p:val>
                                            <p:strVal val="0-#ppt_h/2"/>
                                          </p:val>
                                        </p:tav>
                                        <p:tav tm="100000">
                                          <p:val>
                                            <p:strVal val="#ppt_y"/>
                                          </p:val>
                                        </p:tav>
                                      </p:tavLst>
                                    </p:anim>
                                  </p:childTnLst>
                                </p:cTn>
                              </p:par>
                            </p:childTnLst>
                          </p:cTn>
                        </p:par>
                        <p:par>
                          <p:cTn id="39" fill="hold">
                            <p:stCondLst>
                              <p:cond delay="700"/>
                            </p:stCondLst>
                            <p:childTnLst>
                              <p:par>
                                <p:cTn id="40" presetID="2" presetClass="entr" presetSubtype="1" fill="hold" nodeType="afterEffect">
                                  <p:stCondLst>
                                    <p:cond delay="0"/>
                                  </p:stCondLst>
                                  <p:childTnLst>
                                    <p:set>
                                      <p:cBhvr>
                                        <p:cTn id="41" dur="1" fill="hold">
                                          <p:stCondLst>
                                            <p:cond delay="0"/>
                                          </p:stCondLst>
                                        </p:cTn>
                                        <p:tgtEl>
                                          <p:spTgt spid="53"/>
                                        </p:tgtEl>
                                        <p:attrNameLst>
                                          <p:attrName>style.visibility</p:attrName>
                                        </p:attrNameLst>
                                      </p:cBhvr>
                                      <p:to>
                                        <p:strVal val="visible"/>
                                      </p:to>
                                    </p:set>
                                    <p:anim calcmode="lin" valueType="num">
                                      <p:cBhvr additive="base">
                                        <p:cTn id="42" dur="100" fill="hold"/>
                                        <p:tgtEl>
                                          <p:spTgt spid="53"/>
                                        </p:tgtEl>
                                        <p:attrNameLst>
                                          <p:attrName>ppt_x</p:attrName>
                                        </p:attrNameLst>
                                      </p:cBhvr>
                                      <p:tavLst>
                                        <p:tav tm="0">
                                          <p:val>
                                            <p:strVal val="#ppt_x"/>
                                          </p:val>
                                        </p:tav>
                                        <p:tav tm="100000">
                                          <p:val>
                                            <p:strVal val="#ppt_x"/>
                                          </p:val>
                                        </p:tav>
                                      </p:tavLst>
                                    </p:anim>
                                    <p:anim calcmode="lin" valueType="num">
                                      <p:cBhvr additive="base">
                                        <p:cTn id="43" dur="100" fill="hold"/>
                                        <p:tgtEl>
                                          <p:spTgt spid="53"/>
                                        </p:tgtEl>
                                        <p:attrNameLst>
                                          <p:attrName>ppt_y</p:attrName>
                                        </p:attrNameLst>
                                      </p:cBhvr>
                                      <p:tavLst>
                                        <p:tav tm="0">
                                          <p:val>
                                            <p:strVal val="0-#ppt_h/2"/>
                                          </p:val>
                                        </p:tav>
                                        <p:tav tm="100000">
                                          <p:val>
                                            <p:strVal val="#ppt_y"/>
                                          </p:val>
                                        </p:tav>
                                      </p:tavLst>
                                    </p:anim>
                                  </p:childTnLst>
                                </p:cTn>
                              </p:par>
                            </p:childTnLst>
                          </p:cTn>
                        </p:par>
                        <p:par>
                          <p:cTn id="44" fill="hold">
                            <p:stCondLst>
                              <p:cond delay="800"/>
                            </p:stCondLst>
                            <p:childTnLst>
                              <p:par>
                                <p:cTn id="45" presetID="2" presetClass="entr" presetSubtype="1" fill="hold" nodeType="afterEffect">
                                  <p:stCondLst>
                                    <p:cond delay="0"/>
                                  </p:stCondLst>
                                  <p:childTnLst>
                                    <p:set>
                                      <p:cBhvr>
                                        <p:cTn id="46" dur="1" fill="hold">
                                          <p:stCondLst>
                                            <p:cond delay="0"/>
                                          </p:stCondLst>
                                        </p:cTn>
                                        <p:tgtEl>
                                          <p:spTgt spid="49"/>
                                        </p:tgtEl>
                                        <p:attrNameLst>
                                          <p:attrName>style.visibility</p:attrName>
                                        </p:attrNameLst>
                                      </p:cBhvr>
                                      <p:to>
                                        <p:strVal val="visible"/>
                                      </p:to>
                                    </p:set>
                                    <p:anim calcmode="lin" valueType="num">
                                      <p:cBhvr additive="base">
                                        <p:cTn id="47" dur="100" fill="hold"/>
                                        <p:tgtEl>
                                          <p:spTgt spid="49"/>
                                        </p:tgtEl>
                                        <p:attrNameLst>
                                          <p:attrName>ppt_x</p:attrName>
                                        </p:attrNameLst>
                                      </p:cBhvr>
                                      <p:tavLst>
                                        <p:tav tm="0">
                                          <p:val>
                                            <p:strVal val="#ppt_x"/>
                                          </p:val>
                                        </p:tav>
                                        <p:tav tm="100000">
                                          <p:val>
                                            <p:strVal val="#ppt_x"/>
                                          </p:val>
                                        </p:tav>
                                      </p:tavLst>
                                    </p:anim>
                                    <p:anim calcmode="lin" valueType="num">
                                      <p:cBhvr additive="base">
                                        <p:cTn id="48" dur="100" fill="hold"/>
                                        <p:tgtEl>
                                          <p:spTgt spid="49"/>
                                        </p:tgtEl>
                                        <p:attrNameLst>
                                          <p:attrName>ppt_y</p:attrName>
                                        </p:attrNameLst>
                                      </p:cBhvr>
                                      <p:tavLst>
                                        <p:tav tm="0">
                                          <p:val>
                                            <p:strVal val="0-#ppt_h/2"/>
                                          </p:val>
                                        </p:tav>
                                        <p:tav tm="100000">
                                          <p:val>
                                            <p:strVal val="#ppt_y"/>
                                          </p:val>
                                        </p:tav>
                                      </p:tavLst>
                                    </p:anim>
                                  </p:childTnLst>
                                </p:cTn>
                              </p:par>
                            </p:childTnLst>
                          </p:cTn>
                        </p:par>
                        <p:par>
                          <p:cTn id="49" fill="hold">
                            <p:stCondLst>
                              <p:cond delay="900"/>
                            </p:stCondLst>
                            <p:childTnLst>
                              <p:par>
                                <p:cTn id="50" presetID="2" presetClass="entr" presetSubtype="1" fill="hold" nodeType="afterEffect">
                                  <p:stCondLst>
                                    <p:cond delay="0"/>
                                  </p:stCondLst>
                                  <p:childTnLst>
                                    <p:set>
                                      <p:cBhvr>
                                        <p:cTn id="51" dur="1" fill="hold">
                                          <p:stCondLst>
                                            <p:cond delay="0"/>
                                          </p:stCondLst>
                                        </p:cTn>
                                        <p:tgtEl>
                                          <p:spTgt spid="52"/>
                                        </p:tgtEl>
                                        <p:attrNameLst>
                                          <p:attrName>style.visibility</p:attrName>
                                        </p:attrNameLst>
                                      </p:cBhvr>
                                      <p:to>
                                        <p:strVal val="visible"/>
                                      </p:to>
                                    </p:set>
                                    <p:anim calcmode="lin" valueType="num">
                                      <p:cBhvr additive="base">
                                        <p:cTn id="52" dur="100" fill="hold"/>
                                        <p:tgtEl>
                                          <p:spTgt spid="52"/>
                                        </p:tgtEl>
                                        <p:attrNameLst>
                                          <p:attrName>ppt_x</p:attrName>
                                        </p:attrNameLst>
                                      </p:cBhvr>
                                      <p:tavLst>
                                        <p:tav tm="0">
                                          <p:val>
                                            <p:strVal val="#ppt_x"/>
                                          </p:val>
                                        </p:tav>
                                        <p:tav tm="100000">
                                          <p:val>
                                            <p:strVal val="#ppt_x"/>
                                          </p:val>
                                        </p:tav>
                                      </p:tavLst>
                                    </p:anim>
                                    <p:anim calcmode="lin" valueType="num">
                                      <p:cBhvr additive="base">
                                        <p:cTn id="53" dur="100" fill="hold"/>
                                        <p:tgtEl>
                                          <p:spTgt spid="52"/>
                                        </p:tgtEl>
                                        <p:attrNameLst>
                                          <p:attrName>ppt_y</p:attrName>
                                        </p:attrNameLst>
                                      </p:cBhvr>
                                      <p:tavLst>
                                        <p:tav tm="0">
                                          <p:val>
                                            <p:strVal val="0-#ppt_h/2"/>
                                          </p:val>
                                        </p:tav>
                                        <p:tav tm="100000">
                                          <p:val>
                                            <p:strVal val="#ppt_y"/>
                                          </p:val>
                                        </p:tav>
                                      </p:tavLst>
                                    </p:anim>
                                  </p:childTnLst>
                                </p:cTn>
                              </p:par>
                            </p:childTnLst>
                          </p:cTn>
                        </p:par>
                        <p:par>
                          <p:cTn id="54" fill="hold">
                            <p:stCondLst>
                              <p:cond delay="1000"/>
                            </p:stCondLst>
                            <p:childTnLst>
                              <p:par>
                                <p:cTn id="55" presetID="2" presetClass="entr" presetSubtype="1" fill="hold" nodeType="afterEffect">
                                  <p:stCondLst>
                                    <p:cond delay="0"/>
                                  </p:stCondLst>
                                  <p:childTnLst>
                                    <p:set>
                                      <p:cBhvr>
                                        <p:cTn id="56" dur="1" fill="hold">
                                          <p:stCondLst>
                                            <p:cond delay="0"/>
                                          </p:stCondLst>
                                        </p:cTn>
                                        <p:tgtEl>
                                          <p:spTgt spid="50"/>
                                        </p:tgtEl>
                                        <p:attrNameLst>
                                          <p:attrName>style.visibility</p:attrName>
                                        </p:attrNameLst>
                                      </p:cBhvr>
                                      <p:to>
                                        <p:strVal val="visible"/>
                                      </p:to>
                                    </p:set>
                                    <p:anim calcmode="lin" valueType="num">
                                      <p:cBhvr additive="base">
                                        <p:cTn id="57" dur="100" fill="hold"/>
                                        <p:tgtEl>
                                          <p:spTgt spid="50"/>
                                        </p:tgtEl>
                                        <p:attrNameLst>
                                          <p:attrName>ppt_x</p:attrName>
                                        </p:attrNameLst>
                                      </p:cBhvr>
                                      <p:tavLst>
                                        <p:tav tm="0">
                                          <p:val>
                                            <p:strVal val="#ppt_x"/>
                                          </p:val>
                                        </p:tav>
                                        <p:tav tm="100000">
                                          <p:val>
                                            <p:strVal val="#ppt_x"/>
                                          </p:val>
                                        </p:tav>
                                      </p:tavLst>
                                    </p:anim>
                                    <p:anim calcmode="lin" valueType="num">
                                      <p:cBhvr additive="base">
                                        <p:cTn id="58" dur="100" fill="hold"/>
                                        <p:tgtEl>
                                          <p:spTgt spid="50"/>
                                        </p:tgtEl>
                                        <p:attrNameLst>
                                          <p:attrName>ppt_y</p:attrName>
                                        </p:attrNameLst>
                                      </p:cBhvr>
                                      <p:tavLst>
                                        <p:tav tm="0">
                                          <p:val>
                                            <p:strVal val="0-#ppt_h/2"/>
                                          </p:val>
                                        </p:tav>
                                        <p:tav tm="100000">
                                          <p:val>
                                            <p:strVal val="#ppt_y"/>
                                          </p:val>
                                        </p:tav>
                                      </p:tavLst>
                                    </p:anim>
                                  </p:childTnLst>
                                </p:cTn>
                              </p:par>
                            </p:childTnLst>
                          </p:cTn>
                        </p:par>
                        <p:par>
                          <p:cTn id="59" fill="hold">
                            <p:stCondLst>
                              <p:cond delay="1100"/>
                            </p:stCondLst>
                            <p:childTnLst>
                              <p:par>
                                <p:cTn id="60" presetID="2" presetClass="entr" presetSubtype="1" fill="hold" nodeType="afterEffect">
                                  <p:stCondLst>
                                    <p:cond delay="0"/>
                                  </p:stCondLst>
                                  <p:childTnLst>
                                    <p:set>
                                      <p:cBhvr>
                                        <p:cTn id="61" dur="1" fill="hold">
                                          <p:stCondLst>
                                            <p:cond delay="0"/>
                                          </p:stCondLst>
                                        </p:cTn>
                                        <p:tgtEl>
                                          <p:spTgt spid="58"/>
                                        </p:tgtEl>
                                        <p:attrNameLst>
                                          <p:attrName>style.visibility</p:attrName>
                                        </p:attrNameLst>
                                      </p:cBhvr>
                                      <p:to>
                                        <p:strVal val="visible"/>
                                      </p:to>
                                    </p:set>
                                    <p:anim calcmode="lin" valueType="num">
                                      <p:cBhvr additive="base">
                                        <p:cTn id="62" dur="100" fill="hold"/>
                                        <p:tgtEl>
                                          <p:spTgt spid="58"/>
                                        </p:tgtEl>
                                        <p:attrNameLst>
                                          <p:attrName>ppt_x</p:attrName>
                                        </p:attrNameLst>
                                      </p:cBhvr>
                                      <p:tavLst>
                                        <p:tav tm="0">
                                          <p:val>
                                            <p:strVal val="#ppt_x"/>
                                          </p:val>
                                        </p:tav>
                                        <p:tav tm="100000">
                                          <p:val>
                                            <p:strVal val="#ppt_x"/>
                                          </p:val>
                                        </p:tav>
                                      </p:tavLst>
                                    </p:anim>
                                    <p:anim calcmode="lin" valueType="num">
                                      <p:cBhvr additive="base">
                                        <p:cTn id="63" dur="100" fill="hold"/>
                                        <p:tgtEl>
                                          <p:spTgt spid="58"/>
                                        </p:tgtEl>
                                        <p:attrNameLst>
                                          <p:attrName>ppt_y</p:attrName>
                                        </p:attrNameLst>
                                      </p:cBhvr>
                                      <p:tavLst>
                                        <p:tav tm="0">
                                          <p:val>
                                            <p:strVal val="0-#ppt_h/2"/>
                                          </p:val>
                                        </p:tav>
                                        <p:tav tm="100000">
                                          <p:val>
                                            <p:strVal val="#ppt_y"/>
                                          </p:val>
                                        </p:tav>
                                      </p:tavLst>
                                    </p:anim>
                                  </p:childTnLst>
                                </p:cTn>
                              </p:par>
                            </p:childTnLst>
                          </p:cTn>
                        </p:par>
                        <p:par>
                          <p:cTn id="64" fill="hold">
                            <p:stCondLst>
                              <p:cond delay="1200"/>
                            </p:stCondLst>
                            <p:childTnLst>
                              <p:par>
                                <p:cTn id="65" presetID="2" presetClass="entr" presetSubtype="1" fill="hold" nodeType="afterEffect">
                                  <p:stCondLst>
                                    <p:cond delay="0"/>
                                  </p:stCondLst>
                                  <p:childTnLst>
                                    <p:set>
                                      <p:cBhvr>
                                        <p:cTn id="66" dur="1" fill="hold">
                                          <p:stCondLst>
                                            <p:cond delay="0"/>
                                          </p:stCondLst>
                                        </p:cTn>
                                        <p:tgtEl>
                                          <p:spTgt spid="55"/>
                                        </p:tgtEl>
                                        <p:attrNameLst>
                                          <p:attrName>style.visibility</p:attrName>
                                        </p:attrNameLst>
                                      </p:cBhvr>
                                      <p:to>
                                        <p:strVal val="visible"/>
                                      </p:to>
                                    </p:set>
                                    <p:anim calcmode="lin" valueType="num">
                                      <p:cBhvr additive="base">
                                        <p:cTn id="67" dur="100" fill="hold"/>
                                        <p:tgtEl>
                                          <p:spTgt spid="55"/>
                                        </p:tgtEl>
                                        <p:attrNameLst>
                                          <p:attrName>ppt_x</p:attrName>
                                        </p:attrNameLst>
                                      </p:cBhvr>
                                      <p:tavLst>
                                        <p:tav tm="0">
                                          <p:val>
                                            <p:strVal val="#ppt_x"/>
                                          </p:val>
                                        </p:tav>
                                        <p:tav tm="100000">
                                          <p:val>
                                            <p:strVal val="#ppt_x"/>
                                          </p:val>
                                        </p:tav>
                                      </p:tavLst>
                                    </p:anim>
                                    <p:anim calcmode="lin" valueType="num">
                                      <p:cBhvr additive="base">
                                        <p:cTn id="68" dur="100" fill="hold"/>
                                        <p:tgtEl>
                                          <p:spTgt spid="55"/>
                                        </p:tgtEl>
                                        <p:attrNameLst>
                                          <p:attrName>ppt_y</p:attrName>
                                        </p:attrNameLst>
                                      </p:cBhvr>
                                      <p:tavLst>
                                        <p:tav tm="0">
                                          <p:val>
                                            <p:strVal val="0-#ppt_h/2"/>
                                          </p:val>
                                        </p:tav>
                                        <p:tav tm="100000">
                                          <p:val>
                                            <p:strVal val="#ppt_y"/>
                                          </p:val>
                                        </p:tav>
                                      </p:tavLst>
                                    </p:anim>
                                  </p:childTnLst>
                                </p:cTn>
                              </p:par>
                            </p:childTnLst>
                          </p:cTn>
                        </p:par>
                        <p:par>
                          <p:cTn id="69" fill="hold">
                            <p:stCondLst>
                              <p:cond delay="1300"/>
                            </p:stCondLst>
                            <p:childTnLst>
                              <p:par>
                                <p:cTn id="70" presetID="2" presetClass="entr" presetSubtype="1" fill="hold" nodeType="afterEffect">
                                  <p:stCondLst>
                                    <p:cond delay="0"/>
                                  </p:stCondLst>
                                  <p:childTnLst>
                                    <p:set>
                                      <p:cBhvr>
                                        <p:cTn id="71" dur="1" fill="hold">
                                          <p:stCondLst>
                                            <p:cond delay="0"/>
                                          </p:stCondLst>
                                        </p:cTn>
                                        <p:tgtEl>
                                          <p:spTgt spid="48"/>
                                        </p:tgtEl>
                                        <p:attrNameLst>
                                          <p:attrName>style.visibility</p:attrName>
                                        </p:attrNameLst>
                                      </p:cBhvr>
                                      <p:to>
                                        <p:strVal val="visible"/>
                                      </p:to>
                                    </p:set>
                                    <p:anim calcmode="lin" valueType="num">
                                      <p:cBhvr additive="base">
                                        <p:cTn id="72" dur="100" fill="hold"/>
                                        <p:tgtEl>
                                          <p:spTgt spid="48"/>
                                        </p:tgtEl>
                                        <p:attrNameLst>
                                          <p:attrName>ppt_x</p:attrName>
                                        </p:attrNameLst>
                                      </p:cBhvr>
                                      <p:tavLst>
                                        <p:tav tm="0">
                                          <p:val>
                                            <p:strVal val="#ppt_x"/>
                                          </p:val>
                                        </p:tav>
                                        <p:tav tm="100000">
                                          <p:val>
                                            <p:strVal val="#ppt_x"/>
                                          </p:val>
                                        </p:tav>
                                      </p:tavLst>
                                    </p:anim>
                                    <p:anim calcmode="lin" valueType="num">
                                      <p:cBhvr additive="base">
                                        <p:cTn id="73" dur="100" fill="hold"/>
                                        <p:tgtEl>
                                          <p:spTgt spid="48"/>
                                        </p:tgtEl>
                                        <p:attrNameLst>
                                          <p:attrName>ppt_y</p:attrName>
                                        </p:attrNameLst>
                                      </p:cBhvr>
                                      <p:tavLst>
                                        <p:tav tm="0">
                                          <p:val>
                                            <p:strVal val="0-#ppt_h/2"/>
                                          </p:val>
                                        </p:tav>
                                        <p:tav tm="100000">
                                          <p:val>
                                            <p:strVal val="#ppt_y"/>
                                          </p:val>
                                        </p:tav>
                                      </p:tavLst>
                                    </p:anim>
                                  </p:childTnLst>
                                </p:cTn>
                              </p:par>
                            </p:childTnLst>
                          </p:cTn>
                        </p:par>
                        <p:par>
                          <p:cTn id="74" fill="hold">
                            <p:stCondLst>
                              <p:cond delay="1400"/>
                            </p:stCondLst>
                            <p:childTnLst>
                              <p:par>
                                <p:cTn id="75" presetID="2" presetClass="entr" presetSubtype="1" fill="hold" nodeType="afterEffect">
                                  <p:stCondLst>
                                    <p:cond delay="0"/>
                                  </p:stCondLst>
                                  <p:childTnLst>
                                    <p:set>
                                      <p:cBhvr>
                                        <p:cTn id="76" dur="1" fill="hold">
                                          <p:stCondLst>
                                            <p:cond delay="0"/>
                                          </p:stCondLst>
                                        </p:cTn>
                                        <p:tgtEl>
                                          <p:spTgt spid="56"/>
                                        </p:tgtEl>
                                        <p:attrNameLst>
                                          <p:attrName>style.visibility</p:attrName>
                                        </p:attrNameLst>
                                      </p:cBhvr>
                                      <p:to>
                                        <p:strVal val="visible"/>
                                      </p:to>
                                    </p:set>
                                    <p:anim calcmode="lin" valueType="num">
                                      <p:cBhvr additive="base">
                                        <p:cTn id="77" dur="100" fill="hold"/>
                                        <p:tgtEl>
                                          <p:spTgt spid="56"/>
                                        </p:tgtEl>
                                        <p:attrNameLst>
                                          <p:attrName>ppt_x</p:attrName>
                                        </p:attrNameLst>
                                      </p:cBhvr>
                                      <p:tavLst>
                                        <p:tav tm="0">
                                          <p:val>
                                            <p:strVal val="#ppt_x"/>
                                          </p:val>
                                        </p:tav>
                                        <p:tav tm="100000">
                                          <p:val>
                                            <p:strVal val="#ppt_x"/>
                                          </p:val>
                                        </p:tav>
                                      </p:tavLst>
                                    </p:anim>
                                    <p:anim calcmode="lin" valueType="num">
                                      <p:cBhvr additive="base">
                                        <p:cTn id="78" dur="100" fill="hold"/>
                                        <p:tgtEl>
                                          <p:spTgt spid="56"/>
                                        </p:tgtEl>
                                        <p:attrNameLst>
                                          <p:attrName>ppt_y</p:attrName>
                                        </p:attrNameLst>
                                      </p:cBhvr>
                                      <p:tavLst>
                                        <p:tav tm="0">
                                          <p:val>
                                            <p:strVal val="0-#ppt_h/2"/>
                                          </p:val>
                                        </p:tav>
                                        <p:tav tm="100000">
                                          <p:val>
                                            <p:strVal val="#ppt_y"/>
                                          </p:val>
                                        </p:tav>
                                      </p:tavLst>
                                    </p:anim>
                                  </p:childTnLst>
                                </p:cTn>
                              </p:par>
                            </p:childTnLst>
                          </p:cTn>
                        </p:par>
                        <p:par>
                          <p:cTn id="79" fill="hold">
                            <p:stCondLst>
                              <p:cond delay="1500"/>
                            </p:stCondLst>
                            <p:childTnLst>
                              <p:par>
                                <p:cTn id="80" presetID="2" presetClass="entr" presetSubtype="1" fill="hold" nodeType="afterEffect">
                                  <p:stCondLst>
                                    <p:cond delay="0"/>
                                  </p:stCondLst>
                                  <p:childTnLst>
                                    <p:set>
                                      <p:cBhvr>
                                        <p:cTn id="81" dur="1" fill="hold">
                                          <p:stCondLst>
                                            <p:cond delay="0"/>
                                          </p:stCondLst>
                                        </p:cTn>
                                        <p:tgtEl>
                                          <p:spTgt spid="51"/>
                                        </p:tgtEl>
                                        <p:attrNameLst>
                                          <p:attrName>style.visibility</p:attrName>
                                        </p:attrNameLst>
                                      </p:cBhvr>
                                      <p:to>
                                        <p:strVal val="visible"/>
                                      </p:to>
                                    </p:set>
                                    <p:anim calcmode="lin" valueType="num">
                                      <p:cBhvr additive="base">
                                        <p:cTn id="82" dur="100" fill="hold"/>
                                        <p:tgtEl>
                                          <p:spTgt spid="51"/>
                                        </p:tgtEl>
                                        <p:attrNameLst>
                                          <p:attrName>ppt_x</p:attrName>
                                        </p:attrNameLst>
                                      </p:cBhvr>
                                      <p:tavLst>
                                        <p:tav tm="0">
                                          <p:val>
                                            <p:strVal val="#ppt_x"/>
                                          </p:val>
                                        </p:tav>
                                        <p:tav tm="100000">
                                          <p:val>
                                            <p:strVal val="#ppt_x"/>
                                          </p:val>
                                        </p:tav>
                                      </p:tavLst>
                                    </p:anim>
                                    <p:anim calcmode="lin" valueType="num">
                                      <p:cBhvr additive="base">
                                        <p:cTn id="83" dur="100" fill="hold"/>
                                        <p:tgtEl>
                                          <p:spTgt spid="51"/>
                                        </p:tgtEl>
                                        <p:attrNameLst>
                                          <p:attrName>ppt_y</p:attrName>
                                        </p:attrNameLst>
                                      </p:cBhvr>
                                      <p:tavLst>
                                        <p:tav tm="0">
                                          <p:val>
                                            <p:strVal val="0-#ppt_h/2"/>
                                          </p:val>
                                        </p:tav>
                                        <p:tav tm="100000">
                                          <p:val>
                                            <p:strVal val="#ppt_y"/>
                                          </p:val>
                                        </p:tav>
                                      </p:tavLst>
                                    </p:anim>
                                  </p:childTnLst>
                                </p:cTn>
                              </p:par>
                            </p:childTnLst>
                          </p:cTn>
                        </p:par>
                        <p:par>
                          <p:cTn id="84" fill="hold">
                            <p:stCondLst>
                              <p:cond delay="1600"/>
                            </p:stCondLst>
                            <p:childTnLst>
                              <p:par>
                                <p:cTn id="85" presetID="2" presetClass="entr" presetSubtype="1" fill="hold" nodeType="afterEffect">
                                  <p:stCondLst>
                                    <p:cond delay="0"/>
                                  </p:stCondLst>
                                  <p:childTnLst>
                                    <p:set>
                                      <p:cBhvr>
                                        <p:cTn id="86" dur="1" fill="hold">
                                          <p:stCondLst>
                                            <p:cond delay="0"/>
                                          </p:stCondLst>
                                        </p:cTn>
                                        <p:tgtEl>
                                          <p:spTgt spid="54"/>
                                        </p:tgtEl>
                                        <p:attrNameLst>
                                          <p:attrName>style.visibility</p:attrName>
                                        </p:attrNameLst>
                                      </p:cBhvr>
                                      <p:to>
                                        <p:strVal val="visible"/>
                                      </p:to>
                                    </p:set>
                                    <p:anim calcmode="lin" valueType="num">
                                      <p:cBhvr additive="base">
                                        <p:cTn id="87" dur="100" fill="hold"/>
                                        <p:tgtEl>
                                          <p:spTgt spid="54"/>
                                        </p:tgtEl>
                                        <p:attrNameLst>
                                          <p:attrName>ppt_x</p:attrName>
                                        </p:attrNameLst>
                                      </p:cBhvr>
                                      <p:tavLst>
                                        <p:tav tm="0">
                                          <p:val>
                                            <p:strVal val="#ppt_x"/>
                                          </p:val>
                                        </p:tav>
                                        <p:tav tm="100000">
                                          <p:val>
                                            <p:strVal val="#ppt_x"/>
                                          </p:val>
                                        </p:tav>
                                      </p:tavLst>
                                    </p:anim>
                                    <p:anim calcmode="lin" valueType="num">
                                      <p:cBhvr additive="base">
                                        <p:cTn id="88" dur="100" fill="hold"/>
                                        <p:tgtEl>
                                          <p:spTgt spid="54"/>
                                        </p:tgtEl>
                                        <p:attrNameLst>
                                          <p:attrName>ppt_y</p:attrName>
                                        </p:attrNameLst>
                                      </p:cBhvr>
                                      <p:tavLst>
                                        <p:tav tm="0">
                                          <p:val>
                                            <p:strVal val="0-#ppt_h/2"/>
                                          </p:val>
                                        </p:tav>
                                        <p:tav tm="100000">
                                          <p:val>
                                            <p:strVal val="#ppt_y"/>
                                          </p:val>
                                        </p:tav>
                                      </p:tavLst>
                                    </p:anim>
                                  </p:childTnLst>
                                </p:cTn>
                              </p:par>
                            </p:childTnLst>
                          </p:cTn>
                        </p:par>
                        <p:par>
                          <p:cTn id="89" fill="hold">
                            <p:stCondLst>
                              <p:cond delay="1700"/>
                            </p:stCondLst>
                            <p:childTnLst>
                              <p:par>
                                <p:cTn id="90" presetID="2" presetClass="entr" presetSubtype="1" fill="hold" nodeType="afterEffect">
                                  <p:stCondLst>
                                    <p:cond delay="0"/>
                                  </p:stCondLst>
                                  <p:childTnLst>
                                    <p:set>
                                      <p:cBhvr>
                                        <p:cTn id="91" dur="1" fill="hold">
                                          <p:stCondLst>
                                            <p:cond delay="0"/>
                                          </p:stCondLst>
                                        </p:cTn>
                                        <p:tgtEl>
                                          <p:spTgt spid="57"/>
                                        </p:tgtEl>
                                        <p:attrNameLst>
                                          <p:attrName>style.visibility</p:attrName>
                                        </p:attrNameLst>
                                      </p:cBhvr>
                                      <p:to>
                                        <p:strVal val="visible"/>
                                      </p:to>
                                    </p:set>
                                    <p:anim calcmode="lin" valueType="num">
                                      <p:cBhvr additive="base">
                                        <p:cTn id="92" dur="100" fill="hold"/>
                                        <p:tgtEl>
                                          <p:spTgt spid="57"/>
                                        </p:tgtEl>
                                        <p:attrNameLst>
                                          <p:attrName>ppt_x</p:attrName>
                                        </p:attrNameLst>
                                      </p:cBhvr>
                                      <p:tavLst>
                                        <p:tav tm="0">
                                          <p:val>
                                            <p:strVal val="#ppt_x"/>
                                          </p:val>
                                        </p:tav>
                                        <p:tav tm="100000">
                                          <p:val>
                                            <p:strVal val="#ppt_x"/>
                                          </p:val>
                                        </p:tav>
                                      </p:tavLst>
                                    </p:anim>
                                    <p:anim calcmode="lin" valueType="num">
                                      <p:cBhvr additive="base">
                                        <p:cTn id="93" dur="100" fill="hold"/>
                                        <p:tgtEl>
                                          <p:spTgt spid="57"/>
                                        </p:tgtEl>
                                        <p:attrNameLst>
                                          <p:attrName>ppt_y</p:attrName>
                                        </p:attrNameLst>
                                      </p:cBhvr>
                                      <p:tavLst>
                                        <p:tav tm="0">
                                          <p:val>
                                            <p:strVal val="0-#ppt_h/2"/>
                                          </p:val>
                                        </p:tav>
                                        <p:tav tm="100000">
                                          <p:val>
                                            <p:strVal val="#ppt_y"/>
                                          </p:val>
                                        </p:tav>
                                      </p:tavLst>
                                    </p:anim>
                                  </p:childTnLst>
                                </p:cTn>
                              </p:par>
                            </p:childTnLst>
                          </p:cTn>
                        </p:par>
                        <p:par>
                          <p:cTn id="94" fill="hold">
                            <p:stCondLst>
                              <p:cond delay="1800"/>
                            </p:stCondLst>
                            <p:childTnLst>
                              <p:par>
                                <p:cTn id="95" presetID="2" presetClass="entr" presetSubtype="1" fill="hold" nodeType="afterEffect">
                                  <p:stCondLst>
                                    <p:cond delay="0"/>
                                  </p:stCondLst>
                                  <p:childTnLst>
                                    <p:set>
                                      <p:cBhvr>
                                        <p:cTn id="96" dur="1" fill="hold">
                                          <p:stCondLst>
                                            <p:cond delay="0"/>
                                          </p:stCondLst>
                                        </p:cTn>
                                        <p:tgtEl>
                                          <p:spTgt spid="60"/>
                                        </p:tgtEl>
                                        <p:attrNameLst>
                                          <p:attrName>style.visibility</p:attrName>
                                        </p:attrNameLst>
                                      </p:cBhvr>
                                      <p:to>
                                        <p:strVal val="visible"/>
                                      </p:to>
                                    </p:set>
                                    <p:anim calcmode="lin" valueType="num">
                                      <p:cBhvr additive="base">
                                        <p:cTn id="97" dur="100" fill="hold"/>
                                        <p:tgtEl>
                                          <p:spTgt spid="60"/>
                                        </p:tgtEl>
                                        <p:attrNameLst>
                                          <p:attrName>ppt_x</p:attrName>
                                        </p:attrNameLst>
                                      </p:cBhvr>
                                      <p:tavLst>
                                        <p:tav tm="0">
                                          <p:val>
                                            <p:strVal val="#ppt_x"/>
                                          </p:val>
                                        </p:tav>
                                        <p:tav tm="100000">
                                          <p:val>
                                            <p:strVal val="#ppt_x"/>
                                          </p:val>
                                        </p:tav>
                                      </p:tavLst>
                                    </p:anim>
                                    <p:anim calcmode="lin" valueType="num">
                                      <p:cBhvr additive="base">
                                        <p:cTn id="98" dur="100" fill="hold"/>
                                        <p:tgtEl>
                                          <p:spTgt spid="60"/>
                                        </p:tgtEl>
                                        <p:attrNameLst>
                                          <p:attrName>ppt_y</p:attrName>
                                        </p:attrNameLst>
                                      </p:cBhvr>
                                      <p:tavLst>
                                        <p:tav tm="0">
                                          <p:val>
                                            <p:strVal val="0-#ppt_h/2"/>
                                          </p:val>
                                        </p:tav>
                                        <p:tav tm="100000">
                                          <p:val>
                                            <p:strVal val="#ppt_y"/>
                                          </p:val>
                                        </p:tav>
                                      </p:tavLst>
                                    </p:anim>
                                  </p:childTnLst>
                                </p:cTn>
                              </p:par>
                            </p:childTnLst>
                          </p:cTn>
                        </p:par>
                        <p:par>
                          <p:cTn id="99" fill="hold">
                            <p:stCondLst>
                              <p:cond delay="1900"/>
                            </p:stCondLst>
                            <p:childTnLst>
                              <p:par>
                                <p:cTn id="100" presetID="2" presetClass="entr" presetSubtype="1" fill="hold" nodeType="afterEffect">
                                  <p:stCondLst>
                                    <p:cond delay="0"/>
                                  </p:stCondLst>
                                  <p:childTnLst>
                                    <p:set>
                                      <p:cBhvr>
                                        <p:cTn id="101" dur="1" fill="hold">
                                          <p:stCondLst>
                                            <p:cond delay="0"/>
                                          </p:stCondLst>
                                        </p:cTn>
                                        <p:tgtEl>
                                          <p:spTgt spid="59"/>
                                        </p:tgtEl>
                                        <p:attrNameLst>
                                          <p:attrName>style.visibility</p:attrName>
                                        </p:attrNameLst>
                                      </p:cBhvr>
                                      <p:to>
                                        <p:strVal val="visible"/>
                                      </p:to>
                                    </p:set>
                                    <p:anim calcmode="lin" valueType="num">
                                      <p:cBhvr additive="base">
                                        <p:cTn id="102" dur="100" fill="hold"/>
                                        <p:tgtEl>
                                          <p:spTgt spid="59"/>
                                        </p:tgtEl>
                                        <p:attrNameLst>
                                          <p:attrName>ppt_x</p:attrName>
                                        </p:attrNameLst>
                                      </p:cBhvr>
                                      <p:tavLst>
                                        <p:tav tm="0">
                                          <p:val>
                                            <p:strVal val="#ppt_x"/>
                                          </p:val>
                                        </p:tav>
                                        <p:tav tm="100000">
                                          <p:val>
                                            <p:strVal val="#ppt_x"/>
                                          </p:val>
                                        </p:tav>
                                      </p:tavLst>
                                    </p:anim>
                                    <p:anim calcmode="lin" valueType="num">
                                      <p:cBhvr additive="base">
                                        <p:cTn id="103" dur="100" fill="hold"/>
                                        <p:tgtEl>
                                          <p:spTgt spid="59"/>
                                        </p:tgtEl>
                                        <p:attrNameLst>
                                          <p:attrName>ppt_y</p:attrName>
                                        </p:attrNameLst>
                                      </p:cBhvr>
                                      <p:tavLst>
                                        <p:tav tm="0">
                                          <p:val>
                                            <p:strVal val="0-#ppt_h/2"/>
                                          </p:val>
                                        </p:tav>
                                        <p:tav tm="100000">
                                          <p:val>
                                            <p:strVal val="#ppt_y"/>
                                          </p:val>
                                        </p:tav>
                                      </p:tavLst>
                                    </p:anim>
                                  </p:childTnLst>
                                </p:cTn>
                              </p:par>
                            </p:childTnLst>
                          </p:cTn>
                        </p:par>
                        <p:par>
                          <p:cTn id="104" fill="hold">
                            <p:stCondLst>
                              <p:cond delay="2000"/>
                            </p:stCondLst>
                            <p:childTnLst>
                              <p:par>
                                <p:cTn id="105" presetID="2" presetClass="entr" presetSubtype="1" fill="hold" nodeType="afterEffect">
                                  <p:stCondLst>
                                    <p:cond delay="0"/>
                                  </p:stCondLst>
                                  <p:childTnLst>
                                    <p:set>
                                      <p:cBhvr>
                                        <p:cTn id="106" dur="1" fill="hold">
                                          <p:stCondLst>
                                            <p:cond delay="0"/>
                                          </p:stCondLst>
                                        </p:cTn>
                                        <p:tgtEl>
                                          <p:spTgt spid="43"/>
                                        </p:tgtEl>
                                        <p:attrNameLst>
                                          <p:attrName>style.visibility</p:attrName>
                                        </p:attrNameLst>
                                      </p:cBhvr>
                                      <p:to>
                                        <p:strVal val="visible"/>
                                      </p:to>
                                    </p:set>
                                    <p:anim calcmode="lin" valueType="num">
                                      <p:cBhvr additive="base">
                                        <p:cTn id="107" dur="100" fill="hold"/>
                                        <p:tgtEl>
                                          <p:spTgt spid="43"/>
                                        </p:tgtEl>
                                        <p:attrNameLst>
                                          <p:attrName>ppt_x</p:attrName>
                                        </p:attrNameLst>
                                      </p:cBhvr>
                                      <p:tavLst>
                                        <p:tav tm="0">
                                          <p:val>
                                            <p:strVal val="#ppt_x"/>
                                          </p:val>
                                        </p:tav>
                                        <p:tav tm="100000">
                                          <p:val>
                                            <p:strVal val="#ppt_x"/>
                                          </p:val>
                                        </p:tav>
                                      </p:tavLst>
                                    </p:anim>
                                    <p:anim calcmode="lin" valueType="num">
                                      <p:cBhvr additive="base">
                                        <p:cTn id="108" dur="100" fill="hold"/>
                                        <p:tgtEl>
                                          <p:spTgt spid="43"/>
                                        </p:tgtEl>
                                        <p:attrNameLst>
                                          <p:attrName>ppt_y</p:attrName>
                                        </p:attrNameLst>
                                      </p:cBhvr>
                                      <p:tavLst>
                                        <p:tav tm="0">
                                          <p:val>
                                            <p:strVal val="0-#ppt_h/2"/>
                                          </p:val>
                                        </p:tav>
                                        <p:tav tm="100000">
                                          <p:val>
                                            <p:strVal val="#ppt_y"/>
                                          </p:val>
                                        </p:tav>
                                      </p:tavLst>
                                    </p:anim>
                                  </p:childTnLst>
                                </p:cTn>
                              </p:par>
                            </p:childTnLst>
                          </p:cTn>
                        </p:par>
                        <p:par>
                          <p:cTn id="109" fill="hold">
                            <p:stCondLst>
                              <p:cond delay="2100"/>
                            </p:stCondLst>
                            <p:childTnLst>
                              <p:par>
                                <p:cTn id="110" presetID="2" presetClass="entr" presetSubtype="1" fill="hold" nodeType="afterEffect">
                                  <p:stCondLst>
                                    <p:cond delay="0"/>
                                  </p:stCondLst>
                                  <p:childTnLst>
                                    <p:set>
                                      <p:cBhvr>
                                        <p:cTn id="111" dur="1" fill="hold">
                                          <p:stCondLst>
                                            <p:cond delay="0"/>
                                          </p:stCondLst>
                                        </p:cTn>
                                        <p:tgtEl>
                                          <p:spTgt spid="61"/>
                                        </p:tgtEl>
                                        <p:attrNameLst>
                                          <p:attrName>style.visibility</p:attrName>
                                        </p:attrNameLst>
                                      </p:cBhvr>
                                      <p:to>
                                        <p:strVal val="visible"/>
                                      </p:to>
                                    </p:set>
                                    <p:anim calcmode="lin" valueType="num">
                                      <p:cBhvr additive="base">
                                        <p:cTn id="112" dur="100" fill="hold"/>
                                        <p:tgtEl>
                                          <p:spTgt spid="61"/>
                                        </p:tgtEl>
                                        <p:attrNameLst>
                                          <p:attrName>ppt_x</p:attrName>
                                        </p:attrNameLst>
                                      </p:cBhvr>
                                      <p:tavLst>
                                        <p:tav tm="0">
                                          <p:val>
                                            <p:strVal val="#ppt_x"/>
                                          </p:val>
                                        </p:tav>
                                        <p:tav tm="100000">
                                          <p:val>
                                            <p:strVal val="#ppt_x"/>
                                          </p:val>
                                        </p:tav>
                                      </p:tavLst>
                                    </p:anim>
                                    <p:anim calcmode="lin" valueType="num">
                                      <p:cBhvr additive="base">
                                        <p:cTn id="113" dur="100" fill="hold"/>
                                        <p:tgtEl>
                                          <p:spTgt spid="61"/>
                                        </p:tgtEl>
                                        <p:attrNameLst>
                                          <p:attrName>ppt_y</p:attrName>
                                        </p:attrNameLst>
                                      </p:cBhvr>
                                      <p:tavLst>
                                        <p:tav tm="0">
                                          <p:val>
                                            <p:strVal val="0-#ppt_h/2"/>
                                          </p:val>
                                        </p:tav>
                                        <p:tav tm="100000">
                                          <p:val>
                                            <p:strVal val="#ppt_y"/>
                                          </p:val>
                                        </p:tav>
                                      </p:tavLst>
                                    </p:anim>
                                  </p:childTnLst>
                                </p:cTn>
                              </p:par>
                            </p:childTnLst>
                          </p:cTn>
                        </p:par>
                        <p:par>
                          <p:cTn id="114" fill="hold">
                            <p:stCondLst>
                              <p:cond delay="2200"/>
                            </p:stCondLst>
                            <p:childTnLst>
                              <p:par>
                                <p:cTn id="115" presetID="2" presetClass="entr" presetSubtype="1" fill="hold" nodeType="afterEffect">
                                  <p:stCondLst>
                                    <p:cond delay="0"/>
                                  </p:stCondLst>
                                  <p:childTnLst>
                                    <p:set>
                                      <p:cBhvr>
                                        <p:cTn id="116" dur="1" fill="hold">
                                          <p:stCondLst>
                                            <p:cond delay="0"/>
                                          </p:stCondLst>
                                        </p:cTn>
                                        <p:tgtEl>
                                          <p:spTgt spid="62"/>
                                        </p:tgtEl>
                                        <p:attrNameLst>
                                          <p:attrName>style.visibility</p:attrName>
                                        </p:attrNameLst>
                                      </p:cBhvr>
                                      <p:to>
                                        <p:strVal val="visible"/>
                                      </p:to>
                                    </p:set>
                                    <p:anim calcmode="lin" valueType="num">
                                      <p:cBhvr additive="base">
                                        <p:cTn id="117" dur="100" fill="hold"/>
                                        <p:tgtEl>
                                          <p:spTgt spid="62"/>
                                        </p:tgtEl>
                                        <p:attrNameLst>
                                          <p:attrName>ppt_x</p:attrName>
                                        </p:attrNameLst>
                                      </p:cBhvr>
                                      <p:tavLst>
                                        <p:tav tm="0">
                                          <p:val>
                                            <p:strVal val="#ppt_x"/>
                                          </p:val>
                                        </p:tav>
                                        <p:tav tm="100000">
                                          <p:val>
                                            <p:strVal val="#ppt_x"/>
                                          </p:val>
                                        </p:tav>
                                      </p:tavLst>
                                    </p:anim>
                                    <p:anim calcmode="lin" valueType="num">
                                      <p:cBhvr additive="base">
                                        <p:cTn id="118" dur="100" fill="hold"/>
                                        <p:tgtEl>
                                          <p:spTgt spid="62"/>
                                        </p:tgtEl>
                                        <p:attrNameLst>
                                          <p:attrName>ppt_y</p:attrName>
                                        </p:attrNameLst>
                                      </p:cBhvr>
                                      <p:tavLst>
                                        <p:tav tm="0">
                                          <p:val>
                                            <p:strVal val="0-#ppt_h/2"/>
                                          </p:val>
                                        </p:tav>
                                        <p:tav tm="100000">
                                          <p:val>
                                            <p:strVal val="#ppt_y"/>
                                          </p:val>
                                        </p:tav>
                                      </p:tavLst>
                                    </p:anim>
                                  </p:childTnLst>
                                </p:cTn>
                              </p:par>
                            </p:childTnLst>
                          </p:cTn>
                        </p:par>
                        <p:par>
                          <p:cTn id="119" fill="hold">
                            <p:stCondLst>
                              <p:cond delay="2300"/>
                            </p:stCondLst>
                            <p:childTnLst>
                              <p:par>
                                <p:cTn id="120" presetID="2" presetClass="entr" presetSubtype="1" fill="hold" nodeType="afterEffect">
                                  <p:stCondLst>
                                    <p:cond delay="0"/>
                                  </p:stCondLst>
                                  <p:childTnLst>
                                    <p:set>
                                      <p:cBhvr>
                                        <p:cTn id="121" dur="1" fill="hold">
                                          <p:stCondLst>
                                            <p:cond delay="0"/>
                                          </p:stCondLst>
                                        </p:cTn>
                                        <p:tgtEl>
                                          <p:spTgt spid="64"/>
                                        </p:tgtEl>
                                        <p:attrNameLst>
                                          <p:attrName>style.visibility</p:attrName>
                                        </p:attrNameLst>
                                      </p:cBhvr>
                                      <p:to>
                                        <p:strVal val="visible"/>
                                      </p:to>
                                    </p:set>
                                    <p:anim calcmode="lin" valueType="num">
                                      <p:cBhvr additive="base">
                                        <p:cTn id="122" dur="100" fill="hold"/>
                                        <p:tgtEl>
                                          <p:spTgt spid="64"/>
                                        </p:tgtEl>
                                        <p:attrNameLst>
                                          <p:attrName>ppt_x</p:attrName>
                                        </p:attrNameLst>
                                      </p:cBhvr>
                                      <p:tavLst>
                                        <p:tav tm="0">
                                          <p:val>
                                            <p:strVal val="#ppt_x"/>
                                          </p:val>
                                        </p:tav>
                                        <p:tav tm="100000">
                                          <p:val>
                                            <p:strVal val="#ppt_x"/>
                                          </p:val>
                                        </p:tav>
                                      </p:tavLst>
                                    </p:anim>
                                    <p:anim calcmode="lin" valueType="num">
                                      <p:cBhvr additive="base">
                                        <p:cTn id="123" dur="100" fill="hold"/>
                                        <p:tgtEl>
                                          <p:spTgt spid="6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972749" y="-160990"/>
            <a:ext cx="8246502" cy="7179980"/>
          </a:xfrm>
          <a:prstGeom prst="rect">
            <a:avLst/>
          </a:prstGeom>
        </p:spPr>
      </p:pic>
    </p:spTree>
    <p:extLst>
      <p:ext uri="{BB962C8B-B14F-4D97-AF65-F5344CB8AC3E}">
        <p14:creationId xmlns:p14="http://schemas.microsoft.com/office/powerpoint/2010/main" val="2756006849"/>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4294967295"/>
          </p:nvPr>
        </p:nvSpPr>
        <p:spPr>
          <a:xfrm>
            <a:off x="1525192" y="3601994"/>
            <a:ext cx="9141619" cy="443198"/>
          </a:xfrm>
          <a:prstGeom prst="rect">
            <a:avLst/>
          </a:prstGeom>
        </p:spPr>
        <p:txBody>
          <a:bodyPr/>
          <a:lstStyle/>
          <a:p>
            <a:endParaRPr lang="en-US"/>
          </a:p>
        </p:txBody>
      </p:sp>
      <p:pic>
        <p:nvPicPr>
          <p:cNvPr id="4" name="Picture 3"/>
          <p:cNvPicPr>
            <a:picLocks noChangeAspect="1"/>
          </p:cNvPicPr>
          <p:nvPr/>
        </p:nvPicPr>
        <p:blipFill>
          <a:blip r:embed="rId3"/>
          <a:stretch>
            <a:fillRect/>
          </a:stretch>
        </p:blipFill>
        <p:spPr>
          <a:xfrm>
            <a:off x="1216462" y="893"/>
            <a:ext cx="9759079" cy="6832976"/>
          </a:xfrm>
          <a:prstGeom prst="rect">
            <a:avLst/>
          </a:prstGeom>
        </p:spPr>
      </p:pic>
    </p:spTree>
    <p:extLst>
      <p:ext uri="{BB962C8B-B14F-4D97-AF65-F5344CB8AC3E}">
        <p14:creationId xmlns:p14="http://schemas.microsoft.com/office/powerpoint/2010/main" val="2971296109"/>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4294967295"/>
          </p:nvPr>
        </p:nvPicPr>
        <p:blipFill>
          <a:blip r:embed="rId3"/>
          <a:stretch>
            <a:fillRect/>
          </a:stretch>
        </p:blipFill>
        <p:spPr>
          <a:xfrm>
            <a:off x="1199920" y="893"/>
            <a:ext cx="9899913" cy="6863282"/>
          </a:xfrm>
          <a:prstGeom prst="rect">
            <a:avLst/>
          </a:prstGeom>
        </p:spPr>
      </p:pic>
    </p:spTree>
    <p:extLst>
      <p:ext uri="{BB962C8B-B14F-4D97-AF65-F5344CB8AC3E}">
        <p14:creationId xmlns:p14="http://schemas.microsoft.com/office/powerpoint/2010/main" val="3329619837"/>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6"/>
            <a:ext cx="11653523" cy="511081"/>
          </a:xfrm>
        </p:spPr>
        <p:txBody>
          <a:bodyPr/>
          <a:lstStyle/>
          <a:p>
            <a:endParaRPr lang="en-US"/>
          </a:p>
        </p:txBody>
      </p:sp>
      <p:sp>
        <p:nvSpPr>
          <p:cNvPr id="3" name="Title 2"/>
          <p:cNvSpPr>
            <a:spLocks noGrp="1"/>
          </p:cNvSpPr>
          <p:nvPr>
            <p:ph type="title"/>
          </p:nvPr>
        </p:nvSpPr>
        <p:spPr/>
        <p:txBody>
          <a:bodyPr/>
          <a:lstStyle/>
          <a:p>
            <a:endParaRPr lang="en-US"/>
          </a:p>
        </p:txBody>
      </p:sp>
      <p:pic>
        <p:nvPicPr>
          <p:cNvPr id="4" name="Picture 3"/>
          <p:cNvPicPr>
            <a:picLocks noChangeAspect="1"/>
          </p:cNvPicPr>
          <p:nvPr/>
        </p:nvPicPr>
        <p:blipFill>
          <a:blip r:embed="rId2"/>
          <a:stretch>
            <a:fillRect/>
          </a:stretch>
        </p:blipFill>
        <p:spPr>
          <a:xfrm>
            <a:off x="1589" y="289513"/>
            <a:ext cx="12188825" cy="6568488"/>
          </a:xfrm>
          <a:prstGeom prst="rect">
            <a:avLst/>
          </a:prstGeom>
        </p:spPr>
      </p:pic>
    </p:spTree>
    <p:extLst>
      <p:ext uri="{BB962C8B-B14F-4D97-AF65-F5344CB8AC3E}">
        <p14:creationId xmlns:p14="http://schemas.microsoft.com/office/powerpoint/2010/main" val="2409311638"/>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4294967295"/>
          </p:nvPr>
        </p:nvPicPr>
        <p:blipFill>
          <a:blip r:embed="rId3"/>
          <a:stretch>
            <a:fillRect/>
          </a:stretch>
        </p:blipFill>
        <p:spPr>
          <a:xfrm>
            <a:off x="1220601" y="893"/>
            <a:ext cx="9863194" cy="6862422"/>
          </a:xfrm>
          <a:prstGeom prst="rect">
            <a:avLst/>
          </a:prstGeom>
        </p:spPr>
      </p:pic>
    </p:spTree>
    <p:extLst>
      <p:ext uri="{BB962C8B-B14F-4D97-AF65-F5344CB8AC3E}">
        <p14:creationId xmlns:p14="http://schemas.microsoft.com/office/powerpoint/2010/main" val="847525785"/>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0435" y="365924"/>
            <a:ext cx="10871997" cy="1563677"/>
          </a:xfrm>
        </p:spPr>
        <p:txBody>
          <a:bodyPr/>
          <a:lstStyle/>
          <a:p>
            <a:r>
              <a:rPr lang="en-US" b="1" dirty="0" err="1" smtClean="0">
                <a:solidFill>
                  <a:schemeClr val="bg2">
                    <a:lumMod val="50000"/>
                  </a:schemeClr>
                </a:solidFill>
                <a:latin typeface="Segoe UI Light" panose="020B0502040204020203" pitchFamily="34" charset="0"/>
                <a:cs typeface="Segoe UI Light" panose="020B0502040204020203" pitchFamily="34" charset="0"/>
              </a:rPr>
              <a:t>HeatMap</a:t>
            </a:r>
            <a:r>
              <a:rPr lang="en-US" b="1" dirty="0" smtClean="0">
                <a:solidFill>
                  <a:schemeClr val="bg2">
                    <a:lumMod val="50000"/>
                  </a:schemeClr>
                </a:solidFill>
                <a:latin typeface="Segoe UI Light" panose="020B0502040204020203" pitchFamily="34" charset="0"/>
                <a:cs typeface="Segoe UI Light" panose="020B0502040204020203" pitchFamily="34" charset="0"/>
              </a:rPr>
              <a:t>: 5 Compute Nodes running at 100%</a:t>
            </a:r>
            <a:endParaRPr lang="en-US" b="1" dirty="0">
              <a:solidFill>
                <a:schemeClr val="bg2">
                  <a:lumMod val="50000"/>
                </a:schemeClr>
              </a:solidFill>
              <a:latin typeface="Segoe UI Light" panose="020B0502040204020203" pitchFamily="34" charset="0"/>
              <a:cs typeface="Segoe UI Light" panose="020B0502040204020203" pitchFamily="34" charset="0"/>
            </a:endParaRPr>
          </a:p>
        </p:txBody>
      </p:sp>
      <p:pic>
        <p:nvPicPr>
          <p:cNvPr id="4" name="Content Placeholder 3"/>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839570" y="1691141"/>
            <a:ext cx="10547129" cy="2749967"/>
          </a:xfrm>
          <a:prstGeom prst="rect">
            <a:avLst/>
          </a:prstGeom>
        </p:spPr>
      </p:pic>
    </p:spTree>
    <p:extLst>
      <p:ext uri="{BB962C8B-B14F-4D97-AF65-F5344CB8AC3E}">
        <p14:creationId xmlns:p14="http://schemas.microsoft.com/office/powerpoint/2010/main" val="2816665615"/>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eat Map: Scaling to 96 cores</a:t>
            </a:r>
            <a:endParaRPr lang="en-US" dirty="0"/>
          </a:p>
        </p:txBody>
      </p:sp>
      <p:sp>
        <p:nvSpPr>
          <p:cNvPr id="3" name="Text Placeholder 2"/>
          <p:cNvSpPr>
            <a:spLocks noGrp="1"/>
          </p:cNvSpPr>
          <p:nvPr>
            <p:ph type="body" sz="quarter" idx="11"/>
          </p:nvPr>
        </p:nvSpPr>
        <p:spPr>
          <a:xfrm>
            <a:off x="3475392" y="3641568"/>
            <a:ext cx="6945312" cy="794064"/>
          </a:xfrm>
        </p:spPr>
        <p:txBody>
          <a:bodyPr/>
          <a:lstStyle/>
          <a:p>
            <a:endParaRPr lang="en-US"/>
          </a:p>
        </p:txBody>
      </p:sp>
      <p:pic>
        <p:nvPicPr>
          <p:cNvPr id="4" name="Picture 3"/>
          <p:cNvPicPr>
            <a:picLocks noChangeAspect="1"/>
          </p:cNvPicPr>
          <p:nvPr/>
        </p:nvPicPr>
        <p:blipFill>
          <a:blip r:embed="rId2"/>
          <a:stretch>
            <a:fillRect/>
          </a:stretch>
        </p:blipFill>
        <p:spPr>
          <a:xfrm>
            <a:off x="520701" y="1481645"/>
            <a:ext cx="11149013" cy="5040270"/>
          </a:xfrm>
          <a:prstGeom prst="rect">
            <a:avLst/>
          </a:prstGeom>
        </p:spPr>
      </p:pic>
    </p:spTree>
    <p:extLst>
      <p:ext uri="{BB962C8B-B14F-4D97-AF65-F5344CB8AC3E}">
        <p14:creationId xmlns:p14="http://schemas.microsoft.com/office/powerpoint/2010/main" val="1316166359"/>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a:blip r:embed="rId2"/>
          <a:stretch>
            <a:fillRect/>
          </a:stretch>
        </p:blipFill>
        <p:spPr>
          <a:xfrm>
            <a:off x="389044" y="109381"/>
            <a:ext cx="11668126" cy="9109159"/>
          </a:xfrm>
          <a:prstGeom prst="rect">
            <a:avLst/>
          </a:prstGeom>
        </p:spPr>
      </p:pic>
    </p:spTree>
    <p:extLst>
      <p:ext uri="{BB962C8B-B14F-4D97-AF65-F5344CB8AC3E}">
        <p14:creationId xmlns:p14="http://schemas.microsoft.com/office/powerpoint/2010/main" val="3596450035"/>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1"/>
          </p:nvPr>
        </p:nvSpPr>
        <p:spPr>
          <a:xfrm>
            <a:off x="3475392" y="3641568"/>
            <a:ext cx="6945312" cy="794064"/>
          </a:xfrm>
        </p:spPr>
        <p:txBody>
          <a:bodyPr/>
          <a:lstStyle/>
          <a:p>
            <a:endParaRPr lang="en-US"/>
          </a:p>
        </p:txBody>
      </p:sp>
      <p:pic>
        <p:nvPicPr>
          <p:cNvPr id="4" name="Picture 3"/>
          <p:cNvPicPr>
            <a:picLocks noChangeAspect="1"/>
          </p:cNvPicPr>
          <p:nvPr/>
        </p:nvPicPr>
        <p:blipFill>
          <a:blip r:embed="rId2"/>
          <a:stretch>
            <a:fillRect/>
          </a:stretch>
        </p:blipFill>
        <p:spPr>
          <a:xfrm>
            <a:off x="520700" y="0"/>
            <a:ext cx="10488920" cy="6596230"/>
          </a:xfrm>
          <a:prstGeom prst="rect">
            <a:avLst/>
          </a:prstGeom>
        </p:spPr>
      </p:pic>
    </p:spTree>
    <p:extLst>
      <p:ext uri="{BB962C8B-B14F-4D97-AF65-F5344CB8AC3E}">
        <p14:creationId xmlns:p14="http://schemas.microsoft.com/office/powerpoint/2010/main" val="636846810"/>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rocessing Steps</a:t>
            </a:r>
            <a:endParaRPr lang="en-US" dirty="0"/>
          </a:p>
        </p:txBody>
      </p:sp>
      <p:sp>
        <p:nvSpPr>
          <p:cNvPr id="5" name="Text Placeholder 4"/>
          <p:cNvSpPr>
            <a:spLocks noGrp="1"/>
          </p:cNvSpPr>
          <p:nvPr>
            <p:ph type="body" sz="quarter" idx="10"/>
          </p:nvPr>
        </p:nvSpPr>
        <p:spPr>
          <a:xfrm>
            <a:off x="519248" y="1447799"/>
            <a:ext cx="11151917" cy="443198"/>
          </a:xfrm>
        </p:spPr>
        <p:txBody>
          <a:bodyPr/>
          <a:lstStyle/>
          <a:p>
            <a:endParaRPr lang="en-US"/>
          </a:p>
        </p:txBody>
      </p:sp>
      <p:pic>
        <p:nvPicPr>
          <p:cNvPr id="6" name="Picture 5"/>
          <p:cNvPicPr>
            <a:picLocks noChangeAspect="1"/>
          </p:cNvPicPr>
          <p:nvPr/>
        </p:nvPicPr>
        <p:blipFill>
          <a:blip r:embed="rId2"/>
          <a:stretch>
            <a:fillRect/>
          </a:stretch>
        </p:blipFill>
        <p:spPr>
          <a:xfrm>
            <a:off x="520700" y="1229626"/>
            <a:ext cx="11149013" cy="5586520"/>
          </a:xfrm>
          <a:prstGeom prst="rect">
            <a:avLst/>
          </a:prstGeom>
        </p:spPr>
      </p:pic>
    </p:spTree>
    <p:extLst>
      <p:ext uri="{BB962C8B-B14F-4D97-AF65-F5344CB8AC3E}">
        <p14:creationId xmlns:p14="http://schemas.microsoft.com/office/powerpoint/2010/main" val="343162721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fsu\shares\gfscomms\photos\photosdatacenter\CH1 print res jpegs for presspass\CH1-180.jpg"/>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5986625" y="1524000"/>
            <a:ext cx="4692664" cy="3352800"/>
          </a:xfrm>
          <a:prstGeom prst="rect">
            <a:avLst/>
          </a:prstGeom>
          <a:noFill/>
          <a:ln w="57150">
            <a:noFill/>
          </a:ln>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828800" y="228857"/>
            <a:ext cx="8305800" cy="747897"/>
          </a:xfrm>
        </p:spPr>
        <p:txBody>
          <a:bodyPr>
            <a:noAutofit/>
          </a:bodyPr>
          <a:lstStyle/>
          <a:p>
            <a:pPr algn="l"/>
            <a:r>
              <a:rPr lang="en-US" sz="4800" dirty="0">
                <a:solidFill>
                  <a:schemeClr val="tx1"/>
                </a:solidFill>
                <a:cs typeface="Segoe UI Light" panose="020B0502040204020203" pitchFamily="34" charset="0"/>
              </a:rPr>
              <a:t>Inside a Microsoft Data Center</a:t>
            </a:r>
          </a:p>
        </p:txBody>
      </p:sp>
      <p:pic>
        <p:nvPicPr>
          <p:cNvPr id="4" name="Picture 2" descr="C:\Users\rickba\Desktop\GOV pics\SDC13304.JPG"/>
          <p:cNvPicPr>
            <a:picLocks noChangeAspect="1" noChangeArrowheads="1"/>
          </p:cNvPicPr>
          <p:nvPr/>
        </p:nvPicPr>
        <p:blipFill>
          <a:blip r:embed="rId3" cstate="email">
            <a:extLst>
              <a:ext uri="{28A0092B-C50C-407E-A947-70E740481C1C}">
                <a14:useLocalDpi xmlns:a14="http://schemas.microsoft.com/office/drawing/2010/main" val="0"/>
              </a:ext>
            </a:extLst>
          </a:blip>
          <a:stretch>
            <a:fillRect/>
          </a:stretch>
        </p:blipFill>
        <p:spPr bwMode="auto">
          <a:xfrm>
            <a:off x="2286000" y="1219202"/>
            <a:ext cx="3670900" cy="48978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descr="C:\Users\rickba\Desktop\GOV pics\SDC13299.JPG"/>
          <p:cNvPicPr>
            <a:picLocks noChangeAspect="1" noChangeArrowheads="1"/>
          </p:cNvPicPr>
          <p:nvPr/>
        </p:nvPicPr>
        <p:blipFill>
          <a:blip r:embed="rId4" cstate="email">
            <a:extLst>
              <a:ext uri="{28A0092B-C50C-407E-A947-70E740481C1C}">
                <a14:useLocalDpi xmlns:a14="http://schemas.microsoft.com/office/drawing/2010/main" val="0"/>
              </a:ext>
            </a:extLst>
          </a:blip>
          <a:stretch>
            <a:fillRect/>
          </a:stretch>
        </p:blipFill>
        <p:spPr bwMode="auto">
          <a:xfrm>
            <a:off x="5335863" y="4267251"/>
            <a:ext cx="3960561" cy="2194405"/>
          </a:xfrm>
          <a:prstGeom prst="ellipse">
            <a:avLst/>
          </a:prstGeom>
          <a:ln w="6350" cap="rnd">
            <a:solidFill>
              <a:srgbClr val="9AC8EF"/>
            </a:solid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09822" y="6248400"/>
            <a:ext cx="1905778" cy="457200"/>
          </a:xfrm>
          <a:prstGeom prst="rect">
            <a:avLst/>
          </a:prstGeom>
        </p:spPr>
      </p:pic>
    </p:spTree>
    <p:extLst>
      <p:ext uri="{BB962C8B-B14F-4D97-AF65-F5344CB8AC3E}">
        <p14:creationId xmlns:p14="http://schemas.microsoft.com/office/powerpoint/2010/main" val="12538620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re-Processing</a:t>
            </a:r>
            <a:endParaRPr lang="en-US" dirty="0"/>
          </a:p>
        </p:txBody>
      </p:sp>
      <p:sp>
        <p:nvSpPr>
          <p:cNvPr id="6" name="Rectangle 5"/>
          <p:cNvSpPr/>
          <p:nvPr/>
        </p:nvSpPr>
        <p:spPr>
          <a:xfrm>
            <a:off x="520701" y="1100485"/>
            <a:ext cx="11669712" cy="4893647"/>
          </a:xfrm>
          <a:prstGeom prst="rect">
            <a:avLst/>
          </a:prstGeom>
        </p:spPr>
        <p:txBody>
          <a:bodyPr wrap="square">
            <a:spAutoFit/>
          </a:bodyPr>
          <a:lstStyle/>
          <a:p>
            <a:pPr defTabSz="1218987"/>
            <a:r>
              <a:rPr lang="en-US" sz="2400" b="1" u="sng" dirty="0" err="1">
                <a:solidFill>
                  <a:srgbClr val="292929"/>
                </a:solidFill>
              </a:rPr>
              <a:t>Geogrid</a:t>
            </a:r>
            <a:r>
              <a:rPr lang="en-US" sz="2400" b="1" u="sng" dirty="0">
                <a:solidFill>
                  <a:srgbClr val="292929"/>
                </a:solidFill>
              </a:rPr>
              <a:t>:</a:t>
            </a:r>
            <a:endParaRPr lang="en-US" sz="2400" dirty="0">
              <a:solidFill>
                <a:srgbClr val="292929"/>
              </a:solidFill>
            </a:endParaRPr>
          </a:p>
          <a:p>
            <a:pPr defTabSz="1218987">
              <a:buFont typeface="Arial" panose="020B0604020202020204" pitchFamily="34" charset="0"/>
              <a:buChar char="•"/>
            </a:pPr>
            <a:r>
              <a:rPr lang="en-US" sz="2400" dirty="0">
                <a:solidFill>
                  <a:srgbClr val="292929"/>
                </a:solidFill>
              </a:rPr>
              <a:t>Defines the model horizontal domain</a:t>
            </a:r>
          </a:p>
          <a:p>
            <a:pPr defTabSz="1218987">
              <a:buFont typeface="Arial" panose="020B0604020202020204" pitchFamily="34" charset="0"/>
              <a:buChar char="•"/>
            </a:pPr>
            <a:r>
              <a:rPr lang="en-US" sz="2400" dirty="0">
                <a:solidFill>
                  <a:srgbClr val="292929"/>
                </a:solidFill>
              </a:rPr>
              <a:t>Horizontally interpolates static data to the model domain</a:t>
            </a:r>
          </a:p>
          <a:p>
            <a:pPr defTabSz="1218987">
              <a:buFont typeface="Arial" panose="020B0604020202020204" pitchFamily="34" charset="0"/>
              <a:buChar char="•"/>
            </a:pPr>
            <a:r>
              <a:rPr lang="en-US" sz="2400" dirty="0">
                <a:solidFill>
                  <a:srgbClr val="292929"/>
                </a:solidFill>
              </a:rPr>
              <a:t>Output conforms to the WRF I/O API</a:t>
            </a:r>
          </a:p>
          <a:p>
            <a:pPr defTabSz="1218987"/>
            <a:r>
              <a:rPr lang="en-US" sz="2400" b="1" u="sng" dirty="0" err="1">
                <a:solidFill>
                  <a:srgbClr val="292929"/>
                </a:solidFill>
              </a:rPr>
              <a:t>Ungrib</a:t>
            </a:r>
            <a:r>
              <a:rPr lang="en-US" sz="2400" b="1" u="sng" dirty="0">
                <a:solidFill>
                  <a:srgbClr val="292929"/>
                </a:solidFill>
              </a:rPr>
              <a:t>:</a:t>
            </a:r>
            <a:endParaRPr lang="en-US" sz="2400" dirty="0">
              <a:solidFill>
                <a:srgbClr val="292929"/>
              </a:solidFill>
            </a:endParaRPr>
          </a:p>
          <a:p>
            <a:pPr defTabSz="1218987">
              <a:buFont typeface="Arial" panose="020B0604020202020204" pitchFamily="34" charset="0"/>
              <a:buChar char="•"/>
            </a:pPr>
            <a:r>
              <a:rPr lang="en-US" sz="2400" dirty="0">
                <a:solidFill>
                  <a:srgbClr val="292929"/>
                </a:solidFill>
              </a:rPr>
              <a:t>Decodes </a:t>
            </a:r>
            <a:r>
              <a:rPr lang="en-US" sz="2400" dirty="0" err="1">
                <a:solidFill>
                  <a:srgbClr val="292929"/>
                </a:solidFill>
              </a:rPr>
              <a:t>Grib</a:t>
            </a:r>
            <a:r>
              <a:rPr lang="en-US" sz="2400" dirty="0">
                <a:solidFill>
                  <a:srgbClr val="292929"/>
                </a:solidFill>
              </a:rPr>
              <a:t> Edition 1 and 2 data (</a:t>
            </a:r>
            <a:r>
              <a:rPr lang="en-US" sz="2400" dirty="0" err="1">
                <a:solidFill>
                  <a:srgbClr val="292929"/>
                </a:solidFill>
              </a:rPr>
              <a:t>Grib</a:t>
            </a:r>
            <a:r>
              <a:rPr lang="en-US" sz="2400" dirty="0">
                <a:solidFill>
                  <a:srgbClr val="292929"/>
                </a:solidFill>
              </a:rPr>
              <a:t> is the file format of the NOAA forecast data)</a:t>
            </a:r>
          </a:p>
          <a:p>
            <a:pPr defTabSz="1218987">
              <a:buFont typeface="Arial" panose="020B0604020202020204" pitchFamily="34" charset="0"/>
              <a:buChar char="•"/>
            </a:pPr>
            <a:r>
              <a:rPr lang="en-US" sz="2400" dirty="0">
                <a:solidFill>
                  <a:srgbClr val="292929"/>
                </a:solidFill>
              </a:rPr>
              <a:t>Uses tables to decide which variables to extract from the data</a:t>
            </a:r>
          </a:p>
          <a:p>
            <a:pPr defTabSz="1218987">
              <a:buFont typeface="Arial" panose="020B0604020202020204" pitchFamily="34" charset="0"/>
              <a:buChar char="•"/>
            </a:pPr>
            <a:r>
              <a:rPr lang="en-US" sz="2400" dirty="0">
                <a:solidFill>
                  <a:srgbClr val="292929"/>
                </a:solidFill>
              </a:rPr>
              <a:t>Supports isobaric and generalized vertical coordinates</a:t>
            </a:r>
          </a:p>
          <a:p>
            <a:pPr defTabSz="1218987">
              <a:buFont typeface="Arial" panose="020B0604020202020204" pitchFamily="34" charset="0"/>
              <a:buChar char="•"/>
            </a:pPr>
            <a:r>
              <a:rPr lang="en-US" sz="2400" dirty="0">
                <a:solidFill>
                  <a:srgbClr val="292929"/>
                </a:solidFill>
              </a:rPr>
              <a:t>Output is in a non-WRF-I/O-API form, referred to as an intermediate format</a:t>
            </a:r>
          </a:p>
          <a:p>
            <a:pPr defTabSz="1218987"/>
            <a:r>
              <a:rPr lang="en-US" sz="2400" b="1" u="sng" dirty="0" err="1">
                <a:solidFill>
                  <a:srgbClr val="292929"/>
                </a:solidFill>
              </a:rPr>
              <a:t>Metgrid</a:t>
            </a:r>
            <a:r>
              <a:rPr lang="en-US" sz="2400" b="1" u="sng" dirty="0">
                <a:solidFill>
                  <a:srgbClr val="292929"/>
                </a:solidFill>
              </a:rPr>
              <a:t>:</a:t>
            </a:r>
            <a:endParaRPr lang="en-US" sz="2400" dirty="0">
              <a:solidFill>
                <a:srgbClr val="292929"/>
              </a:solidFill>
            </a:endParaRPr>
          </a:p>
          <a:p>
            <a:pPr defTabSz="1218987">
              <a:buFont typeface="Arial" panose="020B0604020202020204" pitchFamily="34" charset="0"/>
              <a:buChar char="•"/>
            </a:pPr>
            <a:r>
              <a:rPr lang="en-US" sz="2400" dirty="0">
                <a:solidFill>
                  <a:srgbClr val="292929"/>
                </a:solidFill>
              </a:rPr>
              <a:t>Ingest static data and raw meteorological fields</a:t>
            </a:r>
          </a:p>
          <a:p>
            <a:pPr defTabSz="1218987">
              <a:buFont typeface="Arial" panose="020B0604020202020204" pitchFamily="34" charset="0"/>
              <a:buChar char="•"/>
            </a:pPr>
            <a:r>
              <a:rPr lang="en-US" sz="2400" dirty="0">
                <a:solidFill>
                  <a:srgbClr val="292929"/>
                </a:solidFill>
              </a:rPr>
              <a:t>Horizontally interpolate meteorological fields to the model domain</a:t>
            </a:r>
          </a:p>
          <a:p>
            <a:pPr defTabSz="1218987">
              <a:buFont typeface="Arial" panose="020B0604020202020204" pitchFamily="34" charset="0"/>
              <a:buChar char="•"/>
            </a:pPr>
            <a:r>
              <a:rPr lang="en-US" sz="2400" dirty="0">
                <a:solidFill>
                  <a:srgbClr val="292929"/>
                </a:solidFill>
              </a:rPr>
              <a:t>Output conforms to WRF I/O API</a:t>
            </a:r>
          </a:p>
        </p:txBody>
      </p:sp>
    </p:spTree>
    <p:extLst>
      <p:ext uri="{BB962C8B-B14F-4D97-AF65-F5344CB8AC3E}">
        <p14:creationId xmlns:p14="http://schemas.microsoft.com/office/powerpoint/2010/main" val="1754753472"/>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rocess steps for Bing Map overlay</a:t>
            </a:r>
            <a:endParaRPr lang="en-US" dirty="0"/>
          </a:p>
        </p:txBody>
      </p:sp>
      <p:sp>
        <p:nvSpPr>
          <p:cNvPr id="6" name="Rectangle 5"/>
          <p:cNvSpPr/>
          <p:nvPr/>
        </p:nvSpPr>
        <p:spPr>
          <a:xfrm>
            <a:off x="520701" y="1825653"/>
            <a:ext cx="10864311" cy="3785652"/>
          </a:xfrm>
          <a:prstGeom prst="rect">
            <a:avLst/>
          </a:prstGeom>
        </p:spPr>
        <p:txBody>
          <a:bodyPr wrap="square">
            <a:spAutoFit/>
          </a:bodyPr>
          <a:lstStyle/>
          <a:p>
            <a:pPr defTabSz="1218987">
              <a:buFont typeface="Arial" panose="020B0604020202020204" pitchFamily="34" charset="0"/>
              <a:buChar char="•"/>
            </a:pPr>
            <a:r>
              <a:rPr lang="en-US" sz="2400" b="1" u="sng" dirty="0">
                <a:solidFill>
                  <a:srgbClr val="292929"/>
                </a:solidFill>
              </a:rPr>
              <a:t>Gdal_translate:</a:t>
            </a:r>
            <a:endParaRPr lang="en-US" sz="2400" dirty="0">
              <a:solidFill>
                <a:srgbClr val="292929"/>
              </a:solidFill>
            </a:endParaRPr>
          </a:p>
          <a:p>
            <a:pPr marL="742950" lvl="1" indent="-285750" defTabSz="1218987">
              <a:buFont typeface="Arial" panose="020B0604020202020204" pitchFamily="34" charset="0"/>
              <a:buChar char="•"/>
            </a:pPr>
            <a:r>
              <a:rPr lang="en-US" sz="2400" dirty="0">
                <a:solidFill>
                  <a:srgbClr val="292929"/>
                </a:solidFill>
              </a:rPr>
              <a:t>Converts file from </a:t>
            </a:r>
            <a:r>
              <a:rPr lang="en-US" sz="2400" dirty="0" err="1">
                <a:solidFill>
                  <a:srgbClr val="292929"/>
                </a:solidFill>
              </a:rPr>
              <a:t>png</a:t>
            </a:r>
            <a:r>
              <a:rPr lang="en-US" sz="2400" dirty="0">
                <a:solidFill>
                  <a:srgbClr val="292929"/>
                </a:solidFill>
              </a:rPr>
              <a:t> to geospatial Tiff (</a:t>
            </a:r>
            <a:r>
              <a:rPr lang="en-US" sz="2400" dirty="0" err="1">
                <a:solidFill>
                  <a:srgbClr val="292929"/>
                </a:solidFill>
              </a:rPr>
              <a:t>geoTiff</a:t>
            </a:r>
            <a:r>
              <a:rPr lang="en-US" sz="2400" dirty="0">
                <a:solidFill>
                  <a:srgbClr val="292929"/>
                </a:solidFill>
              </a:rPr>
              <a:t>) format</a:t>
            </a:r>
          </a:p>
          <a:p>
            <a:pPr marL="742950" lvl="1" indent="-285750" defTabSz="1218987">
              <a:buFont typeface="Arial" panose="020B0604020202020204" pitchFamily="34" charset="0"/>
              <a:buChar char="•"/>
            </a:pPr>
            <a:r>
              <a:rPr lang="en-US" sz="2400" dirty="0">
                <a:solidFill>
                  <a:srgbClr val="292929"/>
                </a:solidFill>
              </a:rPr>
              <a:t>Assigns geo-referencing (“ground control points”) to specified pixel values</a:t>
            </a:r>
          </a:p>
          <a:p>
            <a:pPr marL="742950" lvl="1" indent="-285750" defTabSz="1218987">
              <a:buFont typeface="Arial" panose="020B0604020202020204" pitchFamily="34" charset="0"/>
              <a:buChar char="•"/>
            </a:pPr>
            <a:r>
              <a:rPr lang="en-US" sz="2400" dirty="0">
                <a:solidFill>
                  <a:srgbClr val="292929"/>
                </a:solidFill>
              </a:rPr>
              <a:t>Labels the output (</a:t>
            </a:r>
            <a:r>
              <a:rPr lang="en-US" sz="2400" dirty="0" err="1">
                <a:solidFill>
                  <a:srgbClr val="292929"/>
                </a:solidFill>
              </a:rPr>
              <a:t>geoTiff</a:t>
            </a:r>
            <a:r>
              <a:rPr lang="en-US" sz="2400" dirty="0">
                <a:solidFill>
                  <a:srgbClr val="292929"/>
                </a:solidFill>
              </a:rPr>
              <a:t>) file’s header with map projection information</a:t>
            </a:r>
          </a:p>
          <a:p>
            <a:pPr defTabSz="1218987">
              <a:buFont typeface="Arial" panose="020B0604020202020204" pitchFamily="34" charset="0"/>
              <a:buChar char="•"/>
            </a:pPr>
            <a:r>
              <a:rPr lang="en-US" sz="2400" b="1" u="sng" dirty="0">
                <a:solidFill>
                  <a:srgbClr val="292929"/>
                </a:solidFill>
              </a:rPr>
              <a:t>Gdalwarp:</a:t>
            </a:r>
            <a:endParaRPr lang="en-US" sz="2400" dirty="0">
              <a:solidFill>
                <a:srgbClr val="292929"/>
              </a:solidFill>
            </a:endParaRPr>
          </a:p>
          <a:p>
            <a:pPr marL="742950" lvl="1" indent="-285750" defTabSz="1218987">
              <a:buFont typeface="Arial" panose="020B0604020202020204" pitchFamily="34" charset="0"/>
              <a:buChar char="•"/>
            </a:pPr>
            <a:r>
              <a:rPr lang="en-US" sz="2400" dirty="0">
                <a:solidFill>
                  <a:srgbClr val="292929"/>
                </a:solidFill>
              </a:rPr>
              <a:t>Geographically </a:t>
            </a:r>
            <a:r>
              <a:rPr lang="en-US" sz="2400" dirty="0" err="1">
                <a:solidFill>
                  <a:srgbClr val="292929"/>
                </a:solidFill>
              </a:rPr>
              <a:t>reprojects</a:t>
            </a:r>
            <a:r>
              <a:rPr lang="en-US" sz="2400" dirty="0">
                <a:solidFill>
                  <a:srgbClr val="292929"/>
                </a:solidFill>
              </a:rPr>
              <a:t> the output file from gdal_translate to the map projection of Bing Maps</a:t>
            </a:r>
          </a:p>
          <a:p>
            <a:pPr defTabSz="1218987">
              <a:buFont typeface="Arial" panose="020B0604020202020204" pitchFamily="34" charset="0"/>
              <a:buChar char="•"/>
            </a:pPr>
            <a:r>
              <a:rPr lang="en-US" sz="2400" b="1" u="sng" dirty="0">
                <a:solidFill>
                  <a:srgbClr val="292929"/>
                </a:solidFill>
              </a:rPr>
              <a:t>Gdal2tiles.py:</a:t>
            </a:r>
            <a:endParaRPr lang="en-US" sz="2400" dirty="0">
              <a:solidFill>
                <a:srgbClr val="292929"/>
              </a:solidFill>
            </a:endParaRPr>
          </a:p>
          <a:p>
            <a:pPr marL="742950" lvl="1" indent="-285750" defTabSz="1218987">
              <a:buFont typeface="Arial" panose="020B0604020202020204" pitchFamily="34" charset="0"/>
              <a:buChar char="•"/>
            </a:pPr>
            <a:r>
              <a:rPr lang="en-US" sz="2400" dirty="0">
                <a:solidFill>
                  <a:srgbClr val="292929"/>
                </a:solidFill>
              </a:rPr>
              <a:t>A python script that generates tiles from the output file from gdalwarp</a:t>
            </a:r>
          </a:p>
          <a:p>
            <a:pPr marL="742950" lvl="1" indent="-285750" defTabSz="1218987">
              <a:buFont typeface="Arial" panose="020B0604020202020204" pitchFamily="34" charset="0"/>
              <a:buChar char="•"/>
            </a:pPr>
            <a:r>
              <a:rPr lang="en-US" sz="2400" dirty="0">
                <a:solidFill>
                  <a:srgbClr val="292929"/>
                </a:solidFill>
              </a:rPr>
              <a:t>Zoom levels are specified on the command line</a:t>
            </a:r>
          </a:p>
        </p:txBody>
      </p:sp>
    </p:spTree>
    <p:extLst>
      <p:ext uri="{BB962C8B-B14F-4D97-AF65-F5344CB8AC3E}">
        <p14:creationId xmlns:p14="http://schemas.microsoft.com/office/powerpoint/2010/main" val="156566318"/>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80283" y="3503721"/>
            <a:ext cx="10237787" cy="997196"/>
          </a:xfrm>
        </p:spPr>
        <p:txBody>
          <a:bodyPr/>
          <a:lstStyle/>
          <a:p>
            <a:r>
              <a:rPr lang="en-US" dirty="0" smtClean="0">
                <a:gradFill>
                  <a:gsLst>
                    <a:gs pos="1250">
                      <a:srgbClr val="FFFFFF"/>
                    </a:gs>
                    <a:gs pos="100000">
                      <a:srgbClr val="FFFFFF"/>
                    </a:gs>
                  </a:gsLst>
                  <a:lin ang="5400000" scaled="0"/>
                </a:gradFill>
              </a:rPr>
              <a:t>Weather Demo</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602005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Questions?</a:t>
            </a:r>
            <a:endParaRPr lang="en-US" dirty="0"/>
          </a:p>
        </p:txBody>
      </p:sp>
    </p:spTree>
    <p:extLst>
      <p:ext uri="{BB962C8B-B14F-4D97-AF65-F5344CB8AC3E}">
        <p14:creationId xmlns:p14="http://schemas.microsoft.com/office/powerpoint/2010/main" val="3123802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oud Computing Patterns</a:t>
            </a:r>
            <a:endParaRPr lang="en-US" dirty="0"/>
          </a:p>
        </p:txBody>
      </p:sp>
      <p:grpSp>
        <p:nvGrpSpPr>
          <p:cNvPr id="23" name="Group 22"/>
          <p:cNvGrpSpPr/>
          <p:nvPr/>
        </p:nvGrpSpPr>
        <p:grpSpPr>
          <a:xfrm>
            <a:off x="1841164" y="1680406"/>
            <a:ext cx="5718904" cy="848886"/>
            <a:chOff x="507461" y="884257"/>
            <a:chExt cx="9150247" cy="1358217"/>
          </a:xfrm>
        </p:grpSpPr>
        <p:cxnSp>
          <p:nvCxnSpPr>
            <p:cNvPr id="4" name="Straight Arrow Connector 3"/>
            <p:cNvCxnSpPr/>
            <p:nvPr/>
          </p:nvCxnSpPr>
          <p:spPr bwMode="auto">
            <a:xfrm rot="16200000" flipV="1">
              <a:off x="362488" y="1542925"/>
              <a:ext cx="1074328" cy="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5" name="Straight Arrow Connector 4"/>
            <p:cNvCxnSpPr/>
            <p:nvPr/>
          </p:nvCxnSpPr>
          <p:spPr bwMode="auto">
            <a:xfrm>
              <a:off x="899651" y="2067230"/>
              <a:ext cx="3784575" cy="1122"/>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6" name="Text Placeholder 6"/>
            <p:cNvSpPr txBox="1">
              <a:spLocks/>
            </p:cNvSpPr>
            <p:nvPr/>
          </p:nvSpPr>
          <p:spPr bwMode="auto">
            <a:xfrm>
              <a:off x="4750416" y="1949197"/>
              <a:ext cx="1371353" cy="16154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914148" eaLnBrk="0" fontAlgn="base" hangingPunct="0">
                <a:spcBef>
                  <a:spcPct val="20000"/>
                </a:spcBef>
                <a:spcAft>
                  <a:spcPct val="0"/>
                </a:spcAft>
                <a:buClr>
                  <a:srgbClr val="000000"/>
                </a:buClr>
              </a:pPr>
              <a:r>
                <a:rPr lang="en-US" sz="1063" i="1" dirty="0">
                  <a:solidFill>
                    <a:srgbClr val="FFFFFF">
                      <a:alpha val="99000"/>
                    </a:srgbClr>
                  </a:solidFill>
                </a:rPr>
                <a:t>t</a:t>
              </a:r>
            </a:p>
          </p:txBody>
        </p:sp>
        <p:sp>
          <p:nvSpPr>
            <p:cNvPr id="7" name="Rectangle 6"/>
            <p:cNvSpPr/>
            <p:nvPr/>
          </p:nvSpPr>
          <p:spPr>
            <a:xfrm rot="16200000">
              <a:off x="19418" y="1497953"/>
              <a:ext cx="1232564" cy="256477"/>
            </a:xfrm>
            <a:prstGeom prst="rect">
              <a:avLst/>
            </a:prstGeom>
            <a:ln>
              <a:noFill/>
            </a:ln>
          </p:spPr>
          <p:txBody>
            <a:bodyPr wrap="square" lIns="57148" tIns="28574" rIns="57148" bIns="28574">
              <a:spAutoFit/>
            </a:bodyPr>
            <a:lstStyle/>
            <a:p>
              <a:pPr marL="228538" indent="-228538" algn="ctr" defTabSz="914148" eaLnBrk="0" fontAlgn="base" hangingPunct="0">
                <a:lnSpc>
                  <a:spcPts val="799"/>
                </a:lnSpc>
                <a:spcBef>
                  <a:spcPct val="20000"/>
                </a:spcBef>
                <a:spcAft>
                  <a:spcPct val="0"/>
                </a:spcAft>
                <a:buClr>
                  <a:srgbClr val="000000"/>
                </a:buClr>
              </a:pPr>
              <a:r>
                <a:rPr lang="en-US" sz="875" dirty="0">
                  <a:solidFill>
                    <a:schemeClr val="tx1">
                      <a:alpha val="99000"/>
                    </a:schemeClr>
                  </a:solidFill>
                </a:rPr>
                <a:t>Compute </a:t>
              </a:r>
            </a:p>
          </p:txBody>
        </p:sp>
        <p:cxnSp>
          <p:nvCxnSpPr>
            <p:cNvPr id="9" name="Straight Arrow Connector 8"/>
            <p:cNvCxnSpPr/>
            <p:nvPr/>
          </p:nvCxnSpPr>
          <p:spPr bwMode="auto">
            <a:xfrm flipV="1">
              <a:off x="899651" y="1666832"/>
              <a:ext cx="1222772" cy="78440"/>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0" name="Straight Arrow Connector 9"/>
            <p:cNvCxnSpPr/>
            <p:nvPr/>
          </p:nvCxnSpPr>
          <p:spPr bwMode="auto">
            <a:xfrm flipV="1">
              <a:off x="3329884" y="1641655"/>
              <a:ext cx="1281109" cy="103616"/>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2" name="Straight Connector 11"/>
            <p:cNvCxnSpPr/>
            <p:nvPr/>
          </p:nvCxnSpPr>
          <p:spPr bwMode="auto">
            <a:xfrm rot="5400000" flipH="1" flipV="1">
              <a:off x="2819827" y="1556149"/>
              <a:ext cx="1023652" cy="1878"/>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sp>
          <p:nvSpPr>
            <p:cNvPr id="13" name="Rectangle 12"/>
            <p:cNvSpPr/>
            <p:nvPr/>
          </p:nvSpPr>
          <p:spPr>
            <a:xfrm>
              <a:off x="2073596" y="1232935"/>
              <a:ext cx="1340774" cy="707883"/>
            </a:xfrm>
            <a:prstGeom prst="rect">
              <a:avLst/>
            </a:prstGeom>
            <a:ln>
              <a:noFill/>
            </a:ln>
          </p:spPr>
          <p:txBody>
            <a:bodyPr wrap="square" lIns="57148" tIns="28574" rIns="57148" bIns="28574">
              <a:spAutoFit/>
            </a:bodyPr>
            <a:lstStyle/>
            <a:p>
              <a:pPr marL="228538" indent="-228538" algn="ctr" defTabSz="914148" eaLnBrk="0" fontAlgn="base" hangingPunct="0">
                <a:lnSpc>
                  <a:spcPts val="799"/>
                </a:lnSpc>
                <a:spcBef>
                  <a:spcPct val="20000"/>
                </a:spcBef>
                <a:spcAft>
                  <a:spcPct val="0"/>
                </a:spcAft>
                <a:buClr>
                  <a:srgbClr val="000000"/>
                </a:buClr>
              </a:pPr>
              <a:endParaRPr lang="en-US" sz="813" dirty="0">
                <a:solidFill>
                  <a:srgbClr val="FFFFFF">
                    <a:alpha val="99000"/>
                  </a:srgbClr>
                </a:solidFill>
              </a:endParaRPr>
            </a:p>
            <a:p>
              <a:pPr marL="228538" indent="-228538" algn="ctr" defTabSz="914148" eaLnBrk="0" fontAlgn="base" hangingPunct="0">
                <a:lnSpc>
                  <a:spcPts val="799"/>
                </a:lnSpc>
                <a:spcAft>
                  <a:spcPts val="600"/>
                </a:spcAft>
                <a:buClr>
                  <a:srgbClr val="000000"/>
                </a:buClr>
              </a:pPr>
              <a:r>
                <a:rPr lang="en-US" sz="813" dirty="0">
                  <a:solidFill>
                    <a:schemeClr val="tx1">
                      <a:alpha val="99000"/>
                    </a:schemeClr>
                  </a:solidFill>
                </a:rPr>
                <a:t>Inactivity</a:t>
              </a:r>
            </a:p>
            <a:p>
              <a:pPr marL="228538" indent="-228538" algn="ctr" defTabSz="914148" eaLnBrk="0" fontAlgn="base" hangingPunct="0">
                <a:lnSpc>
                  <a:spcPts val="799"/>
                </a:lnSpc>
                <a:spcAft>
                  <a:spcPts val="600"/>
                </a:spcAft>
                <a:buClr>
                  <a:srgbClr val="000000"/>
                </a:buClr>
              </a:pPr>
              <a:r>
                <a:rPr lang="en-US" sz="813" dirty="0">
                  <a:solidFill>
                    <a:srgbClr val="FFFFFF">
                      <a:alpha val="99000"/>
                    </a:srgbClr>
                  </a:solidFill>
                </a:rPr>
                <a:t>Period </a:t>
              </a:r>
            </a:p>
          </p:txBody>
        </p:sp>
        <p:cxnSp>
          <p:nvCxnSpPr>
            <p:cNvPr id="14" name="Straight Connector 13"/>
            <p:cNvCxnSpPr/>
            <p:nvPr/>
          </p:nvCxnSpPr>
          <p:spPr bwMode="auto">
            <a:xfrm rot="5400000" flipH="1" flipV="1">
              <a:off x="1636244" y="1556149"/>
              <a:ext cx="1023652" cy="1878"/>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grpSp>
          <p:nvGrpSpPr>
            <p:cNvPr id="57" name="Group 56"/>
            <p:cNvGrpSpPr/>
            <p:nvPr/>
          </p:nvGrpSpPr>
          <p:grpSpPr>
            <a:xfrm>
              <a:off x="5128636" y="884257"/>
              <a:ext cx="4529072" cy="1142779"/>
              <a:chOff x="342904" y="1278609"/>
              <a:chExt cx="3773244" cy="952315"/>
            </a:xfrm>
          </p:grpSpPr>
          <p:sp>
            <p:nvSpPr>
              <p:cNvPr id="15" name="TextBox 14"/>
              <p:cNvSpPr txBox="1"/>
              <p:nvPr/>
            </p:nvSpPr>
            <p:spPr>
              <a:xfrm>
                <a:off x="342904" y="1278609"/>
                <a:ext cx="3773244" cy="353940"/>
              </a:xfrm>
              <a:prstGeom prst="rect">
                <a:avLst/>
              </a:prstGeom>
              <a:noFill/>
              <a:ln>
                <a:noFill/>
              </a:ln>
            </p:spPr>
            <p:txBody>
              <a:bodyPr wrap="square" lIns="0" tIns="28574" rIns="0" bIns="28574" rtlCol="0">
                <a:spAutoFit/>
              </a:bodyPr>
              <a:lstStyle/>
              <a:p>
                <a:pPr defTabSz="914186">
                  <a:lnSpc>
                    <a:spcPct val="90000"/>
                  </a:lnSpc>
                  <a:spcBef>
                    <a:spcPct val="20000"/>
                  </a:spcBef>
                </a:pPr>
                <a:r>
                  <a:rPr lang="en-US" sz="1500" dirty="0">
                    <a:solidFill>
                      <a:srgbClr val="00AEEF">
                        <a:alpha val="99000"/>
                      </a:srgbClr>
                    </a:solidFill>
                    <a:ea typeface="Segoe UI" pitchFamily="34" charset="0"/>
                    <a:cs typeface="Segoe UI" pitchFamily="34" charset="0"/>
                  </a:rPr>
                  <a:t>On and Off – </a:t>
                </a:r>
                <a:r>
                  <a:rPr lang="en-US" sz="1500" dirty="0">
                    <a:solidFill>
                      <a:srgbClr val="00B050">
                        <a:alpha val="99000"/>
                      </a:srgbClr>
                    </a:solidFill>
                    <a:ea typeface="Segoe UI" pitchFamily="34" charset="0"/>
                    <a:cs typeface="Segoe UI" pitchFamily="34" charset="0"/>
                  </a:rPr>
                  <a:t>Start/End Semester</a:t>
                </a:r>
              </a:p>
            </p:txBody>
          </p:sp>
          <p:sp>
            <p:nvSpPr>
              <p:cNvPr id="16" name="Rectangle 15"/>
              <p:cNvSpPr/>
              <p:nvPr/>
            </p:nvSpPr>
            <p:spPr>
              <a:xfrm>
                <a:off x="342905" y="1692315"/>
                <a:ext cx="3613706" cy="538609"/>
              </a:xfrm>
              <a:prstGeom prst="rect">
                <a:avLst/>
              </a:prstGeom>
              <a:ln>
                <a:noFill/>
              </a:ln>
            </p:spPr>
            <p:txBody>
              <a:bodyPr wrap="square" lIns="0" tIns="0" rIns="0" bIns="0">
                <a:spAutoFit/>
              </a:bodyPr>
              <a:lstStyle/>
              <a:p>
                <a:pPr marL="0" lvl="1" defTabSz="914073" fontAlgn="base">
                  <a:spcAft>
                    <a:spcPct val="0"/>
                  </a:spcAft>
                </a:pPr>
                <a:r>
                  <a:rPr lang="en-US" sz="875" dirty="0">
                    <a:solidFill>
                      <a:schemeClr val="tx1">
                        <a:alpha val="99000"/>
                      </a:schemeClr>
                    </a:solidFill>
                    <a:ea typeface="Kozuka Gothic Pro R" pitchFamily="34" charset="-128"/>
                  </a:rPr>
                  <a:t>On &amp; off workloads (e.g. batch job)</a:t>
                </a:r>
              </a:p>
              <a:p>
                <a:pPr marL="0" lvl="1" defTabSz="914073" fontAlgn="base">
                  <a:spcAft>
                    <a:spcPct val="0"/>
                  </a:spcAft>
                </a:pPr>
                <a:r>
                  <a:rPr lang="en-US" sz="875" dirty="0">
                    <a:solidFill>
                      <a:schemeClr val="tx1">
                        <a:alpha val="99000"/>
                      </a:schemeClr>
                    </a:solidFill>
                    <a:ea typeface="Kozuka Gothic Pro R" pitchFamily="34" charset="-128"/>
                  </a:rPr>
                  <a:t>Over provisioned capacity is wasted </a:t>
                </a:r>
              </a:p>
              <a:p>
                <a:pPr marL="0" lvl="1" defTabSz="914073" fontAlgn="base">
                  <a:spcAft>
                    <a:spcPct val="0"/>
                  </a:spcAft>
                </a:pPr>
                <a:r>
                  <a:rPr lang="en-US" sz="875" dirty="0">
                    <a:solidFill>
                      <a:schemeClr val="tx1">
                        <a:alpha val="99000"/>
                      </a:schemeClr>
                    </a:solidFill>
                    <a:ea typeface="Kozuka Gothic Pro R" pitchFamily="34" charset="-128"/>
                  </a:rPr>
                  <a:t>Time to market can be cumbersome </a:t>
                </a:r>
              </a:p>
            </p:txBody>
          </p:sp>
        </p:grpSp>
      </p:grpSp>
      <p:grpSp>
        <p:nvGrpSpPr>
          <p:cNvPr id="42" name="Group 41"/>
          <p:cNvGrpSpPr/>
          <p:nvPr/>
        </p:nvGrpSpPr>
        <p:grpSpPr>
          <a:xfrm>
            <a:off x="1361819" y="3676889"/>
            <a:ext cx="9692331" cy="1008517"/>
            <a:chOff x="-4420901" y="4078627"/>
            <a:chExt cx="15507730" cy="1613626"/>
          </a:xfrm>
        </p:grpSpPr>
        <p:grpSp>
          <p:nvGrpSpPr>
            <p:cNvPr id="32" name="Group 31"/>
            <p:cNvGrpSpPr/>
            <p:nvPr/>
          </p:nvGrpSpPr>
          <p:grpSpPr>
            <a:xfrm>
              <a:off x="518776" y="4340067"/>
              <a:ext cx="10568052" cy="1352186"/>
              <a:chOff x="518776" y="4340067"/>
              <a:chExt cx="10568052" cy="1352186"/>
            </a:xfrm>
          </p:grpSpPr>
          <p:sp>
            <p:nvSpPr>
              <p:cNvPr id="53" name="Text Placeholder 6"/>
              <p:cNvSpPr txBox="1">
                <a:spLocks/>
              </p:cNvSpPr>
              <p:nvPr/>
            </p:nvSpPr>
            <p:spPr bwMode="auto">
              <a:xfrm>
                <a:off x="4750416" y="5449824"/>
                <a:ext cx="1371353" cy="16154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914148" eaLnBrk="0" fontAlgn="base" hangingPunct="0">
                  <a:spcBef>
                    <a:spcPct val="20000"/>
                  </a:spcBef>
                  <a:spcAft>
                    <a:spcPct val="0"/>
                  </a:spcAft>
                  <a:buClr>
                    <a:srgbClr val="000000"/>
                  </a:buClr>
                </a:pPr>
                <a:r>
                  <a:rPr lang="en-US" sz="1063" i="1" dirty="0">
                    <a:solidFill>
                      <a:srgbClr val="FFFFFF">
                        <a:alpha val="99000"/>
                      </a:srgbClr>
                    </a:solidFill>
                  </a:rPr>
                  <a:t>t</a:t>
                </a:r>
              </a:p>
            </p:txBody>
          </p:sp>
          <p:grpSp>
            <p:nvGrpSpPr>
              <p:cNvPr id="11" name="Group 10"/>
              <p:cNvGrpSpPr/>
              <p:nvPr/>
            </p:nvGrpSpPr>
            <p:grpSpPr>
              <a:xfrm>
                <a:off x="518776" y="4340067"/>
                <a:ext cx="10568052" cy="1352186"/>
                <a:chOff x="518776" y="4340067"/>
                <a:chExt cx="10568052" cy="1352186"/>
              </a:xfrm>
            </p:grpSpPr>
            <p:grpSp>
              <p:nvGrpSpPr>
                <p:cNvPr id="59" name="Group 58"/>
                <p:cNvGrpSpPr/>
                <p:nvPr/>
              </p:nvGrpSpPr>
              <p:grpSpPr>
                <a:xfrm>
                  <a:off x="5128639" y="4340067"/>
                  <a:ext cx="5958189" cy="1209585"/>
                  <a:chOff x="342904" y="3922776"/>
                  <a:chExt cx="4963865" cy="1007987"/>
                </a:xfrm>
              </p:grpSpPr>
              <p:sp>
                <p:nvSpPr>
                  <p:cNvPr id="22" name="TextBox 21"/>
                  <p:cNvSpPr txBox="1"/>
                  <p:nvPr/>
                </p:nvSpPr>
                <p:spPr>
                  <a:xfrm>
                    <a:off x="342904" y="3922776"/>
                    <a:ext cx="4963865" cy="353940"/>
                  </a:xfrm>
                  <a:prstGeom prst="rect">
                    <a:avLst/>
                  </a:prstGeom>
                  <a:noFill/>
                  <a:ln>
                    <a:noFill/>
                  </a:ln>
                </p:spPr>
                <p:txBody>
                  <a:bodyPr wrap="square" lIns="0" tIns="28574" rIns="0" bIns="28574" rtlCol="0">
                    <a:spAutoFit/>
                  </a:bodyPr>
                  <a:lstStyle/>
                  <a:p>
                    <a:pPr defTabSz="914186">
                      <a:lnSpc>
                        <a:spcPct val="90000"/>
                      </a:lnSpc>
                      <a:spcBef>
                        <a:spcPct val="20000"/>
                      </a:spcBef>
                    </a:pPr>
                    <a:r>
                      <a:rPr lang="en-US" sz="1500" dirty="0">
                        <a:solidFill>
                          <a:srgbClr val="00AEEF">
                            <a:alpha val="99000"/>
                          </a:srgbClr>
                        </a:solidFill>
                        <a:ea typeface="Segoe UI" pitchFamily="34" charset="0"/>
                        <a:cs typeface="Segoe UI" pitchFamily="34" charset="0"/>
                      </a:rPr>
                      <a:t>Unpredictable Bursting – </a:t>
                    </a:r>
                    <a:r>
                      <a:rPr lang="en-US" sz="1500" dirty="0">
                        <a:solidFill>
                          <a:srgbClr val="00B050">
                            <a:alpha val="99000"/>
                          </a:srgbClr>
                        </a:solidFill>
                        <a:ea typeface="Segoe UI" pitchFamily="34" charset="0"/>
                        <a:cs typeface="Segoe UI" pitchFamily="34" charset="0"/>
                      </a:rPr>
                      <a:t>Web demand</a:t>
                    </a:r>
                  </a:p>
                </p:txBody>
              </p:sp>
              <p:sp>
                <p:nvSpPr>
                  <p:cNvPr id="24" name="Rectangle 23"/>
                  <p:cNvSpPr/>
                  <p:nvPr/>
                </p:nvSpPr>
                <p:spPr>
                  <a:xfrm>
                    <a:off x="342905" y="4392154"/>
                    <a:ext cx="3045807" cy="538609"/>
                  </a:xfrm>
                  <a:prstGeom prst="rect">
                    <a:avLst/>
                  </a:prstGeom>
                  <a:ln>
                    <a:noFill/>
                  </a:ln>
                </p:spPr>
                <p:txBody>
                  <a:bodyPr wrap="square" lIns="0" tIns="0" rIns="0" bIns="0">
                    <a:spAutoFit/>
                  </a:bodyPr>
                  <a:lstStyle/>
                  <a:p>
                    <a:pPr marL="0" lvl="1" defTabSz="914073" fontAlgn="base">
                      <a:spcAft>
                        <a:spcPct val="0"/>
                      </a:spcAft>
                    </a:pPr>
                    <a:r>
                      <a:rPr lang="en-US" sz="875" dirty="0">
                        <a:solidFill>
                          <a:schemeClr val="tx1">
                            <a:alpha val="99000"/>
                          </a:schemeClr>
                        </a:solidFill>
                        <a:ea typeface="Kozuka Gothic Pro R" pitchFamily="34" charset="-128"/>
                      </a:rPr>
                      <a:t>Unexpected/unplanned peak in demand  </a:t>
                    </a:r>
                  </a:p>
                  <a:p>
                    <a:pPr marL="0" lvl="1" defTabSz="914073" fontAlgn="base">
                      <a:spcAft>
                        <a:spcPct val="0"/>
                      </a:spcAft>
                    </a:pPr>
                    <a:r>
                      <a:rPr lang="en-US" sz="875" dirty="0">
                        <a:solidFill>
                          <a:schemeClr val="tx1">
                            <a:alpha val="99000"/>
                          </a:schemeClr>
                        </a:solidFill>
                        <a:ea typeface="Kozuka Gothic Pro R" pitchFamily="34" charset="-128"/>
                      </a:rPr>
                      <a:t>Sudden spike impacts performance </a:t>
                    </a:r>
                  </a:p>
                  <a:p>
                    <a:pPr marL="0" lvl="1" defTabSz="914073" fontAlgn="base">
                      <a:spcAft>
                        <a:spcPct val="0"/>
                      </a:spcAft>
                    </a:pPr>
                    <a:r>
                      <a:rPr lang="en-US" sz="875" dirty="0">
                        <a:solidFill>
                          <a:schemeClr val="tx1">
                            <a:alpha val="99000"/>
                          </a:schemeClr>
                        </a:solidFill>
                        <a:ea typeface="Kozuka Gothic Pro R" pitchFamily="34" charset="-128"/>
                      </a:rPr>
                      <a:t>Can’t over provision for extreme cases </a:t>
                    </a:r>
                  </a:p>
                </p:txBody>
              </p:sp>
            </p:grpSp>
            <p:grpSp>
              <p:nvGrpSpPr>
                <p:cNvPr id="43" name="Group 42"/>
                <p:cNvGrpSpPr/>
                <p:nvPr/>
              </p:nvGrpSpPr>
              <p:grpSpPr>
                <a:xfrm>
                  <a:off x="518776" y="4468823"/>
                  <a:ext cx="4176762" cy="1223430"/>
                  <a:chOff x="791247" y="4550306"/>
                  <a:chExt cx="3479728" cy="1019525"/>
                </a:xfrm>
              </p:grpSpPr>
              <p:cxnSp>
                <p:nvCxnSpPr>
                  <p:cNvPr id="18" name="Straight Arrow Connector 17"/>
                  <p:cNvCxnSpPr/>
                  <p:nvPr/>
                </p:nvCxnSpPr>
                <p:spPr bwMode="auto">
                  <a:xfrm flipH="1" flipV="1">
                    <a:off x="1117985" y="4556078"/>
                    <a:ext cx="4" cy="897446"/>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9" name="Straight Arrow Connector 18"/>
                  <p:cNvCxnSpPr/>
                  <p:nvPr/>
                </p:nvCxnSpPr>
                <p:spPr bwMode="auto">
                  <a:xfrm>
                    <a:off x="1117984" y="5442732"/>
                    <a:ext cx="3152991"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20" name="Rectangle 19"/>
                  <p:cNvSpPr/>
                  <p:nvPr/>
                </p:nvSpPr>
                <p:spPr>
                  <a:xfrm rot="16200000">
                    <a:off x="388322" y="4953231"/>
                    <a:ext cx="1019525" cy="213675"/>
                  </a:xfrm>
                  <a:prstGeom prst="rect">
                    <a:avLst/>
                  </a:prstGeom>
                  <a:ln>
                    <a:noFill/>
                  </a:ln>
                </p:spPr>
                <p:txBody>
                  <a:bodyPr wrap="square" lIns="57148" tIns="28574" rIns="57148" bIns="28574">
                    <a:spAutoFit/>
                  </a:bodyPr>
                  <a:lstStyle/>
                  <a:p>
                    <a:pPr marL="228538" indent="-228538" algn="ctr" defTabSz="914148" eaLnBrk="0" fontAlgn="base" hangingPunct="0">
                      <a:lnSpc>
                        <a:spcPts val="799"/>
                      </a:lnSpc>
                      <a:spcBef>
                        <a:spcPct val="20000"/>
                      </a:spcBef>
                      <a:spcAft>
                        <a:spcPct val="0"/>
                      </a:spcAft>
                      <a:buClr>
                        <a:srgbClr val="000000"/>
                      </a:buClr>
                    </a:pPr>
                    <a:r>
                      <a:rPr lang="en-US" sz="875" dirty="0">
                        <a:solidFill>
                          <a:schemeClr val="tx1">
                            <a:alpha val="99000"/>
                          </a:schemeClr>
                        </a:solidFill>
                      </a:rPr>
                      <a:t>Compute</a:t>
                    </a:r>
                    <a:r>
                      <a:rPr lang="en-US" sz="875" dirty="0">
                        <a:solidFill>
                          <a:srgbClr val="FFFFFF">
                            <a:alpha val="99000"/>
                          </a:srgbClr>
                        </a:solidFill>
                      </a:rPr>
                      <a:t> </a:t>
                    </a:r>
                  </a:p>
                </p:txBody>
              </p:sp>
              <p:grpSp>
                <p:nvGrpSpPr>
                  <p:cNvPr id="25" name="Group 24"/>
                  <p:cNvGrpSpPr/>
                  <p:nvPr/>
                </p:nvGrpSpPr>
                <p:grpSpPr>
                  <a:xfrm>
                    <a:off x="1112038" y="4660000"/>
                    <a:ext cx="3152246" cy="492377"/>
                    <a:chOff x="5520892" y="5257417"/>
                    <a:chExt cx="3307216" cy="721360"/>
                  </a:xfrm>
                </p:grpSpPr>
                <p:cxnSp>
                  <p:nvCxnSpPr>
                    <p:cNvPr id="26" name="Straight Arrow Connector 25"/>
                    <p:cNvCxnSpPr/>
                    <p:nvPr/>
                  </p:nvCxnSpPr>
                  <p:spPr bwMode="auto">
                    <a:xfrm>
                      <a:off x="7600265" y="5975286"/>
                      <a:ext cx="1227843" cy="2508"/>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7" name="Straight Connector 26"/>
                    <p:cNvCxnSpPr>
                      <a:endCxn id="28" idx="0"/>
                    </p:cNvCxnSpPr>
                    <p:nvPr/>
                  </p:nvCxnSpPr>
                  <p:spPr bwMode="auto">
                    <a:xfrm>
                      <a:off x="5520892" y="5967876"/>
                      <a:ext cx="1168667" cy="0"/>
                    </a:xfrm>
                    <a:prstGeom prst="line">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28" name="Freeform 27"/>
                    <p:cNvSpPr/>
                    <p:nvPr/>
                  </p:nvSpPr>
                  <p:spPr>
                    <a:xfrm>
                      <a:off x="6689558" y="5257417"/>
                      <a:ext cx="899962" cy="721360"/>
                    </a:xfrm>
                    <a:custGeom>
                      <a:avLst/>
                      <a:gdLst>
                        <a:gd name="connsiteX0" fmla="*/ 0 w 1595120"/>
                        <a:gd name="connsiteY0" fmla="*/ 662093 h 672253"/>
                        <a:gd name="connsiteX1" fmla="*/ 751840 w 1595120"/>
                        <a:gd name="connsiteY1" fmla="*/ 1693 h 672253"/>
                        <a:gd name="connsiteX2" fmla="*/ 1595120 w 1595120"/>
                        <a:gd name="connsiteY2" fmla="*/ 672253 h 672253"/>
                      </a:gdLst>
                      <a:ahLst/>
                      <a:cxnLst>
                        <a:cxn ang="0">
                          <a:pos x="connsiteX0" y="connsiteY0"/>
                        </a:cxn>
                        <a:cxn ang="0">
                          <a:pos x="connsiteX1" y="connsiteY1"/>
                        </a:cxn>
                        <a:cxn ang="0">
                          <a:pos x="connsiteX2" y="connsiteY2"/>
                        </a:cxn>
                      </a:cxnLst>
                      <a:rect l="l" t="t" r="r" b="b"/>
                      <a:pathLst>
                        <a:path w="1595120" h="672253">
                          <a:moveTo>
                            <a:pt x="0" y="662093"/>
                          </a:moveTo>
                          <a:cubicBezTo>
                            <a:pt x="242993" y="331046"/>
                            <a:pt x="485987" y="0"/>
                            <a:pt x="751840" y="1693"/>
                          </a:cubicBezTo>
                          <a:cubicBezTo>
                            <a:pt x="1017693" y="3386"/>
                            <a:pt x="1306406" y="337819"/>
                            <a:pt x="1595120" y="672253"/>
                          </a:cubicBezTo>
                        </a:path>
                      </a:pathLst>
                    </a:cu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txBody>
                    <a:bodyPr rtlCol="0" anchor="ctr"/>
                    <a:lstStyle/>
                    <a:p>
                      <a:pPr algn="ctr" defTabSz="914186"/>
                      <a:endParaRPr lang="en-US" sz="1813" dirty="0">
                        <a:solidFill>
                          <a:srgbClr val="292929"/>
                        </a:solidFill>
                      </a:endParaRPr>
                    </a:p>
                  </p:txBody>
                </p:sp>
              </p:grpSp>
            </p:grpSp>
          </p:grpSp>
        </p:grpSp>
        <p:cxnSp>
          <p:nvCxnSpPr>
            <p:cNvPr id="63" name="Straight Connector 62"/>
            <p:cNvCxnSpPr/>
            <p:nvPr/>
          </p:nvCxnSpPr>
          <p:spPr>
            <a:xfrm>
              <a:off x="-4420901" y="4078627"/>
              <a:ext cx="1550773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p:nvGrpSpPr>
        <p:grpSpPr>
          <a:xfrm>
            <a:off x="1168743" y="4762737"/>
            <a:ext cx="9615104" cy="986100"/>
            <a:chOff x="-6425742" y="5815987"/>
            <a:chExt cx="15384166" cy="1577760"/>
          </a:xfrm>
        </p:grpSpPr>
        <p:grpSp>
          <p:nvGrpSpPr>
            <p:cNvPr id="34" name="Group 33"/>
            <p:cNvGrpSpPr/>
            <p:nvPr/>
          </p:nvGrpSpPr>
          <p:grpSpPr>
            <a:xfrm>
              <a:off x="536693" y="5975365"/>
              <a:ext cx="8421731" cy="1418382"/>
              <a:chOff x="536693" y="5975365"/>
              <a:chExt cx="8421731" cy="1418382"/>
            </a:xfrm>
          </p:grpSpPr>
          <p:sp>
            <p:nvSpPr>
              <p:cNvPr id="54" name="Text Placeholder 6"/>
              <p:cNvSpPr txBox="1">
                <a:spLocks/>
              </p:cNvSpPr>
              <p:nvPr/>
            </p:nvSpPr>
            <p:spPr bwMode="auto">
              <a:xfrm>
                <a:off x="4750416" y="7178736"/>
                <a:ext cx="1371353" cy="21501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914148" eaLnBrk="0" fontAlgn="base" hangingPunct="0">
                  <a:spcBef>
                    <a:spcPct val="20000"/>
                  </a:spcBef>
                  <a:spcAft>
                    <a:spcPct val="0"/>
                  </a:spcAft>
                  <a:buClr>
                    <a:srgbClr val="000000"/>
                  </a:buClr>
                </a:pPr>
                <a:r>
                  <a:rPr lang="en-US" sz="1063" i="1" dirty="0">
                    <a:solidFill>
                      <a:srgbClr val="FFFFFF">
                        <a:alpha val="99000"/>
                      </a:srgbClr>
                    </a:solidFill>
                  </a:rPr>
                  <a:t>t</a:t>
                </a:r>
              </a:p>
            </p:txBody>
          </p:sp>
          <p:grpSp>
            <p:nvGrpSpPr>
              <p:cNvPr id="21" name="Group 20"/>
              <p:cNvGrpSpPr/>
              <p:nvPr/>
            </p:nvGrpSpPr>
            <p:grpSpPr>
              <a:xfrm>
                <a:off x="536693" y="5975365"/>
                <a:ext cx="8421731" cy="1340859"/>
                <a:chOff x="536693" y="5975365"/>
                <a:chExt cx="8421731" cy="1340859"/>
              </a:xfrm>
            </p:grpSpPr>
            <p:grpSp>
              <p:nvGrpSpPr>
                <p:cNvPr id="60" name="Group 59"/>
                <p:cNvGrpSpPr/>
                <p:nvPr/>
              </p:nvGrpSpPr>
              <p:grpSpPr>
                <a:xfrm>
                  <a:off x="4347256" y="6052372"/>
                  <a:ext cx="4611168" cy="1218378"/>
                  <a:chOff x="-308078" y="5146382"/>
                  <a:chExt cx="3841639" cy="1015315"/>
                </a:xfrm>
              </p:grpSpPr>
              <p:sp>
                <p:nvSpPr>
                  <p:cNvPr id="44" name="TextBox 43"/>
                  <p:cNvSpPr txBox="1"/>
                  <p:nvPr/>
                </p:nvSpPr>
                <p:spPr>
                  <a:xfrm>
                    <a:off x="-308078" y="5146382"/>
                    <a:ext cx="3841639" cy="353940"/>
                  </a:xfrm>
                  <a:prstGeom prst="rect">
                    <a:avLst/>
                  </a:prstGeom>
                  <a:noFill/>
                  <a:ln>
                    <a:noFill/>
                  </a:ln>
                </p:spPr>
                <p:txBody>
                  <a:bodyPr wrap="square" lIns="0" tIns="28574" rIns="0" bIns="28574" rtlCol="0">
                    <a:spAutoFit/>
                  </a:bodyPr>
                  <a:lstStyle/>
                  <a:p>
                    <a:pPr defTabSz="914186">
                      <a:lnSpc>
                        <a:spcPct val="90000"/>
                      </a:lnSpc>
                      <a:spcBef>
                        <a:spcPct val="20000"/>
                      </a:spcBef>
                    </a:pPr>
                    <a:r>
                      <a:rPr lang="en-US" sz="1500" dirty="0">
                        <a:solidFill>
                          <a:srgbClr val="00AEEF">
                            <a:alpha val="99000"/>
                          </a:srgbClr>
                        </a:solidFill>
                        <a:ea typeface="Segoe UI" pitchFamily="34" charset="0"/>
                        <a:cs typeface="Segoe UI" pitchFamily="34" charset="0"/>
                      </a:rPr>
                      <a:t>Predictable Burst – </a:t>
                    </a:r>
                    <a:r>
                      <a:rPr lang="en-US" sz="1500" dirty="0">
                        <a:solidFill>
                          <a:srgbClr val="00B050">
                            <a:alpha val="99000"/>
                          </a:srgbClr>
                        </a:solidFill>
                        <a:ea typeface="Segoe UI" pitchFamily="34" charset="0"/>
                        <a:cs typeface="Segoe UI" pitchFamily="34" charset="0"/>
                      </a:rPr>
                      <a:t>Registration</a:t>
                    </a:r>
                    <a:endParaRPr lang="en-US" sz="1500" dirty="0">
                      <a:solidFill>
                        <a:srgbClr val="00AEEF">
                          <a:alpha val="99000"/>
                        </a:srgbClr>
                      </a:solidFill>
                      <a:ea typeface="Segoe UI" pitchFamily="34" charset="0"/>
                      <a:cs typeface="Segoe UI" pitchFamily="34" charset="0"/>
                    </a:endParaRPr>
                  </a:p>
                </p:txBody>
              </p:sp>
              <p:sp>
                <p:nvSpPr>
                  <p:cNvPr id="45" name="Rectangle 44"/>
                  <p:cNvSpPr/>
                  <p:nvPr/>
                </p:nvSpPr>
                <p:spPr>
                  <a:xfrm>
                    <a:off x="342904" y="5623088"/>
                    <a:ext cx="3190657" cy="538609"/>
                  </a:xfrm>
                  <a:prstGeom prst="rect">
                    <a:avLst/>
                  </a:prstGeom>
                  <a:ln>
                    <a:noFill/>
                  </a:ln>
                </p:spPr>
                <p:txBody>
                  <a:bodyPr wrap="square" lIns="0" tIns="0" rIns="0" bIns="0">
                    <a:spAutoFit/>
                  </a:bodyPr>
                  <a:lstStyle/>
                  <a:p>
                    <a:pPr marL="0" lvl="1" defTabSz="914073" fontAlgn="base">
                      <a:spcAft>
                        <a:spcPct val="0"/>
                      </a:spcAft>
                    </a:pPr>
                    <a:r>
                      <a:rPr lang="en-US" sz="875" dirty="0">
                        <a:solidFill>
                          <a:schemeClr val="tx1">
                            <a:alpha val="99000"/>
                          </a:schemeClr>
                        </a:solidFill>
                        <a:ea typeface="Kozuka Gothic Pro R" pitchFamily="34" charset="-128"/>
                      </a:rPr>
                      <a:t>Services with micro seasonality trends   </a:t>
                    </a:r>
                  </a:p>
                  <a:p>
                    <a:pPr marL="0" lvl="1" defTabSz="914073" fontAlgn="base">
                      <a:spcAft>
                        <a:spcPct val="0"/>
                      </a:spcAft>
                    </a:pPr>
                    <a:r>
                      <a:rPr lang="en-US" sz="875" dirty="0">
                        <a:solidFill>
                          <a:schemeClr val="tx1">
                            <a:alpha val="99000"/>
                          </a:schemeClr>
                        </a:solidFill>
                        <a:ea typeface="Kozuka Gothic Pro R" pitchFamily="34" charset="-128"/>
                      </a:rPr>
                      <a:t>Peaks due to periodic increased demand</a:t>
                    </a:r>
                  </a:p>
                  <a:p>
                    <a:pPr marL="0" lvl="1" defTabSz="914073" fontAlgn="base">
                      <a:spcAft>
                        <a:spcPct val="0"/>
                      </a:spcAft>
                    </a:pPr>
                    <a:r>
                      <a:rPr lang="en-US" sz="875" dirty="0">
                        <a:solidFill>
                          <a:schemeClr val="tx1">
                            <a:alpha val="99000"/>
                          </a:schemeClr>
                        </a:solidFill>
                        <a:ea typeface="Kozuka Gothic Pro R" pitchFamily="34" charset="-128"/>
                      </a:rPr>
                      <a:t>IT complexity and wasted capacity</a:t>
                    </a:r>
                  </a:p>
                </p:txBody>
              </p:sp>
            </p:grpSp>
            <p:grpSp>
              <p:nvGrpSpPr>
                <p:cNvPr id="50" name="Group 49"/>
                <p:cNvGrpSpPr/>
                <p:nvPr/>
              </p:nvGrpSpPr>
              <p:grpSpPr>
                <a:xfrm>
                  <a:off x="536693" y="5975365"/>
                  <a:ext cx="4158470" cy="1340859"/>
                  <a:chOff x="673196" y="5615471"/>
                  <a:chExt cx="3464489" cy="1117382"/>
                </a:xfrm>
              </p:grpSpPr>
              <p:cxnSp>
                <p:nvCxnSpPr>
                  <p:cNvPr id="39" name="Straight Arrow Connector 38"/>
                  <p:cNvCxnSpPr/>
                  <p:nvPr/>
                </p:nvCxnSpPr>
                <p:spPr bwMode="auto">
                  <a:xfrm flipV="1">
                    <a:off x="999934" y="5835406"/>
                    <a:ext cx="0" cy="897447"/>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40" name="Straight Arrow Connector 39"/>
                  <p:cNvCxnSpPr/>
                  <p:nvPr/>
                </p:nvCxnSpPr>
                <p:spPr bwMode="auto">
                  <a:xfrm>
                    <a:off x="984695" y="6720306"/>
                    <a:ext cx="3152990"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41" name="Rectangle 40"/>
                  <p:cNvSpPr/>
                  <p:nvPr/>
                </p:nvSpPr>
                <p:spPr>
                  <a:xfrm rot="16200000">
                    <a:off x="267764" y="6020903"/>
                    <a:ext cx="1024540" cy="213675"/>
                  </a:xfrm>
                  <a:prstGeom prst="rect">
                    <a:avLst/>
                  </a:prstGeom>
                  <a:ln>
                    <a:noFill/>
                  </a:ln>
                </p:spPr>
                <p:txBody>
                  <a:bodyPr wrap="square" lIns="57148" tIns="28574" rIns="57148" bIns="28574">
                    <a:spAutoFit/>
                  </a:bodyPr>
                  <a:lstStyle/>
                  <a:p>
                    <a:pPr marL="228538" indent="-228538" algn="ctr" defTabSz="914148" eaLnBrk="0" fontAlgn="base" hangingPunct="0">
                      <a:lnSpc>
                        <a:spcPts val="799"/>
                      </a:lnSpc>
                      <a:spcBef>
                        <a:spcPct val="20000"/>
                      </a:spcBef>
                      <a:spcAft>
                        <a:spcPct val="0"/>
                      </a:spcAft>
                      <a:buClr>
                        <a:srgbClr val="000000"/>
                      </a:buClr>
                    </a:pPr>
                    <a:r>
                      <a:rPr lang="en-US" sz="875" dirty="0">
                        <a:solidFill>
                          <a:schemeClr val="tx1">
                            <a:alpha val="99000"/>
                          </a:schemeClr>
                        </a:solidFill>
                      </a:rPr>
                      <a:t>Compute</a:t>
                    </a:r>
                    <a:r>
                      <a:rPr lang="en-US" sz="875" dirty="0">
                        <a:solidFill>
                          <a:srgbClr val="FFFFFF">
                            <a:alpha val="99000"/>
                          </a:srgbClr>
                        </a:solidFill>
                      </a:rPr>
                      <a:t> </a:t>
                    </a:r>
                  </a:p>
                </p:txBody>
              </p:sp>
              <p:sp>
                <p:nvSpPr>
                  <p:cNvPr id="48" name="Freeform 47"/>
                  <p:cNvSpPr/>
                  <p:nvPr/>
                </p:nvSpPr>
                <p:spPr>
                  <a:xfrm>
                    <a:off x="997841" y="5891755"/>
                    <a:ext cx="2919644" cy="583019"/>
                  </a:xfrm>
                  <a:custGeom>
                    <a:avLst/>
                    <a:gdLst>
                      <a:gd name="connsiteX0" fmla="*/ 0 w 2190307"/>
                      <a:gd name="connsiteY0" fmla="*/ 689345 h 781494"/>
                      <a:gd name="connsiteX1" fmla="*/ 531628 w 2190307"/>
                      <a:gd name="connsiteY1" fmla="*/ 8861 h 781494"/>
                      <a:gd name="connsiteX2" fmla="*/ 967563 w 2190307"/>
                      <a:gd name="connsiteY2" fmla="*/ 742508 h 781494"/>
                      <a:gd name="connsiteX3" fmla="*/ 1435395 w 2190307"/>
                      <a:gd name="connsiteY3" fmla="*/ 8861 h 781494"/>
                      <a:gd name="connsiteX4" fmla="*/ 1828800 w 2190307"/>
                      <a:gd name="connsiteY4" fmla="*/ 721243 h 781494"/>
                      <a:gd name="connsiteX5" fmla="*/ 2190307 w 2190307"/>
                      <a:gd name="connsiteY5" fmla="*/ 370368 h 78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307" h="781494">
                        <a:moveTo>
                          <a:pt x="0" y="689345"/>
                        </a:moveTo>
                        <a:cubicBezTo>
                          <a:pt x="185183" y="344672"/>
                          <a:pt x="370367" y="0"/>
                          <a:pt x="531628" y="8861"/>
                        </a:cubicBezTo>
                        <a:cubicBezTo>
                          <a:pt x="692889" y="17722"/>
                          <a:pt x="816935" y="742508"/>
                          <a:pt x="967563" y="742508"/>
                        </a:cubicBezTo>
                        <a:cubicBezTo>
                          <a:pt x="1118191" y="742508"/>
                          <a:pt x="1291856" y="12405"/>
                          <a:pt x="1435395" y="8861"/>
                        </a:cubicBezTo>
                        <a:cubicBezTo>
                          <a:pt x="1578934" y="5317"/>
                          <a:pt x="1702981" y="660992"/>
                          <a:pt x="1828800" y="721243"/>
                        </a:cubicBezTo>
                        <a:cubicBezTo>
                          <a:pt x="1954619" y="781494"/>
                          <a:pt x="2119423" y="430619"/>
                          <a:pt x="2190307" y="370368"/>
                        </a:cubicBezTo>
                      </a:path>
                    </a:pathLst>
                  </a:cu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txBody>
                  <a:bodyPr rtlCol="0" anchor="ctr"/>
                  <a:lstStyle/>
                  <a:p>
                    <a:pPr algn="ctr" defTabSz="914186"/>
                    <a:endParaRPr lang="en-US" sz="1813" dirty="0">
                      <a:solidFill>
                        <a:srgbClr val="292929"/>
                      </a:solidFill>
                    </a:endParaRPr>
                  </a:p>
                </p:txBody>
              </p:sp>
              <p:cxnSp>
                <p:nvCxnSpPr>
                  <p:cNvPr id="49" name="Straight Connector 48"/>
                  <p:cNvCxnSpPr/>
                  <p:nvPr/>
                </p:nvCxnSpPr>
                <p:spPr bwMode="auto">
                  <a:xfrm>
                    <a:off x="1023975" y="6266416"/>
                    <a:ext cx="2963103" cy="24852"/>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grpSp>
          </p:grpSp>
        </p:grpSp>
        <p:cxnSp>
          <p:nvCxnSpPr>
            <p:cNvPr id="64" name="Straight Connector 63"/>
            <p:cNvCxnSpPr/>
            <p:nvPr/>
          </p:nvCxnSpPr>
          <p:spPr>
            <a:xfrm>
              <a:off x="-6425742" y="5815987"/>
              <a:ext cx="1538416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29" name="Group 28"/>
          <p:cNvGrpSpPr/>
          <p:nvPr/>
        </p:nvGrpSpPr>
        <p:grpSpPr>
          <a:xfrm>
            <a:off x="1168744" y="2605481"/>
            <a:ext cx="9700054" cy="1025094"/>
            <a:chOff x="-2945986" y="2364377"/>
            <a:chExt cx="15520087" cy="1640150"/>
          </a:xfrm>
        </p:grpSpPr>
        <p:sp>
          <p:nvSpPr>
            <p:cNvPr id="52" name="Text Placeholder 6"/>
            <p:cNvSpPr txBox="1">
              <a:spLocks/>
            </p:cNvSpPr>
            <p:nvPr/>
          </p:nvSpPr>
          <p:spPr bwMode="auto">
            <a:xfrm>
              <a:off x="4750416" y="3749040"/>
              <a:ext cx="1371353" cy="16154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914148" eaLnBrk="0" fontAlgn="base" hangingPunct="0">
                <a:spcBef>
                  <a:spcPct val="20000"/>
                </a:spcBef>
                <a:spcAft>
                  <a:spcPct val="0"/>
                </a:spcAft>
                <a:buClr>
                  <a:srgbClr val="000000"/>
                </a:buClr>
              </a:pPr>
              <a:r>
                <a:rPr lang="en-US" sz="1063" i="1" dirty="0">
                  <a:solidFill>
                    <a:srgbClr val="FFFFFF">
                      <a:alpha val="99000"/>
                    </a:srgbClr>
                  </a:solidFill>
                </a:rPr>
                <a:t>t</a:t>
              </a:r>
            </a:p>
          </p:txBody>
        </p:sp>
        <p:grpSp>
          <p:nvGrpSpPr>
            <p:cNvPr id="8" name="Group 7"/>
            <p:cNvGrpSpPr/>
            <p:nvPr/>
          </p:nvGrpSpPr>
          <p:grpSpPr>
            <a:xfrm>
              <a:off x="507466" y="2635459"/>
              <a:ext cx="9515867" cy="1369068"/>
              <a:chOff x="507466" y="2635459"/>
              <a:chExt cx="9515867" cy="1369068"/>
            </a:xfrm>
          </p:grpSpPr>
          <p:grpSp>
            <p:nvGrpSpPr>
              <p:cNvPr id="58" name="Group 57"/>
              <p:cNvGrpSpPr/>
              <p:nvPr/>
            </p:nvGrpSpPr>
            <p:grpSpPr>
              <a:xfrm>
                <a:off x="5128637" y="2635459"/>
                <a:ext cx="4894696" cy="1152616"/>
                <a:chOff x="342905" y="2530549"/>
                <a:chExt cx="4077851" cy="960513"/>
              </a:xfrm>
            </p:grpSpPr>
            <p:sp>
              <p:nvSpPr>
                <p:cNvPr id="35" name="TextBox 34"/>
                <p:cNvSpPr txBox="1"/>
                <p:nvPr/>
              </p:nvSpPr>
              <p:spPr>
                <a:xfrm>
                  <a:off x="342905" y="2530549"/>
                  <a:ext cx="4077851" cy="353940"/>
                </a:xfrm>
                <a:prstGeom prst="rect">
                  <a:avLst/>
                </a:prstGeom>
                <a:noFill/>
                <a:ln>
                  <a:noFill/>
                </a:ln>
              </p:spPr>
              <p:txBody>
                <a:bodyPr wrap="square" lIns="0" tIns="28574" rIns="0" bIns="28574" rtlCol="0">
                  <a:spAutoFit/>
                </a:bodyPr>
                <a:lstStyle/>
                <a:p>
                  <a:pPr defTabSz="914186">
                    <a:lnSpc>
                      <a:spcPct val="90000"/>
                    </a:lnSpc>
                    <a:spcBef>
                      <a:spcPct val="20000"/>
                    </a:spcBef>
                  </a:pPr>
                  <a:r>
                    <a:rPr lang="en-US" sz="1500" dirty="0">
                      <a:solidFill>
                        <a:srgbClr val="00AEEF">
                          <a:alpha val="99000"/>
                        </a:srgbClr>
                      </a:solidFill>
                      <a:ea typeface="Segoe UI" pitchFamily="34" charset="0"/>
                      <a:cs typeface="Segoe UI" pitchFamily="34" charset="0"/>
                    </a:rPr>
                    <a:t>Growing Fast – </a:t>
                  </a:r>
                  <a:r>
                    <a:rPr lang="en-US" sz="1500" dirty="0">
                      <a:solidFill>
                        <a:srgbClr val="00B050">
                          <a:alpha val="99000"/>
                        </a:srgbClr>
                      </a:solidFill>
                      <a:ea typeface="Segoe UI" pitchFamily="34" charset="0"/>
                      <a:cs typeface="Segoe UI" pitchFamily="34" charset="0"/>
                    </a:rPr>
                    <a:t>Research Project</a:t>
                  </a:r>
                  <a:endParaRPr lang="en-US" sz="1500" dirty="0">
                    <a:solidFill>
                      <a:srgbClr val="00AEEF">
                        <a:alpha val="99000"/>
                      </a:srgbClr>
                    </a:solidFill>
                    <a:ea typeface="Segoe UI" pitchFamily="34" charset="0"/>
                    <a:cs typeface="Segoe UI" pitchFamily="34" charset="0"/>
                  </a:endParaRPr>
                </a:p>
              </p:txBody>
            </p:sp>
            <p:sp>
              <p:nvSpPr>
                <p:cNvPr id="36" name="Rectangle 35"/>
                <p:cNvSpPr/>
                <p:nvPr/>
              </p:nvSpPr>
              <p:spPr>
                <a:xfrm>
                  <a:off x="342905" y="2952453"/>
                  <a:ext cx="3119051" cy="538609"/>
                </a:xfrm>
                <a:prstGeom prst="rect">
                  <a:avLst/>
                </a:prstGeom>
                <a:ln>
                  <a:noFill/>
                </a:ln>
              </p:spPr>
              <p:txBody>
                <a:bodyPr wrap="square" lIns="0" tIns="0" rIns="0" bIns="0">
                  <a:spAutoFit/>
                </a:bodyPr>
                <a:lstStyle/>
                <a:p>
                  <a:pPr marL="0" lvl="1" defTabSz="914073" fontAlgn="base">
                    <a:spcAft>
                      <a:spcPct val="0"/>
                    </a:spcAft>
                  </a:pPr>
                  <a:r>
                    <a:rPr lang="en-US" sz="875" dirty="0">
                      <a:solidFill>
                        <a:schemeClr val="tx1">
                          <a:alpha val="99000"/>
                        </a:schemeClr>
                      </a:solidFill>
                      <a:ea typeface="Kozuka Gothic Pro R" pitchFamily="34" charset="-128"/>
                    </a:rPr>
                    <a:t>Successful services needs to grow/scale   </a:t>
                  </a:r>
                </a:p>
                <a:p>
                  <a:pPr marL="0" lvl="1" defTabSz="914073" fontAlgn="base">
                    <a:spcAft>
                      <a:spcPct val="0"/>
                    </a:spcAft>
                  </a:pPr>
                  <a:r>
                    <a:rPr lang="en-US" sz="875" dirty="0">
                      <a:solidFill>
                        <a:schemeClr val="tx1">
                          <a:alpha val="99000"/>
                        </a:schemeClr>
                      </a:solidFill>
                      <a:ea typeface="Kozuka Gothic Pro R" pitchFamily="34" charset="-128"/>
                    </a:rPr>
                    <a:t>Keeping up w/ growth is big IT challenge </a:t>
                  </a:r>
                </a:p>
                <a:p>
                  <a:pPr marL="0" lvl="1" defTabSz="914073" fontAlgn="base">
                    <a:spcAft>
                      <a:spcPct val="0"/>
                    </a:spcAft>
                  </a:pPr>
                  <a:r>
                    <a:rPr lang="en-US" sz="875" dirty="0">
                      <a:solidFill>
                        <a:schemeClr val="tx1">
                          <a:alpha val="99000"/>
                        </a:schemeClr>
                      </a:solidFill>
                      <a:ea typeface="Kozuka Gothic Pro R" pitchFamily="34" charset="-128"/>
                    </a:rPr>
                    <a:t>Cannot provision hardware fast enough</a:t>
                  </a:r>
                </a:p>
              </p:txBody>
            </p:sp>
          </p:grpSp>
          <p:grpSp>
            <p:nvGrpSpPr>
              <p:cNvPr id="38" name="Group 37"/>
              <p:cNvGrpSpPr/>
              <p:nvPr/>
            </p:nvGrpSpPr>
            <p:grpSpPr>
              <a:xfrm>
                <a:off x="507466" y="2729083"/>
                <a:ext cx="4180935" cy="1275444"/>
                <a:chOff x="801149" y="3079921"/>
                <a:chExt cx="3483205" cy="1062870"/>
              </a:xfrm>
            </p:grpSpPr>
            <p:cxnSp>
              <p:nvCxnSpPr>
                <p:cNvPr id="30" name="Straight Arrow Connector 29"/>
                <p:cNvCxnSpPr/>
                <p:nvPr/>
              </p:nvCxnSpPr>
              <p:spPr bwMode="auto">
                <a:xfrm flipH="1" flipV="1">
                  <a:off x="1127885" y="3079921"/>
                  <a:ext cx="3478" cy="930519"/>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31" name="Straight Arrow Connector 30"/>
                <p:cNvCxnSpPr/>
                <p:nvPr/>
              </p:nvCxnSpPr>
              <p:spPr bwMode="auto">
                <a:xfrm>
                  <a:off x="1131363" y="3996754"/>
                  <a:ext cx="3152991"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33" name="Rectangle 32"/>
                <p:cNvSpPr/>
                <p:nvPr/>
              </p:nvSpPr>
              <p:spPr>
                <a:xfrm rot="16200000">
                  <a:off x="400512" y="3528479"/>
                  <a:ext cx="1014949" cy="213675"/>
                </a:xfrm>
                <a:prstGeom prst="rect">
                  <a:avLst/>
                </a:prstGeom>
                <a:ln>
                  <a:noFill/>
                </a:ln>
              </p:spPr>
              <p:txBody>
                <a:bodyPr wrap="square" lIns="57148" tIns="28574" rIns="57148" bIns="28574">
                  <a:spAutoFit/>
                </a:bodyPr>
                <a:lstStyle/>
                <a:p>
                  <a:pPr marL="228538" indent="-228538" algn="ctr" defTabSz="914148" eaLnBrk="0" fontAlgn="base" hangingPunct="0">
                    <a:lnSpc>
                      <a:spcPts val="799"/>
                    </a:lnSpc>
                    <a:spcBef>
                      <a:spcPct val="20000"/>
                    </a:spcBef>
                    <a:spcAft>
                      <a:spcPct val="0"/>
                    </a:spcAft>
                    <a:buClr>
                      <a:srgbClr val="000000"/>
                    </a:buClr>
                  </a:pPr>
                  <a:r>
                    <a:rPr lang="en-US" sz="875" dirty="0">
                      <a:solidFill>
                        <a:schemeClr val="tx1">
                          <a:alpha val="99000"/>
                        </a:schemeClr>
                      </a:solidFill>
                    </a:rPr>
                    <a:t>Compute</a:t>
                  </a:r>
                  <a:r>
                    <a:rPr lang="en-US" sz="875" dirty="0">
                      <a:solidFill>
                        <a:srgbClr val="FFFFFF">
                          <a:alpha val="99000"/>
                        </a:srgbClr>
                      </a:solidFill>
                    </a:rPr>
                    <a:t> </a:t>
                  </a:r>
                </a:p>
              </p:txBody>
            </p:sp>
            <p:sp>
              <p:nvSpPr>
                <p:cNvPr id="37" name="Freeform 36"/>
                <p:cNvSpPr/>
                <p:nvPr/>
              </p:nvSpPr>
              <p:spPr>
                <a:xfrm>
                  <a:off x="1122045" y="3133426"/>
                  <a:ext cx="3085702" cy="860645"/>
                </a:xfrm>
                <a:custGeom>
                  <a:avLst/>
                  <a:gdLst>
                    <a:gd name="connsiteX0" fmla="*/ 0 w 3180080"/>
                    <a:gd name="connsiteY0" fmla="*/ 782320 h 912707"/>
                    <a:gd name="connsiteX1" fmla="*/ 1635760 w 3180080"/>
                    <a:gd name="connsiteY1" fmla="*/ 782320 h 912707"/>
                    <a:gd name="connsiteX2" fmla="*/ 3180080 w 3180080"/>
                    <a:gd name="connsiteY2" fmla="*/ 0 h 912707"/>
                    <a:gd name="connsiteX0" fmla="*/ 0 w 3159760"/>
                    <a:gd name="connsiteY0" fmla="*/ 881288 h 946481"/>
                    <a:gd name="connsiteX1" fmla="*/ 1615440 w 3159760"/>
                    <a:gd name="connsiteY1" fmla="*/ 782320 h 946481"/>
                    <a:gd name="connsiteX2" fmla="*/ 3159760 w 3159760"/>
                    <a:gd name="connsiteY2" fmla="*/ 0 h 946481"/>
                    <a:gd name="connsiteX0" fmla="*/ 0 w 3159760"/>
                    <a:gd name="connsiteY0" fmla="*/ 881288 h 929201"/>
                    <a:gd name="connsiteX1" fmla="*/ 1615440 w 3159760"/>
                    <a:gd name="connsiteY1" fmla="*/ 782320 h 929201"/>
                    <a:gd name="connsiteX2" fmla="*/ 3159760 w 3159760"/>
                    <a:gd name="connsiteY2" fmla="*/ 0 h 929201"/>
                    <a:gd name="connsiteX0" fmla="*/ 0 w 3149600"/>
                    <a:gd name="connsiteY0" fmla="*/ 991253 h 1001464"/>
                    <a:gd name="connsiteX1" fmla="*/ 1605280 w 3149600"/>
                    <a:gd name="connsiteY1" fmla="*/ 782320 h 1001464"/>
                    <a:gd name="connsiteX2" fmla="*/ 3149600 w 3149600"/>
                    <a:gd name="connsiteY2" fmla="*/ 0 h 1001464"/>
                    <a:gd name="connsiteX0" fmla="*/ 0 w 3149600"/>
                    <a:gd name="connsiteY0" fmla="*/ 991253 h 991253"/>
                    <a:gd name="connsiteX1" fmla="*/ 1605280 w 3149600"/>
                    <a:gd name="connsiteY1" fmla="*/ 782320 h 991253"/>
                    <a:gd name="connsiteX2" fmla="*/ 3149600 w 3149600"/>
                    <a:gd name="connsiteY2" fmla="*/ 0 h 991253"/>
                  </a:gdLst>
                  <a:ahLst/>
                  <a:cxnLst>
                    <a:cxn ang="0">
                      <a:pos x="connsiteX0" y="connsiteY0"/>
                    </a:cxn>
                    <a:cxn ang="0">
                      <a:pos x="connsiteX1" y="connsiteY1"/>
                    </a:cxn>
                    <a:cxn ang="0">
                      <a:pos x="connsiteX2" y="connsiteY2"/>
                    </a:cxn>
                  </a:cxnLst>
                  <a:rect l="l" t="t" r="r" b="b"/>
                  <a:pathLst>
                    <a:path w="3149600" h="991253">
                      <a:moveTo>
                        <a:pt x="0" y="991253"/>
                      </a:moveTo>
                      <a:cubicBezTo>
                        <a:pt x="623993" y="979471"/>
                        <a:pt x="1080347" y="947529"/>
                        <a:pt x="1605280" y="782320"/>
                      </a:cubicBezTo>
                      <a:cubicBezTo>
                        <a:pt x="2130213" y="617111"/>
                        <a:pt x="2642446" y="325966"/>
                        <a:pt x="3149600" y="0"/>
                      </a:cubicBezTo>
                    </a:path>
                  </a:pathLst>
                </a:custGeom>
                <a:ln w="25400">
                  <a:solidFill>
                    <a:schemeClr val="tx1"/>
                  </a:solidFill>
                  <a:headEnd type="none" w="med" len="med"/>
                  <a:tailEnd type="triangle"/>
                </a:ln>
                <a:effectLst/>
              </p:spPr>
              <p:txBody>
                <a:bodyPr lIns="57148" tIns="28574" rIns="57148" bIns="28574" rtlCol="0" anchor="ctr"/>
                <a:lstStyle/>
                <a:p>
                  <a:pPr algn="ctr" defTabSz="914186"/>
                  <a:endParaRPr lang="en-US" sz="1813" dirty="0">
                    <a:solidFill>
                      <a:srgbClr val="292929"/>
                    </a:solidFill>
                  </a:endParaRPr>
                </a:p>
              </p:txBody>
            </p:sp>
          </p:grpSp>
        </p:grpSp>
        <p:cxnSp>
          <p:nvCxnSpPr>
            <p:cNvPr id="51" name="Straight Connector 50"/>
            <p:cNvCxnSpPr/>
            <p:nvPr/>
          </p:nvCxnSpPr>
          <p:spPr>
            <a:xfrm>
              <a:off x="-2945986" y="2364377"/>
              <a:ext cx="15520087"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09217454"/>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left)">
                                      <p:cBhvr>
                                        <p:cTn id="7" dur="500"/>
                                        <p:tgtEl>
                                          <p:spTgt spid="2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2"/>
                                        </p:tgtEl>
                                        <p:attrNameLst>
                                          <p:attrName>style.visibility</p:attrName>
                                        </p:attrNameLst>
                                      </p:cBhvr>
                                      <p:to>
                                        <p:strVal val="visible"/>
                                      </p:to>
                                    </p:set>
                                    <p:animEffect transition="in" filter="wipe(left)">
                                      <p:cBhvr>
                                        <p:cTn id="12" dur="500"/>
                                        <p:tgtEl>
                                          <p:spTgt spid="4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6"/>
                                        </p:tgtEl>
                                        <p:attrNameLst>
                                          <p:attrName>style.visibility</p:attrName>
                                        </p:attrNameLst>
                                      </p:cBhvr>
                                      <p:to>
                                        <p:strVal val="visible"/>
                                      </p:to>
                                    </p:set>
                                    <p:animEffect transition="in" filter="wipe(left)">
                                      <p:cBhvr>
                                        <p:cTn id="1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1981200" y="1209584"/>
            <a:ext cx="8364538" cy="2935288"/>
          </a:xfrm>
        </p:spPr>
        <p:txBody>
          <a:bodyPr>
            <a:normAutofit/>
          </a:bodyPr>
          <a:lstStyle/>
          <a:p>
            <a:pPr marL="0" indent="0">
              <a:buNone/>
            </a:pPr>
            <a:r>
              <a:rPr lang="en-US" sz="2400" dirty="0">
                <a:solidFill>
                  <a:schemeClr val="tx1">
                    <a:lumMod val="50000"/>
                    <a:lumOff val="50000"/>
                  </a:schemeClr>
                </a:solidFill>
                <a:latin typeface="Segoe UI Light" panose="020B0502040204020203" pitchFamily="34" charset="0"/>
                <a:cs typeface="Segoe UI Light" panose="020B0502040204020203" pitchFamily="34" charset="0"/>
              </a:rPr>
              <a:t>While limiting the amount of VMs you have running is a good way to save costs you need at least two instances for SLA, availability and load balancing</a:t>
            </a:r>
          </a:p>
          <a:p>
            <a:pPr marL="0" indent="0">
              <a:buNone/>
            </a:pPr>
            <a:endParaRPr lang="en-US" sz="800" dirty="0">
              <a:solidFill>
                <a:schemeClr val="tx1">
                  <a:lumMod val="50000"/>
                  <a:lumOff val="50000"/>
                </a:schemeClr>
              </a:solidFill>
              <a:latin typeface="Segoe UI Light" panose="020B0502040204020203" pitchFamily="34" charset="0"/>
              <a:cs typeface="Segoe UI Light" panose="020B0502040204020203" pitchFamily="34" charset="0"/>
            </a:endParaRPr>
          </a:p>
          <a:p>
            <a:pPr marL="0" indent="0">
              <a:buNone/>
            </a:pPr>
            <a:r>
              <a:rPr lang="en-US" sz="2400" dirty="0">
                <a:solidFill>
                  <a:schemeClr val="tx1">
                    <a:lumMod val="50000"/>
                    <a:lumOff val="50000"/>
                  </a:schemeClr>
                </a:solidFill>
                <a:latin typeface="Segoe UI Light" panose="020B0502040204020203" pitchFamily="34" charset="0"/>
                <a:cs typeface="Segoe UI Light" panose="020B0502040204020203" pitchFamily="34" charset="0"/>
              </a:rPr>
              <a:t>Use dynamic scaling to handle burst</a:t>
            </a:r>
          </a:p>
          <a:p>
            <a:pPr marL="0" indent="0">
              <a:buNone/>
            </a:pPr>
            <a:endParaRPr lang="en-US" sz="800" dirty="0">
              <a:solidFill>
                <a:schemeClr val="tx1">
                  <a:lumMod val="50000"/>
                  <a:lumOff val="50000"/>
                </a:schemeClr>
              </a:solidFill>
              <a:latin typeface="Segoe UI Light" panose="020B0502040204020203" pitchFamily="34" charset="0"/>
              <a:cs typeface="Segoe UI Light" panose="020B0502040204020203" pitchFamily="34" charset="0"/>
            </a:endParaRPr>
          </a:p>
          <a:p>
            <a:pPr marL="0" indent="0">
              <a:buNone/>
            </a:pPr>
            <a:r>
              <a:rPr lang="en-US" sz="2400" dirty="0">
                <a:solidFill>
                  <a:schemeClr val="tx1">
                    <a:lumMod val="50000"/>
                    <a:lumOff val="50000"/>
                  </a:schemeClr>
                </a:solidFill>
                <a:latin typeface="Segoe UI Light" panose="020B0502040204020203" pitchFamily="34" charset="0"/>
                <a:cs typeface="Segoe UI Light" panose="020B0502040204020203" pitchFamily="34" charset="0"/>
              </a:rPr>
              <a:t>Consider spinning down some portion of capacity during off hours (night, weekend, holiday)</a:t>
            </a:r>
          </a:p>
        </p:txBody>
      </p:sp>
      <p:sp>
        <p:nvSpPr>
          <p:cNvPr id="8" name="Title 1"/>
          <p:cNvSpPr txBox="1">
            <a:spLocks/>
          </p:cNvSpPr>
          <p:nvPr/>
        </p:nvSpPr>
        <p:spPr>
          <a:xfrm>
            <a:off x="1889761" y="274361"/>
            <a:ext cx="8229600" cy="64008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4800" dirty="0">
                <a:solidFill>
                  <a:schemeClr val="bg1">
                    <a:lumMod val="50000"/>
                  </a:schemeClr>
                </a:solidFill>
                <a:latin typeface="Segoe UI Light" panose="020B0502040204020203" pitchFamily="34" charset="0"/>
                <a:cs typeface="Segoe UI Light" panose="020B0502040204020203" pitchFamily="34" charset="0"/>
              </a:rPr>
              <a:t>Instance Counts</a:t>
            </a:r>
          </a:p>
        </p:txBody>
      </p:sp>
      <p:sp>
        <p:nvSpPr>
          <p:cNvPr id="5" name="Freeform 207"/>
          <p:cNvSpPr>
            <a:spLocks noEditPoints="1"/>
          </p:cNvSpPr>
          <p:nvPr/>
        </p:nvSpPr>
        <p:spPr bwMode="black">
          <a:xfrm>
            <a:off x="3732986" y="4613910"/>
            <a:ext cx="822960" cy="548640"/>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noFill/>
          <a:ln w="19050">
            <a:solidFill>
              <a:srgbClr val="0094C8"/>
            </a:solidFill>
            <a:prstDash val="sysDash"/>
            <a:round/>
            <a:headEnd/>
            <a:tailEnd/>
          </a:ln>
          <a:extLst/>
        </p:spPr>
        <p:txBody>
          <a:bodyPr vert="horz" wrap="square" lIns="64005" tIns="32003" rIns="64005" bIns="32003" numCol="1" anchor="t" anchorCtr="0" compatLnSpc="1">
            <a:prstTxWarp prst="textNoShape">
              <a:avLst/>
            </a:prstTxWarp>
          </a:bodyPr>
          <a:lstStyle/>
          <a:p>
            <a:pPr defTabSz="767680"/>
            <a:endParaRPr lang="en-US" sz="1100">
              <a:solidFill>
                <a:srgbClr val="FFFFFF"/>
              </a:solidFill>
              <a:latin typeface="Segoe UI Light" panose="020B0502040204020203" pitchFamily="34" charset="0"/>
              <a:cs typeface="Segoe UI Light" panose="020B0502040204020203" pitchFamily="34" charset="0"/>
            </a:endParaRPr>
          </a:p>
        </p:txBody>
      </p:sp>
      <p:sp>
        <p:nvSpPr>
          <p:cNvPr id="7" name="Freeform 207"/>
          <p:cNvSpPr>
            <a:spLocks noEditPoints="1"/>
          </p:cNvSpPr>
          <p:nvPr/>
        </p:nvSpPr>
        <p:spPr bwMode="black">
          <a:xfrm>
            <a:off x="4737198" y="4613910"/>
            <a:ext cx="822960" cy="548640"/>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noFill/>
          <a:ln w="19050">
            <a:solidFill>
              <a:srgbClr val="0094C8"/>
            </a:solidFill>
            <a:prstDash val="sysDash"/>
            <a:round/>
            <a:headEnd/>
            <a:tailEnd/>
          </a:ln>
          <a:extLst/>
        </p:spPr>
        <p:txBody>
          <a:bodyPr vert="horz" wrap="square" lIns="64005" tIns="32003" rIns="64005" bIns="32003" numCol="1" anchor="t" anchorCtr="0" compatLnSpc="1">
            <a:prstTxWarp prst="textNoShape">
              <a:avLst/>
            </a:prstTxWarp>
          </a:bodyPr>
          <a:lstStyle/>
          <a:p>
            <a:pPr defTabSz="767680"/>
            <a:endParaRPr lang="en-US" sz="1100">
              <a:solidFill>
                <a:srgbClr val="FFFFFF"/>
              </a:solidFill>
              <a:latin typeface="Segoe UI Light" panose="020B0502040204020203" pitchFamily="34" charset="0"/>
              <a:cs typeface="Segoe UI Light" panose="020B0502040204020203" pitchFamily="34" charset="0"/>
            </a:endParaRPr>
          </a:p>
        </p:txBody>
      </p:sp>
      <p:sp>
        <p:nvSpPr>
          <p:cNvPr id="9" name="Freeform 207"/>
          <p:cNvSpPr>
            <a:spLocks noEditPoints="1"/>
          </p:cNvSpPr>
          <p:nvPr/>
        </p:nvSpPr>
        <p:spPr bwMode="black">
          <a:xfrm>
            <a:off x="3732986" y="5492217"/>
            <a:ext cx="822960" cy="548640"/>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noFill/>
          <a:ln w="19050">
            <a:solidFill>
              <a:srgbClr val="0094C8"/>
            </a:solidFill>
            <a:prstDash val="sysDash"/>
            <a:round/>
            <a:headEnd/>
            <a:tailEnd/>
          </a:ln>
          <a:extLst/>
        </p:spPr>
        <p:txBody>
          <a:bodyPr vert="horz" wrap="square" lIns="64005" tIns="32003" rIns="64005" bIns="32003" numCol="1" anchor="t" anchorCtr="0" compatLnSpc="1">
            <a:prstTxWarp prst="textNoShape">
              <a:avLst/>
            </a:prstTxWarp>
          </a:bodyPr>
          <a:lstStyle/>
          <a:p>
            <a:pPr defTabSz="767680"/>
            <a:endParaRPr lang="en-US" sz="1100">
              <a:solidFill>
                <a:srgbClr val="FFFFFF"/>
              </a:solidFill>
              <a:latin typeface="Segoe UI Light" panose="020B0502040204020203" pitchFamily="34" charset="0"/>
              <a:cs typeface="Segoe UI Light" panose="020B0502040204020203" pitchFamily="34" charset="0"/>
            </a:endParaRPr>
          </a:p>
        </p:txBody>
      </p:sp>
      <p:sp>
        <p:nvSpPr>
          <p:cNvPr id="10" name="Freeform 207"/>
          <p:cNvSpPr>
            <a:spLocks noEditPoints="1"/>
          </p:cNvSpPr>
          <p:nvPr/>
        </p:nvSpPr>
        <p:spPr bwMode="black">
          <a:xfrm>
            <a:off x="4737198" y="5492217"/>
            <a:ext cx="822960" cy="548640"/>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noFill/>
          <a:ln w="19050">
            <a:solidFill>
              <a:srgbClr val="0094C8"/>
            </a:solidFill>
            <a:prstDash val="sysDash"/>
            <a:round/>
            <a:headEnd/>
            <a:tailEnd/>
          </a:ln>
          <a:extLst/>
        </p:spPr>
        <p:txBody>
          <a:bodyPr vert="horz" wrap="square" lIns="64005" tIns="32003" rIns="64005" bIns="32003" numCol="1" anchor="t" anchorCtr="0" compatLnSpc="1">
            <a:prstTxWarp prst="textNoShape">
              <a:avLst/>
            </a:prstTxWarp>
          </a:bodyPr>
          <a:lstStyle/>
          <a:p>
            <a:pPr defTabSz="767680"/>
            <a:endParaRPr lang="en-US" sz="1100">
              <a:solidFill>
                <a:srgbClr val="FFFFFF"/>
              </a:solidFill>
              <a:latin typeface="Segoe UI Light" panose="020B0502040204020203" pitchFamily="34" charset="0"/>
              <a:cs typeface="Segoe UI Light" panose="020B0502040204020203" pitchFamily="34" charset="0"/>
            </a:endParaRPr>
          </a:p>
        </p:txBody>
      </p:sp>
      <p:sp>
        <p:nvSpPr>
          <p:cNvPr id="4" name="Sun 3"/>
          <p:cNvSpPr/>
          <p:nvPr/>
        </p:nvSpPr>
        <p:spPr>
          <a:xfrm>
            <a:off x="2956560" y="4955109"/>
            <a:ext cx="685800" cy="685800"/>
          </a:xfrm>
          <a:prstGeom prst="su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Moon 10"/>
          <p:cNvSpPr/>
          <p:nvPr/>
        </p:nvSpPr>
        <p:spPr>
          <a:xfrm>
            <a:off x="6385560" y="5069409"/>
            <a:ext cx="342900" cy="457200"/>
          </a:xfrm>
          <a:prstGeom prst="moon">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207"/>
          <p:cNvSpPr>
            <a:spLocks noEditPoints="1"/>
          </p:cNvSpPr>
          <p:nvPr/>
        </p:nvSpPr>
        <p:spPr bwMode="black">
          <a:xfrm>
            <a:off x="7162800" y="5448504"/>
            <a:ext cx="822960" cy="548640"/>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noFill/>
          <a:ln w="19050">
            <a:solidFill>
              <a:srgbClr val="0094C8"/>
            </a:solidFill>
            <a:prstDash val="sysDash"/>
            <a:round/>
            <a:headEnd/>
            <a:tailEnd/>
          </a:ln>
          <a:extLst/>
        </p:spPr>
        <p:txBody>
          <a:bodyPr vert="horz" wrap="square" lIns="64005" tIns="32003" rIns="64005" bIns="32003" numCol="1" anchor="t" anchorCtr="0" compatLnSpc="1">
            <a:prstTxWarp prst="textNoShape">
              <a:avLst/>
            </a:prstTxWarp>
          </a:bodyPr>
          <a:lstStyle/>
          <a:p>
            <a:pPr defTabSz="767680"/>
            <a:endParaRPr lang="en-US" sz="1100">
              <a:solidFill>
                <a:srgbClr val="FFFFFF"/>
              </a:solidFill>
              <a:latin typeface="Segoe UI Light" panose="020B0502040204020203" pitchFamily="34" charset="0"/>
              <a:cs typeface="Segoe UI Light" panose="020B0502040204020203" pitchFamily="34" charset="0"/>
            </a:endParaRPr>
          </a:p>
        </p:txBody>
      </p:sp>
      <p:sp>
        <p:nvSpPr>
          <p:cNvPr id="13" name="Freeform 207"/>
          <p:cNvSpPr>
            <a:spLocks noEditPoints="1"/>
          </p:cNvSpPr>
          <p:nvPr/>
        </p:nvSpPr>
        <p:spPr bwMode="black">
          <a:xfrm>
            <a:off x="7162800" y="4642893"/>
            <a:ext cx="822960" cy="548640"/>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noFill/>
          <a:ln w="19050">
            <a:solidFill>
              <a:srgbClr val="0094C8"/>
            </a:solidFill>
            <a:prstDash val="sysDash"/>
            <a:round/>
            <a:headEnd/>
            <a:tailEnd/>
          </a:ln>
          <a:extLst/>
        </p:spPr>
        <p:txBody>
          <a:bodyPr vert="horz" wrap="square" lIns="64005" tIns="32003" rIns="64005" bIns="32003" numCol="1" anchor="t" anchorCtr="0" compatLnSpc="1">
            <a:prstTxWarp prst="textNoShape">
              <a:avLst/>
            </a:prstTxWarp>
          </a:bodyPr>
          <a:lstStyle/>
          <a:p>
            <a:pPr defTabSz="767680"/>
            <a:endParaRPr lang="en-US" sz="1100">
              <a:solidFill>
                <a:srgbClr val="FFFFFF"/>
              </a:solidFill>
              <a:latin typeface="Segoe UI Light" panose="020B0502040204020203" pitchFamily="34" charset="0"/>
              <a:cs typeface="Segoe UI Light" panose="020B0502040204020203" pitchFamily="34" charset="0"/>
            </a:endParaRPr>
          </a:p>
        </p:txBody>
      </p:sp>
      <p:cxnSp>
        <p:nvCxnSpPr>
          <p:cNvPr id="15" name="Straight Connector 14"/>
          <p:cNvCxnSpPr/>
          <p:nvPr/>
        </p:nvCxnSpPr>
        <p:spPr>
          <a:xfrm>
            <a:off x="6004560" y="4343400"/>
            <a:ext cx="0" cy="1981200"/>
          </a:xfrm>
          <a:prstGeom prst="line">
            <a:avLst/>
          </a:prstGeom>
        </p:spPr>
        <p:style>
          <a:lnRef idx="1">
            <a:schemeClr val="accent4"/>
          </a:lnRef>
          <a:fillRef idx="0">
            <a:schemeClr val="accent4"/>
          </a:fillRef>
          <a:effectRef idx="0">
            <a:schemeClr val="accent4"/>
          </a:effectRef>
          <a:fontRef idx="minor">
            <a:schemeClr val="tx1"/>
          </a:fontRef>
        </p:style>
      </p:cxnSp>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09822" y="6248400"/>
            <a:ext cx="1905778" cy="457200"/>
          </a:xfrm>
          <a:prstGeom prst="rect">
            <a:avLst/>
          </a:prstGeom>
        </p:spPr>
      </p:pic>
    </p:spTree>
    <p:extLst>
      <p:ext uri="{BB962C8B-B14F-4D97-AF65-F5344CB8AC3E}">
        <p14:creationId xmlns:p14="http://schemas.microsoft.com/office/powerpoint/2010/main" val="578444442"/>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9760" y="274320"/>
            <a:ext cx="8229600" cy="640080"/>
          </a:xfrm>
        </p:spPr>
        <p:txBody>
          <a:bodyPr>
            <a:noAutofit/>
          </a:bodyPr>
          <a:lstStyle/>
          <a:p>
            <a:pPr algn="l"/>
            <a:r>
              <a:rPr lang="en-US" sz="4800" dirty="0">
                <a:solidFill>
                  <a:schemeClr val="bg1">
                    <a:lumMod val="50000"/>
                  </a:schemeClr>
                </a:solidFill>
                <a:cs typeface="Segoe UI Light" panose="020B0502040204020203" pitchFamily="34" charset="0"/>
              </a:rPr>
              <a:t>Leverage Parallel Operations</a:t>
            </a:r>
          </a:p>
        </p:txBody>
      </p:sp>
      <p:sp>
        <p:nvSpPr>
          <p:cNvPr id="3" name="Text Placeholder 2"/>
          <p:cNvSpPr>
            <a:spLocks noGrp="1"/>
          </p:cNvSpPr>
          <p:nvPr>
            <p:ph type="body" sz="quarter" idx="4294967295"/>
          </p:nvPr>
        </p:nvSpPr>
        <p:spPr>
          <a:xfrm>
            <a:off x="2066132" y="1246277"/>
            <a:ext cx="8364537" cy="1490032"/>
          </a:xfrm>
        </p:spPr>
        <p:txBody>
          <a:bodyPr>
            <a:normAutofit/>
          </a:bodyPr>
          <a:lstStyle/>
          <a:p>
            <a:pPr marL="57150" indent="0">
              <a:buNone/>
            </a:pPr>
            <a:r>
              <a:rPr lang="en-US" sz="2800" dirty="0">
                <a:solidFill>
                  <a:schemeClr val="tx1">
                    <a:lumMod val="50000"/>
                    <a:lumOff val="50000"/>
                  </a:schemeClr>
                </a:solidFill>
                <a:latin typeface="Segoe UI Light" panose="020B0502040204020203" pitchFamily="34" charset="0"/>
                <a:cs typeface="Segoe UI Light" panose="020B0502040204020203" pitchFamily="34" charset="0"/>
              </a:rPr>
              <a:t>If you’re re-selling a service hosted in Azure, you could charge premium for faster turnaround while your processing costs are the same</a:t>
            </a:r>
          </a:p>
        </p:txBody>
      </p:sp>
      <p:sp>
        <p:nvSpPr>
          <p:cNvPr id="8" name="TextBox 7"/>
          <p:cNvSpPr txBox="1"/>
          <p:nvPr/>
        </p:nvSpPr>
        <p:spPr>
          <a:xfrm>
            <a:off x="3400192" y="3276247"/>
            <a:ext cx="606256" cy="369332"/>
          </a:xfrm>
          <a:prstGeom prst="rect">
            <a:avLst/>
          </a:prstGeom>
          <a:noFill/>
        </p:spPr>
        <p:txBody>
          <a:bodyPr wrap="none" rtlCol="0">
            <a:spAutoFit/>
          </a:bodyPr>
          <a:lstStyle/>
          <a:p>
            <a:r>
              <a:rPr lang="en-US" dirty="0">
                <a:latin typeface="Segoe UI Light" panose="020B0502040204020203" pitchFamily="34" charset="0"/>
                <a:cs typeface="Segoe UI Light" panose="020B0502040204020203" pitchFamily="34" charset="0"/>
              </a:rPr>
              <a:t>9am</a:t>
            </a:r>
          </a:p>
        </p:txBody>
      </p:sp>
      <p:sp>
        <p:nvSpPr>
          <p:cNvPr id="9" name="TextBox 8"/>
          <p:cNvSpPr txBox="1"/>
          <p:nvPr/>
        </p:nvSpPr>
        <p:spPr>
          <a:xfrm>
            <a:off x="4260808" y="3276247"/>
            <a:ext cx="688009" cy="369332"/>
          </a:xfrm>
          <a:prstGeom prst="rect">
            <a:avLst/>
          </a:prstGeom>
          <a:noFill/>
        </p:spPr>
        <p:txBody>
          <a:bodyPr wrap="none" rtlCol="0">
            <a:spAutoFit/>
          </a:bodyPr>
          <a:lstStyle/>
          <a:p>
            <a:r>
              <a:rPr lang="en-US" dirty="0">
                <a:latin typeface="Segoe UI Light" panose="020B0502040204020203" pitchFamily="34" charset="0"/>
                <a:cs typeface="Segoe UI Light" panose="020B0502040204020203" pitchFamily="34" charset="0"/>
              </a:rPr>
              <a:t>10am</a:t>
            </a:r>
          </a:p>
        </p:txBody>
      </p:sp>
      <p:sp>
        <p:nvSpPr>
          <p:cNvPr id="10" name="TextBox 9"/>
          <p:cNvSpPr txBox="1"/>
          <p:nvPr/>
        </p:nvSpPr>
        <p:spPr>
          <a:xfrm>
            <a:off x="5290854" y="3276247"/>
            <a:ext cx="651140" cy="369332"/>
          </a:xfrm>
          <a:prstGeom prst="rect">
            <a:avLst/>
          </a:prstGeom>
          <a:noFill/>
        </p:spPr>
        <p:txBody>
          <a:bodyPr wrap="none" rtlCol="0">
            <a:spAutoFit/>
          </a:bodyPr>
          <a:lstStyle/>
          <a:p>
            <a:r>
              <a:rPr lang="en-US" dirty="0">
                <a:latin typeface="Segoe UI Light" panose="020B0502040204020203" pitchFamily="34" charset="0"/>
                <a:cs typeface="Segoe UI Light" panose="020B0502040204020203" pitchFamily="34" charset="0"/>
              </a:rPr>
              <a:t>11am</a:t>
            </a:r>
          </a:p>
        </p:txBody>
      </p:sp>
      <p:sp>
        <p:nvSpPr>
          <p:cNvPr id="11" name="TextBox 10"/>
          <p:cNvSpPr txBox="1"/>
          <p:nvPr/>
        </p:nvSpPr>
        <p:spPr>
          <a:xfrm>
            <a:off x="6315877" y="3292564"/>
            <a:ext cx="688009" cy="369332"/>
          </a:xfrm>
          <a:prstGeom prst="rect">
            <a:avLst/>
          </a:prstGeom>
          <a:noFill/>
        </p:spPr>
        <p:txBody>
          <a:bodyPr wrap="none" rtlCol="0">
            <a:spAutoFit/>
          </a:bodyPr>
          <a:lstStyle/>
          <a:p>
            <a:r>
              <a:rPr lang="en-US" dirty="0">
                <a:latin typeface="Segoe UI Light" panose="020B0502040204020203" pitchFamily="34" charset="0"/>
                <a:cs typeface="Segoe UI Light" panose="020B0502040204020203" pitchFamily="34" charset="0"/>
              </a:rPr>
              <a:t>12am</a:t>
            </a:r>
          </a:p>
        </p:txBody>
      </p:sp>
      <p:sp>
        <p:nvSpPr>
          <p:cNvPr id="12" name="Freeform 113"/>
          <p:cNvSpPr>
            <a:spLocks noEditPoints="1"/>
          </p:cNvSpPr>
          <p:nvPr/>
        </p:nvSpPr>
        <p:spPr bwMode="black">
          <a:xfrm>
            <a:off x="2319922" y="3071465"/>
            <a:ext cx="763974" cy="71888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rgbClr val="47B602"/>
          </a:solidFill>
          <a:ln>
            <a:solidFill>
              <a:srgbClr val="47B602"/>
            </a:solidFill>
          </a:ln>
          <a:extLst/>
        </p:spPr>
        <p:txBody>
          <a:bodyPr vert="horz" wrap="square" lIns="91440" tIns="45720" rIns="91440" bIns="45720" numCol="1" anchor="t" anchorCtr="0" compatLnSpc="1">
            <a:prstTxWarp prst="textNoShape">
              <a:avLst/>
            </a:prstTxWarp>
          </a:bodyPr>
          <a:lstStyle/>
          <a:p>
            <a:endParaRPr lang="en-US"/>
          </a:p>
        </p:txBody>
      </p:sp>
      <p:grpSp>
        <p:nvGrpSpPr>
          <p:cNvPr id="27" name="Group 26"/>
          <p:cNvGrpSpPr/>
          <p:nvPr/>
        </p:nvGrpSpPr>
        <p:grpSpPr>
          <a:xfrm>
            <a:off x="3291840" y="3733800"/>
            <a:ext cx="822960" cy="548640"/>
            <a:chOff x="1539240" y="3733800"/>
            <a:chExt cx="822960" cy="548640"/>
          </a:xfrm>
        </p:grpSpPr>
        <p:sp>
          <p:nvSpPr>
            <p:cNvPr id="6" name="Freeform 207"/>
            <p:cNvSpPr>
              <a:spLocks noEditPoints="1"/>
            </p:cNvSpPr>
            <p:nvPr/>
          </p:nvSpPr>
          <p:spPr bwMode="black">
            <a:xfrm>
              <a:off x="1539240" y="3733800"/>
              <a:ext cx="822960" cy="548640"/>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noFill/>
            <a:ln w="19050">
              <a:solidFill>
                <a:srgbClr val="0094C8"/>
              </a:solidFill>
              <a:prstDash val="sysDash"/>
              <a:round/>
              <a:headEnd/>
              <a:tailEnd/>
            </a:ln>
            <a:extLst/>
          </p:spPr>
          <p:txBody>
            <a:bodyPr vert="horz" wrap="square" lIns="64005" tIns="32003" rIns="64005" bIns="32003" numCol="1" anchor="t" anchorCtr="0" compatLnSpc="1">
              <a:prstTxWarp prst="textNoShape">
                <a:avLst/>
              </a:prstTxWarp>
            </a:bodyPr>
            <a:lstStyle/>
            <a:p>
              <a:pPr defTabSz="767680"/>
              <a:endParaRPr lang="en-US" sz="1100">
                <a:solidFill>
                  <a:srgbClr val="FFFFFF"/>
                </a:solidFill>
                <a:latin typeface="Segoe UI Light" panose="020B0502040204020203" pitchFamily="34" charset="0"/>
                <a:cs typeface="Segoe UI Light" panose="020B0502040204020203" pitchFamily="34" charset="0"/>
              </a:endParaRPr>
            </a:p>
          </p:txBody>
        </p:sp>
        <p:pic>
          <p:nvPicPr>
            <p:cNvPr id="13" name="Picture 2" descr="C:\Users\stephle.NORTHAMERICA\AppData\Local\Microsoft\Windows\Temporary Internet Files\Content.IE5\CJ16YF70\MC900433834[1].png"/>
            <p:cNvPicPr>
              <a:picLocks noChangeAspect="1" noChangeArrowheads="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rot="20651053">
              <a:off x="1835158" y="3782127"/>
              <a:ext cx="274320" cy="2743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 name="Group 25"/>
          <p:cNvGrpSpPr/>
          <p:nvPr/>
        </p:nvGrpSpPr>
        <p:grpSpPr>
          <a:xfrm>
            <a:off x="4260807" y="3733800"/>
            <a:ext cx="822960" cy="548640"/>
            <a:chOff x="2736807" y="3733800"/>
            <a:chExt cx="822960" cy="548640"/>
          </a:xfrm>
        </p:grpSpPr>
        <p:sp>
          <p:nvSpPr>
            <p:cNvPr id="7" name="Freeform 207"/>
            <p:cNvSpPr>
              <a:spLocks noEditPoints="1"/>
            </p:cNvSpPr>
            <p:nvPr/>
          </p:nvSpPr>
          <p:spPr bwMode="black">
            <a:xfrm>
              <a:off x="2736807" y="3733800"/>
              <a:ext cx="822960" cy="548640"/>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noFill/>
            <a:ln w="19050">
              <a:solidFill>
                <a:srgbClr val="0094C8"/>
              </a:solidFill>
              <a:prstDash val="sysDash"/>
              <a:round/>
              <a:headEnd/>
              <a:tailEnd/>
            </a:ln>
            <a:extLst/>
          </p:spPr>
          <p:txBody>
            <a:bodyPr vert="horz" wrap="square" lIns="64005" tIns="32003" rIns="64005" bIns="32003" numCol="1" anchor="t" anchorCtr="0" compatLnSpc="1">
              <a:prstTxWarp prst="textNoShape">
                <a:avLst/>
              </a:prstTxWarp>
            </a:bodyPr>
            <a:lstStyle/>
            <a:p>
              <a:pPr defTabSz="767680"/>
              <a:endParaRPr lang="en-US" sz="1100">
                <a:solidFill>
                  <a:srgbClr val="FFFFFF"/>
                </a:solidFill>
                <a:latin typeface="Segoe UI Light" panose="020B0502040204020203" pitchFamily="34" charset="0"/>
                <a:cs typeface="Segoe UI Light" panose="020B0502040204020203" pitchFamily="34" charset="0"/>
              </a:endParaRPr>
            </a:p>
          </p:txBody>
        </p:sp>
        <p:pic>
          <p:nvPicPr>
            <p:cNvPr id="14" name="Picture 2" descr="C:\Users\stephle.NORTHAMERICA\AppData\Local\Microsoft\Windows\Temporary Internet Files\Content.IE5\CJ16YF70\MC900433834[1].png"/>
            <p:cNvPicPr>
              <a:picLocks noChangeAspect="1" noChangeArrowheads="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rot="20651053">
              <a:off x="3045313" y="3811040"/>
              <a:ext cx="274320" cy="2743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p:cNvGrpSpPr/>
          <p:nvPr/>
        </p:nvGrpSpPr>
        <p:grpSpPr>
          <a:xfrm>
            <a:off x="5181600" y="3733800"/>
            <a:ext cx="822960" cy="548640"/>
            <a:chOff x="3811371" y="3893613"/>
            <a:chExt cx="822960" cy="548640"/>
          </a:xfrm>
        </p:grpSpPr>
        <p:sp>
          <p:nvSpPr>
            <p:cNvPr id="4" name="Freeform 207"/>
            <p:cNvSpPr>
              <a:spLocks noEditPoints="1"/>
            </p:cNvSpPr>
            <p:nvPr/>
          </p:nvSpPr>
          <p:spPr bwMode="black">
            <a:xfrm>
              <a:off x="3811371" y="3893613"/>
              <a:ext cx="822960" cy="548640"/>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noFill/>
            <a:ln w="19050">
              <a:solidFill>
                <a:srgbClr val="0094C8"/>
              </a:solidFill>
              <a:prstDash val="sysDash"/>
              <a:round/>
              <a:headEnd/>
              <a:tailEnd/>
            </a:ln>
            <a:extLst/>
          </p:spPr>
          <p:txBody>
            <a:bodyPr vert="horz" wrap="square" lIns="64005" tIns="32003" rIns="64005" bIns="32003" numCol="1" anchor="t" anchorCtr="0" compatLnSpc="1">
              <a:prstTxWarp prst="textNoShape">
                <a:avLst/>
              </a:prstTxWarp>
            </a:bodyPr>
            <a:lstStyle/>
            <a:p>
              <a:pPr defTabSz="767680"/>
              <a:endParaRPr lang="en-US" sz="1100">
                <a:solidFill>
                  <a:srgbClr val="FFFFFF"/>
                </a:solidFill>
                <a:latin typeface="Segoe UI Light" panose="020B0502040204020203" pitchFamily="34" charset="0"/>
                <a:cs typeface="Segoe UI Light" panose="020B0502040204020203" pitchFamily="34" charset="0"/>
              </a:endParaRPr>
            </a:p>
          </p:txBody>
        </p:sp>
        <p:pic>
          <p:nvPicPr>
            <p:cNvPr id="15" name="Picture 2" descr="C:\Users\stephle.NORTHAMERICA\AppData\Local\Microsoft\Windows\Temporary Internet Files\Content.IE5\CJ16YF70\MC900433834[1].png"/>
            <p:cNvPicPr>
              <a:picLocks noChangeAspect="1" noChangeArrowheads="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rot="20651053">
              <a:off x="4109035" y="3966517"/>
              <a:ext cx="274320" cy="2743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 name="Group 28"/>
          <p:cNvGrpSpPr/>
          <p:nvPr/>
        </p:nvGrpSpPr>
        <p:grpSpPr>
          <a:xfrm>
            <a:off x="6248400" y="3733800"/>
            <a:ext cx="822960" cy="548640"/>
            <a:chOff x="5000098" y="3893613"/>
            <a:chExt cx="822960" cy="548640"/>
          </a:xfrm>
        </p:grpSpPr>
        <p:sp>
          <p:nvSpPr>
            <p:cNvPr id="5" name="Freeform 207"/>
            <p:cNvSpPr>
              <a:spLocks noEditPoints="1"/>
            </p:cNvSpPr>
            <p:nvPr/>
          </p:nvSpPr>
          <p:spPr bwMode="black">
            <a:xfrm>
              <a:off x="5000098" y="3893613"/>
              <a:ext cx="822960" cy="548640"/>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noFill/>
            <a:ln w="19050">
              <a:solidFill>
                <a:srgbClr val="0094C8"/>
              </a:solidFill>
              <a:prstDash val="sysDash"/>
              <a:round/>
              <a:headEnd/>
              <a:tailEnd/>
            </a:ln>
            <a:extLst/>
          </p:spPr>
          <p:txBody>
            <a:bodyPr vert="horz" wrap="square" lIns="64005" tIns="32003" rIns="64005" bIns="32003" numCol="1" anchor="t" anchorCtr="0" compatLnSpc="1">
              <a:prstTxWarp prst="textNoShape">
                <a:avLst/>
              </a:prstTxWarp>
            </a:bodyPr>
            <a:lstStyle/>
            <a:p>
              <a:pPr defTabSz="767680"/>
              <a:endParaRPr lang="en-US" sz="1100">
                <a:solidFill>
                  <a:srgbClr val="FFFFFF"/>
                </a:solidFill>
                <a:latin typeface="Segoe UI Light" panose="020B0502040204020203" pitchFamily="34" charset="0"/>
                <a:cs typeface="Segoe UI Light" panose="020B0502040204020203" pitchFamily="34" charset="0"/>
              </a:endParaRPr>
            </a:p>
          </p:txBody>
        </p:sp>
        <p:pic>
          <p:nvPicPr>
            <p:cNvPr id="16" name="Picture 2" descr="C:\Users\stephle.NORTHAMERICA\AppData\Local\Microsoft\Windows\Temporary Internet Files\Content.IE5\CJ16YF70\MC900433834[1].png"/>
            <p:cNvPicPr>
              <a:picLocks noChangeAspect="1" noChangeArrowheads="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rot="20651053">
              <a:off x="5274417" y="3960336"/>
              <a:ext cx="274320" cy="2743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 30"/>
          <p:cNvGrpSpPr/>
          <p:nvPr/>
        </p:nvGrpSpPr>
        <p:grpSpPr>
          <a:xfrm>
            <a:off x="2895601" y="4917492"/>
            <a:ext cx="1656391" cy="1102308"/>
            <a:chOff x="1295399" y="4747053"/>
            <a:chExt cx="1656391" cy="1102308"/>
          </a:xfrm>
        </p:grpSpPr>
        <p:sp>
          <p:nvSpPr>
            <p:cNvPr id="17" name="Freeform 207"/>
            <p:cNvSpPr>
              <a:spLocks noEditPoints="1"/>
            </p:cNvSpPr>
            <p:nvPr/>
          </p:nvSpPr>
          <p:spPr bwMode="black">
            <a:xfrm>
              <a:off x="1295399" y="4747053"/>
              <a:ext cx="1656391" cy="1102308"/>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noFill/>
            <a:ln w="19050">
              <a:solidFill>
                <a:srgbClr val="0094C8"/>
              </a:solidFill>
              <a:prstDash val="sysDash"/>
              <a:round/>
              <a:headEnd/>
              <a:tailEnd/>
            </a:ln>
            <a:extLst/>
          </p:spPr>
          <p:txBody>
            <a:bodyPr vert="horz" wrap="square" lIns="64005" tIns="32003" rIns="64005" bIns="32003" numCol="1" anchor="t" anchorCtr="0" compatLnSpc="1">
              <a:prstTxWarp prst="textNoShape">
                <a:avLst/>
              </a:prstTxWarp>
            </a:bodyPr>
            <a:lstStyle/>
            <a:p>
              <a:pPr defTabSz="767680"/>
              <a:endParaRPr lang="en-US" sz="1100">
                <a:solidFill>
                  <a:srgbClr val="FFFFFF"/>
                </a:solidFill>
                <a:latin typeface="Segoe UI Light" panose="020B0502040204020203" pitchFamily="34" charset="0"/>
                <a:cs typeface="Segoe UI Light" panose="020B0502040204020203" pitchFamily="34" charset="0"/>
              </a:endParaRPr>
            </a:p>
          </p:txBody>
        </p:sp>
        <p:grpSp>
          <p:nvGrpSpPr>
            <p:cNvPr id="30" name="Group 29"/>
            <p:cNvGrpSpPr/>
            <p:nvPr/>
          </p:nvGrpSpPr>
          <p:grpSpPr>
            <a:xfrm>
              <a:off x="1901579" y="4908540"/>
              <a:ext cx="613021" cy="501660"/>
              <a:chOff x="1706548" y="4789876"/>
              <a:chExt cx="613021" cy="501660"/>
            </a:xfrm>
          </p:grpSpPr>
          <p:pic>
            <p:nvPicPr>
              <p:cNvPr id="18" name="Picture 2" descr="C:\Users\stephle.NORTHAMERICA\AppData\Local\Microsoft\Windows\Temporary Internet Files\Content.IE5\CJ16YF70\MC900433834[1].png"/>
              <p:cNvPicPr>
                <a:picLocks noChangeAspect="1" noChangeArrowheads="1"/>
              </p:cNvPicPr>
              <p:nvPr/>
            </p:nvPicPr>
            <p:blipFill>
              <a:blip r:embed="rId2"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rot="20651053">
                <a:off x="1894641" y="4789876"/>
                <a:ext cx="274320" cy="27432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C:\Users\stephle.NORTHAMERICA\AppData\Local\Microsoft\Windows\Temporary Internet Files\Content.IE5\CJ16YF70\MC900433834[1].png"/>
              <p:cNvPicPr>
                <a:picLocks noChangeAspect="1" noChangeArrowheads="1"/>
              </p:cNvPicPr>
              <p:nvPr/>
            </p:nvPicPr>
            <p:blipFill>
              <a:blip r:embed="rId2"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rot="20651053">
                <a:off x="2045249" y="4909058"/>
                <a:ext cx="274320" cy="27432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C:\Users\stephle.NORTHAMERICA\AppData\Local\Microsoft\Windows\Temporary Internet Files\Content.IE5\CJ16YF70\MC900433834[1].png"/>
              <p:cNvPicPr>
                <a:picLocks noChangeAspect="1" noChangeArrowheads="1"/>
              </p:cNvPicPr>
              <p:nvPr/>
            </p:nvPicPr>
            <p:blipFill>
              <a:blip r:embed="rId2"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rot="20651053">
                <a:off x="1706548" y="4910377"/>
                <a:ext cx="274320" cy="27432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C:\Users\stephle.NORTHAMERICA\AppData\Local\Microsoft\Windows\Temporary Internet Files\Content.IE5\CJ16YF70\MC900433834[1].png"/>
              <p:cNvPicPr>
                <a:picLocks noChangeAspect="1" noChangeArrowheads="1"/>
              </p:cNvPicPr>
              <p:nvPr/>
            </p:nvPicPr>
            <p:blipFill>
              <a:blip r:embed="rId2"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rot="20651053">
                <a:off x="1875899" y="5017216"/>
                <a:ext cx="274320" cy="274320"/>
              </a:xfrm>
              <a:prstGeom prst="rect">
                <a:avLst/>
              </a:prstGeom>
              <a:noFill/>
              <a:extLst>
                <a:ext uri="{909E8E84-426E-40DD-AFC4-6F175D3DCCD1}">
                  <a14:hiddenFill xmlns:a14="http://schemas.microsoft.com/office/drawing/2010/main">
                    <a:solidFill>
                      <a:srgbClr val="FFFFFF"/>
                    </a:solidFill>
                  </a14:hiddenFill>
                </a:ext>
              </a:extLst>
            </p:spPr>
          </p:pic>
        </p:grpSp>
      </p:grpSp>
      <p:graphicFrame>
        <p:nvGraphicFramePr>
          <p:cNvPr id="25" name="Table 24"/>
          <p:cNvGraphicFramePr>
            <a:graphicFrameLocks noGrp="1"/>
          </p:cNvGraphicFramePr>
          <p:nvPr>
            <p:extLst/>
          </p:nvPr>
        </p:nvGraphicFramePr>
        <p:xfrm>
          <a:off x="7641200" y="3276247"/>
          <a:ext cx="2590800" cy="2456672"/>
        </p:xfrm>
        <a:graphic>
          <a:graphicData uri="http://schemas.openxmlformats.org/drawingml/2006/table">
            <a:tbl>
              <a:tblPr firstRow="1" bandRow="1">
                <a:tableStyleId>{2D5ABB26-0587-4C30-8999-92F81FD0307C}</a:tableStyleId>
              </a:tblPr>
              <a:tblGrid>
                <a:gridCol w="1295400"/>
                <a:gridCol w="1295400"/>
              </a:tblGrid>
              <a:tr h="713566">
                <a:tc>
                  <a:txBody>
                    <a:bodyPr/>
                    <a:lstStyle/>
                    <a:p>
                      <a:pPr algn="ctr"/>
                      <a:r>
                        <a:rPr lang="en-US" baseline="0" dirty="0" smtClean="0">
                          <a:latin typeface="Segoe UI Light" panose="020B0502040204020203" pitchFamily="34" charset="0"/>
                          <a:cs typeface="Segoe UI Light" panose="020B0502040204020203" pitchFamily="34" charset="0"/>
                        </a:rPr>
                        <a:t>Job Time</a:t>
                      </a:r>
                      <a:endParaRPr lang="en-US" dirty="0">
                        <a:latin typeface="Segoe UI Light" panose="020B0502040204020203" pitchFamily="34" charset="0"/>
                        <a:cs typeface="Segoe UI Light" panose="020B0502040204020203" pitchFamily="34" charset="0"/>
                      </a:endParaRPr>
                    </a:p>
                  </a:txBody>
                  <a:tcPr/>
                </a:tc>
                <a:tc>
                  <a:txBody>
                    <a:bodyPr/>
                    <a:lstStyle/>
                    <a:p>
                      <a:r>
                        <a:rPr lang="en-US" dirty="0" smtClean="0">
                          <a:latin typeface="Segoe UI Light" panose="020B0502040204020203" pitchFamily="34" charset="0"/>
                          <a:cs typeface="Segoe UI Light" panose="020B0502040204020203" pitchFamily="34" charset="0"/>
                        </a:rPr>
                        <a:t>Your</a:t>
                      </a:r>
                      <a:r>
                        <a:rPr lang="en-US" baseline="0" dirty="0" smtClean="0">
                          <a:latin typeface="Segoe UI Light" panose="020B0502040204020203" pitchFamily="34" charset="0"/>
                          <a:cs typeface="Segoe UI Light" panose="020B0502040204020203" pitchFamily="34" charset="0"/>
                        </a:rPr>
                        <a:t> Cost</a:t>
                      </a:r>
                      <a:endParaRPr lang="en-US" dirty="0">
                        <a:latin typeface="Segoe UI Light" panose="020B0502040204020203" pitchFamily="34" charset="0"/>
                        <a:cs typeface="Segoe UI Light" panose="020B0502040204020203" pitchFamily="34" charset="0"/>
                      </a:endParaRPr>
                    </a:p>
                  </a:txBody>
                  <a:tcPr/>
                </a:tc>
              </a:tr>
              <a:tr h="810787">
                <a:tc>
                  <a:txBody>
                    <a:bodyPr/>
                    <a:lstStyle/>
                    <a:p>
                      <a:pPr algn="ctr"/>
                      <a:r>
                        <a:rPr lang="en-US" dirty="0" smtClean="0">
                          <a:latin typeface="Segoe UI Light" panose="020B0502040204020203" pitchFamily="34" charset="0"/>
                          <a:cs typeface="Segoe UI Light" panose="020B0502040204020203" pitchFamily="34" charset="0"/>
                        </a:rPr>
                        <a:t>4 hours</a:t>
                      </a:r>
                      <a:endParaRPr lang="en-US" dirty="0">
                        <a:latin typeface="Segoe UI Light" panose="020B0502040204020203" pitchFamily="34" charset="0"/>
                        <a:cs typeface="Segoe UI Light" panose="020B0502040204020203" pitchFamily="34" charset="0"/>
                      </a:endParaRPr>
                    </a:p>
                  </a:txBody>
                  <a:tcPr/>
                </a:tc>
                <a:tc>
                  <a:txBody>
                    <a:bodyPr/>
                    <a:lstStyle/>
                    <a:p>
                      <a:pPr algn="ctr"/>
                      <a:r>
                        <a:rPr lang="en-US" dirty="0" smtClean="0">
                          <a:latin typeface="Segoe UI Light" panose="020B0502040204020203" pitchFamily="34" charset="0"/>
                          <a:cs typeface="Segoe UI Light" panose="020B0502040204020203" pitchFamily="34" charset="0"/>
                        </a:rPr>
                        <a:t>.48</a:t>
                      </a:r>
                      <a:endParaRPr lang="en-US" dirty="0">
                        <a:latin typeface="Segoe UI Light" panose="020B0502040204020203" pitchFamily="34" charset="0"/>
                        <a:cs typeface="Segoe UI Light" panose="020B0502040204020203" pitchFamily="34" charset="0"/>
                      </a:endParaRPr>
                    </a:p>
                  </a:txBody>
                  <a:tcPr/>
                </a:tc>
              </a:tr>
              <a:tr h="932319">
                <a:tc>
                  <a:txBody>
                    <a:bodyPr/>
                    <a:lstStyle/>
                    <a:p>
                      <a:pPr algn="ctr"/>
                      <a:r>
                        <a:rPr lang="en-US" dirty="0" smtClean="0">
                          <a:latin typeface="Segoe UI Light" panose="020B0502040204020203" pitchFamily="34" charset="0"/>
                          <a:cs typeface="Segoe UI Light" panose="020B0502040204020203" pitchFamily="34" charset="0"/>
                        </a:rPr>
                        <a:t>1 hour</a:t>
                      </a:r>
                      <a:endParaRPr lang="en-US" dirty="0">
                        <a:latin typeface="Segoe UI Light" panose="020B0502040204020203" pitchFamily="34" charset="0"/>
                        <a:cs typeface="Segoe UI Light" panose="020B0502040204020203" pitchFamily="34" charset="0"/>
                      </a:endParaRPr>
                    </a:p>
                  </a:txBody>
                  <a:tcPr anchor="ctr"/>
                </a:tc>
                <a:tc>
                  <a:txBody>
                    <a:bodyPr/>
                    <a:lstStyle/>
                    <a:p>
                      <a:pPr algn="ctr"/>
                      <a:r>
                        <a:rPr lang="en-US" dirty="0" smtClean="0">
                          <a:latin typeface="Segoe UI Light" panose="020B0502040204020203" pitchFamily="34" charset="0"/>
                          <a:cs typeface="Segoe UI Light" panose="020B0502040204020203" pitchFamily="34" charset="0"/>
                        </a:rPr>
                        <a:t>.48</a:t>
                      </a:r>
                      <a:endParaRPr lang="en-US" dirty="0">
                        <a:latin typeface="Segoe UI Light" panose="020B0502040204020203" pitchFamily="34" charset="0"/>
                        <a:cs typeface="Segoe UI Light" panose="020B0502040204020203" pitchFamily="34" charset="0"/>
                      </a:endParaRPr>
                    </a:p>
                  </a:txBody>
                  <a:tcPr anchor="ctr"/>
                </a:tc>
              </a:tr>
            </a:tbl>
          </a:graphicData>
        </a:graphic>
      </p:graphicFrame>
      <p:sp>
        <p:nvSpPr>
          <p:cNvPr id="32" name="TextBox 31"/>
          <p:cNvSpPr txBox="1"/>
          <p:nvPr/>
        </p:nvSpPr>
        <p:spPr>
          <a:xfrm>
            <a:off x="3410711" y="4588054"/>
            <a:ext cx="606256" cy="369332"/>
          </a:xfrm>
          <a:prstGeom prst="rect">
            <a:avLst/>
          </a:prstGeom>
          <a:noFill/>
        </p:spPr>
        <p:txBody>
          <a:bodyPr wrap="none" rtlCol="0">
            <a:spAutoFit/>
          </a:bodyPr>
          <a:lstStyle/>
          <a:p>
            <a:r>
              <a:rPr lang="en-US" dirty="0">
                <a:latin typeface="Segoe UI Light" panose="020B0502040204020203" pitchFamily="34" charset="0"/>
                <a:cs typeface="Segoe UI Light" panose="020B0502040204020203" pitchFamily="34" charset="0"/>
              </a:rPr>
              <a:t>9am</a:t>
            </a:r>
          </a:p>
        </p:txBody>
      </p:sp>
      <p:pic>
        <p:nvPicPr>
          <p:cNvPr id="33" name="Picture 3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609822" y="6248400"/>
            <a:ext cx="1905778" cy="457200"/>
          </a:xfrm>
          <a:prstGeom prst="rect">
            <a:avLst/>
          </a:prstGeom>
        </p:spPr>
      </p:pic>
    </p:spTree>
    <p:extLst>
      <p:ext uri="{BB962C8B-B14F-4D97-AF65-F5344CB8AC3E}">
        <p14:creationId xmlns:p14="http://schemas.microsoft.com/office/powerpoint/2010/main" val="2907800230"/>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center </a:t>
            </a:r>
            <a:r>
              <a:rPr lang="en-US" dirty="0" smtClean="0"/>
              <a:t>Network Architecture</a:t>
            </a:r>
            <a:endParaRPr lang="en-US" dirty="0"/>
          </a:p>
        </p:txBody>
      </p:sp>
      <p:sp>
        <p:nvSpPr>
          <p:cNvPr id="10" name="Text Placeholder 2"/>
          <p:cNvSpPr txBox="1">
            <a:spLocks/>
          </p:cNvSpPr>
          <p:nvPr/>
        </p:nvSpPr>
        <p:spPr>
          <a:xfrm>
            <a:off x="609004" y="947384"/>
            <a:ext cx="5383348" cy="448934"/>
          </a:xfrm>
          <a:prstGeom prst="rect">
            <a:avLst/>
          </a:prstGeom>
        </p:spPr>
        <p:txBody>
          <a:bodyPr vert="horz" lIns="91403" tIns="45701" rIns="91403" bIns="45701" rtlCol="0" anchor="b">
            <a:normAutofit/>
          </a:bodyPr>
          <a:lstStyle>
            <a:lvl1pPr marL="0" indent="0" algn="l" defTabSz="914400" rtl="0" eaLnBrk="1" latinLnBrk="0" hangingPunct="1">
              <a:spcBef>
                <a:spcPct val="20000"/>
              </a:spcBef>
              <a:buFont typeface="Arial" pitchFamily="34" charset="0"/>
              <a:buNone/>
              <a:defRPr sz="2400" b="1" kern="1200">
                <a:solidFill>
                  <a:schemeClr val="tx1"/>
                </a:solidFill>
                <a:latin typeface="+mn-lt"/>
                <a:ea typeface="+mn-ea"/>
                <a:cs typeface="+mn-cs"/>
              </a:defRPr>
            </a:lvl1pPr>
            <a:lvl2pPr marL="457200" indent="0" algn="l" defTabSz="914400" rtl="0" eaLnBrk="1" latinLnBrk="0" hangingPunct="1">
              <a:spcBef>
                <a:spcPct val="20000"/>
              </a:spcBef>
              <a:buFont typeface="Arial" pitchFamily="34" charset="0"/>
              <a:buNone/>
              <a:defRPr sz="2000" b="1" kern="1200">
                <a:solidFill>
                  <a:schemeClr val="tx1"/>
                </a:solidFill>
                <a:latin typeface="+mn-lt"/>
                <a:ea typeface="+mn-ea"/>
                <a:cs typeface="+mn-cs"/>
              </a:defRPr>
            </a:lvl2pPr>
            <a:lvl3pPr marL="914400" indent="0" algn="l" defTabSz="914400" rtl="0" eaLnBrk="1" latinLnBrk="0" hangingPunct="1">
              <a:spcBef>
                <a:spcPct val="20000"/>
              </a:spcBef>
              <a:buFont typeface="Arial" pitchFamily="34" charset="0"/>
              <a:buNone/>
              <a:defRPr sz="1800" b="1" kern="1200">
                <a:solidFill>
                  <a:schemeClr val="tx1"/>
                </a:solidFill>
                <a:latin typeface="+mn-lt"/>
                <a:ea typeface="+mn-ea"/>
                <a:cs typeface="+mn-cs"/>
              </a:defRPr>
            </a:lvl3pPr>
            <a:lvl4pPr marL="1371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4pPr>
            <a:lvl5pPr marL="18288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9pPr>
          </a:lstStyle>
          <a:p>
            <a:pPr algn="ctr">
              <a:defRPr/>
            </a:pPr>
            <a:r>
              <a:rPr lang="en-US" sz="1999" dirty="0">
                <a:solidFill>
                  <a:srgbClr val="FFFFFF"/>
                </a:solidFill>
                <a:latin typeface="Calibri"/>
              </a:rPr>
              <a:t>DLA </a:t>
            </a:r>
            <a:r>
              <a:rPr lang="en-US" sz="1999" dirty="0">
                <a:solidFill>
                  <a:srgbClr val="5F5F5F"/>
                </a:solidFill>
                <a:latin typeface="Calibri"/>
              </a:rPr>
              <a:t>Architecture (Old)</a:t>
            </a:r>
          </a:p>
        </p:txBody>
      </p:sp>
      <p:sp>
        <p:nvSpPr>
          <p:cNvPr id="11" name="Text Placeholder 4"/>
          <p:cNvSpPr txBox="1">
            <a:spLocks/>
          </p:cNvSpPr>
          <p:nvPr/>
        </p:nvSpPr>
        <p:spPr>
          <a:xfrm>
            <a:off x="6493671" y="947384"/>
            <a:ext cx="5385463" cy="448934"/>
          </a:xfrm>
          <a:prstGeom prst="rect">
            <a:avLst/>
          </a:prstGeom>
        </p:spPr>
        <p:txBody>
          <a:bodyPr vert="horz" lIns="91403" tIns="45701" rIns="91403" bIns="45701" rtlCol="0" anchor="b">
            <a:normAutofit/>
          </a:bodyPr>
          <a:lstStyle>
            <a:lvl1pPr marL="0" indent="0" algn="l" defTabSz="914400" rtl="0" eaLnBrk="1" latinLnBrk="0" hangingPunct="1">
              <a:spcBef>
                <a:spcPct val="20000"/>
              </a:spcBef>
              <a:buFont typeface="Arial" pitchFamily="34" charset="0"/>
              <a:buNone/>
              <a:defRPr sz="2400" b="1" kern="1200">
                <a:solidFill>
                  <a:schemeClr val="tx1"/>
                </a:solidFill>
                <a:latin typeface="+mn-lt"/>
                <a:ea typeface="+mn-ea"/>
                <a:cs typeface="+mn-cs"/>
              </a:defRPr>
            </a:lvl1pPr>
            <a:lvl2pPr marL="457200" indent="0" algn="l" defTabSz="914400" rtl="0" eaLnBrk="1" latinLnBrk="0" hangingPunct="1">
              <a:spcBef>
                <a:spcPct val="20000"/>
              </a:spcBef>
              <a:buFont typeface="Arial" pitchFamily="34" charset="0"/>
              <a:buNone/>
              <a:defRPr sz="2000" b="1" kern="1200">
                <a:solidFill>
                  <a:schemeClr val="tx1"/>
                </a:solidFill>
                <a:latin typeface="+mn-lt"/>
                <a:ea typeface="+mn-ea"/>
                <a:cs typeface="+mn-cs"/>
              </a:defRPr>
            </a:lvl2pPr>
            <a:lvl3pPr marL="914400" indent="0" algn="l" defTabSz="914400" rtl="0" eaLnBrk="1" latinLnBrk="0" hangingPunct="1">
              <a:spcBef>
                <a:spcPct val="20000"/>
              </a:spcBef>
              <a:buFont typeface="Arial" pitchFamily="34" charset="0"/>
              <a:buNone/>
              <a:defRPr sz="1800" b="1" kern="1200">
                <a:solidFill>
                  <a:schemeClr val="tx1"/>
                </a:solidFill>
                <a:latin typeface="+mn-lt"/>
                <a:ea typeface="+mn-ea"/>
                <a:cs typeface="+mn-cs"/>
              </a:defRPr>
            </a:lvl3pPr>
            <a:lvl4pPr marL="1371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4pPr>
            <a:lvl5pPr marL="18288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9pPr>
          </a:lstStyle>
          <a:p>
            <a:pPr algn="ctr">
              <a:defRPr/>
            </a:pPr>
            <a:r>
              <a:rPr lang="en-US" sz="1999" dirty="0">
                <a:solidFill>
                  <a:srgbClr val="5F5F5F"/>
                </a:solidFill>
                <a:latin typeface="Calibri"/>
              </a:rPr>
              <a:t>Quantum10 Architecture (New)</a:t>
            </a:r>
          </a:p>
        </p:txBody>
      </p:sp>
      <p:sp>
        <p:nvSpPr>
          <p:cNvPr id="14" name="Rectangle 13"/>
          <p:cNvSpPr/>
          <p:nvPr/>
        </p:nvSpPr>
        <p:spPr>
          <a:xfrm>
            <a:off x="7059629" y="3888480"/>
            <a:ext cx="417674" cy="164792"/>
          </a:xfrm>
          <a:prstGeom prst="rect">
            <a:avLst/>
          </a:pr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TOR</a:t>
            </a:r>
          </a:p>
        </p:txBody>
      </p:sp>
      <p:sp>
        <p:nvSpPr>
          <p:cNvPr id="15" name="Rectangle 14"/>
          <p:cNvSpPr/>
          <p:nvPr/>
        </p:nvSpPr>
        <p:spPr>
          <a:xfrm>
            <a:off x="8078753" y="3888480"/>
            <a:ext cx="417674" cy="164792"/>
          </a:xfrm>
          <a:prstGeom prst="rect">
            <a:avLst/>
          </a:pr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TOR</a:t>
            </a:r>
          </a:p>
        </p:txBody>
      </p:sp>
      <p:sp>
        <p:nvSpPr>
          <p:cNvPr id="16" name="Rectangle 15"/>
          <p:cNvSpPr/>
          <p:nvPr/>
        </p:nvSpPr>
        <p:spPr>
          <a:xfrm>
            <a:off x="10367605" y="3888480"/>
            <a:ext cx="417674" cy="164792"/>
          </a:xfrm>
          <a:prstGeom prst="rect">
            <a:avLst/>
          </a:pr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TOR</a:t>
            </a:r>
          </a:p>
        </p:txBody>
      </p:sp>
      <p:sp>
        <p:nvSpPr>
          <p:cNvPr id="17" name="Rectangle 16"/>
          <p:cNvSpPr/>
          <p:nvPr/>
        </p:nvSpPr>
        <p:spPr>
          <a:xfrm>
            <a:off x="11386729" y="3888480"/>
            <a:ext cx="417674" cy="164792"/>
          </a:xfrm>
          <a:prstGeom prst="rect">
            <a:avLst/>
          </a:pr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TOR</a:t>
            </a:r>
          </a:p>
        </p:txBody>
      </p:sp>
      <p:sp>
        <p:nvSpPr>
          <p:cNvPr id="18" name="Rectangle 17"/>
          <p:cNvSpPr/>
          <p:nvPr/>
        </p:nvSpPr>
        <p:spPr>
          <a:xfrm>
            <a:off x="7513227" y="2994682"/>
            <a:ext cx="417674" cy="164792"/>
          </a:xfrm>
          <a:prstGeom prst="rect">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Spine</a:t>
            </a:r>
          </a:p>
        </p:txBody>
      </p:sp>
      <p:sp>
        <p:nvSpPr>
          <p:cNvPr id="19" name="Rectangle 18"/>
          <p:cNvSpPr/>
          <p:nvPr/>
        </p:nvSpPr>
        <p:spPr>
          <a:xfrm>
            <a:off x="9833139" y="2994682"/>
            <a:ext cx="417674" cy="164792"/>
          </a:xfrm>
          <a:prstGeom prst="rect">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Spine</a:t>
            </a:r>
          </a:p>
        </p:txBody>
      </p:sp>
      <p:sp>
        <p:nvSpPr>
          <p:cNvPr id="20" name="Rectangle 19"/>
          <p:cNvSpPr/>
          <p:nvPr/>
        </p:nvSpPr>
        <p:spPr>
          <a:xfrm>
            <a:off x="10852262" y="2994682"/>
            <a:ext cx="417674" cy="164792"/>
          </a:xfrm>
          <a:prstGeom prst="rect">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Spine</a:t>
            </a:r>
          </a:p>
        </p:txBody>
      </p:sp>
      <p:cxnSp>
        <p:nvCxnSpPr>
          <p:cNvPr id="21" name="Straight Connector 20"/>
          <p:cNvCxnSpPr>
            <a:stCxn id="18" idx="2"/>
            <a:endCxn id="14" idx="0"/>
          </p:cNvCxnSpPr>
          <p:nvPr/>
        </p:nvCxnSpPr>
        <p:spPr>
          <a:xfrm flipH="1">
            <a:off x="7268466" y="3159478"/>
            <a:ext cx="453598" cy="729005"/>
          </a:xfrm>
          <a:prstGeom prst="line">
            <a:avLst/>
          </a:prstGeom>
          <a:noFill/>
          <a:ln w="9525" cap="flat" cmpd="sng" algn="ctr">
            <a:solidFill>
              <a:schemeClr val="tx1"/>
            </a:solidFill>
            <a:prstDash val="solid"/>
          </a:ln>
          <a:effectLst/>
        </p:spPr>
      </p:cxnSp>
      <p:cxnSp>
        <p:nvCxnSpPr>
          <p:cNvPr id="22" name="Straight Connector 21"/>
          <p:cNvCxnSpPr>
            <a:stCxn id="19" idx="2"/>
            <a:endCxn id="14" idx="0"/>
          </p:cNvCxnSpPr>
          <p:nvPr/>
        </p:nvCxnSpPr>
        <p:spPr>
          <a:xfrm flipH="1">
            <a:off x="7268467" y="3159478"/>
            <a:ext cx="2773511" cy="729005"/>
          </a:xfrm>
          <a:prstGeom prst="line">
            <a:avLst/>
          </a:prstGeom>
          <a:noFill/>
          <a:ln w="9525" cap="flat" cmpd="sng" algn="ctr">
            <a:solidFill>
              <a:schemeClr val="tx1"/>
            </a:solidFill>
            <a:prstDash val="solid"/>
          </a:ln>
          <a:effectLst/>
        </p:spPr>
      </p:cxnSp>
      <p:cxnSp>
        <p:nvCxnSpPr>
          <p:cNvPr id="24" name="Straight Connector 23"/>
          <p:cNvCxnSpPr>
            <a:stCxn id="18" idx="2"/>
            <a:endCxn id="15" idx="0"/>
          </p:cNvCxnSpPr>
          <p:nvPr/>
        </p:nvCxnSpPr>
        <p:spPr>
          <a:xfrm>
            <a:off x="7722065" y="3159478"/>
            <a:ext cx="565527" cy="729005"/>
          </a:xfrm>
          <a:prstGeom prst="line">
            <a:avLst/>
          </a:prstGeom>
          <a:noFill/>
          <a:ln w="9525" cap="flat" cmpd="sng" algn="ctr">
            <a:solidFill>
              <a:schemeClr val="tx1"/>
            </a:solidFill>
            <a:prstDash val="solid"/>
          </a:ln>
          <a:effectLst/>
        </p:spPr>
      </p:cxnSp>
      <p:cxnSp>
        <p:nvCxnSpPr>
          <p:cNvPr id="25" name="Straight Connector 24"/>
          <p:cNvCxnSpPr>
            <a:stCxn id="19" idx="2"/>
            <a:endCxn id="15" idx="0"/>
          </p:cNvCxnSpPr>
          <p:nvPr/>
        </p:nvCxnSpPr>
        <p:spPr>
          <a:xfrm flipH="1">
            <a:off x="8287591" y="3159478"/>
            <a:ext cx="1754386" cy="729005"/>
          </a:xfrm>
          <a:prstGeom prst="line">
            <a:avLst/>
          </a:prstGeom>
          <a:noFill/>
          <a:ln w="9525" cap="flat" cmpd="sng" algn="ctr">
            <a:solidFill>
              <a:schemeClr val="tx1"/>
            </a:solidFill>
            <a:prstDash val="solid"/>
          </a:ln>
          <a:effectLst/>
        </p:spPr>
      </p:cxnSp>
      <p:sp>
        <p:nvSpPr>
          <p:cNvPr id="26" name="TextBox 25"/>
          <p:cNvSpPr txBox="1"/>
          <p:nvPr/>
        </p:nvSpPr>
        <p:spPr>
          <a:xfrm>
            <a:off x="9279590" y="3751434"/>
            <a:ext cx="415330" cy="468850"/>
          </a:xfrm>
          <a:prstGeom prst="rect">
            <a:avLst/>
          </a:prstGeom>
          <a:noFill/>
          <a:ln>
            <a:noFill/>
          </a:ln>
        </p:spPr>
        <p:txBody>
          <a:bodyPr wrap="none" rtlCol="0">
            <a:spAutoFit/>
          </a:bodyPr>
          <a:lstStyle/>
          <a:p>
            <a:pPr defTabSz="914038">
              <a:defRPr/>
            </a:pPr>
            <a:r>
              <a:rPr lang="en-US" sz="2399" kern="0" dirty="0">
                <a:solidFill>
                  <a:srgbClr val="FFFFFF"/>
                </a:solidFill>
              </a:rPr>
              <a:t>…</a:t>
            </a:r>
          </a:p>
        </p:txBody>
      </p:sp>
      <p:sp>
        <p:nvSpPr>
          <p:cNvPr id="27" name="TextBox 26"/>
          <p:cNvSpPr txBox="1"/>
          <p:nvPr/>
        </p:nvSpPr>
        <p:spPr>
          <a:xfrm>
            <a:off x="9181569" y="2899394"/>
            <a:ext cx="415330" cy="468850"/>
          </a:xfrm>
          <a:prstGeom prst="rect">
            <a:avLst/>
          </a:prstGeom>
          <a:noFill/>
          <a:ln>
            <a:noFill/>
          </a:ln>
        </p:spPr>
        <p:txBody>
          <a:bodyPr wrap="none" rtlCol="0">
            <a:spAutoFit/>
          </a:bodyPr>
          <a:lstStyle/>
          <a:p>
            <a:pPr defTabSz="914038">
              <a:defRPr/>
            </a:pPr>
            <a:r>
              <a:rPr lang="en-US" sz="2399" kern="0" dirty="0">
                <a:solidFill>
                  <a:srgbClr val="FFFFFF"/>
                </a:solidFill>
              </a:rPr>
              <a:t>…</a:t>
            </a:r>
          </a:p>
        </p:txBody>
      </p:sp>
      <p:cxnSp>
        <p:nvCxnSpPr>
          <p:cNvPr id="28" name="Straight Connector 27"/>
          <p:cNvCxnSpPr>
            <a:stCxn id="20" idx="2"/>
            <a:endCxn id="15" idx="0"/>
          </p:cNvCxnSpPr>
          <p:nvPr/>
        </p:nvCxnSpPr>
        <p:spPr>
          <a:xfrm flipH="1">
            <a:off x="8287593" y="3159478"/>
            <a:ext cx="2773509" cy="729005"/>
          </a:xfrm>
          <a:prstGeom prst="line">
            <a:avLst/>
          </a:prstGeom>
          <a:noFill/>
          <a:ln w="9525" cap="flat" cmpd="sng" algn="ctr">
            <a:solidFill>
              <a:schemeClr val="tx1"/>
            </a:solidFill>
            <a:prstDash val="solid"/>
          </a:ln>
          <a:effectLst/>
        </p:spPr>
      </p:cxnSp>
      <p:cxnSp>
        <p:nvCxnSpPr>
          <p:cNvPr id="29" name="Straight Connector 28"/>
          <p:cNvCxnSpPr>
            <a:stCxn id="18" idx="2"/>
            <a:endCxn id="16" idx="0"/>
          </p:cNvCxnSpPr>
          <p:nvPr/>
        </p:nvCxnSpPr>
        <p:spPr>
          <a:xfrm>
            <a:off x="7722066" y="3159478"/>
            <a:ext cx="2854378" cy="729005"/>
          </a:xfrm>
          <a:prstGeom prst="line">
            <a:avLst/>
          </a:prstGeom>
          <a:noFill/>
          <a:ln w="9525" cap="flat" cmpd="sng" algn="ctr">
            <a:solidFill>
              <a:schemeClr val="tx1"/>
            </a:solidFill>
            <a:prstDash val="solid"/>
          </a:ln>
          <a:effectLst/>
        </p:spPr>
      </p:cxnSp>
      <p:cxnSp>
        <p:nvCxnSpPr>
          <p:cNvPr id="30" name="Straight Connector 29"/>
          <p:cNvCxnSpPr>
            <a:stCxn id="19" idx="2"/>
            <a:endCxn id="16" idx="0"/>
          </p:cNvCxnSpPr>
          <p:nvPr/>
        </p:nvCxnSpPr>
        <p:spPr>
          <a:xfrm>
            <a:off x="10041978" y="3159478"/>
            <a:ext cx="534466" cy="729005"/>
          </a:xfrm>
          <a:prstGeom prst="line">
            <a:avLst/>
          </a:prstGeom>
          <a:noFill/>
          <a:ln w="9525" cap="flat" cmpd="sng" algn="ctr">
            <a:solidFill>
              <a:schemeClr val="tx1"/>
            </a:solidFill>
            <a:prstDash val="solid"/>
          </a:ln>
          <a:effectLst/>
        </p:spPr>
      </p:cxnSp>
      <p:cxnSp>
        <p:nvCxnSpPr>
          <p:cNvPr id="31" name="Straight Connector 30"/>
          <p:cNvCxnSpPr>
            <a:stCxn id="20" idx="2"/>
            <a:endCxn id="16" idx="0"/>
          </p:cNvCxnSpPr>
          <p:nvPr/>
        </p:nvCxnSpPr>
        <p:spPr>
          <a:xfrm flipH="1">
            <a:off x="10576443" y="3159478"/>
            <a:ext cx="484657" cy="729005"/>
          </a:xfrm>
          <a:prstGeom prst="line">
            <a:avLst/>
          </a:prstGeom>
          <a:noFill/>
          <a:ln w="9525" cap="flat" cmpd="sng" algn="ctr">
            <a:solidFill>
              <a:schemeClr val="tx1"/>
            </a:solidFill>
            <a:prstDash val="solid"/>
          </a:ln>
          <a:effectLst/>
        </p:spPr>
      </p:cxnSp>
      <p:cxnSp>
        <p:nvCxnSpPr>
          <p:cNvPr id="32" name="Straight Connector 31"/>
          <p:cNvCxnSpPr>
            <a:stCxn id="20" idx="2"/>
            <a:endCxn id="17" idx="0"/>
          </p:cNvCxnSpPr>
          <p:nvPr/>
        </p:nvCxnSpPr>
        <p:spPr>
          <a:xfrm>
            <a:off x="11061100" y="3159478"/>
            <a:ext cx="534467" cy="729005"/>
          </a:xfrm>
          <a:prstGeom prst="line">
            <a:avLst/>
          </a:prstGeom>
          <a:noFill/>
          <a:ln w="9525" cap="flat" cmpd="sng" algn="ctr">
            <a:solidFill>
              <a:schemeClr val="tx1"/>
            </a:solidFill>
            <a:prstDash val="solid"/>
          </a:ln>
          <a:effectLst/>
        </p:spPr>
      </p:cxnSp>
      <p:cxnSp>
        <p:nvCxnSpPr>
          <p:cNvPr id="33" name="Straight Connector 32"/>
          <p:cNvCxnSpPr>
            <a:stCxn id="19" idx="2"/>
            <a:endCxn id="17" idx="0"/>
          </p:cNvCxnSpPr>
          <p:nvPr/>
        </p:nvCxnSpPr>
        <p:spPr>
          <a:xfrm>
            <a:off x="10041979" y="3159478"/>
            <a:ext cx="1553589" cy="729005"/>
          </a:xfrm>
          <a:prstGeom prst="line">
            <a:avLst/>
          </a:prstGeom>
          <a:noFill/>
          <a:ln w="9525" cap="flat" cmpd="sng" algn="ctr">
            <a:solidFill>
              <a:schemeClr val="tx1"/>
            </a:solidFill>
            <a:prstDash val="solid"/>
          </a:ln>
          <a:effectLst/>
        </p:spPr>
      </p:cxnSp>
      <p:cxnSp>
        <p:nvCxnSpPr>
          <p:cNvPr id="34" name="Straight Connector 33"/>
          <p:cNvCxnSpPr>
            <a:stCxn id="18" idx="2"/>
            <a:endCxn id="17" idx="0"/>
          </p:cNvCxnSpPr>
          <p:nvPr/>
        </p:nvCxnSpPr>
        <p:spPr>
          <a:xfrm>
            <a:off x="7722065" y="3159478"/>
            <a:ext cx="3873502" cy="729005"/>
          </a:xfrm>
          <a:prstGeom prst="line">
            <a:avLst/>
          </a:prstGeom>
          <a:noFill/>
          <a:ln w="9525" cap="flat" cmpd="sng" algn="ctr">
            <a:solidFill>
              <a:schemeClr val="tx1"/>
            </a:solidFill>
            <a:prstDash val="solid"/>
          </a:ln>
          <a:effectLst/>
        </p:spPr>
      </p:cxnSp>
      <p:sp>
        <p:nvSpPr>
          <p:cNvPr id="35" name="Rectangle 34"/>
          <p:cNvSpPr/>
          <p:nvPr/>
        </p:nvSpPr>
        <p:spPr>
          <a:xfrm>
            <a:off x="8646789" y="1697081"/>
            <a:ext cx="417674" cy="164792"/>
          </a:xfrm>
          <a:prstGeom prst="rect">
            <a:avLst/>
          </a:prstGeom>
          <a:gradFill rotWithShape="1">
            <a:gsLst>
              <a:gs pos="0">
                <a:srgbClr val="4BACC6">
                  <a:shade val="51000"/>
                  <a:satMod val="130000"/>
                </a:srgbClr>
              </a:gs>
              <a:gs pos="80000">
                <a:srgbClr val="4BACC6">
                  <a:shade val="93000"/>
                  <a:satMod val="130000"/>
                </a:srgbClr>
              </a:gs>
              <a:gs pos="100000">
                <a:srgbClr val="4BACC6">
                  <a:shade val="94000"/>
                  <a:satMod val="135000"/>
                </a:srgbClr>
              </a:gs>
            </a:gsLst>
            <a:lin ang="16200000" scaled="0"/>
          </a:gradFill>
          <a:ln w="9525" cap="flat" cmpd="sng" algn="ctr">
            <a:solidFill>
              <a:srgbClr val="4BACC6">
                <a:shade val="95000"/>
                <a:satMod val="105000"/>
              </a:srgbClr>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DCR</a:t>
            </a:r>
          </a:p>
        </p:txBody>
      </p:sp>
      <p:sp>
        <p:nvSpPr>
          <p:cNvPr id="36" name="Rectangle 35"/>
          <p:cNvSpPr/>
          <p:nvPr/>
        </p:nvSpPr>
        <p:spPr>
          <a:xfrm>
            <a:off x="9565672" y="1697081"/>
            <a:ext cx="417674" cy="164792"/>
          </a:xfrm>
          <a:prstGeom prst="rect">
            <a:avLst/>
          </a:prstGeom>
          <a:gradFill rotWithShape="1">
            <a:gsLst>
              <a:gs pos="0">
                <a:srgbClr val="4BACC6">
                  <a:shade val="51000"/>
                  <a:satMod val="130000"/>
                </a:srgbClr>
              </a:gs>
              <a:gs pos="80000">
                <a:srgbClr val="4BACC6">
                  <a:shade val="93000"/>
                  <a:satMod val="130000"/>
                </a:srgbClr>
              </a:gs>
              <a:gs pos="100000">
                <a:srgbClr val="4BACC6">
                  <a:shade val="94000"/>
                  <a:satMod val="135000"/>
                </a:srgbClr>
              </a:gs>
            </a:gsLst>
            <a:lin ang="16200000" scaled="0"/>
          </a:gradFill>
          <a:ln w="9525" cap="flat" cmpd="sng" algn="ctr">
            <a:solidFill>
              <a:srgbClr val="4BACC6">
                <a:shade val="95000"/>
                <a:satMod val="105000"/>
              </a:srgbClr>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DCR</a:t>
            </a:r>
          </a:p>
        </p:txBody>
      </p:sp>
      <p:cxnSp>
        <p:nvCxnSpPr>
          <p:cNvPr id="37" name="Straight Connector 36"/>
          <p:cNvCxnSpPr>
            <a:stCxn id="35" idx="2"/>
            <a:endCxn id="48" idx="0"/>
          </p:cNvCxnSpPr>
          <p:nvPr/>
        </p:nvCxnSpPr>
        <p:spPr>
          <a:xfrm>
            <a:off x="8855628" y="1861874"/>
            <a:ext cx="125315" cy="418361"/>
          </a:xfrm>
          <a:prstGeom prst="line">
            <a:avLst/>
          </a:prstGeom>
          <a:noFill/>
          <a:ln w="9525" cap="flat" cmpd="sng" algn="ctr">
            <a:solidFill>
              <a:schemeClr val="tx1"/>
            </a:solidFill>
            <a:prstDash val="solid"/>
          </a:ln>
          <a:effectLst/>
        </p:spPr>
      </p:cxnSp>
      <p:cxnSp>
        <p:nvCxnSpPr>
          <p:cNvPr id="38" name="Straight Connector 37"/>
          <p:cNvCxnSpPr>
            <a:stCxn id="35" idx="2"/>
            <a:endCxn id="47" idx="0"/>
          </p:cNvCxnSpPr>
          <p:nvPr/>
        </p:nvCxnSpPr>
        <p:spPr>
          <a:xfrm>
            <a:off x="8855626" y="1861874"/>
            <a:ext cx="832196" cy="418361"/>
          </a:xfrm>
          <a:prstGeom prst="line">
            <a:avLst/>
          </a:prstGeom>
          <a:noFill/>
          <a:ln w="9525" cap="flat" cmpd="sng" algn="ctr">
            <a:solidFill>
              <a:schemeClr val="tx1"/>
            </a:solidFill>
            <a:prstDash val="solid"/>
          </a:ln>
          <a:effectLst/>
        </p:spPr>
      </p:cxnSp>
      <p:cxnSp>
        <p:nvCxnSpPr>
          <p:cNvPr id="39" name="Straight Connector 38"/>
          <p:cNvCxnSpPr>
            <a:stCxn id="36" idx="2"/>
            <a:endCxn id="48" idx="0"/>
          </p:cNvCxnSpPr>
          <p:nvPr/>
        </p:nvCxnSpPr>
        <p:spPr>
          <a:xfrm flipH="1">
            <a:off x="8980943" y="1861874"/>
            <a:ext cx="793567" cy="418361"/>
          </a:xfrm>
          <a:prstGeom prst="line">
            <a:avLst/>
          </a:prstGeom>
          <a:noFill/>
          <a:ln w="9525" cap="flat" cmpd="sng" algn="ctr">
            <a:solidFill>
              <a:schemeClr val="tx1"/>
            </a:solidFill>
            <a:prstDash val="solid"/>
          </a:ln>
          <a:effectLst/>
        </p:spPr>
      </p:cxnSp>
      <p:cxnSp>
        <p:nvCxnSpPr>
          <p:cNvPr id="40" name="Straight Connector 39"/>
          <p:cNvCxnSpPr>
            <a:stCxn id="36" idx="2"/>
            <a:endCxn id="47" idx="0"/>
          </p:cNvCxnSpPr>
          <p:nvPr/>
        </p:nvCxnSpPr>
        <p:spPr>
          <a:xfrm flipH="1">
            <a:off x="9687822" y="1861874"/>
            <a:ext cx="86686" cy="418361"/>
          </a:xfrm>
          <a:prstGeom prst="line">
            <a:avLst/>
          </a:prstGeom>
          <a:noFill/>
          <a:ln w="9525" cap="flat" cmpd="sng" algn="ctr">
            <a:solidFill>
              <a:schemeClr val="tx1"/>
            </a:solidFill>
            <a:prstDash val="solid"/>
          </a:ln>
          <a:effectLst/>
        </p:spPr>
      </p:cxnSp>
      <p:cxnSp>
        <p:nvCxnSpPr>
          <p:cNvPr id="41" name="Straight Connector 40"/>
          <p:cNvCxnSpPr>
            <a:stCxn id="18" idx="0"/>
            <a:endCxn id="48" idx="2"/>
          </p:cNvCxnSpPr>
          <p:nvPr/>
        </p:nvCxnSpPr>
        <p:spPr>
          <a:xfrm flipV="1">
            <a:off x="7722066" y="2445026"/>
            <a:ext cx="1258877" cy="549658"/>
          </a:xfrm>
          <a:prstGeom prst="line">
            <a:avLst/>
          </a:prstGeom>
          <a:noFill/>
          <a:ln w="9525" cap="flat" cmpd="sng" algn="ctr">
            <a:solidFill>
              <a:schemeClr val="tx1"/>
            </a:solidFill>
            <a:prstDash val="solid"/>
          </a:ln>
          <a:effectLst/>
        </p:spPr>
      </p:cxnSp>
      <p:cxnSp>
        <p:nvCxnSpPr>
          <p:cNvPr id="42" name="Straight Connector 41"/>
          <p:cNvCxnSpPr>
            <a:stCxn id="18" idx="0"/>
            <a:endCxn id="47" idx="2"/>
          </p:cNvCxnSpPr>
          <p:nvPr/>
        </p:nvCxnSpPr>
        <p:spPr>
          <a:xfrm flipV="1">
            <a:off x="7722064" y="2445026"/>
            <a:ext cx="1965758" cy="549658"/>
          </a:xfrm>
          <a:prstGeom prst="line">
            <a:avLst/>
          </a:prstGeom>
          <a:noFill/>
          <a:ln w="9525" cap="flat" cmpd="sng" algn="ctr">
            <a:solidFill>
              <a:schemeClr val="tx1"/>
            </a:solidFill>
            <a:prstDash val="solid"/>
          </a:ln>
          <a:effectLst/>
        </p:spPr>
      </p:cxnSp>
      <p:cxnSp>
        <p:nvCxnSpPr>
          <p:cNvPr id="43" name="Straight Connector 42"/>
          <p:cNvCxnSpPr>
            <a:stCxn id="19" idx="0"/>
            <a:endCxn id="47" idx="2"/>
          </p:cNvCxnSpPr>
          <p:nvPr/>
        </p:nvCxnSpPr>
        <p:spPr>
          <a:xfrm flipH="1" flipV="1">
            <a:off x="9687822" y="2445026"/>
            <a:ext cx="354154" cy="549658"/>
          </a:xfrm>
          <a:prstGeom prst="line">
            <a:avLst/>
          </a:prstGeom>
          <a:noFill/>
          <a:ln w="9525" cap="flat" cmpd="sng" algn="ctr">
            <a:solidFill>
              <a:schemeClr val="tx1"/>
            </a:solidFill>
            <a:prstDash val="solid"/>
          </a:ln>
          <a:effectLst/>
        </p:spPr>
      </p:cxnSp>
      <p:cxnSp>
        <p:nvCxnSpPr>
          <p:cNvPr id="44" name="Straight Connector 43"/>
          <p:cNvCxnSpPr>
            <a:stCxn id="19" idx="0"/>
            <a:endCxn id="48" idx="2"/>
          </p:cNvCxnSpPr>
          <p:nvPr/>
        </p:nvCxnSpPr>
        <p:spPr>
          <a:xfrm flipH="1" flipV="1">
            <a:off x="8980943" y="2445026"/>
            <a:ext cx="1061035" cy="549658"/>
          </a:xfrm>
          <a:prstGeom prst="line">
            <a:avLst/>
          </a:prstGeom>
          <a:noFill/>
          <a:ln w="9525" cap="flat" cmpd="sng" algn="ctr">
            <a:solidFill>
              <a:schemeClr val="tx1"/>
            </a:solidFill>
            <a:prstDash val="solid"/>
          </a:ln>
          <a:effectLst/>
        </p:spPr>
      </p:cxnSp>
      <p:cxnSp>
        <p:nvCxnSpPr>
          <p:cNvPr id="45" name="Straight Connector 44"/>
          <p:cNvCxnSpPr>
            <a:stCxn id="20" idx="0"/>
            <a:endCxn id="47" idx="2"/>
          </p:cNvCxnSpPr>
          <p:nvPr/>
        </p:nvCxnSpPr>
        <p:spPr>
          <a:xfrm flipH="1" flipV="1">
            <a:off x="9687825" y="2445026"/>
            <a:ext cx="1373277" cy="549658"/>
          </a:xfrm>
          <a:prstGeom prst="line">
            <a:avLst/>
          </a:prstGeom>
          <a:noFill/>
          <a:ln w="9525" cap="flat" cmpd="sng" algn="ctr">
            <a:solidFill>
              <a:schemeClr val="tx1"/>
            </a:solidFill>
            <a:prstDash val="solid"/>
          </a:ln>
          <a:effectLst/>
        </p:spPr>
      </p:cxnSp>
      <p:cxnSp>
        <p:nvCxnSpPr>
          <p:cNvPr id="46" name="Straight Connector 45"/>
          <p:cNvCxnSpPr>
            <a:stCxn id="20" idx="0"/>
            <a:endCxn id="48" idx="2"/>
          </p:cNvCxnSpPr>
          <p:nvPr/>
        </p:nvCxnSpPr>
        <p:spPr>
          <a:xfrm flipH="1" flipV="1">
            <a:off x="8980942" y="2445026"/>
            <a:ext cx="2080158" cy="549658"/>
          </a:xfrm>
          <a:prstGeom prst="line">
            <a:avLst/>
          </a:prstGeom>
          <a:noFill/>
          <a:ln w="9525" cap="flat" cmpd="sng" algn="ctr">
            <a:solidFill>
              <a:schemeClr val="tx1"/>
            </a:solidFill>
            <a:prstDash val="solid"/>
          </a:ln>
          <a:effectLst/>
        </p:spPr>
      </p:cxnSp>
      <p:sp>
        <p:nvSpPr>
          <p:cNvPr id="47" name="Rectangle 46"/>
          <p:cNvSpPr/>
          <p:nvPr/>
        </p:nvSpPr>
        <p:spPr>
          <a:xfrm>
            <a:off x="9478985" y="2280233"/>
            <a:ext cx="417674" cy="164792"/>
          </a:xfrm>
          <a:prstGeom prst="rect">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BL</a:t>
            </a:r>
          </a:p>
        </p:txBody>
      </p:sp>
      <p:sp>
        <p:nvSpPr>
          <p:cNvPr id="48" name="Rectangle 47"/>
          <p:cNvSpPr/>
          <p:nvPr/>
        </p:nvSpPr>
        <p:spPr>
          <a:xfrm>
            <a:off x="8772104" y="2280233"/>
            <a:ext cx="417674" cy="164792"/>
          </a:xfrm>
          <a:prstGeom prst="rect">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BL</a:t>
            </a:r>
          </a:p>
        </p:txBody>
      </p:sp>
      <p:sp>
        <p:nvSpPr>
          <p:cNvPr id="74" name="Rectangle 73"/>
          <p:cNvSpPr/>
          <p:nvPr/>
        </p:nvSpPr>
        <p:spPr>
          <a:xfrm>
            <a:off x="8446384" y="2994682"/>
            <a:ext cx="417674" cy="164792"/>
          </a:xfrm>
          <a:prstGeom prst="rect">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Spine</a:t>
            </a:r>
          </a:p>
        </p:txBody>
      </p:sp>
      <p:cxnSp>
        <p:nvCxnSpPr>
          <p:cNvPr id="75" name="Straight Connector 74"/>
          <p:cNvCxnSpPr>
            <a:stCxn id="74" idx="2"/>
            <a:endCxn id="14" idx="0"/>
          </p:cNvCxnSpPr>
          <p:nvPr/>
        </p:nvCxnSpPr>
        <p:spPr>
          <a:xfrm flipH="1">
            <a:off x="7268469" y="3159478"/>
            <a:ext cx="1386755" cy="729005"/>
          </a:xfrm>
          <a:prstGeom prst="line">
            <a:avLst/>
          </a:prstGeom>
          <a:noFill/>
          <a:ln w="9525" cap="flat" cmpd="sng" algn="ctr">
            <a:solidFill>
              <a:schemeClr val="tx1"/>
            </a:solidFill>
            <a:prstDash val="solid"/>
          </a:ln>
          <a:effectLst/>
        </p:spPr>
      </p:cxnSp>
      <p:cxnSp>
        <p:nvCxnSpPr>
          <p:cNvPr id="76" name="Straight Connector 75"/>
          <p:cNvCxnSpPr>
            <a:stCxn id="74" idx="2"/>
            <a:endCxn id="15" idx="0"/>
          </p:cNvCxnSpPr>
          <p:nvPr/>
        </p:nvCxnSpPr>
        <p:spPr>
          <a:xfrm flipH="1">
            <a:off x="8287591" y="3159478"/>
            <a:ext cx="367632" cy="729005"/>
          </a:xfrm>
          <a:prstGeom prst="line">
            <a:avLst/>
          </a:prstGeom>
          <a:noFill/>
          <a:ln w="9525" cap="flat" cmpd="sng" algn="ctr">
            <a:solidFill>
              <a:schemeClr val="tx1"/>
            </a:solidFill>
            <a:prstDash val="solid"/>
          </a:ln>
          <a:effectLst/>
        </p:spPr>
      </p:cxnSp>
      <p:cxnSp>
        <p:nvCxnSpPr>
          <p:cNvPr id="77" name="Straight Connector 76"/>
          <p:cNvCxnSpPr>
            <a:stCxn id="74" idx="2"/>
            <a:endCxn id="16" idx="0"/>
          </p:cNvCxnSpPr>
          <p:nvPr/>
        </p:nvCxnSpPr>
        <p:spPr>
          <a:xfrm>
            <a:off x="8655223" y="3159478"/>
            <a:ext cx="1921221" cy="729005"/>
          </a:xfrm>
          <a:prstGeom prst="line">
            <a:avLst/>
          </a:prstGeom>
          <a:noFill/>
          <a:ln w="9525" cap="flat" cmpd="sng" algn="ctr">
            <a:solidFill>
              <a:schemeClr val="tx1"/>
            </a:solidFill>
            <a:prstDash val="solid"/>
          </a:ln>
          <a:effectLst/>
        </p:spPr>
      </p:cxnSp>
      <p:cxnSp>
        <p:nvCxnSpPr>
          <p:cNvPr id="78" name="Straight Connector 77"/>
          <p:cNvCxnSpPr>
            <a:stCxn id="74" idx="2"/>
            <a:endCxn id="17" idx="0"/>
          </p:cNvCxnSpPr>
          <p:nvPr/>
        </p:nvCxnSpPr>
        <p:spPr>
          <a:xfrm>
            <a:off x="8655223" y="3159478"/>
            <a:ext cx="2940345" cy="729005"/>
          </a:xfrm>
          <a:prstGeom prst="line">
            <a:avLst/>
          </a:prstGeom>
          <a:noFill/>
          <a:ln w="9525" cap="flat" cmpd="sng" algn="ctr">
            <a:solidFill>
              <a:schemeClr val="tx1"/>
            </a:solidFill>
            <a:prstDash val="solid"/>
          </a:ln>
          <a:effectLst/>
        </p:spPr>
      </p:cxnSp>
      <p:cxnSp>
        <p:nvCxnSpPr>
          <p:cNvPr id="79" name="Straight Connector 78"/>
          <p:cNvCxnSpPr>
            <a:stCxn id="74" idx="0"/>
            <a:endCxn id="47" idx="2"/>
          </p:cNvCxnSpPr>
          <p:nvPr/>
        </p:nvCxnSpPr>
        <p:spPr>
          <a:xfrm flipV="1">
            <a:off x="8655223" y="2445026"/>
            <a:ext cx="1032601" cy="549658"/>
          </a:xfrm>
          <a:prstGeom prst="line">
            <a:avLst/>
          </a:prstGeom>
          <a:noFill/>
          <a:ln w="9525" cap="flat" cmpd="sng" algn="ctr">
            <a:solidFill>
              <a:schemeClr val="tx1"/>
            </a:solidFill>
            <a:prstDash val="solid"/>
          </a:ln>
          <a:effectLst/>
        </p:spPr>
      </p:cxnSp>
      <p:cxnSp>
        <p:nvCxnSpPr>
          <p:cNvPr id="80" name="Straight Connector 79"/>
          <p:cNvCxnSpPr>
            <a:stCxn id="74" idx="0"/>
            <a:endCxn id="48" idx="2"/>
          </p:cNvCxnSpPr>
          <p:nvPr/>
        </p:nvCxnSpPr>
        <p:spPr>
          <a:xfrm flipV="1">
            <a:off x="8655221" y="2445026"/>
            <a:ext cx="325720" cy="549658"/>
          </a:xfrm>
          <a:prstGeom prst="line">
            <a:avLst/>
          </a:prstGeom>
          <a:noFill/>
          <a:ln w="9525" cap="flat" cmpd="sng" algn="ctr">
            <a:solidFill>
              <a:schemeClr val="tx1"/>
            </a:solidFill>
            <a:prstDash val="solid"/>
          </a:ln>
          <a:effectLst/>
        </p:spPr>
      </p:cxnSp>
      <p:sp>
        <p:nvSpPr>
          <p:cNvPr id="92" name="TextBox 91"/>
          <p:cNvSpPr txBox="1"/>
          <p:nvPr/>
        </p:nvSpPr>
        <p:spPr>
          <a:xfrm>
            <a:off x="10180625" y="1646327"/>
            <a:ext cx="1421104" cy="249199"/>
          </a:xfrm>
          <a:prstGeom prst="rect">
            <a:avLst/>
          </a:prstGeom>
          <a:noFill/>
        </p:spPr>
        <p:txBody>
          <a:bodyPr wrap="square" rtlCol="0">
            <a:spAutoFit/>
          </a:bodyPr>
          <a:lstStyle/>
          <a:p>
            <a:pPr defTabSz="914001"/>
            <a:r>
              <a:rPr lang="en-US" sz="1000" b="1" dirty="0">
                <a:solidFill>
                  <a:srgbClr val="FFFFFF"/>
                </a:solidFill>
              </a:rPr>
              <a:t>DC Routers</a:t>
            </a:r>
          </a:p>
        </p:txBody>
      </p:sp>
      <p:sp>
        <p:nvSpPr>
          <p:cNvPr id="85" name="Rectangle 84"/>
          <p:cNvSpPr/>
          <p:nvPr/>
        </p:nvSpPr>
        <p:spPr>
          <a:xfrm>
            <a:off x="8065224" y="2280233"/>
            <a:ext cx="417674" cy="164792"/>
          </a:xfrm>
          <a:prstGeom prst="rect">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BL</a:t>
            </a:r>
          </a:p>
        </p:txBody>
      </p:sp>
      <p:sp>
        <p:nvSpPr>
          <p:cNvPr id="86" name="Rectangle 85"/>
          <p:cNvSpPr/>
          <p:nvPr/>
        </p:nvSpPr>
        <p:spPr>
          <a:xfrm>
            <a:off x="10185867" y="2280233"/>
            <a:ext cx="417674" cy="164792"/>
          </a:xfrm>
          <a:prstGeom prst="rect">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w="9525" cap="flat" cmpd="sng" algn="ctr">
            <a:solidFill>
              <a:schemeClr val="tx1"/>
            </a:solidFill>
            <a:prstDash val="solid"/>
          </a:ln>
          <a:effectLst>
            <a:outerShdw blurRad="40000" dist="23000" dir="5400000" rotWithShape="0">
              <a:srgbClr val="000000">
                <a:alpha val="35000"/>
              </a:srgbClr>
            </a:outerShdw>
          </a:effectLst>
        </p:spPr>
        <p:txBody>
          <a:bodyPr lIns="0" tIns="0" rIns="0" bIns="0" rtlCol="0" anchor="ctr"/>
          <a:lstStyle/>
          <a:p>
            <a:pPr algn="ctr" defTabSz="914038">
              <a:defRPr/>
            </a:pPr>
            <a:r>
              <a:rPr lang="en-US" sz="1000" b="1" kern="0" dirty="0">
                <a:solidFill>
                  <a:sysClr val="window" lastClr="FFFFFF"/>
                </a:solidFill>
                <a:latin typeface="Calibri"/>
              </a:rPr>
              <a:t>BL</a:t>
            </a:r>
          </a:p>
        </p:txBody>
      </p:sp>
      <p:cxnSp>
        <p:nvCxnSpPr>
          <p:cNvPr id="87" name="Straight Connector 86"/>
          <p:cNvCxnSpPr>
            <a:stCxn id="35" idx="2"/>
            <a:endCxn id="85" idx="0"/>
          </p:cNvCxnSpPr>
          <p:nvPr/>
        </p:nvCxnSpPr>
        <p:spPr>
          <a:xfrm flipH="1">
            <a:off x="8274061" y="1861874"/>
            <a:ext cx="581566" cy="418361"/>
          </a:xfrm>
          <a:prstGeom prst="line">
            <a:avLst/>
          </a:prstGeom>
          <a:noFill/>
          <a:ln w="9525" cap="flat" cmpd="sng" algn="ctr">
            <a:solidFill>
              <a:schemeClr val="tx1"/>
            </a:solidFill>
            <a:prstDash val="solid"/>
          </a:ln>
          <a:effectLst/>
        </p:spPr>
      </p:cxnSp>
      <p:cxnSp>
        <p:nvCxnSpPr>
          <p:cNvPr id="90" name="Straight Connector 89"/>
          <p:cNvCxnSpPr>
            <a:stCxn id="35" idx="2"/>
            <a:endCxn id="86" idx="0"/>
          </p:cNvCxnSpPr>
          <p:nvPr/>
        </p:nvCxnSpPr>
        <p:spPr>
          <a:xfrm>
            <a:off x="8855628" y="1861874"/>
            <a:ext cx="1539076" cy="418361"/>
          </a:xfrm>
          <a:prstGeom prst="line">
            <a:avLst/>
          </a:prstGeom>
          <a:noFill/>
          <a:ln w="9525" cap="flat" cmpd="sng" algn="ctr">
            <a:solidFill>
              <a:schemeClr val="tx1"/>
            </a:solidFill>
            <a:prstDash val="solid"/>
          </a:ln>
          <a:effectLst/>
        </p:spPr>
      </p:cxnSp>
      <p:cxnSp>
        <p:nvCxnSpPr>
          <p:cNvPr id="93" name="Straight Connector 92"/>
          <p:cNvCxnSpPr>
            <a:stCxn id="85" idx="0"/>
            <a:endCxn id="36" idx="2"/>
          </p:cNvCxnSpPr>
          <p:nvPr/>
        </p:nvCxnSpPr>
        <p:spPr>
          <a:xfrm flipV="1">
            <a:off x="8274061" y="1861874"/>
            <a:ext cx="1500448" cy="418361"/>
          </a:xfrm>
          <a:prstGeom prst="line">
            <a:avLst/>
          </a:prstGeom>
          <a:noFill/>
          <a:ln w="9525" cap="flat" cmpd="sng" algn="ctr">
            <a:solidFill>
              <a:schemeClr val="tx1"/>
            </a:solidFill>
            <a:prstDash val="solid"/>
          </a:ln>
          <a:effectLst/>
        </p:spPr>
      </p:cxnSp>
      <p:cxnSp>
        <p:nvCxnSpPr>
          <p:cNvPr id="100" name="Straight Connector 99"/>
          <p:cNvCxnSpPr>
            <a:stCxn id="86" idx="0"/>
            <a:endCxn id="36" idx="2"/>
          </p:cNvCxnSpPr>
          <p:nvPr/>
        </p:nvCxnSpPr>
        <p:spPr>
          <a:xfrm flipH="1" flipV="1">
            <a:off x="9774511" y="1861874"/>
            <a:ext cx="620195" cy="418361"/>
          </a:xfrm>
          <a:prstGeom prst="line">
            <a:avLst/>
          </a:prstGeom>
          <a:noFill/>
          <a:ln w="9525" cap="flat" cmpd="sng" algn="ctr">
            <a:solidFill>
              <a:schemeClr val="tx1"/>
            </a:solidFill>
            <a:prstDash val="solid"/>
          </a:ln>
          <a:effectLst/>
        </p:spPr>
      </p:cxnSp>
      <p:cxnSp>
        <p:nvCxnSpPr>
          <p:cNvPr id="103" name="Straight Connector 102"/>
          <p:cNvCxnSpPr>
            <a:stCxn id="85" idx="2"/>
            <a:endCxn id="18" idx="0"/>
          </p:cNvCxnSpPr>
          <p:nvPr/>
        </p:nvCxnSpPr>
        <p:spPr>
          <a:xfrm flipH="1">
            <a:off x="7722065" y="2445026"/>
            <a:ext cx="551997" cy="549658"/>
          </a:xfrm>
          <a:prstGeom prst="line">
            <a:avLst/>
          </a:prstGeom>
          <a:noFill/>
          <a:ln w="9525" cap="flat" cmpd="sng" algn="ctr">
            <a:solidFill>
              <a:schemeClr val="tx1"/>
            </a:solidFill>
            <a:prstDash val="solid"/>
          </a:ln>
          <a:effectLst/>
        </p:spPr>
      </p:cxnSp>
      <p:cxnSp>
        <p:nvCxnSpPr>
          <p:cNvPr id="105" name="Straight Connector 104"/>
          <p:cNvCxnSpPr>
            <a:stCxn id="85" idx="2"/>
            <a:endCxn id="74" idx="0"/>
          </p:cNvCxnSpPr>
          <p:nvPr/>
        </p:nvCxnSpPr>
        <p:spPr>
          <a:xfrm>
            <a:off x="8274062" y="2445026"/>
            <a:ext cx="381161" cy="549658"/>
          </a:xfrm>
          <a:prstGeom prst="line">
            <a:avLst/>
          </a:prstGeom>
          <a:noFill/>
          <a:ln w="9525" cap="flat" cmpd="sng" algn="ctr">
            <a:solidFill>
              <a:schemeClr val="tx1"/>
            </a:solidFill>
            <a:prstDash val="solid"/>
          </a:ln>
          <a:effectLst/>
        </p:spPr>
      </p:cxnSp>
      <p:cxnSp>
        <p:nvCxnSpPr>
          <p:cNvPr id="106" name="Straight Connector 105"/>
          <p:cNvCxnSpPr>
            <a:stCxn id="85" idx="2"/>
            <a:endCxn id="19" idx="0"/>
          </p:cNvCxnSpPr>
          <p:nvPr/>
        </p:nvCxnSpPr>
        <p:spPr>
          <a:xfrm>
            <a:off x="8274061" y="2445026"/>
            <a:ext cx="1767916" cy="549658"/>
          </a:xfrm>
          <a:prstGeom prst="line">
            <a:avLst/>
          </a:prstGeom>
          <a:noFill/>
          <a:ln w="9525" cap="flat" cmpd="sng" algn="ctr">
            <a:solidFill>
              <a:schemeClr val="tx1"/>
            </a:solidFill>
            <a:prstDash val="solid"/>
          </a:ln>
          <a:effectLst/>
        </p:spPr>
      </p:cxnSp>
      <p:cxnSp>
        <p:nvCxnSpPr>
          <p:cNvPr id="108" name="Straight Connector 107"/>
          <p:cNvCxnSpPr>
            <a:stCxn id="85" idx="2"/>
            <a:endCxn id="20" idx="0"/>
          </p:cNvCxnSpPr>
          <p:nvPr/>
        </p:nvCxnSpPr>
        <p:spPr>
          <a:xfrm>
            <a:off x="8274063" y="2445026"/>
            <a:ext cx="2787039" cy="549658"/>
          </a:xfrm>
          <a:prstGeom prst="line">
            <a:avLst/>
          </a:prstGeom>
          <a:noFill/>
          <a:ln w="9525" cap="flat" cmpd="sng" algn="ctr">
            <a:solidFill>
              <a:schemeClr val="tx1"/>
            </a:solidFill>
            <a:prstDash val="solid"/>
          </a:ln>
          <a:effectLst/>
        </p:spPr>
      </p:cxnSp>
      <p:cxnSp>
        <p:nvCxnSpPr>
          <p:cNvPr id="111" name="Straight Connector 110"/>
          <p:cNvCxnSpPr>
            <a:stCxn id="86" idx="2"/>
            <a:endCxn id="20" idx="0"/>
          </p:cNvCxnSpPr>
          <p:nvPr/>
        </p:nvCxnSpPr>
        <p:spPr>
          <a:xfrm>
            <a:off x="10394703" y="2445026"/>
            <a:ext cx="666396" cy="549658"/>
          </a:xfrm>
          <a:prstGeom prst="line">
            <a:avLst/>
          </a:prstGeom>
          <a:noFill/>
          <a:ln w="9525" cap="flat" cmpd="sng" algn="ctr">
            <a:solidFill>
              <a:schemeClr val="tx1"/>
            </a:solidFill>
            <a:prstDash val="solid"/>
          </a:ln>
          <a:effectLst/>
        </p:spPr>
      </p:cxnSp>
      <p:cxnSp>
        <p:nvCxnSpPr>
          <p:cNvPr id="117" name="Straight Connector 116"/>
          <p:cNvCxnSpPr>
            <a:stCxn id="86" idx="2"/>
            <a:endCxn id="19" idx="0"/>
          </p:cNvCxnSpPr>
          <p:nvPr/>
        </p:nvCxnSpPr>
        <p:spPr>
          <a:xfrm flipH="1">
            <a:off x="10041979" y="2445026"/>
            <a:ext cx="352727" cy="549658"/>
          </a:xfrm>
          <a:prstGeom prst="line">
            <a:avLst/>
          </a:prstGeom>
          <a:noFill/>
          <a:ln w="9525" cap="flat" cmpd="sng" algn="ctr">
            <a:solidFill>
              <a:schemeClr val="tx1"/>
            </a:solidFill>
            <a:prstDash val="solid"/>
          </a:ln>
          <a:effectLst/>
        </p:spPr>
      </p:cxnSp>
      <p:cxnSp>
        <p:nvCxnSpPr>
          <p:cNvPr id="118" name="Straight Connector 117"/>
          <p:cNvCxnSpPr>
            <a:stCxn id="86" idx="2"/>
            <a:endCxn id="74" idx="0"/>
          </p:cNvCxnSpPr>
          <p:nvPr/>
        </p:nvCxnSpPr>
        <p:spPr>
          <a:xfrm flipH="1">
            <a:off x="8655221" y="2445026"/>
            <a:ext cx="1739484" cy="549658"/>
          </a:xfrm>
          <a:prstGeom prst="line">
            <a:avLst/>
          </a:prstGeom>
          <a:noFill/>
          <a:ln w="9525" cap="flat" cmpd="sng" algn="ctr">
            <a:solidFill>
              <a:schemeClr val="tx1"/>
            </a:solidFill>
            <a:prstDash val="solid"/>
          </a:ln>
          <a:effectLst/>
        </p:spPr>
      </p:cxnSp>
      <p:cxnSp>
        <p:nvCxnSpPr>
          <p:cNvPr id="121" name="Straight Connector 120"/>
          <p:cNvCxnSpPr>
            <a:stCxn id="86" idx="2"/>
            <a:endCxn id="18" idx="0"/>
          </p:cNvCxnSpPr>
          <p:nvPr/>
        </p:nvCxnSpPr>
        <p:spPr>
          <a:xfrm flipH="1">
            <a:off x="7722066" y="2445026"/>
            <a:ext cx="2672641" cy="549658"/>
          </a:xfrm>
          <a:prstGeom prst="line">
            <a:avLst/>
          </a:prstGeom>
          <a:noFill/>
          <a:ln w="9525" cap="flat" cmpd="sng" algn="ctr">
            <a:solidFill>
              <a:schemeClr val="tx1"/>
            </a:solidFill>
            <a:prstDash val="solid"/>
          </a:ln>
          <a:effectLst/>
        </p:spPr>
      </p:cxnSp>
      <p:grpSp>
        <p:nvGrpSpPr>
          <p:cNvPr id="122" name="Group 121"/>
          <p:cNvGrpSpPr/>
          <p:nvPr/>
        </p:nvGrpSpPr>
        <p:grpSpPr>
          <a:xfrm>
            <a:off x="7076199" y="4061400"/>
            <a:ext cx="360204" cy="649923"/>
            <a:chOff x="5307636" y="4061652"/>
            <a:chExt cx="270332" cy="650185"/>
          </a:xfrm>
        </p:grpSpPr>
        <p:sp>
          <p:nvSpPr>
            <p:cNvPr id="109" name="Rectangle 108"/>
            <p:cNvSpPr/>
            <p:nvPr/>
          </p:nvSpPr>
          <p:spPr>
            <a:xfrm>
              <a:off x="5307636" y="40616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25" name="Rectangle 124"/>
            <p:cNvSpPr/>
            <p:nvPr/>
          </p:nvSpPr>
          <p:spPr>
            <a:xfrm>
              <a:off x="5307636" y="41700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26" name="Rectangle 125"/>
            <p:cNvSpPr/>
            <p:nvPr/>
          </p:nvSpPr>
          <p:spPr>
            <a:xfrm>
              <a:off x="5307636" y="42784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28" name="Rectangle 127"/>
            <p:cNvSpPr/>
            <p:nvPr/>
          </p:nvSpPr>
          <p:spPr>
            <a:xfrm>
              <a:off x="5307636" y="43868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29" name="Rectangle 128"/>
            <p:cNvSpPr/>
            <p:nvPr/>
          </p:nvSpPr>
          <p:spPr>
            <a:xfrm>
              <a:off x="5307636" y="44952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49" name="Rectangle 148"/>
            <p:cNvSpPr/>
            <p:nvPr/>
          </p:nvSpPr>
          <p:spPr>
            <a:xfrm>
              <a:off x="5307636" y="4603651"/>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grpSp>
      <p:grpSp>
        <p:nvGrpSpPr>
          <p:cNvPr id="150" name="Group 149"/>
          <p:cNvGrpSpPr/>
          <p:nvPr/>
        </p:nvGrpSpPr>
        <p:grpSpPr>
          <a:xfrm>
            <a:off x="8101765" y="4061400"/>
            <a:ext cx="360204" cy="649923"/>
            <a:chOff x="5307636" y="4061652"/>
            <a:chExt cx="270332" cy="650185"/>
          </a:xfrm>
        </p:grpSpPr>
        <p:sp>
          <p:nvSpPr>
            <p:cNvPr id="151" name="Rectangle 150"/>
            <p:cNvSpPr/>
            <p:nvPr/>
          </p:nvSpPr>
          <p:spPr>
            <a:xfrm>
              <a:off x="5307636" y="40616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52" name="Rectangle 151"/>
            <p:cNvSpPr/>
            <p:nvPr/>
          </p:nvSpPr>
          <p:spPr>
            <a:xfrm>
              <a:off x="5307636" y="41700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53" name="Rectangle 152"/>
            <p:cNvSpPr/>
            <p:nvPr/>
          </p:nvSpPr>
          <p:spPr>
            <a:xfrm>
              <a:off x="5307636" y="42784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54" name="Rectangle 153"/>
            <p:cNvSpPr/>
            <p:nvPr/>
          </p:nvSpPr>
          <p:spPr>
            <a:xfrm>
              <a:off x="5307636" y="43868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55" name="Rectangle 154"/>
            <p:cNvSpPr/>
            <p:nvPr/>
          </p:nvSpPr>
          <p:spPr>
            <a:xfrm>
              <a:off x="5307636" y="44952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56" name="Rectangle 155"/>
            <p:cNvSpPr/>
            <p:nvPr/>
          </p:nvSpPr>
          <p:spPr>
            <a:xfrm>
              <a:off x="5307636" y="4603651"/>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grpSp>
      <p:grpSp>
        <p:nvGrpSpPr>
          <p:cNvPr id="157" name="Group 156"/>
          <p:cNvGrpSpPr/>
          <p:nvPr/>
        </p:nvGrpSpPr>
        <p:grpSpPr>
          <a:xfrm>
            <a:off x="10396063" y="4066277"/>
            <a:ext cx="360204" cy="649923"/>
            <a:chOff x="5307636" y="4061652"/>
            <a:chExt cx="270332" cy="650185"/>
          </a:xfrm>
        </p:grpSpPr>
        <p:sp>
          <p:nvSpPr>
            <p:cNvPr id="158" name="Rectangle 157"/>
            <p:cNvSpPr/>
            <p:nvPr/>
          </p:nvSpPr>
          <p:spPr>
            <a:xfrm>
              <a:off x="5307636" y="40616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59" name="Rectangle 158"/>
            <p:cNvSpPr/>
            <p:nvPr/>
          </p:nvSpPr>
          <p:spPr>
            <a:xfrm>
              <a:off x="5307636" y="41700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60" name="Rectangle 159"/>
            <p:cNvSpPr/>
            <p:nvPr/>
          </p:nvSpPr>
          <p:spPr>
            <a:xfrm>
              <a:off x="5307636" y="42784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61" name="Rectangle 160"/>
            <p:cNvSpPr/>
            <p:nvPr/>
          </p:nvSpPr>
          <p:spPr>
            <a:xfrm>
              <a:off x="5307636" y="43868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62" name="Rectangle 161"/>
            <p:cNvSpPr/>
            <p:nvPr/>
          </p:nvSpPr>
          <p:spPr>
            <a:xfrm>
              <a:off x="5307636" y="44952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63" name="Rectangle 162"/>
            <p:cNvSpPr/>
            <p:nvPr/>
          </p:nvSpPr>
          <p:spPr>
            <a:xfrm>
              <a:off x="5307636" y="4603651"/>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grpSp>
      <p:grpSp>
        <p:nvGrpSpPr>
          <p:cNvPr id="164" name="Group 163"/>
          <p:cNvGrpSpPr/>
          <p:nvPr/>
        </p:nvGrpSpPr>
        <p:grpSpPr>
          <a:xfrm>
            <a:off x="11421628" y="4069081"/>
            <a:ext cx="360204" cy="649923"/>
            <a:chOff x="5307636" y="4061652"/>
            <a:chExt cx="270332" cy="650185"/>
          </a:xfrm>
        </p:grpSpPr>
        <p:sp>
          <p:nvSpPr>
            <p:cNvPr id="165" name="Rectangle 164"/>
            <p:cNvSpPr/>
            <p:nvPr/>
          </p:nvSpPr>
          <p:spPr>
            <a:xfrm>
              <a:off x="5307636" y="40616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66" name="Rectangle 165"/>
            <p:cNvSpPr/>
            <p:nvPr/>
          </p:nvSpPr>
          <p:spPr>
            <a:xfrm>
              <a:off x="5307636" y="41700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67" name="Rectangle 166"/>
            <p:cNvSpPr/>
            <p:nvPr/>
          </p:nvSpPr>
          <p:spPr>
            <a:xfrm>
              <a:off x="5307636" y="42784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68" name="Rectangle 167"/>
            <p:cNvSpPr/>
            <p:nvPr/>
          </p:nvSpPr>
          <p:spPr>
            <a:xfrm>
              <a:off x="5307636" y="43868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69" name="Rectangle 168"/>
            <p:cNvSpPr/>
            <p:nvPr/>
          </p:nvSpPr>
          <p:spPr>
            <a:xfrm>
              <a:off x="5307636" y="4495252"/>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sp>
          <p:nvSpPr>
            <p:cNvPr id="170" name="Rectangle 169"/>
            <p:cNvSpPr/>
            <p:nvPr/>
          </p:nvSpPr>
          <p:spPr>
            <a:xfrm>
              <a:off x="5307636" y="4603651"/>
              <a:ext cx="270332" cy="108186"/>
            </a:xfrm>
            <a:prstGeom prst="rect">
              <a:avLst/>
            </a:prstGeom>
            <a:solidFill>
              <a:srgbClr val="92D050">
                <a:alpha val="69000"/>
              </a:srgbClr>
            </a:solidFill>
            <a:ln w="952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01"/>
              <a:endParaRPr lang="en-US" sz="1799">
                <a:solidFill>
                  <a:srgbClr val="FFFFFF"/>
                </a:solidFill>
              </a:endParaRPr>
            </a:p>
          </p:txBody>
        </p:sp>
      </p:grpSp>
      <p:sp>
        <p:nvSpPr>
          <p:cNvPr id="52" name="TextBox 51"/>
          <p:cNvSpPr txBox="1"/>
          <p:nvPr/>
        </p:nvSpPr>
        <p:spPr>
          <a:xfrm>
            <a:off x="8534761" y="5447960"/>
            <a:ext cx="2244204" cy="492314"/>
          </a:xfrm>
          <a:prstGeom prst="rect">
            <a:avLst/>
          </a:prstGeom>
          <a:noFill/>
        </p:spPr>
        <p:txBody>
          <a:bodyPr wrap="none" lIns="0" tIns="0" rIns="0" bIns="0" rtlCol="0">
            <a:spAutoFit/>
          </a:bodyPr>
          <a:lstStyle/>
          <a:p>
            <a:pPr defTabSz="914001"/>
            <a:r>
              <a:rPr lang="en-US" sz="3199" dirty="0">
                <a:solidFill>
                  <a:srgbClr val="5F5F5F"/>
                </a:solidFill>
              </a:rPr>
              <a:t>30,000 </a:t>
            </a:r>
            <a:r>
              <a:rPr lang="en-US" sz="3199" dirty="0" err="1">
                <a:solidFill>
                  <a:srgbClr val="5F5F5F"/>
                </a:solidFill>
              </a:rPr>
              <a:t>Gbps</a:t>
            </a:r>
            <a:endParaRPr lang="en-US" sz="3199" dirty="0">
              <a:solidFill>
                <a:srgbClr val="5F5F5F"/>
              </a:solidFill>
            </a:endParaRPr>
          </a:p>
        </p:txBody>
      </p:sp>
      <p:sp>
        <p:nvSpPr>
          <p:cNvPr id="53" name="TextBox 52"/>
          <p:cNvSpPr txBox="1"/>
          <p:nvPr/>
        </p:nvSpPr>
        <p:spPr>
          <a:xfrm>
            <a:off x="2651581" y="5580128"/>
            <a:ext cx="1473160" cy="492314"/>
          </a:xfrm>
          <a:prstGeom prst="rect">
            <a:avLst/>
          </a:prstGeom>
          <a:noFill/>
        </p:spPr>
        <p:txBody>
          <a:bodyPr wrap="none" lIns="0" tIns="0" rIns="0" bIns="0" rtlCol="0">
            <a:spAutoFit/>
          </a:bodyPr>
          <a:lstStyle/>
          <a:p>
            <a:pPr defTabSz="914001"/>
            <a:r>
              <a:rPr lang="en-US" sz="3199" dirty="0">
                <a:solidFill>
                  <a:srgbClr val="5F5F5F"/>
                </a:solidFill>
              </a:rPr>
              <a:t>120 </a:t>
            </a:r>
            <a:r>
              <a:rPr lang="en-US" sz="3199" dirty="0" err="1">
                <a:solidFill>
                  <a:srgbClr val="5F5F5F"/>
                </a:solidFill>
              </a:rPr>
              <a:t>Gbs</a:t>
            </a:r>
            <a:endParaRPr lang="en-US" sz="3199" dirty="0">
              <a:solidFill>
                <a:srgbClr val="5F5F5F"/>
              </a:solidFill>
            </a:endParaRPr>
          </a:p>
        </p:txBody>
      </p:sp>
      <p:grpSp>
        <p:nvGrpSpPr>
          <p:cNvPr id="3" name="Group 2"/>
          <p:cNvGrpSpPr/>
          <p:nvPr/>
        </p:nvGrpSpPr>
        <p:grpSpPr>
          <a:xfrm>
            <a:off x="528506" y="1542345"/>
            <a:ext cx="5350896" cy="3761980"/>
            <a:chOff x="228599" y="1066799"/>
            <a:chExt cx="8610601" cy="5257364"/>
          </a:xfrm>
        </p:grpSpPr>
        <p:sp>
          <p:nvSpPr>
            <p:cNvPr id="96" name="Rectangle 95"/>
            <p:cNvSpPr/>
            <p:nvPr/>
          </p:nvSpPr>
          <p:spPr>
            <a:xfrm>
              <a:off x="533398" y="4724398"/>
              <a:ext cx="381001" cy="1219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97" name="Rectangle 96"/>
            <p:cNvSpPr/>
            <p:nvPr/>
          </p:nvSpPr>
          <p:spPr>
            <a:xfrm>
              <a:off x="533398" y="47243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98" name="Rectangle 97"/>
            <p:cNvSpPr/>
            <p:nvPr/>
          </p:nvSpPr>
          <p:spPr>
            <a:xfrm>
              <a:off x="1142998" y="32765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99" name="Rectangle 98"/>
            <p:cNvSpPr/>
            <p:nvPr/>
          </p:nvSpPr>
          <p:spPr>
            <a:xfrm>
              <a:off x="761999"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01" name="Rectangle 100"/>
            <p:cNvSpPr/>
            <p:nvPr/>
          </p:nvSpPr>
          <p:spPr>
            <a:xfrm>
              <a:off x="685800"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02" name="Rectangle 101"/>
            <p:cNvSpPr/>
            <p:nvPr/>
          </p:nvSpPr>
          <p:spPr>
            <a:xfrm>
              <a:off x="1523999"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04" name="Rectangle 103"/>
            <p:cNvSpPr/>
            <p:nvPr/>
          </p:nvSpPr>
          <p:spPr>
            <a:xfrm>
              <a:off x="1447799"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07" name="Rectangle 106"/>
            <p:cNvSpPr/>
            <p:nvPr/>
          </p:nvSpPr>
          <p:spPr>
            <a:xfrm>
              <a:off x="1066799" y="33527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b="1" dirty="0">
                  <a:solidFill>
                    <a:srgbClr val="000000"/>
                  </a:solidFill>
                </a:rPr>
                <a:t>AGG</a:t>
              </a:r>
            </a:p>
          </p:txBody>
        </p:sp>
        <p:sp>
          <p:nvSpPr>
            <p:cNvPr id="110" name="Rectangle 109"/>
            <p:cNvSpPr/>
            <p:nvPr/>
          </p:nvSpPr>
          <p:spPr>
            <a:xfrm>
              <a:off x="533398" y="48767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112" name="Rectangle 111"/>
            <p:cNvSpPr/>
            <p:nvPr/>
          </p:nvSpPr>
          <p:spPr>
            <a:xfrm>
              <a:off x="533398" y="57911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113" name="Rectangle 112"/>
            <p:cNvSpPr/>
            <p:nvPr/>
          </p:nvSpPr>
          <p:spPr>
            <a:xfrm>
              <a:off x="2514600" y="32765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14" name="Rectangle 113"/>
            <p:cNvSpPr/>
            <p:nvPr/>
          </p:nvSpPr>
          <p:spPr>
            <a:xfrm>
              <a:off x="2133599"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15" name="Rectangle 114"/>
            <p:cNvSpPr/>
            <p:nvPr/>
          </p:nvSpPr>
          <p:spPr>
            <a:xfrm>
              <a:off x="2057400"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16" name="Rectangle 115"/>
            <p:cNvSpPr/>
            <p:nvPr/>
          </p:nvSpPr>
          <p:spPr>
            <a:xfrm>
              <a:off x="2895599"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19" name="Rectangle 118"/>
            <p:cNvSpPr/>
            <p:nvPr/>
          </p:nvSpPr>
          <p:spPr>
            <a:xfrm>
              <a:off x="2819399"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20" name="Rectangle 119"/>
            <p:cNvSpPr/>
            <p:nvPr/>
          </p:nvSpPr>
          <p:spPr>
            <a:xfrm>
              <a:off x="2438400" y="33527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b="1" dirty="0">
                  <a:solidFill>
                    <a:srgbClr val="000000"/>
                  </a:solidFill>
                </a:rPr>
                <a:t>AGG</a:t>
              </a:r>
            </a:p>
          </p:txBody>
        </p:sp>
        <p:sp>
          <p:nvSpPr>
            <p:cNvPr id="123" name="Rectangle 122"/>
            <p:cNvSpPr/>
            <p:nvPr/>
          </p:nvSpPr>
          <p:spPr>
            <a:xfrm>
              <a:off x="3886200" y="32765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24" name="Rectangle 123"/>
            <p:cNvSpPr/>
            <p:nvPr/>
          </p:nvSpPr>
          <p:spPr>
            <a:xfrm>
              <a:off x="3505199"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27" name="Rectangle 126"/>
            <p:cNvSpPr/>
            <p:nvPr/>
          </p:nvSpPr>
          <p:spPr>
            <a:xfrm>
              <a:off x="3429000"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30" name="Rectangle 129"/>
            <p:cNvSpPr/>
            <p:nvPr/>
          </p:nvSpPr>
          <p:spPr>
            <a:xfrm>
              <a:off x="4267201"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31" name="Rectangle 130"/>
            <p:cNvSpPr/>
            <p:nvPr/>
          </p:nvSpPr>
          <p:spPr>
            <a:xfrm>
              <a:off x="4190999"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32" name="Rectangle 131"/>
            <p:cNvSpPr/>
            <p:nvPr/>
          </p:nvSpPr>
          <p:spPr>
            <a:xfrm>
              <a:off x="3810000" y="33527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b="1" dirty="0">
                  <a:solidFill>
                    <a:srgbClr val="000000"/>
                  </a:solidFill>
                </a:rPr>
                <a:t>AGG</a:t>
              </a:r>
            </a:p>
          </p:txBody>
        </p:sp>
        <p:sp>
          <p:nvSpPr>
            <p:cNvPr id="133" name="Rectangle 132"/>
            <p:cNvSpPr/>
            <p:nvPr/>
          </p:nvSpPr>
          <p:spPr>
            <a:xfrm>
              <a:off x="5257800" y="32765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34" name="Rectangle 133"/>
            <p:cNvSpPr/>
            <p:nvPr/>
          </p:nvSpPr>
          <p:spPr>
            <a:xfrm>
              <a:off x="4876801"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35" name="Rectangle 134"/>
            <p:cNvSpPr/>
            <p:nvPr/>
          </p:nvSpPr>
          <p:spPr>
            <a:xfrm>
              <a:off x="4800600"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36" name="Rectangle 135"/>
            <p:cNvSpPr/>
            <p:nvPr/>
          </p:nvSpPr>
          <p:spPr>
            <a:xfrm>
              <a:off x="5638801"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37" name="Rectangle 136"/>
            <p:cNvSpPr/>
            <p:nvPr/>
          </p:nvSpPr>
          <p:spPr>
            <a:xfrm>
              <a:off x="5562601"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38" name="Rectangle 137"/>
            <p:cNvSpPr/>
            <p:nvPr/>
          </p:nvSpPr>
          <p:spPr>
            <a:xfrm>
              <a:off x="5181600" y="33527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b="1" dirty="0">
                  <a:solidFill>
                    <a:srgbClr val="000000"/>
                  </a:solidFill>
                </a:rPr>
                <a:t>AGG</a:t>
              </a:r>
            </a:p>
          </p:txBody>
        </p:sp>
        <p:sp>
          <p:nvSpPr>
            <p:cNvPr id="139" name="Rectangle 138"/>
            <p:cNvSpPr/>
            <p:nvPr/>
          </p:nvSpPr>
          <p:spPr>
            <a:xfrm>
              <a:off x="6629400" y="32765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40" name="Rectangle 139"/>
            <p:cNvSpPr/>
            <p:nvPr/>
          </p:nvSpPr>
          <p:spPr>
            <a:xfrm>
              <a:off x="6248401"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41" name="Rectangle 140"/>
            <p:cNvSpPr/>
            <p:nvPr/>
          </p:nvSpPr>
          <p:spPr>
            <a:xfrm>
              <a:off x="6172201"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42" name="Rectangle 141"/>
            <p:cNvSpPr/>
            <p:nvPr/>
          </p:nvSpPr>
          <p:spPr>
            <a:xfrm>
              <a:off x="7010401"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43" name="Rectangle 142"/>
            <p:cNvSpPr/>
            <p:nvPr/>
          </p:nvSpPr>
          <p:spPr>
            <a:xfrm>
              <a:off x="6934201"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44" name="Rectangle 143"/>
            <p:cNvSpPr/>
            <p:nvPr/>
          </p:nvSpPr>
          <p:spPr>
            <a:xfrm>
              <a:off x="6553200" y="33527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b="1" dirty="0">
                  <a:solidFill>
                    <a:srgbClr val="000000"/>
                  </a:solidFill>
                </a:rPr>
                <a:t>AGG</a:t>
              </a:r>
            </a:p>
          </p:txBody>
        </p:sp>
        <p:sp>
          <p:nvSpPr>
            <p:cNvPr id="145" name="Rectangle 144"/>
            <p:cNvSpPr/>
            <p:nvPr/>
          </p:nvSpPr>
          <p:spPr>
            <a:xfrm>
              <a:off x="8001002" y="32765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46" name="Rectangle 145"/>
            <p:cNvSpPr/>
            <p:nvPr/>
          </p:nvSpPr>
          <p:spPr>
            <a:xfrm>
              <a:off x="7620001"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47" name="Rectangle 146"/>
            <p:cNvSpPr/>
            <p:nvPr/>
          </p:nvSpPr>
          <p:spPr>
            <a:xfrm>
              <a:off x="7543801"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48" name="Rectangle 147"/>
            <p:cNvSpPr/>
            <p:nvPr/>
          </p:nvSpPr>
          <p:spPr>
            <a:xfrm>
              <a:off x="8382001" y="3581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dirty="0">
                <a:solidFill>
                  <a:srgbClr val="000000"/>
                </a:solidFill>
              </a:endParaRPr>
            </a:p>
          </p:txBody>
        </p:sp>
        <p:sp>
          <p:nvSpPr>
            <p:cNvPr id="171" name="Rectangle 170"/>
            <p:cNvSpPr/>
            <p:nvPr/>
          </p:nvSpPr>
          <p:spPr>
            <a:xfrm>
              <a:off x="8305801" y="36575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600" dirty="0">
                  <a:solidFill>
                    <a:srgbClr val="000000"/>
                  </a:solidFill>
                </a:rPr>
                <a:t>LB</a:t>
              </a:r>
            </a:p>
          </p:txBody>
        </p:sp>
        <p:sp>
          <p:nvSpPr>
            <p:cNvPr id="172" name="Rectangle 171"/>
            <p:cNvSpPr/>
            <p:nvPr/>
          </p:nvSpPr>
          <p:spPr>
            <a:xfrm>
              <a:off x="7924802" y="3352798"/>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b="1" dirty="0">
                  <a:solidFill>
                    <a:srgbClr val="000000"/>
                  </a:solidFill>
                </a:rPr>
                <a:t>AGG</a:t>
              </a:r>
            </a:p>
          </p:txBody>
        </p:sp>
        <p:sp>
          <p:nvSpPr>
            <p:cNvPr id="173" name="TextBox 172"/>
            <p:cNvSpPr txBox="1"/>
            <p:nvPr/>
          </p:nvSpPr>
          <p:spPr>
            <a:xfrm>
              <a:off x="838199" y="4419599"/>
              <a:ext cx="762000" cy="171978"/>
            </a:xfrm>
            <a:prstGeom prst="rect">
              <a:avLst/>
            </a:prstGeom>
            <a:noFill/>
          </p:spPr>
          <p:txBody>
            <a:bodyPr wrap="square" rtlCol="0">
              <a:spAutoFit/>
            </a:bodyPr>
            <a:lstStyle/>
            <a:p>
              <a:pPr defTabSz="914001"/>
              <a:r>
                <a:rPr lang="en-US" sz="200" dirty="0">
                  <a:solidFill>
                    <a:srgbClr val="FFFFFF"/>
                  </a:solidFill>
                </a:rPr>
                <a:t>20Racks</a:t>
              </a:r>
            </a:p>
          </p:txBody>
        </p:sp>
        <p:cxnSp>
          <p:nvCxnSpPr>
            <p:cNvPr id="174" name="Straight Connector 173"/>
            <p:cNvCxnSpPr>
              <a:stCxn id="97" idx="0"/>
              <a:endCxn id="107" idx="2"/>
            </p:cNvCxnSpPr>
            <p:nvPr/>
          </p:nvCxnSpPr>
          <p:spPr>
            <a:xfrm rot="5400000" flipH="1" flipV="1">
              <a:off x="533400" y="4000499"/>
              <a:ext cx="914400" cy="533400"/>
            </a:xfrm>
            <a:prstGeom prst="line">
              <a:avLst/>
            </a:prstGeom>
          </p:spPr>
          <p:style>
            <a:lnRef idx="1">
              <a:schemeClr val="accent3"/>
            </a:lnRef>
            <a:fillRef idx="2">
              <a:schemeClr val="accent3"/>
            </a:fillRef>
            <a:effectRef idx="1">
              <a:schemeClr val="accent3"/>
            </a:effectRef>
            <a:fontRef idx="minor">
              <a:schemeClr val="dk1"/>
            </a:fontRef>
          </p:style>
        </p:cxnSp>
        <p:cxnSp>
          <p:nvCxnSpPr>
            <p:cNvPr id="175" name="Straight Connector 174"/>
            <p:cNvCxnSpPr>
              <a:endCxn id="107" idx="2"/>
            </p:cNvCxnSpPr>
            <p:nvPr/>
          </p:nvCxnSpPr>
          <p:spPr>
            <a:xfrm rot="5400000" flipH="1" flipV="1">
              <a:off x="704849" y="4171949"/>
              <a:ext cx="914400" cy="190500"/>
            </a:xfrm>
            <a:prstGeom prst="line">
              <a:avLst/>
            </a:prstGeom>
          </p:spPr>
          <p:style>
            <a:lnRef idx="1">
              <a:schemeClr val="accent3"/>
            </a:lnRef>
            <a:fillRef idx="2">
              <a:schemeClr val="accent3"/>
            </a:fillRef>
            <a:effectRef idx="1">
              <a:schemeClr val="accent3"/>
            </a:effectRef>
            <a:fontRef idx="minor">
              <a:schemeClr val="dk1"/>
            </a:fontRef>
          </p:style>
        </p:cxnSp>
        <p:cxnSp>
          <p:nvCxnSpPr>
            <p:cNvPr id="176" name="Straight Connector 175"/>
            <p:cNvCxnSpPr>
              <a:stCxn id="200" idx="0"/>
              <a:endCxn id="107" idx="2"/>
            </p:cNvCxnSpPr>
            <p:nvPr/>
          </p:nvCxnSpPr>
          <p:spPr>
            <a:xfrm rot="16200000" flipV="1">
              <a:off x="1028700" y="4038599"/>
              <a:ext cx="914400" cy="457201"/>
            </a:xfrm>
            <a:prstGeom prst="line">
              <a:avLst/>
            </a:prstGeom>
          </p:spPr>
          <p:style>
            <a:lnRef idx="1">
              <a:schemeClr val="accent3"/>
            </a:lnRef>
            <a:fillRef idx="2">
              <a:schemeClr val="accent3"/>
            </a:fillRef>
            <a:effectRef idx="1">
              <a:schemeClr val="accent3"/>
            </a:effectRef>
            <a:fontRef idx="minor">
              <a:schemeClr val="dk1"/>
            </a:fontRef>
          </p:style>
        </p:cxnSp>
        <p:cxnSp>
          <p:nvCxnSpPr>
            <p:cNvPr id="177" name="Straight Connector 176"/>
            <p:cNvCxnSpPr>
              <a:endCxn id="107" idx="2"/>
            </p:cNvCxnSpPr>
            <p:nvPr/>
          </p:nvCxnSpPr>
          <p:spPr>
            <a:xfrm rot="16200000" flipV="1">
              <a:off x="895349" y="4171949"/>
              <a:ext cx="914400" cy="190500"/>
            </a:xfrm>
            <a:prstGeom prst="line">
              <a:avLst/>
            </a:prstGeom>
          </p:spPr>
          <p:style>
            <a:lnRef idx="1">
              <a:schemeClr val="accent3"/>
            </a:lnRef>
            <a:fillRef idx="2">
              <a:schemeClr val="accent3"/>
            </a:fillRef>
            <a:effectRef idx="1">
              <a:schemeClr val="accent3"/>
            </a:effectRef>
            <a:fontRef idx="minor">
              <a:schemeClr val="dk1"/>
            </a:fontRef>
          </p:style>
        </p:cxnSp>
        <p:sp>
          <p:nvSpPr>
            <p:cNvPr id="178" name="Rectangle 177"/>
            <p:cNvSpPr/>
            <p:nvPr/>
          </p:nvSpPr>
          <p:spPr>
            <a:xfrm>
              <a:off x="2514600" y="1981199"/>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79" name="Rectangle 178"/>
            <p:cNvSpPr/>
            <p:nvPr/>
          </p:nvSpPr>
          <p:spPr>
            <a:xfrm>
              <a:off x="2438400" y="2057399"/>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80" name="Rectangle 179"/>
            <p:cNvSpPr/>
            <p:nvPr/>
          </p:nvSpPr>
          <p:spPr>
            <a:xfrm>
              <a:off x="6629400" y="2057399"/>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81" name="Rectangle 180"/>
            <p:cNvSpPr/>
            <p:nvPr/>
          </p:nvSpPr>
          <p:spPr>
            <a:xfrm>
              <a:off x="6553200" y="2133599"/>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82" name="Rectangle 181"/>
            <p:cNvSpPr/>
            <p:nvPr/>
          </p:nvSpPr>
          <p:spPr>
            <a:xfrm>
              <a:off x="4495800" y="1066799"/>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83" name="Rectangle 182"/>
            <p:cNvSpPr/>
            <p:nvPr/>
          </p:nvSpPr>
          <p:spPr>
            <a:xfrm>
              <a:off x="4419601" y="1142999"/>
              <a:ext cx="381001" cy="457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endParaRPr lang="en-US" sz="800">
                <a:solidFill>
                  <a:srgbClr val="000000"/>
                </a:solidFill>
              </a:endParaRPr>
            </a:p>
          </p:txBody>
        </p:sp>
        <p:sp>
          <p:nvSpPr>
            <p:cNvPr id="184" name="TextBox 183"/>
            <p:cNvSpPr txBox="1"/>
            <p:nvPr/>
          </p:nvSpPr>
          <p:spPr>
            <a:xfrm>
              <a:off x="3124200" y="1066799"/>
              <a:ext cx="1143001" cy="304365"/>
            </a:xfrm>
            <a:prstGeom prst="rect">
              <a:avLst/>
            </a:prstGeom>
            <a:noFill/>
          </p:spPr>
          <p:txBody>
            <a:bodyPr wrap="square" rtlCol="0">
              <a:spAutoFit/>
            </a:bodyPr>
            <a:lstStyle/>
            <a:p>
              <a:pPr defTabSz="914001"/>
              <a:r>
                <a:rPr lang="en-US" sz="800" dirty="0">
                  <a:solidFill>
                    <a:srgbClr val="FFFFFF"/>
                  </a:solidFill>
                </a:rPr>
                <a:t>DC Router</a:t>
              </a:r>
            </a:p>
          </p:txBody>
        </p:sp>
        <p:sp>
          <p:nvSpPr>
            <p:cNvPr id="185" name="TextBox 184"/>
            <p:cNvSpPr txBox="1"/>
            <p:nvPr/>
          </p:nvSpPr>
          <p:spPr>
            <a:xfrm>
              <a:off x="1295400" y="1828797"/>
              <a:ext cx="914399" cy="479746"/>
            </a:xfrm>
            <a:prstGeom prst="rect">
              <a:avLst/>
            </a:prstGeom>
            <a:noFill/>
          </p:spPr>
          <p:txBody>
            <a:bodyPr wrap="square" rtlCol="0">
              <a:spAutoFit/>
            </a:bodyPr>
            <a:lstStyle/>
            <a:p>
              <a:pPr defTabSz="914001"/>
              <a:r>
                <a:rPr lang="en-US" sz="800" dirty="0">
                  <a:solidFill>
                    <a:srgbClr val="FFFFFF"/>
                  </a:solidFill>
                </a:rPr>
                <a:t>Access Routers</a:t>
              </a:r>
            </a:p>
          </p:txBody>
        </p:sp>
        <p:sp>
          <p:nvSpPr>
            <p:cNvPr id="186" name="TextBox 185"/>
            <p:cNvSpPr txBox="1"/>
            <p:nvPr/>
          </p:nvSpPr>
          <p:spPr>
            <a:xfrm>
              <a:off x="228599" y="2590799"/>
              <a:ext cx="1447800" cy="479746"/>
            </a:xfrm>
            <a:prstGeom prst="rect">
              <a:avLst/>
            </a:prstGeom>
            <a:noFill/>
          </p:spPr>
          <p:txBody>
            <a:bodyPr wrap="square" rtlCol="0">
              <a:spAutoFit/>
            </a:bodyPr>
            <a:lstStyle/>
            <a:p>
              <a:pPr defTabSz="914001"/>
              <a:r>
                <a:rPr lang="en-US" sz="800" dirty="0">
                  <a:solidFill>
                    <a:srgbClr val="FFFFFF"/>
                  </a:solidFill>
                </a:rPr>
                <a:t>Aggregation + LB</a:t>
              </a:r>
            </a:p>
          </p:txBody>
        </p:sp>
        <p:cxnSp>
          <p:nvCxnSpPr>
            <p:cNvPr id="187" name="Straight Connector 186"/>
            <p:cNvCxnSpPr>
              <a:stCxn id="179" idx="2"/>
            </p:cNvCxnSpPr>
            <p:nvPr/>
          </p:nvCxnSpPr>
          <p:spPr>
            <a:xfrm rot="5400000">
              <a:off x="1543049" y="2266949"/>
              <a:ext cx="838200" cy="1333500"/>
            </a:xfrm>
            <a:prstGeom prst="line">
              <a:avLst/>
            </a:prstGeom>
          </p:spPr>
          <p:style>
            <a:lnRef idx="1">
              <a:schemeClr val="accent3"/>
            </a:lnRef>
            <a:fillRef idx="2">
              <a:schemeClr val="accent3"/>
            </a:fillRef>
            <a:effectRef idx="1">
              <a:schemeClr val="accent3"/>
            </a:effectRef>
            <a:fontRef idx="minor">
              <a:schemeClr val="dk1"/>
            </a:fontRef>
          </p:style>
        </p:cxnSp>
        <p:cxnSp>
          <p:nvCxnSpPr>
            <p:cNvPr id="188" name="Straight Connector 187"/>
            <p:cNvCxnSpPr>
              <a:stCxn id="179" idx="2"/>
              <a:endCxn id="120" idx="0"/>
            </p:cNvCxnSpPr>
            <p:nvPr/>
          </p:nvCxnSpPr>
          <p:spPr>
            <a:xfrm rot="5400000">
              <a:off x="2209799" y="2933698"/>
              <a:ext cx="838200" cy="1588"/>
            </a:xfrm>
            <a:prstGeom prst="line">
              <a:avLst/>
            </a:prstGeom>
          </p:spPr>
          <p:style>
            <a:lnRef idx="1">
              <a:schemeClr val="accent3"/>
            </a:lnRef>
            <a:fillRef idx="2">
              <a:schemeClr val="accent3"/>
            </a:fillRef>
            <a:effectRef idx="1">
              <a:schemeClr val="accent3"/>
            </a:effectRef>
            <a:fontRef idx="minor">
              <a:schemeClr val="dk1"/>
            </a:fontRef>
          </p:style>
        </p:cxnSp>
        <p:cxnSp>
          <p:nvCxnSpPr>
            <p:cNvPr id="189" name="Straight Connector 188"/>
            <p:cNvCxnSpPr>
              <a:stCxn id="179" idx="2"/>
              <a:endCxn id="132" idx="0"/>
            </p:cNvCxnSpPr>
            <p:nvPr/>
          </p:nvCxnSpPr>
          <p:spPr>
            <a:xfrm rot="16200000" flipH="1">
              <a:off x="2895601" y="2247899"/>
              <a:ext cx="838200" cy="1371600"/>
            </a:xfrm>
            <a:prstGeom prst="line">
              <a:avLst/>
            </a:prstGeom>
          </p:spPr>
          <p:style>
            <a:lnRef idx="1">
              <a:schemeClr val="accent3"/>
            </a:lnRef>
            <a:fillRef idx="2">
              <a:schemeClr val="accent3"/>
            </a:fillRef>
            <a:effectRef idx="1">
              <a:schemeClr val="accent3"/>
            </a:effectRef>
            <a:fontRef idx="minor">
              <a:schemeClr val="dk1"/>
            </a:fontRef>
          </p:style>
        </p:cxnSp>
        <p:cxnSp>
          <p:nvCxnSpPr>
            <p:cNvPr id="190" name="Straight Connector 189"/>
            <p:cNvCxnSpPr>
              <a:endCxn id="172" idx="0"/>
            </p:cNvCxnSpPr>
            <p:nvPr/>
          </p:nvCxnSpPr>
          <p:spPr>
            <a:xfrm>
              <a:off x="6781802" y="2590798"/>
              <a:ext cx="1333500" cy="762000"/>
            </a:xfrm>
            <a:prstGeom prst="line">
              <a:avLst/>
            </a:prstGeom>
          </p:spPr>
          <p:style>
            <a:lnRef idx="1">
              <a:schemeClr val="accent3"/>
            </a:lnRef>
            <a:fillRef idx="2">
              <a:schemeClr val="accent3"/>
            </a:fillRef>
            <a:effectRef idx="1">
              <a:schemeClr val="accent3"/>
            </a:effectRef>
            <a:fontRef idx="minor">
              <a:schemeClr val="dk1"/>
            </a:fontRef>
          </p:style>
        </p:cxnSp>
        <p:cxnSp>
          <p:nvCxnSpPr>
            <p:cNvPr id="191" name="Straight Connector 190"/>
            <p:cNvCxnSpPr>
              <a:stCxn id="181" idx="2"/>
              <a:endCxn id="144" idx="0"/>
            </p:cNvCxnSpPr>
            <p:nvPr/>
          </p:nvCxnSpPr>
          <p:spPr>
            <a:xfrm rot="5400000">
              <a:off x="6362701" y="2971798"/>
              <a:ext cx="762000" cy="1588"/>
            </a:xfrm>
            <a:prstGeom prst="line">
              <a:avLst/>
            </a:prstGeom>
          </p:spPr>
          <p:style>
            <a:lnRef idx="1">
              <a:schemeClr val="accent3"/>
            </a:lnRef>
            <a:fillRef idx="2">
              <a:schemeClr val="accent3"/>
            </a:fillRef>
            <a:effectRef idx="1">
              <a:schemeClr val="accent3"/>
            </a:effectRef>
            <a:fontRef idx="minor">
              <a:schemeClr val="dk1"/>
            </a:fontRef>
          </p:style>
        </p:cxnSp>
        <p:cxnSp>
          <p:nvCxnSpPr>
            <p:cNvPr id="192" name="Straight Connector 191"/>
            <p:cNvCxnSpPr>
              <a:stCxn id="181" idx="2"/>
              <a:endCxn id="138" idx="0"/>
            </p:cNvCxnSpPr>
            <p:nvPr/>
          </p:nvCxnSpPr>
          <p:spPr>
            <a:xfrm rot="5400000">
              <a:off x="5676901" y="2285999"/>
              <a:ext cx="762000" cy="1371600"/>
            </a:xfrm>
            <a:prstGeom prst="line">
              <a:avLst/>
            </a:prstGeom>
          </p:spPr>
          <p:style>
            <a:lnRef idx="1">
              <a:schemeClr val="accent3"/>
            </a:lnRef>
            <a:fillRef idx="2">
              <a:schemeClr val="accent3"/>
            </a:fillRef>
            <a:effectRef idx="1">
              <a:schemeClr val="accent3"/>
            </a:effectRef>
            <a:fontRef idx="minor">
              <a:schemeClr val="dk1"/>
            </a:fontRef>
          </p:style>
        </p:cxnSp>
        <p:cxnSp>
          <p:nvCxnSpPr>
            <p:cNvPr id="193" name="Straight Connector 192"/>
            <p:cNvCxnSpPr>
              <a:endCxn id="181" idx="0"/>
            </p:cNvCxnSpPr>
            <p:nvPr/>
          </p:nvCxnSpPr>
          <p:spPr>
            <a:xfrm>
              <a:off x="4648200" y="1600198"/>
              <a:ext cx="2095500" cy="533399"/>
            </a:xfrm>
            <a:prstGeom prst="line">
              <a:avLst/>
            </a:prstGeom>
          </p:spPr>
          <p:style>
            <a:lnRef idx="1">
              <a:schemeClr val="accent3"/>
            </a:lnRef>
            <a:fillRef idx="0">
              <a:schemeClr val="accent3"/>
            </a:fillRef>
            <a:effectRef idx="0">
              <a:schemeClr val="accent3"/>
            </a:effectRef>
            <a:fontRef idx="minor">
              <a:schemeClr val="tx1"/>
            </a:fontRef>
          </p:style>
        </p:cxnSp>
        <p:cxnSp>
          <p:nvCxnSpPr>
            <p:cNvPr id="194" name="Straight Connector 193"/>
            <p:cNvCxnSpPr/>
            <p:nvPr/>
          </p:nvCxnSpPr>
          <p:spPr>
            <a:xfrm rot="10800000" flipV="1">
              <a:off x="2743200" y="1600198"/>
              <a:ext cx="1905000" cy="457199"/>
            </a:xfrm>
            <a:prstGeom prst="line">
              <a:avLst/>
            </a:prstGeom>
          </p:spPr>
          <p:style>
            <a:lnRef idx="1">
              <a:schemeClr val="accent3"/>
            </a:lnRef>
            <a:fillRef idx="0">
              <a:schemeClr val="accent3"/>
            </a:fillRef>
            <a:effectRef idx="0">
              <a:schemeClr val="accent3"/>
            </a:effectRef>
            <a:fontRef idx="minor">
              <a:schemeClr val="tx1"/>
            </a:fontRef>
          </p:style>
        </p:cxnSp>
        <p:sp>
          <p:nvSpPr>
            <p:cNvPr id="195" name="Rectangle 194"/>
            <p:cNvSpPr/>
            <p:nvPr/>
          </p:nvSpPr>
          <p:spPr>
            <a:xfrm>
              <a:off x="990599" y="4724398"/>
              <a:ext cx="381001" cy="1219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196" name="Rectangle 195"/>
            <p:cNvSpPr/>
            <p:nvPr/>
          </p:nvSpPr>
          <p:spPr>
            <a:xfrm>
              <a:off x="990599" y="47243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197" name="Rectangle 196"/>
            <p:cNvSpPr/>
            <p:nvPr/>
          </p:nvSpPr>
          <p:spPr>
            <a:xfrm>
              <a:off x="990599" y="48767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198" name="Rectangle 197"/>
            <p:cNvSpPr/>
            <p:nvPr/>
          </p:nvSpPr>
          <p:spPr>
            <a:xfrm>
              <a:off x="990599" y="57911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199" name="Rectangle 198"/>
            <p:cNvSpPr/>
            <p:nvPr/>
          </p:nvSpPr>
          <p:spPr>
            <a:xfrm>
              <a:off x="1523999" y="4724398"/>
              <a:ext cx="381001" cy="1219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00" name="Rectangle 199"/>
            <p:cNvSpPr/>
            <p:nvPr/>
          </p:nvSpPr>
          <p:spPr>
            <a:xfrm>
              <a:off x="1523999" y="47243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01" name="Rectangle 200"/>
            <p:cNvSpPr/>
            <p:nvPr/>
          </p:nvSpPr>
          <p:spPr>
            <a:xfrm>
              <a:off x="1523999" y="48767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02" name="Rectangle 201"/>
            <p:cNvSpPr/>
            <p:nvPr/>
          </p:nvSpPr>
          <p:spPr>
            <a:xfrm>
              <a:off x="1523999" y="57911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203" name="TextBox 202"/>
            <p:cNvSpPr txBox="1"/>
            <p:nvPr/>
          </p:nvSpPr>
          <p:spPr>
            <a:xfrm>
              <a:off x="3124200" y="6019798"/>
              <a:ext cx="2514601" cy="304365"/>
            </a:xfrm>
            <a:prstGeom prst="rect">
              <a:avLst/>
            </a:prstGeom>
            <a:noFill/>
          </p:spPr>
          <p:txBody>
            <a:bodyPr wrap="square" rtlCol="0">
              <a:spAutoFit/>
            </a:bodyPr>
            <a:lstStyle/>
            <a:p>
              <a:pPr defTabSz="914001"/>
              <a:endParaRPr lang="en-US" sz="800" dirty="0">
                <a:solidFill>
                  <a:srgbClr val="FFFFFF"/>
                </a:solidFill>
              </a:endParaRPr>
            </a:p>
          </p:txBody>
        </p:sp>
        <p:sp>
          <p:nvSpPr>
            <p:cNvPr id="204" name="Rectangle 203"/>
            <p:cNvSpPr/>
            <p:nvPr/>
          </p:nvSpPr>
          <p:spPr>
            <a:xfrm>
              <a:off x="1981200" y="4724398"/>
              <a:ext cx="381001" cy="1219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05" name="Rectangle 204"/>
            <p:cNvSpPr/>
            <p:nvPr/>
          </p:nvSpPr>
          <p:spPr>
            <a:xfrm>
              <a:off x="1981200" y="47243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06" name="Rectangle 205"/>
            <p:cNvSpPr/>
            <p:nvPr/>
          </p:nvSpPr>
          <p:spPr>
            <a:xfrm>
              <a:off x="1981200" y="48767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07" name="Rectangle 206"/>
            <p:cNvSpPr/>
            <p:nvPr/>
          </p:nvSpPr>
          <p:spPr>
            <a:xfrm>
              <a:off x="1981200" y="57911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cxnSp>
          <p:nvCxnSpPr>
            <p:cNvPr id="208" name="Straight Connector 207"/>
            <p:cNvCxnSpPr>
              <a:stCxn id="205" idx="0"/>
            </p:cNvCxnSpPr>
            <p:nvPr/>
          </p:nvCxnSpPr>
          <p:spPr>
            <a:xfrm rot="5400000" flipH="1" flipV="1">
              <a:off x="1981200" y="4000499"/>
              <a:ext cx="914400" cy="533400"/>
            </a:xfrm>
            <a:prstGeom prst="line">
              <a:avLst/>
            </a:prstGeom>
          </p:spPr>
          <p:style>
            <a:lnRef idx="1">
              <a:schemeClr val="accent3"/>
            </a:lnRef>
            <a:fillRef idx="2">
              <a:schemeClr val="accent3"/>
            </a:fillRef>
            <a:effectRef idx="1">
              <a:schemeClr val="accent3"/>
            </a:effectRef>
            <a:fontRef idx="minor">
              <a:schemeClr val="dk1"/>
            </a:fontRef>
          </p:style>
        </p:cxnSp>
        <p:cxnSp>
          <p:nvCxnSpPr>
            <p:cNvPr id="209" name="Straight Connector 208"/>
            <p:cNvCxnSpPr/>
            <p:nvPr/>
          </p:nvCxnSpPr>
          <p:spPr>
            <a:xfrm rot="5400000" flipH="1" flipV="1">
              <a:off x="2152649" y="4171949"/>
              <a:ext cx="914400" cy="190500"/>
            </a:xfrm>
            <a:prstGeom prst="line">
              <a:avLst/>
            </a:prstGeom>
          </p:spPr>
          <p:style>
            <a:lnRef idx="1">
              <a:schemeClr val="accent3"/>
            </a:lnRef>
            <a:fillRef idx="2">
              <a:schemeClr val="accent3"/>
            </a:fillRef>
            <a:effectRef idx="1">
              <a:schemeClr val="accent3"/>
            </a:effectRef>
            <a:fontRef idx="minor">
              <a:schemeClr val="dk1"/>
            </a:fontRef>
          </p:style>
        </p:cxnSp>
        <p:cxnSp>
          <p:nvCxnSpPr>
            <p:cNvPr id="210" name="Straight Connector 209"/>
            <p:cNvCxnSpPr>
              <a:stCxn id="217" idx="0"/>
            </p:cNvCxnSpPr>
            <p:nvPr/>
          </p:nvCxnSpPr>
          <p:spPr>
            <a:xfrm rot="16200000" flipV="1">
              <a:off x="2476500" y="4038599"/>
              <a:ext cx="914400" cy="457201"/>
            </a:xfrm>
            <a:prstGeom prst="line">
              <a:avLst/>
            </a:prstGeom>
          </p:spPr>
          <p:style>
            <a:lnRef idx="1">
              <a:schemeClr val="accent3"/>
            </a:lnRef>
            <a:fillRef idx="2">
              <a:schemeClr val="accent3"/>
            </a:fillRef>
            <a:effectRef idx="1">
              <a:schemeClr val="accent3"/>
            </a:effectRef>
            <a:fontRef idx="minor">
              <a:schemeClr val="dk1"/>
            </a:fontRef>
          </p:style>
        </p:cxnSp>
        <p:cxnSp>
          <p:nvCxnSpPr>
            <p:cNvPr id="211" name="Straight Connector 210"/>
            <p:cNvCxnSpPr/>
            <p:nvPr/>
          </p:nvCxnSpPr>
          <p:spPr>
            <a:xfrm rot="16200000" flipV="1">
              <a:off x="2343151" y="4171949"/>
              <a:ext cx="914400" cy="190500"/>
            </a:xfrm>
            <a:prstGeom prst="line">
              <a:avLst/>
            </a:prstGeom>
          </p:spPr>
          <p:style>
            <a:lnRef idx="1">
              <a:schemeClr val="accent3"/>
            </a:lnRef>
            <a:fillRef idx="2">
              <a:schemeClr val="accent3"/>
            </a:fillRef>
            <a:effectRef idx="1">
              <a:schemeClr val="accent3"/>
            </a:effectRef>
            <a:fontRef idx="minor">
              <a:schemeClr val="dk1"/>
            </a:fontRef>
          </p:style>
        </p:cxnSp>
        <p:sp>
          <p:nvSpPr>
            <p:cNvPr id="212" name="Rectangle 211"/>
            <p:cNvSpPr/>
            <p:nvPr/>
          </p:nvSpPr>
          <p:spPr>
            <a:xfrm>
              <a:off x="2438401" y="4724398"/>
              <a:ext cx="381001" cy="1219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13" name="Rectangle 212"/>
            <p:cNvSpPr/>
            <p:nvPr/>
          </p:nvSpPr>
          <p:spPr>
            <a:xfrm>
              <a:off x="2438401" y="47243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14" name="Rectangle 213"/>
            <p:cNvSpPr/>
            <p:nvPr/>
          </p:nvSpPr>
          <p:spPr>
            <a:xfrm>
              <a:off x="2438401" y="48767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15" name="Rectangle 214"/>
            <p:cNvSpPr/>
            <p:nvPr/>
          </p:nvSpPr>
          <p:spPr>
            <a:xfrm>
              <a:off x="2438401" y="57911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216" name="Rectangle 215"/>
            <p:cNvSpPr/>
            <p:nvPr/>
          </p:nvSpPr>
          <p:spPr>
            <a:xfrm>
              <a:off x="2971799" y="4724398"/>
              <a:ext cx="381001" cy="1219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17" name="Rectangle 216"/>
            <p:cNvSpPr/>
            <p:nvPr/>
          </p:nvSpPr>
          <p:spPr>
            <a:xfrm>
              <a:off x="2971799" y="47243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18" name="Rectangle 217"/>
            <p:cNvSpPr/>
            <p:nvPr/>
          </p:nvSpPr>
          <p:spPr>
            <a:xfrm>
              <a:off x="2971799" y="48767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19" name="Rectangle 218"/>
            <p:cNvSpPr/>
            <p:nvPr/>
          </p:nvSpPr>
          <p:spPr>
            <a:xfrm>
              <a:off x="2971799" y="5791198"/>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220" name="Rectangle 219"/>
            <p:cNvSpPr/>
            <p:nvPr/>
          </p:nvSpPr>
          <p:spPr>
            <a:xfrm>
              <a:off x="3429000" y="4724399"/>
              <a:ext cx="381001" cy="1219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21" name="Rectangle 220"/>
            <p:cNvSpPr/>
            <p:nvPr/>
          </p:nvSpPr>
          <p:spPr>
            <a:xfrm>
              <a:off x="3429000" y="47243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22" name="Rectangle 221"/>
            <p:cNvSpPr/>
            <p:nvPr/>
          </p:nvSpPr>
          <p:spPr>
            <a:xfrm>
              <a:off x="3429000" y="48767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23" name="Rectangle 222"/>
            <p:cNvSpPr/>
            <p:nvPr/>
          </p:nvSpPr>
          <p:spPr>
            <a:xfrm>
              <a:off x="3429000" y="5791199"/>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cxnSp>
          <p:nvCxnSpPr>
            <p:cNvPr id="224" name="Straight Connector 223"/>
            <p:cNvCxnSpPr>
              <a:stCxn id="221" idx="0"/>
              <a:endCxn id="132" idx="2"/>
            </p:cNvCxnSpPr>
            <p:nvPr/>
          </p:nvCxnSpPr>
          <p:spPr>
            <a:xfrm rot="5400000" flipH="1" flipV="1">
              <a:off x="3352800" y="4076699"/>
              <a:ext cx="914401" cy="381001"/>
            </a:xfrm>
            <a:prstGeom prst="line">
              <a:avLst/>
            </a:prstGeom>
          </p:spPr>
          <p:style>
            <a:lnRef idx="1">
              <a:schemeClr val="accent3"/>
            </a:lnRef>
            <a:fillRef idx="2">
              <a:schemeClr val="accent3"/>
            </a:fillRef>
            <a:effectRef idx="1">
              <a:schemeClr val="accent3"/>
            </a:effectRef>
            <a:fontRef idx="minor">
              <a:schemeClr val="dk1"/>
            </a:fontRef>
          </p:style>
        </p:cxnSp>
        <p:cxnSp>
          <p:nvCxnSpPr>
            <p:cNvPr id="225" name="Straight Connector 224"/>
            <p:cNvCxnSpPr>
              <a:endCxn id="132" idx="2"/>
            </p:cNvCxnSpPr>
            <p:nvPr/>
          </p:nvCxnSpPr>
          <p:spPr>
            <a:xfrm rot="5400000" flipH="1" flipV="1">
              <a:off x="3524251" y="4248150"/>
              <a:ext cx="914401" cy="38100"/>
            </a:xfrm>
            <a:prstGeom prst="line">
              <a:avLst/>
            </a:prstGeom>
          </p:spPr>
          <p:style>
            <a:lnRef idx="1">
              <a:schemeClr val="accent3"/>
            </a:lnRef>
            <a:fillRef idx="2">
              <a:schemeClr val="accent3"/>
            </a:fillRef>
            <a:effectRef idx="1">
              <a:schemeClr val="accent3"/>
            </a:effectRef>
            <a:fontRef idx="minor">
              <a:schemeClr val="dk1"/>
            </a:fontRef>
          </p:style>
        </p:cxnSp>
        <p:cxnSp>
          <p:nvCxnSpPr>
            <p:cNvPr id="226" name="Straight Connector 225"/>
            <p:cNvCxnSpPr>
              <a:stCxn id="233" idx="0"/>
              <a:endCxn id="132" idx="2"/>
            </p:cNvCxnSpPr>
            <p:nvPr/>
          </p:nvCxnSpPr>
          <p:spPr>
            <a:xfrm rot="16200000" flipV="1">
              <a:off x="3848100" y="3962400"/>
              <a:ext cx="914402" cy="609600"/>
            </a:xfrm>
            <a:prstGeom prst="line">
              <a:avLst/>
            </a:prstGeom>
          </p:spPr>
          <p:style>
            <a:lnRef idx="1">
              <a:schemeClr val="accent3"/>
            </a:lnRef>
            <a:fillRef idx="2">
              <a:schemeClr val="accent3"/>
            </a:fillRef>
            <a:effectRef idx="1">
              <a:schemeClr val="accent3"/>
            </a:effectRef>
            <a:fontRef idx="minor">
              <a:schemeClr val="dk1"/>
            </a:fontRef>
          </p:style>
        </p:cxnSp>
        <p:cxnSp>
          <p:nvCxnSpPr>
            <p:cNvPr id="227" name="Straight Connector 226"/>
            <p:cNvCxnSpPr>
              <a:endCxn id="132" idx="2"/>
            </p:cNvCxnSpPr>
            <p:nvPr/>
          </p:nvCxnSpPr>
          <p:spPr>
            <a:xfrm rot="16200000" flipV="1">
              <a:off x="3714751" y="4095750"/>
              <a:ext cx="914402" cy="342901"/>
            </a:xfrm>
            <a:prstGeom prst="line">
              <a:avLst/>
            </a:prstGeom>
          </p:spPr>
          <p:style>
            <a:lnRef idx="1">
              <a:schemeClr val="accent3"/>
            </a:lnRef>
            <a:fillRef idx="2">
              <a:schemeClr val="accent3"/>
            </a:fillRef>
            <a:effectRef idx="1">
              <a:schemeClr val="accent3"/>
            </a:effectRef>
            <a:fontRef idx="minor">
              <a:schemeClr val="dk1"/>
            </a:fontRef>
          </p:style>
        </p:cxnSp>
        <p:sp>
          <p:nvSpPr>
            <p:cNvPr id="228" name="Rectangle 227"/>
            <p:cNvSpPr/>
            <p:nvPr/>
          </p:nvSpPr>
          <p:spPr>
            <a:xfrm>
              <a:off x="3886200" y="4724400"/>
              <a:ext cx="381001" cy="1219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29" name="Rectangle 228"/>
            <p:cNvSpPr/>
            <p:nvPr/>
          </p:nvSpPr>
          <p:spPr>
            <a:xfrm>
              <a:off x="3886200" y="4724400"/>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30" name="Rectangle 229"/>
            <p:cNvSpPr/>
            <p:nvPr/>
          </p:nvSpPr>
          <p:spPr>
            <a:xfrm>
              <a:off x="3886200" y="4876800"/>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31" name="Rectangle 230"/>
            <p:cNvSpPr/>
            <p:nvPr/>
          </p:nvSpPr>
          <p:spPr>
            <a:xfrm>
              <a:off x="3886200" y="5791201"/>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232" name="Rectangle 231"/>
            <p:cNvSpPr/>
            <p:nvPr/>
          </p:nvSpPr>
          <p:spPr>
            <a:xfrm>
              <a:off x="4419601" y="4724400"/>
              <a:ext cx="381001" cy="1219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33" name="Rectangle 232"/>
            <p:cNvSpPr/>
            <p:nvPr/>
          </p:nvSpPr>
          <p:spPr>
            <a:xfrm>
              <a:off x="4419601" y="4724400"/>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34" name="Rectangle 233"/>
            <p:cNvSpPr/>
            <p:nvPr/>
          </p:nvSpPr>
          <p:spPr>
            <a:xfrm>
              <a:off x="4419601" y="4876800"/>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35" name="Rectangle 234"/>
            <p:cNvSpPr/>
            <p:nvPr/>
          </p:nvSpPr>
          <p:spPr>
            <a:xfrm>
              <a:off x="4419601" y="5791201"/>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236" name="Rectangle 235"/>
            <p:cNvSpPr/>
            <p:nvPr/>
          </p:nvSpPr>
          <p:spPr>
            <a:xfrm>
              <a:off x="4876801" y="4724400"/>
              <a:ext cx="381001" cy="121919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37" name="Rectangle 236"/>
            <p:cNvSpPr/>
            <p:nvPr/>
          </p:nvSpPr>
          <p:spPr>
            <a:xfrm>
              <a:off x="4876801" y="4724400"/>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38" name="Rectangle 237"/>
            <p:cNvSpPr/>
            <p:nvPr/>
          </p:nvSpPr>
          <p:spPr>
            <a:xfrm>
              <a:off x="4876801" y="4876800"/>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39" name="Rectangle 238"/>
            <p:cNvSpPr/>
            <p:nvPr/>
          </p:nvSpPr>
          <p:spPr>
            <a:xfrm>
              <a:off x="4876801" y="5791201"/>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cxnSp>
          <p:nvCxnSpPr>
            <p:cNvPr id="240" name="Straight Connector 239"/>
            <p:cNvCxnSpPr>
              <a:stCxn id="237" idx="0"/>
              <a:endCxn id="138" idx="2"/>
            </p:cNvCxnSpPr>
            <p:nvPr/>
          </p:nvCxnSpPr>
          <p:spPr>
            <a:xfrm rot="5400000" flipH="1" flipV="1">
              <a:off x="4762501" y="4114801"/>
              <a:ext cx="914402" cy="304799"/>
            </a:xfrm>
            <a:prstGeom prst="line">
              <a:avLst/>
            </a:prstGeom>
          </p:spPr>
          <p:style>
            <a:lnRef idx="1">
              <a:schemeClr val="accent3"/>
            </a:lnRef>
            <a:fillRef idx="2">
              <a:schemeClr val="accent3"/>
            </a:fillRef>
            <a:effectRef idx="1">
              <a:schemeClr val="accent3"/>
            </a:effectRef>
            <a:fontRef idx="minor">
              <a:schemeClr val="dk1"/>
            </a:fontRef>
          </p:style>
        </p:cxnSp>
        <p:cxnSp>
          <p:nvCxnSpPr>
            <p:cNvPr id="241" name="Straight Connector 240"/>
            <p:cNvCxnSpPr>
              <a:endCxn id="138" idx="2"/>
            </p:cNvCxnSpPr>
            <p:nvPr/>
          </p:nvCxnSpPr>
          <p:spPr>
            <a:xfrm rot="16200000" flipV="1">
              <a:off x="4933951" y="4248152"/>
              <a:ext cx="914402" cy="38100"/>
            </a:xfrm>
            <a:prstGeom prst="line">
              <a:avLst/>
            </a:prstGeom>
          </p:spPr>
          <p:style>
            <a:lnRef idx="1">
              <a:schemeClr val="accent3"/>
            </a:lnRef>
            <a:fillRef idx="2">
              <a:schemeClr val="accent3"/>
            </a:fillRef>
            <a:effectRef idx="1">
              <a:schemeClr val="accent3"/>
            </a:effectRef>
            <a:fontRef idx="minor">
              <a:schemeClr val="dk1"/>
            </a:fontRef>
          </p:style>
        </p:cxnSp>
        <p:cxnSp>
          <p:nvCxnSpPr>
            <p:cNvPr id="242" name="Straight Connector 241"/>
            <p:cNvCxnSpPr>
              <a:stCxn id="249" idx="0"/>
              <a:endCxn id="138" idx="2"/>
            </p:cNvCxnSpPr>
            <p:nvPr/>
          </p:nvCxnSpPr>
          <p:spPr>
            <a:xfrm rot="16200000" flipV="1">
              <a:off x="5257800" y="3924302"/>
              <a:ext cx="914402" cy="685800"/>
            </a:xfrm>
            <a:prstGeom prst="line">
              <a:avLst/>
            </a:prstGeom>
          </p:spPr>
          <p:style>
            <a:lnRef idx="1">
              <a:schemeClr val="accent3"/>
            </a:lnRef>
            <a:fillRef idx="2">
              <a:schemeClr val="accent3"/>
            </a:fillRef>
            <a:effectRef idx="1">
              <a:schemeClr val="accent3"/>
            </a:effectRef>
            <a:fontRef idx="minor">
              <a:schemeClr val="dk1"/>
            </a:fontRef>
          </p:style>
        </p:cxnSp>
        <p:cxnSp>
          <p:nvCxnSpPr>
            <p:cNvPr id="243" name="Straight Connector 242"/>
            <p:cNvCxnSpPr>
              <a:endCxn id="138" idx="2"/>
            </p:cNvCxnSpPr>
            <p:nvPr/>
          </p:nvCxnSpPr>
          <p:spPr>
            <a:xfrm rot="16200000" flipV="1">
              <a:off x="5124450" y="4057652"/>
              <a:ext cx="914400" cy="419101"/>
            </a:xfrm>
            <a:prstGeom prst="line">
              <a:avLst/>
            </a:prstGeom>
          </p:spPr>
          <p:style>
            <a:lnRef idx="1">
              <a:schemeClr val="accent3"/>
            </a:lnRef>
            <a:fillRef idx="2">
              <a:schemeClr val="accent3"/>
            </a:fillRef>
            <a:effectRef idx="1">
              <a:schemeClr val="accent3"/>
            </a:effectRef>
            <a:fontRef idx="minor">
              <a:schemeClr val="dk1"/>
            </a:fontRef>
          </p:style>
        </p:cxnSp>
        <p:sp>
          <p:nvSpPr>
            <p:cNvPr id="244" name="Rectangle 243"/>
            <p:cNvSpPr/>
            <p:nvPr/>
          </p:nvSpPr>
          <p:spPr>
            <a:xfrm>
              <a:off x="5334000" y="4724402"/>
              <a:ext cx="381001" cy="12192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45" name="Rectangle 244"/>
            <p:cNvSpPr/>
            <p:nvPr/>
          </p:nvSpPr>
          <p:spPr>
            <a:xfrm>
              <a:off x="5334000" y="4724402"/>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46" name="Rectangle 245"/>
            <p:cNvSpPr/>
            <p:nvPr/>
          </p:nvSpPr>
          <p:spPr>
            <a:xfrm>
              <a:off x="5334000" y="4876803"/>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47" name="Rectangle 246"/>
            <p:cNvSpPr/>
            <p:nvPr/>
          </p:nvSpPr>
          <p:spPr>
            <a:xfrm>
              <a:off x="5334000" y="5791203"/>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248" name="Rectangle 247"/>
            <p:cNvSpPr/>
            <p:nvPr/>
          </p:nvSpPr>
          <p:spPr>
            <a:xfrm>
              <a:off x="5867401" y="4724402"/>
              <a:ext cx="381001" cy="12192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49" name="Rectangle 248"/>
            <p:cNvSpPr/>
            <p:nvPr/>
          </p:nvSpPr>
          <p:spPr>
            <a:xfrm>
              <a:off x="5867401" y="4724402"/>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50" name="Rectangle 249"/>
            <p:cNvSpPr/>
            <p:nvPr/>
          </p:nvSpPr>
          <p:spPr>
            <a:xfrm>
              <a:off x="5867401" y="4876803"/>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51" name="Rectangle 250"/>
            <p:cNvSpPr/>
            <p:nvPr/>
          </p:nvSpPr>
          <p:spPr>
            <a:xfrm>
              <a:off x="5867401" y="5791205"/>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252" name="Rectangle 251"/>
            <p:cNvSpPr/>
            <p:nvPr/>
          </p:nvSpPr>
          <p:spPr>
            <a:xfrm>
              <a:off x="7391402" y="4724403"/>
              <a:ext cx="381001" cy="12192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53" name="Rectangle 252"/>
            <p:cNvSpPr/>
            <p:nvPr/>
          </p:nvSpPr>
          <p:spPr>
            <a:xfrm>
              <a:off x="7391402" y="4724403"/>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54" name="Rectangle 253"/>
            <p:cNvSpPr/>
            <p:nvPr/>
          </p:nvSpPr>
          <p:spPr>
            <a:xfrm>
              <a:off x="7391402" y="4876803"/>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55" name="Rectangle 254"/>
            <p:cNvSpPr/>
            <p:nvPr/>
          </p:nvSpPr>
          <p:spPr>
            <a:xfrm>
              <a:off x="7391402" y="5791204"/>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cxnSp>
          <p:nvCxnSpPr>
            <p:cNvPr id="256" name="Straight Connector 255"/>
            <p:cNvCxnSpPr>
              <a:stCxn id="253" idx="0"/>
            </p:cNvCxnSpPr>
            <p:nvPr/>
          </p:nvCxnSpPr>
          <p:spPr>
            <a:xfrm rot="5400000" flipH="1" flipV="1">
              <a:off x="7391401" y="4000504"/>
              <a:ext cx="914401" cy="533400"/>
            </a:xfrm>
            <a:prstGeom prst="line">
              <a:avLst/>
            </a:prstGeom>
          </p:spPr>
          <p:style>
            <a:lnRef idx="1">
              <a:schemeClr val="accent3"/>
            </a:lnRef>
            <a:fillRef idx="2">
              <a:schemeClr val="accent3"/>
            </a:fillRef>
            <a:effectRef idx="1">
              <a:schemeClr val="accent3"/>
            </a:effectRef>
            <a:fontRef idx="minor">
              <a:schemeClr val="dk1"/>
            </a:fontRef>
          </p:style>
        </p:cxnSp>
        <p:cxnSp>
          <p:nvCxnSpPr>
            <p:cNvPr id="257" name="Straight Connector 256"/>
            <p:cNvCxnSpPr/>
            <p:nvPr/>
          </p:nvCxnSpPr>
          <p:spPr>
            <a:xfrm rot="5400000" flipH="1" flipV="1">
              <a:off x="7562851" y="4171953"/>
              <a:ext cx="914401" cy="190500"/>
            </a:xfrm>
            <a:prstGeom prst="line">
              <a:avLst/>
            </a:prstGeom>
          </p:spPr>
          <p:style>
            <a:lnRef idx="1">
              <a:schemeClr val="accent3"/>
            </a:lnRef>
            <a:fillRef idx="2">
              <a:schemeClr val="accent3"/>
            </a:fillRef>
            <a:effectRef idx="1">
              <a:schemeClr val="accent3"/>
            </a:effectRef>
            <a:fontRef idx="minor">
              <a:schemeClr val="dk1"/>
            </a:fontRef>
          </p:style>
        </p:cxnSp>
        <p:cxnSp>
          <p:nvCxnSpPr>
            <p:cNvPr id="258" name="Straight Connector 257"/>
            <p:cNvCxnSpPr>
              <a:stCxn id="265" idx="0"/>
            </p:cNvCxnSpPr>
            <p:nvPr/>
          </p:nvCxnSpPr>
          <p:spPr>
            <a:xfrm rot="16200000" flipV="1">
              <a:off x="7886702" y="4038603"/>
              <a:ext cx="914401" cy="457201"/>
            </a:xfrm>
            <a:prstGeom prst="line">
              <a:avLst/>
            </a:prstGeom>
          </p:spPr>
          <p:style>
            <a:lnRef idx="1">
              <a:schemeClr val="accent3"/>
            </a:lnRef>
            <a:fillRef idx="2">
              <a:schemeClr val="accent3"/>
            </a:fillRef>
            <a:effectRef idx="1">
              <a:schemeClr val="accent3"/>
            </a:effectRef>
            <a:fontRef idx="minor">
              <a:schemeClr val="dk1"/>
            </a:fontRef>
          </p:style>
        </p:cxnSp>
        <p:cxnSp>
          <p:nvCxnSpPr>
            <p:cNvPr id="259" name="Straight Connector 258"/>
            <p:cNvCxnSpPr/>
            <p:nvPr/>
          </p:nvCxnSpPr>
          <p:spPr>
            <a:xfrm rot="16200000" flipV="1">
              <a:off x="7753352" y="4171952"/>
              <a:ext cx="914400" cy="190500"/>
            </a:xfrm>
            <a:prstGeom prst="line">
              <a:avLst/>
            </a:prstGeom>
          </p:spPr>
          <p:style>
            <a:lnRef idx="1">
              <a:schemeClr val="accent3"/>
            </a:lnRef>
            <a:fillRef idx="2">
              <a:schemeClr val="accent3"/>
            </a:fillRef>
            <a:effectRef idx="1">
              <a:schemeClr val="accent3"/>
            </a:effectRef>
            <a:fontRef idx="minor">
              <a:schemeClr val="dk1"/>
            </a:fontRef>
          </p:style>
        </p:cxnSp>
        <p:sp>
          <p:nvSpPr>
            <p:cNvPr id="260" name="Rectangle 259"/>
            <p:cNvSpPr/>
            <p:nvPr/>
          </p:nvSpPr>
          <p:spPr>
            <a:xfrm>
              <a:off x="7848601" y="4724402"/>
              <a:ext cx="381001" cy="12192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61" name="Rectangle 260"/>
            <p:cNvSpPr/>
            <p:nvPr/>
          </p:nvSpPr>
          <p:spPr>
            <a:xfrm>
              <a:off x="7848601" y="4724402"/>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62" name="Rectangle 261"/>
            <p:cNvSpPr/>
            <p:nvPr/>
          </p:nvSpPr>
          <p:spPr>
            <a:xfrm>
              <a:off x="7848601" y="4876802"/>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63" name="Rectangle 262"/>
            <p:cNvSpPr/>
            <p:nvPr/>
          </p:nvSpPr>
          <p:spPr>
            <a:xfrm>
              <a:off x="7848601" y="5791202"/>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264" name="Rectangle 263"/>
            <p:cNvSpPr/>
            <p:nvPr/>
          </p:nvSpPr>
          <p:spPr>
            <a:xfrm>
              <a:off x="8382001" y="4724402"/>
              <a:ext cx="381001" cy="12192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40 Nodes</a:t>
              </a:r>
            </a:p>
          </p:txBody>
        </p:sp>
        <p:sp>
          <p:nvSpPr>
            <p:cNvPr id="265" name="Rectangle 264"/>
            <p:cNvSpPr/>
            <p:nvPr/>
          </p:nvSpPr>
          <p:spPr>
            <a:xfrm>
              <a:off x="8382001" y="4724402"/>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TOR</a:t>
              </a:r>
            </a:p>
          </p:txBody>
        </p:sp>
        <p:sp>
          <p:nvSpPr>
            <p:cNvPr id="266" name="Rectangle 265"/>
            <p:cNvSpPr/>
            <p:nvPr/>
          </p:nvSpPr>
          <p:spPr>
            <a:xfrm>
              <a:off x="8382001" y="4876802"/>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err="1">
                  <a:solidFill>
                    <a:srgbClr val="000000"/>
                  </a:solidFill>
                </a:rPr>
                <a:t>Digi</a:t>
              </a:r>
              <a:endParaRPr lang="en-US" sz="100" dirty="0">
                <a:solidFill>
                  <a:srgbClr val="000000"/>
                </a:solidFill>
              </a:endParaRPr>
            </a:p>
          </p:txBody>
        </p:sp>
        <p:sp>
          <p:nvSpPr>
            <p:cNvPr id="267" name="Rectangle 266"/>
            <p:cNvSpPr/>
            <p:nvPr/>
          </p:nvSpPr>
          <p:spPr>
            <a:xfrm>
              <a:off x="8382001" y="5791204"/>
              <a:ext cx="381001" cy="152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001"/>
              <a:r>
                <a:rPr lang="en-US" sz="100" dirty="0">
                  <a:solidFill>
                    <a:srgbClr val="000000"/>
                  </a:solidFill>
                </a:rPr>
                <a:t>APC</a:t>
              </a:r>
            </a:p>
          </p:txBody>
        </p:sp>
        <p:sp>
          <p:nvSpPr>
            <p:cNvPr id="268" name="TextBox 267"/>
            <p:cNvSpPr txBox="1"/>
            <p:nvPr/>
          </p:nvSpPr>
          <p:spPr>
            <a:xfrm>
              <a:off x="6629400" y="5029202"/>
              <a:ext cx="457201" cy="304365"/>
            </a:xfrm>
            <a:prstGeom prst="rect">
              <a:avLst/>
            </a:prstGeom>
            <a:noFill/>
          </p:spPr>
          <p:txBody>
            <a:bodyPr wrap="square" rtlCol="0">
              <a:spAutoFit/>
            </a:bodyPr>
            <a:lstStyle/>
            <a:p>
              <a:pPr defTabSz="914001"/>
              <a:r>
                <a:rPr lang="en-US" sz="800" dirty="0">
                  <a:solidFill>
                    <a:srgbClr val="FFFFFF"/>
                  </a:solidFill>
                </a:rPr>
                <a:t>…</a:t>
              </a:r>
            </a:p>
          </p:txBody>
        </p:sp>
        <p:sp>
          <p:nvSpPr>
            <p:cNvPr id="269" name="TextBox 268"/>
            <p:cNvSpPr txBox="1"/>
            <p:nvPr/>
          </p:nvSpPr>
          <p:spPr>
            <a:xfrm>
              <a:off x="4190999" y="5105404"/>
              <a:ext cx="609600" cy="304365"/>
            </a:xfrm>
            <a:prstGeom prst="rect">
              <a:avLst/>
            </a:prstGeom>
            <a:noFill/>
          </p:spPr>
          <p:txBody>
            <a:bodyPr wrap="square" rtlCol="0">
              <a:spAutoFit/>
            </a:bodyPr>
            <a:lstStyle/>
            <a:p>
              <a:pPr defTabSz="914001"/>
              <a:r>
                <a:rPr lang="en-US" sz="800" dirty="0">
                  <a:solidFill>
                    <a:srgbClr val="FFFFFF"/>
                  </a:solidFill>
                </a:rPr>
                <a:t>…</a:t>
              </a:r>
            </a:p>
          </p:txBody>
        </p:sp>
        <p:sp>
          <p:nvSpPr>
            <p:cNvPr id="271" name="TextBox 270"/>
            <p:cNvSpPr txBox="1"/>
            <p:nvPr/>
          </p:nvSpPr>
          <p:spPr>
            <a:xfrm>
              <a:off x="2285999" y="4419604"/>
              <a:ext cx="762000" cy="171978"/>
            </a:xfrm>
            <a:prstGeom prst="rect">
              <a:avLst/>
            </a:prstGeom>
            <a:noFill/>
          </p:spPr>
          <p:txBody>
            <a:bodyPr wrap="square" rtlCol="0">
              <a:spAutoFit/>
            </a:bodyPr>
            <a:lstStyle/>
            <a:p>
              <a:pPr defTabSz="914001"/>
              <a:r>
                <a:rPr lang="en-US" sz="200" dirty="0">
                  <a:solidFill>
                    <a:srgbClr val="FFFFFF"/>
                  </a:solidFill>
                </a:rPr>
                <a:t>20Racks</a:t>
              </a:r>
            </a:p>
          </p:txBody>
        </p:sp>
        <p:sp>
          <p:nvSpPr>
            <p:cNvPr id="272" name="TextBox 271"/>
            <p:cNvSpPr txBox="1"/>
            <p:nvPr/>
          </p:nvSpPr>
          <p:spPr>
            <a:xfrm>
              <a:off x="5181601" y="4419604"/>
              <a:ext cx="762000" cy="171978"/>
            </a:xfrm>
            <a:prstGeom prst="rect">
              <a:avLst/>
            </a:prstGeom>
            <a:noFill/>
          </p:spPr>
          <p:txBody>
            <a:bodyPr wrap="square" rtlCol="0">
              <a:spAutoFit/>
            </a:bodyPr>
            <a:lstStyle/>
            <a:p>
              <a:pPr defTabSz="914001"/>
              <a:r>
                <a:rPr lang="en-US" sz="200" dirty="0">
                  <a:solidFill>
                    <a:srgbClr val="FFFFFF"/>
                  </a:solidFill>
                </a:rPr>
                <a:t>20Racks</a:t>
              </a:r>
            </a:p>
          </p:txBody>
        </p:sp>
        <p:sp>
          <p:nvSpPr>
            <p:cNvPr id="273" name="TextBox 272"/>
            <p:cNvSpPr txBox="1"/>
            <p:nvPr/>
          </p:nvSpPr>
          <p:spPr>
            <a:xfrm>
              <a:off x="7772401" y="4419601"/>
              <a:ext cx="762000" cy="171978"/>
            </a:xfrm>
            <a:prstGeom prst="rect">
              <a:avLst/>
            </a:prstGeom>
            <a:noFill/>
          </p:spPr>
          <p:txBody>
            <a:bodyPr wrap="square" rtlCol="0">
              <a:spAutoFit/>
            </a:bodyPr>
            <a:lstStyle/>
            <a:p>
              <a:pPr defTabSz="914001"/>
              <a:r>
                <a:rPr lang="en-US" sz="200" dirty="0">
                  <a:solidFill>
                    <a:srgbClr val="FFFFFF"/>
                  </a:solidFill>
                </a:rPr>
                <a:t>20Racks</a:t>
              </a:r>
            </a:p>
          </p:txBody>
        </p:sp>
        <p:sp>
          <p:nvSpPr>
            <p:cNvPr id="274" name="TextBox 273"/>
            <p:cNvSpPr txBox="1"/>
            <p:nvPr/>
          </p:nvSpPr>
          <p:spPr>
            <a:xfrm>
              <a:off x="5638801" y="5105401"/>
              <a:ext cx="762000" cy="304365"/>
            </a:xfrm>
            <a:prstGeom prst="rect">
              <a:avLst/>
            </a:prstGeom>
            <a:noFill/>
          </p:spPr>
          <p:txBody>
            <a:bodyPr wrap="square" rtlCol="0">
              <a:spAutoFit/>
            </a:bodyPr>
            <a:lstStyle/>
            <a:p>
              <a:pPr defTabSz="914001"/>
              <a:r>
                <a:rPr lang="en-US" sz="800" dirty="0">
                  <a:solidFill>
                    <a:srgbClr val="FFFFFF"/>
                  </a:solidFill>
                </a:rPr>
                <a:t>…</a:t>
              </a:r>
            </a:p>
          </p:txBody>
        </p:sp>
        <p:sp>
          <p:nvSpPr>
            <p:cNvPr id="275" name="TextBox 274"/>
            <p:cNvSpPr txBox="1"/>
            <p:nvPr/>
          </p:nvSpPr>
          <p:spPr>
            <a:xfrm>
              <a:off x="1295400" y="5105401"/>
              <a:ext cx="609600" cy="304365"/>
            </a:xfrm>
            <a:prstGeom prst="rect">
              <a:avLst/>
            </a:prstGeom>
            <a:noFill/>
          </p:spPr>
          <p:txBody>
            <a:bodyPr wrap="square" rtlCol="0">
              <a:spAutoFit/>
            </a:bodyPr>
            <a:lstStyle/>
            <a:p>
              <a:pPr defTabSz="914001"/>
              <a:r>
                <a:rPr lang="en-US" sz="800" dirty="0">
                  <a:solidFill>
                    <a:srgbClr val="FFFFFF"/>
                  </a:solidFill>
                </a:rPr>
                <a:t>…</a:t>
              </a:r>
            </a:p>
          </p:txBody>
        </p:sp>
        <p:sp>
          <p:nvSpPr>
            <p:cNvPr id="276" name="TextBox 275"/>
            <p:cNvSpPr txBox="1"/>
            <p:nvPr/>
          </p:nvSpPr>
          <p:spPr>
            <a:xfrm>
              <a:off x="2743200" y="5105404"/>
              <a:ext cx="762000" cy="304365"/>
            </a:xfrm>
            <a:prstGeom prst="rect">
              <a:avLst/>
            </a:prstGeom>
            <a:noFill/>
          </p:spPr>
          <p:txBody>
            <a:bodyPr wrap="square" rtlCol="0">
              <a:spAutoFit/>
            </a:bodyPr>
            <a:lstStyle/>
            <a:p>
              <a:pPr defTabSz="914001"/>
              <a:r>
                <a:rPr lang="en-US" sz="800" dirty="0">
                  <a:solidFill>
                    <a:srgbClr val="FFFFFF"/>
                  </a:solidFill>
                </a:rPr>
                <a:t>…</a:t>
              </a:r>
            </a:p>
          </p:txBody>
        </p:sp>
        <p:sp>
          <p:nvSpPr>
            <p:cNvPr id="277" name="TextBox 276"/>
            <p:cNvSpPr txBox="1"/>
            <p:nvPr/>
          </p:nvSpPr>
          <p:spPr>
            <a:xfrm>
              <a:off x="8153400" y="5105400"/>
              <a:ext cx="685800" cy="304365"/>
            </a:xfrm>
            <a:prstGeom prst="rect">
              <a:avLst/>
            </a:prstGeom>
            <a:noFill/>
          </p:spPr>
          <p:txBody>
            <a:bodyPr wrap="square" rtlCol="0">
              <a:spAutoFit/>
            </a:bodyPr>
            <a:lstStyle/>
            <a:p>
              <a:pPr defTabSz="914001"/>
              <a:r>
                <a:rPr lang="en-US" sz="800" dirty="0">
                  <a:solidFill>
                    <a:srgbClr val="FFFFFF"/>
                  </a:solidFill>
                </a:rPr>
                <a:t>…</a:t>
              </a:r>
            </a:p>
          </p:txBody>
        </p:sp>
      </p:grpSp>
    </p:spTree>
    <p:extLst>
      <p:ext uri="{BB962C8B-B14F-4D97-AF65-F5344CB8AC3E}">
        <p14:creationId xmlns:p14="http://schemas.microsoft.com/office/powerpoint/2010/main" val="36869644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5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427360" y="2470378"/>
            <a:ext cx="7334129" cy="4347495"/>
            <a:chOff x="4420923" y="2470374"/>
            <a:chExt cx="7332220" cy="4347494"/>
          </a:xfrm>
        </p:grpSpPr>
        <p:pic>
          <p:nvPicPr>
            <p:cNvPr id="1027" name="Picture 3" descr="C:\Users\Jonahs\Dropbox\Critical Resources\Helveticons Basic\Png\512x512\Cloud 512x512.png"/>
            <p:cNvPicPr>
              <a:picLocks noChangeAspect="1" noChangeArrowheads="1"/>
            </p:cNvPicPr>
            <p:nvPr/>
          </p:nvPicPr>
          <p:blipFill>
            <a:blip r:embed="rId3">
              <a:duotone>
                <a:prstClr val="black"/>
                <a:schemeClr val="bg1">
                  <a:lumMod val="50000"/>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05649" y="2470374"/>
              <a:ext cx="4347494" cy="4347494"/>
            </a:xfrm>
            <a:prstGeom prst="rect">
              <a:avLst/>
            </a:prstGeom>
            <a:noFill/>
            <a:extLst>
              <a:ext uri="{909E8E84-426E-40dd-AFC4-6F175D3DCCD1}">
                <a14:hiddenFill xmlns="" xmlns:a14="http://schemas.microsoft.com/office/drawing/2010/main">
                  <a:solidFill>
                    <a:srgbClr val="FFFFFF"/>
                  </a:solidFill>
                </a14:hiddenFill>
              </a:ext>
            </a:extLst>
          </p:spPr>
        </p:pic>
        <p:pic>
          <p:nvPicPr>
            <p:cNvPr id="34" name="Picture 3" descr="C:\Users\Jonahs\Dropbox\Critical Resources\Helveticons Basic\Png\512x512\Cloud 512x512.png"/>
            <p:cNvPicPr>
              <a:picLocks noChangeAspect="1" noChangeArrowheads="1"/>
            </p:cNvPicPr>
            <p:nvPr/>
          </p:nvPicPr>
          <p:blipFill>
            <a:blip r:embed="rId3">
              <a:duotone>
                <a:prstClr val="black"/>
                <a:schemeClr val="bg1">
                  <a:lumMod val="50000"/>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629985" y="3595997"/>
              <a:ext cx="2854135" cy="2854135"/>
            </a:xfrm>
            <a:prstGeom prst="rect">
              <a:avLst/>
            </a:prstGeom>
            <a:noFill/>
            <a:extLst>
              <a:ext uri="{909E8E84-426E-40dd-AFC4-6F175D3DCCD1}">
                <a14:hiddenFill xmlns="" xmlns:a14="http://schemas.microsoft.com/office/drawing/2010/main">
                  <a:solidFill>
                    <a:srgbClr val="FFFFFF"/>
                  </a:solidFill>
                </a14:hiddenFill>
              </a:ext>
            </a:extLst>
          </p:spPr>
        </p:pic>
        <p:pic>
          <p:nvPicPr>
            <p:cNvPr id="35" name="Picture 3" descr="C:\Users\Jonahs\Dropbox\Critical Resources\Helveticons Basic\Png\512x512\Cloud 512x512.png"/>
            <p:cNvPicPr>
              <a:picLocks noChangeAspect="1" noChangeArrowheads="1"/>
            </p:cNvPicPr>
            <p:nvPr/>
          </p:nvPicPr>
          <p:blipFill>
            <a:blip r:embed="rId5" cstate="print">
              <a:duotone>
                <a:prstClr val="black"/>
                <a:schemeClr val="bg1">
                  <a:lumMod val="50000"/>
                  <a:tint val="45000"/>
                  <a:satMod val="400000"/>
                </a:schemeClr>
              </a:duotone>
              <a:extLst>
                <a:ext uri="{BEBA8EAE-BF5A-486C-A8C5-ECC9F3942E4B}">
                  <a14:imgProps xmlns:a14="http://schemas.microsoft.com/office/drawing/2010/main">
                    <a14:imgLayer r:embed="rId6">
                      <a14:imgEffect>
                        <a14:colorTemperature colorTemp="11500"/>
                      </a14:imgEffect>
                      <a14:imgEffect>
                        <a14:saturation sat="135000"/>
                      </a14:imgEffect>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4420923" y="4403409"/>
              <a:ext cx="1803636" cy="1803636"/>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124" name="Rectangle 123"/>
          <p:cNvSpPr/>
          <p:nvPr/>
        </p:nvSpPr>
        <p:spPr>
          <a:xfrm>
            <a:off x="1701337" y="1404763"/>
            <a:ext cx="1618312" cy="640080"/>
          </a:xfrm>
          <a:prstGeom prst="rect">
            <a:avLst/>
          </a:prstGeom>
          <a:no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816" fontAlgn="base">
              <a:spcAft>
                <a:spcPct val="0"/>
              </a:spcAft>
            </a:pPr>
            <a:r>
              <a:rPr lang="en-US" sz="2000" dirty="0">
                <a:gradFill>
                  <a:gsLst>
                    <a:gs pos="0">
                      <a:srgbClr val="292929"/>
                    </a:gs>
                    <a:gs pos="100000">
                      <a:srgbClr val="292929"/>
                    </a:gs>
                  </a:gsLst>
                  <a:lin ang="5400000" scaled="0"/>
                </a:gradFill>
                <a:ea typeface="Kozuka Gothic Pro R" pitchFamily="34" charset="-128"/>
              </a:rPr>
              <a:t>Your Datacenter</a:t>
            </a:r>
          </a:p>
        </p:txBody>
      </p:sp>
      <p:sp>
        <p:nvSpPr>
          <p:cNvPr id="128" name="Rectangle 127"/>
          <p:cNvSpPr/>
          <p:nvPr/>
        </p:nvSpPr>
        <p:spPr>
          <a:xfrm>
            <a:off x="1680987" y="4409193"/>
            <a:ext cx="1638668" cy="381000"/>
          </a:xfrm>
          <a:prstGeom prst="rect">
            <a:avLst/>
          </a:prstGeom>
          <a:solidFill>
            <a:schemeClr val="tx2"/>
          </a:solidFill>
          <a:ln w="9525" cap="flat" cmpd="sng" algn="ctr">
            <a:noFill/>
            <a:prstDash val="solid"/>
          </a:ln>
          <a:effectLst/>
        </p:spPr>
        <p:txBody>
          <a:bodyPr lIns="91440" tIns="45721" rIns="9144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Virtualization</a:t>
            </a:r>
          </a:p>
        </p:txBody>
      </p:sp>
      <p:sp>
        <p:nvSpPr>
          <p:cNvPr id="129" name="Rectangle 128"/>
          <p:cNvSpPr/>
          <p:nvPr/>
        </p:nvSpPr>
        <p:spPr>
          <a:xfrm>
            <a:off x="1680987" y="3954375"/>
            <a:ext cx="1638668" cy="381000"/>
          </a:xfrm>
          <a:prstGeom prst="rect">
            <a:avLst/>
          </a:prstGeom>
          <a:solidFill>
            <a:schemeClr val="tx2"/>
          </a:solidFill>
          <a:ln w="9525" cap="flat" cmpd="sng" algn="ctr">
            <a:noFill/>
            <a:prstDash val="solid"/>
          </a:ln>
          <a:effectLst/>
        </p:spPr>
        <p:txBody>
          <a:bodyPr lIns="91440" tIns="45721" rIns="9144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O/S</a:t>
            </a:r>
          </a:p>
        </p:txBody>
      </p:sp>
      <p:sp>
        <p:nvSpPr>
          <p:cNvPr id="130" name="Rectangle 129"/>
          <p:cNvSpPr/>
          <p:nvPr/>
        </p:nvSpPr>
        <p:spPr>
          <a:xfrm>
            <a:off x="1680987" y="4864011"/>
            <a:ext cx="1638668" cy="381000"/>
          </a:xfrm>
          <a:prstGeom prst="rect">
            <a:avLst/>
          </a:prstGeom>
          <a:solidFill>
            <a:schemeClr val="tx2"/>
          </a:solidFill>
          <a:ln w="9525" cap="flat" cmpd="sng" algn="ctr">
            <a:noFill/>
            <a:prstDash val="solid"/>
          </a:ln>
          <a:effectLst/>
        </p:spPr>
        <p:txBody>
          <a:bodyPr lIns="91440" tIns="45721" rIns="9144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Hardware</a:t>
            </a:r>
          </a:p>
        </p:txBody>
      </p:sp>
      <p:sp>
        <p:nvSpPr>
          <p:cNvPr id="133" name="Rectangle 132"/>
          <p:cNvSpPr/>
          <p:nvPr/>
        </p:nvSpPr>
        <p:spPr>
          <a:xfrm>
            <a:off x="1680987" y="3499555"/>
            <a:ext cx="1638668" cy="381000"/>
          </a:xfrm>
          <a:prstGeom prst="rect">
            <a:avLst/>
          </a:prstGeom>
          <a:solidFill>
            <a:schemeClr val="tx2"/>
          </a:solidFill>
          <a:ln w="9525" cap="flat" cmpd="sng" algn="ctr">
            <a:noFill/>
            <a:prstDash val="solid"/>
          </a:ln>
          <a:effectLst/>
        </p:spPr>
        <p:txBody>
          <a:bodyPr lIns="0" tIns="45721" rIns="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Network</a:t>
            </a:r>
          </a:p>
        </p:txBody>
      </p:sp>
      <p:sp>
        <p:nvSpPr>
          <p:cNvPr id="134" name="Rectangle 133"/>
          <p:cNvSpPr/>
          <p:nvPr/>
        </p:nvSpPr>
        <p:spPr>
          <a:xfrm>
            <a:off x="1680987" y="2572931"/>
            <a:ext cx="1638668" cy="381000"/>
          </a:xfrm>
          <a:prstGeom prst="rect">
            <a:avLst/>
          </a:prstGeom>
          <a:solidFill>
            <a:schemeClr val="tx2"/>
          </a:solidFill>
          <a:ln w="9525" cap="flat" cmpd="sng" algn="ctr">
            <a:noFill/>
            <a:prstDash val="solid"/>
          </a:ln>
          <a:effectLst/>
        </p:spPr>
        <p:txBody>
          <a:bodyPr lIns="91440" tIns="45721" rIns="9144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Data</a:t>
            </a:r>
          </a:p>
        </p:txBody>
      </p:sp>
      <p:sp>
        <p:nvSpPr>
          <p:cNvPr id="135" name="Rectangle 134"/>
          <p:cNvSpPr/>
          <p:nvPr/>
        </p:nvSpPr>
        <p:spPr>
          <a:xfrm>
            <a:off x="1680987" y="2118112"/>
            <a:ext cx="1638668" cy="381000"/>
          </a:xfrm>
          <a:prstGeom prst="rect">
            <a:avLst/>
          </a:prstGeom>
          <a:solidFill>
            <a:schemeClr val="tx2"/>
          </a:solidFill>
          <a:ln w="9525" cap="flat" cmpd="sng" algn="ctr">
            <a:noFill/>
            <a:prstDash val="solid"/>
          </a:ln>
          <a:effectLst/>
        </p:spPr>
        <p:txBody>
          <a:bodyPr lIns="91440" tIns="45721" rIns="9144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36" name="Rectangle 135"/>
          <p:cNvSpPr/>
          <p:nvPr/>
        </p:nvSpPr>
        <p:spPr>
          <a:xfrm>
            <a:off x="1680986" y="3044736"/>
            <a:ext cx="1638668" cy="381000"/>
          </a:xfrm>
          <a:prstGeom prst="rect">
            <a:avLst/>
          </a:prstGeom>
          <a:solidFill>
            <a:schemeClr val="tx2"/>
          </a:solidFill>
          <a:ln w="9525" cap="flat" cmpd="sng" algn="ctr">
            <a:noFill/>
            <a:prstDash val="solid"/>
          </a:ln>
          <a:effectLst/>
        </p:spPr>
        <p:txBody>
          <a:bodyPr lIns="91440" tIns="45721" rIns="9144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Firewall</a:t>
            </a:r>
          </a:p>
        </p:txBody>
      </p:sp>
      <p:sp>
        <p:nvSpPr>
          <p:cNvPr id="170" name="Rectangle 169"/>
          <p:cNvSpPr/>
          <p:nvPr/>
        </p:nvSpPr>
        <p:spPr>
          <a:xfrm>
            <a:off x="9364296" y="1406096"/>
            <a:ext cx="1638667" cy="640080"/>
          </a:xfrm>
          <a:prstGeom prst="rect">
            <a:avLst/>
          </a:prstGeom>
          <a:noFill/>
          <a:ln w="9525" cap="flat" cmpd="sng" algn="ctr">
            <a:noFill/>
            <a:prstDash val="solid"/>
          </a:ln>
          <a:effectLst/>
        </p:spPr>
        <p:txBody>
          <a:bodyPr lIns="91440" tIns="0" rIns="9144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816" fontAlgn="base">
              <a:spcAft>
                <a:spcPct val="0"/>
              </a:spcAft>
            </a:pPr>
            <a:r>
              <a:rPr lang="en-US" sz="2000" dirty="0">
                <a:gradFill>
                  <a:gsLst>
                    <a:gs pos="0">
                      <a:srgbClr val="292929"/>
                    </a:gs>
                    <a:gs pos="100000">
                      <a:srgbClr val="292929"/>
                    </a:gs>
                  </a:gsLst>
                  <a:lin ang="5400000" scaled="0"/>
                </a:gradFill>
                <a:ea typeface="Kozuka Gothic Pro R" pitchFamily="34" charset="-128"/>
              </a:rPr>
              <a:t>Web </a:t>
            </a:r>
            <a:br>
              <a:rPr lang="en-US" sz="2000" dirty="0">
                <a:gradFill>
                  <a:gsLst>
                    <a:gs pos="0">
                      <a:srgbClr val="292929"/>
                    </a:gs>
                    <a:gs pos="100000">
                      <a:srgbClr val="292929"/>
                    </a:gs>
                  </a:gsLst>
                  <a:lin ang="5400000" scaled="0"/>
                </a:gradFill>
                <a:ea typeface="Kozuka Gothic Pro R" pitchFamily="34" charset="-128"/>
              </a:rPr>
            </a:br>
            <a:r>
              <a:rPr lang="en-US" sz="2000" dirty="0">
                <a:gradFill>
                  <a:gsLst>
                    <a:gs pos="0">
                      <a:srgbClr val="292929"/>
                    </a:gs>
                    <a:gs pos="100000">
                      <a:srgbClr val="292929"/>
                    </a:gs>
                  </a:gsLst>
                  <a:lin ang="5400000" scaled="0"/>
                </a:gradFill>
                <a:ea typeface="Kozuka Gothic Pro R" pitchFamily="34" charset="-128"/>
              </a:rPr>
              <a:t>Sites</a:t>
            </a:r>
          </a:p>
        </p:txBody>
      </p:sp>
      <p:sp>
        <p:nvSpPr>
          <p:cNvPr id="180" name="Rectangle 179"/>
          <p:cNvSpPr/>
          <p:nvPr/>
        </p:nvSpPr>
        <p:spPr>
          <a:xfrm>
            <a:off x="9364296" y="2119445"/>
            <a:ext cx="1638667" cy="381000"/>
          </a:xfrm>
          <a:prstGeom prst="rect">
            <a:avLst/>
          </a:prstGeom>
          <a:solidFill>
            <a:schemeClr val="accent2"/>
          </a:solidFill>
          <a:ln w="9525" cap="flat" cmpd="sng" algn="ctr">
            <a:noFill/>
            <a:prstDash val="solid"/>
          </a:ln>
          <a:effectLst/>
        </p:spPr>
        <p:txBody>
          <a:bodyPr lIns="0" tIns="45721" rIns="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82" name="Rectangle 181"/>
          <p:cNvSpPr/>
          <p:nvPr/>
        </p:nvSpPr>
        <p:spPr>
          <a:xfrm>
            <a:off x="9364296" y="2574264"/>
            <a:ext cx="1638667" cy="381000"/>
          </a:xfrm>
          <a:prstGeom prst="rect">
            <a:avLst/>
          </a:prstGeom>
          <a:solidFill>
            <a:schemeClr val="accent2"/>
          </a:solidFill>
          <a:ln w="9525" cap="flat" cmpd="sng" algn="ctr">
            <a:noFill/>
            <a:prstDash val="solid"/>
          </a:ln>
          <a:effectLst/>
        </p:spPr>
        <p:txBody>
          <a:bodyPr lIns="0" tIns="45721" rIns="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Data</a:t>
            </a:r>
          </a:p>
        </p:txBody>
      </p:sp>
      <p:sp>
        <p:nvSpPr>
          <p:cNvPr id="154" name="Rectangle 153"/>
          <p:cNvSpPr/>
          <p:nvPr/>
        </p:nvSpPr>
        <p:spPr>
          <a:xfrm>
            <a:off x="6807063" y="1406096"/>
            <a:ext cx="1638667" cy="640080"/>
          </a:xfrm>
          <a:prstGeom prst="rect">
            <a:avLst/>
          </a:prstGeom>
          <a:noFill/>
          <a:ln w="9525" cap="flat" cmpd="sng" algn="ctr">
            <a:noFill/>
            <a:prstDash val="solid"/>
          </a:ln>
          <a:effectLst/>
        </p:spPr>
        <p:txBody>
          <a:bodyPr lIns="91440" tIns="0" rIns="9144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816" fontAlgn="base">
              <a:spcAft>
                <a:spcPct val="0"/>
              </a:spcAft>
            </a:pPr>
            <a:r>
              <a:rPr lang="en-US" sz="2000" dirty="0">
                <a:gradFill>
                  <a:gsLst>
                    <a:gs pos="0">
                      <a:srgbClr val="292929"/>
                    </a:gs>
                    <a:gs pos="100000">
                      <a:srgbClr val="292929"/>
                    </a:gs>
                  </a:gsLst>
                  <a:lin ang="5400000" scaled="0"/>
                </a:gradFill>
                <a:ea typeface="Kozuka Gothic Pro R" pitchFamily="34" charset="-128"/>
              </a:rPr>
              <a:t>Cloud Services</a:t>
            </a:r>
            <a:endParaRPr lang="en-US" sz="1600" dirty="0">
              <a:gradFill>
                <a:gsLst>
                  <a:gs pos="0">
                    <a:srgbClr val="292929"/>
                  </a:gs>
                  <a:gs pos="100000">
                    <a:srgbClr val="292929"/>
                  </a:gs>
                </a:gsLst>
                <a:lin ang="5400000" scaled="0"/>
              </a:gradFill>
              <a:ea typeface="Kozuka Gothic Pro R" pitchFamily="34" charset="-128"/>
            </a:endParaRPr>
          </a:p>
        </p:txBody>
      </p:sp>
      <p:sp>
        <p:nvSpPr>
          <p:cNvPr id="166" name="Rectangle 165"/>
          <p:cNvSpPr/>
          <p:nvPr/>
        </p:nvSpPr>
        <p:spPr>
          <a:xfrm>
            <a:off x="6807061" y="2119448"/>
            <a:ext cx="1638667" cy="381000"/>
          </a:xfrm>
          <a:prstGeom prst="rect">
            <a:avLst/>
          </a:prstGeom>
          <a:solidFill>
            <a:schemeClr val="accent1"/>
          </a:solidFill>
          <a:ln w="9525" cap="flat" cmpd="sng" algn="ctr">
            <a:noFill/>
            <a:prstDash val="solid"/>
          </a:ln>
          <a:effectLst/>
        </p:spPr>
        <p:txBody>
          <a:bodyPr lIns="91440" tIns="45721" rIns="9144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67" name="Rectangle 166"/>
          <p:cNvSpPr/>
          <p:nvPr/>
        </p:nvSpPr>
        <p:spPr>
          <a:xfrm>
            <a:off x="6807061" y="3051952"/>
            <a:ext cx="1638667" cy="381000"/>
          </a:xfrm>
          <a:prstGeom prst="rect">
            <a:avLst/>
          </a:prstGeom>
          <a:solidFill>
            <a:schemeClr val="accent1"/>
          </a:solidFill>
          <a:ln w="9525" cap="flat" cmpd="sng" algn="ctr">
            <a:noFill/>
            <a:prstDash val="solid"/>
          </a:ln>
          <a:effectLst/>
        </p:spPr>
        <p:txBody>
          <a:bodyPr lIns="0" tIns="45721" rIns="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Firewall Rules</a:t>
            </a:r>
          </a:p>
        </p:txBody>
      </p:sp>
      <p:sp>
        <p:nvSpPr>
          <p:cNvPr id="168" name="Rectangle 167"/>
          <p:cNvSpPr/>
          <p:nvPr/>
        </p:nvSpPr>
        <p:spPr>
          <a:xfrm>
            <a:off x="6807061" y="2574267"/>
            <a:ext cx="1638667" cy="381000"/>
          </a:xfrm>
          <a:prstGeom prst="rect">
            <a:avLst/>
          </a:prstGeom>
          <a:solidFill>
            <a:schemeClr val="accent1"/>
          </a:solidFill>
          <a:ln w="9525" cap="flat" cmpd="sng" algn="ctr">
            <a:noFill/>
            <a:prstDash val="solid"/>
          </a:ln>
          <a:effectLst/>
        </p:spPr>
        <p:txBody>
          <a:bodyPr lIns="91440" tIns="45721" rIns="9144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Data</a:t>
            </a:r>
          </a:p>
        </p:txBody>
      </p:sp>
      <p:sp>
        <p:nvSpPr>
          <p:cNvPr id="77" name="Rectangle 76"/>
          <p:cNvSpPr/>
          <p:nvPr/>
        </p:nvSpPr>
        <p:spPr>
          <a:xfrm>
            <a:off x="6807061" y="3519008"/>
            <a:ext cx="1638667" cy="381000"/>
          </a:xfrm>
          <a:prstGeom prst="rect">
            <a:avLst/>
          </a:prstGeom>
          <a:solidFill>
            <a:schemeClr val="accent1"/>
          </a:solidFill>
          <a:ln w="9525" cap="flat" cmpd="sng" algn="ctr">
            <a:noFill/>
            <a:prstDash val="solid"/>
          </a:ln>
          <a:effectLst/>
        </p:spPr>
        <p:txBody>
          <a:bodyPr lIns="0" tIns="45721" rIns="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Virtual Network</a:t>
            </a:r>
          </a:p>
        </p:txBody>
      </p:sp>
      <p:sp>
        <p:nvSpPr>
          <p:cNvPr id="138" name="Rectangle 137"/>
          <p:cNvSpPr/>
          <p:nvPr/>
        </p:nvSpPr>
        <p:spPr>
          <a:xfrm>
            <a:off x="4256818" y="1406096"/>
            <a:ext cx="1638668" cy="640080"/>
          </a:xfrm>
          <a:prstGeom prst="rect">
            <a:avLst/>
          </a:prstGeom>
          <a:noFill/>
          <a:ln w="9525" cap="flat" cmpd="sng" algn="ctr">
            <a:noFill/>
            <a:prstDash val="solid"/>
          </a:ln>
          <a:effectLst/>
        </p:spPr>
        <p:txBody>
          <a:bodyPr lIns="91440" tIns="0" rIns="9144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816" fontAlgn="base">
              <a:spcAft>
                <a:spcPct val="0"/>
              </a:spcAft>
            </a:pPr>
            <a:r>
              <a:rPr lang="en-US" sz="2000" dirty="0">
                <a:gradFill>
                  <a:gsLst>
                    <a:gs pos="0">
                      <a:srgbClr val="292929"/>
                    </a:gs>
                    <a:gs pos="100000">
                      <a:srgbClr val="292929"/>
                    </a:gs>
                  </a:gsLst>
                  <a:lin ang="5400000" scaled="0"/>
                </a:gradFill>
                <a:ea typeface="Kozuka Gothic Pro R" pitchFamily="34" charset="-128"/>
              </a:rPr>
              <a:t>Virtual Machines</a:t>
            </a:r>
            <a:endParaRPr lang="en-US" sz="1600" dirty="0">
              <a:gradFill>
                <a:gsLst>
                  <a:gs pos="0">
                    <a:srgbClr val="292929"/>
                  </a:gs>
                  <a:gs pos="100000">
                    <a:srgbClr val="292929"/>
                  </a:gs>
                </a:gsLst>
                <a:lin ang="5400000" scaled="0"/>
              </a:gradFill>
              <a:ea typeface="Kozuka Gothic Pro R" pitchFamily="34" charset="-128"/>
            </a:endParaRPr>
          </a:p>
        </p:txBody>
      </p:sp>
      <p:sp>
        <p:nvSpPr>
          <p:cNvPr id="149" name="Rectangle 148"/>
          <p:cNvSpPr/>
          <p:nvPr/>
        </p:nvSpPr>
        <p:spPr>
          <a:xfrm>
            <a:off x="4256818" y="3500887"/>
            <a:ext cx="1638668" cy="381000"/>
          </a:xfrm>
          <a:prstGeom prst="rect">
            <a:avLst/>
          </a:prstGeom>
          <a:solidFill>
            <a:schemeClr val="accent5"/>
          </a:solidFill>
          <a:ln w="9525" cap="flat" cmpd="sng" algn="ctr">
            <a:noFill/>
            <a:prstDash val="solid"/>
          </a:ln>
          <a:effectLst/>
        </p:spPr>
        <p:txBody>
          <a:bodyPr lIns="0" tIns="45721" rIns="0" bIns="45721"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Virtual Network</a:t>
            </a:r>
          </a:p>
        </p:txBody>
      </p:sp>
      <p:sp>
        <p:nvSpPr>
          <p:cNvPr id="150" name="Rectangle 149"/>
          <p:cNvSpPr/>
          <p:nvPr/>
        </p:nvSpPr>
        <p:spPr>
          <a:xfrm>
            <a:off x="4256818" y="2574267"/>
            <a:ext cx="1638668" cy="381000"/>
          </a:xfrm>
          <a:prstGeom prst="rect">
            <a:avLst/>
          </a:prstGeom>
          <a:solidFill>
            <a:schemeClr val="accent5"/>
          </a:solidFill>
          <a:ln w="9525" cap="flat" cmpd="sng" algn="ctr">
            <a:noFill/>
            <a:prstDash val="solid"/>
          </a:ln>
          <a:effectLst/>
        </p:spPr>
        <p:txBody>
          <a:bodyPr lIns="91440" tIns="45721" rIns="9144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Data</a:t>
            </a:r>
          </a:p>
        </p:txBody>
      </p:sp>
      <p:sp>
        <p:nvSpPr>
          <p:cNvPr id="151" name="Rectangle 150"/>
          <p:cNvSpPr/>
          <p:nvPr/>
        </p:nvSpPr>
        <p:spPr>
          <a:xfrm>
            <a:off x="4256818" y="2119449"/>
            <a:ext cx="1638668" cy="381000"/>
          </a:xfrm>
          <a:prstGeom prst="rect">
            <a:avLst/>
          </a:prstGeom>
          <a:solidFill>
            <a:schemeClr val="accent5"/>
          </a:solidFill>
          <a:ln w="9525" cap="flat" cmpd="sng" algn="ctr">
            <a:noFill/>
            <a:prstDash val="solid"/>
          </a:ln>
          <a:effectLst/>
        </p:spPr>
        <p:txBody>
          <a:bodyPr lIns="91440" tIns="45721" rIns="9144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52" name="Rectangle 151"/>
          <p:cNvSpPr/>
          <p:nvPr/>
        </p:nvSpPr>
        <p:spPr>
          <a:xfrm>
            <a:off x="4256818" y="3046069"/>
            <a:ext cx="1638668" cy="381000"/>
          </a:xfrm>
          <a:prstGeom prst="rect">
            <a:avLst/>
          </a:prstGeom>
          <a:solidFill>
            <a:schemeClr val="accent5"/>
          </a:solidFill>
          <a:ln w="9525" cap="flat" cmpd="sng" algn="ctr">
            <a:noFill/>
            <a:prstDash val="solid"/>
          </a:ln>
          <a:effectLst/>
        </p:spPr>
        <p:txBody>
          <a:bodyPr lIns="91440" tIns="45721" rIns="9144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Firewall Rules</a:t>
            </a:r>
          </a:p>
        </p:txBody>
      </p:sp>
      <p:sp>
        <p:nvSpPr>
          <p:cNvPr id="71" name="Rectangle 70"/>
          <p:cNvSpPr/>
          <p:nvPr/>
        </p:nvSpPr>
        <p:spPr>
          <a:xfrm>
            <a:off x="4256818" y="3955707"/>
            <a:ext cx="1638668" cy="381000"/>
          </a:xfrm>
          <a:prstGeom prst="rect">
            <a:avLst/>
          </a:prstGeom>
          <a:solidFill>
            <a:schemeClr val="accent5"/>
          </a:solidFill>
          <a:ln w="9525" cap="flat" cmpd="sng" algn="ctr">
            <a:noFill/>
            <a:prstDash val="solid"/>
          </a:ln>
          <a:effectLst/>
        </p:spPr>
        <p:txBody>
          <a:bodyPr lIns="91440" tIns="45721" rIns="9144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O/S</a:t>
            </a:r>
          </a:p>
        </p:txBody>
      </p:sp>
      <p:sp>
        <p:nvSpPr>
          <p:cNvPr id="41" name="Pentagon 40"/>
          <p:cNvSpPr/>
          <p:nvPr/>
        </p:nvSpPr>
        <p:spPr bwMode="auto">
          <a:xfrm>
            <a:off x="595745" y="5953471"/>
            <a:ext cx="10861620" cy="675932"/>
          </a:xfrm>
          <a:prstGeom prst="homePlat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1" tIns="45721" rIns="45721" bIns="45721" numCol="1" spcCol="0" rtlCol="0" fromWordArt="0" anchor="ctr" anchorCtr="0" forceAA="0" compatLnSpc="1">
            <a:prstTxWarp prst="textNoShape">
              <a:avLst/>
            </a:prstTxWarp>
            <a:noAutofit/>
          </a:bodyPr>
          <a:lstStyle/>
          <a:p>
            <a:pPr algn="ctr" defTabSz="914084" fontAlgn="base">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Focus on the Application</a:t>
            </a:r>
          </a:p>
        </p:txBody>
      </p:sp>
      <p:pic>
        <p:nvPicPr>
          <p:cNvPr id="1026" name="Picture 2" descr="C:\Users\Jonahs\Dropbox\Critical Resources\Helveticons Basic\Png\512x512\Company 512x512.png"/>
          <p:cNvPicPr>
            <a:picLocks noChangeAspect="1" noChangeArrowheads="1"/>
          </p:cNvPicPr>
          <p:nvPr/>
        </p:nvPicPr>
        <p:blipFill>
          <a:blip r:embed="rId7" cstate="print">
            <a:duotone>
              <a:prstClr val="black"/>
              <a:schemeClr val="bg2">
                <a:lumMod val="10000"/>
                <a:tint val="45000"/>
                <a:satMod val="400000"/>
              </a:schemeClr>
            </a:duotone>
            <a:extLst>
              <a:ext uri="{BEBA8EAE-BF5A-486C-A8C5-ECC9F3942E4B}">
                <a14:imgProps xmlns:a14="http://schemas.microsoft.com/office/drawing/2010/main">
                  <a14:imgLayer r:embed="rId8">
                    <a14:imgEffect>
                      <a14:colorTemperature colorTemp="11500"/>
                    </a14:imgEffect>
                    <a14:imgEffect>
                      <a14:saturation sat="400000"/>
                    </a14:imgEffect>
                    <a14:imgEffect>
                      <a14:brightnessContrast bright="100000" contrast="-76000"/>
                    </a14:imgEffect>
                  </a14:imgLayer>
                </a14:imgProps>
              </a:ext>
              <a:ext uri="{28A0092B-C50C-407E-A947-70E740481C1C}">
                <a14:useLocalDpi xmlns:a14="http://schemas.microsoft.com/office/drawing/2010/main" val="0"/>
              </a:ext>
            </a:extLst>
          </a:blip>
          <a:srcRect/>
          <a:stretch>
            <a:fillRect/>
          </a:stretch>
        </p:blipFill>
        <p:spPr bwMode="auto">
          <a:xfrm>
            <a:off x="595740" y="4766243"/>
            <a:ext cx="1025891" cy="1025623"/>
          </a:xfrm>
          <a:prstGeom prst="rect">
            <a:avLst/>
          </a:prstGeom>
          <a:noFill/>
          <a:extLst>
            <a:ext uri="{909E8E84-426E-40dd-AFC4-6F175D3DCCD1}">
              <a14:hiddenFill xmlns="" xmlns:a14="http://schemas.microsoft.com/office/drawing/2010/main">
                <a:solidFill>
                  <a:srgbClr val="FFFFFF"/>
                </a:solidFill>
              </a14:hiddenFill>
            </a:ext>
          </a:extLst>
        </p:spPr>
      </p:pic>
      <p:cxnSp>
        <p:nvCxnSpPr>
          <p:cNvPr id="4" name="Straight Connector 3"/>
          <p:cNvCxnSpPr/>
          <p:nvPr/>
        </p:nvCxnSpPr>
        <p:spPr>
          <a:xfrm>
            <a:off x="3625887" y="921203"/>
            <a:ext cx="0" cy="477268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7340762" y="-1470603"/>
            <a:ext cx="444993" cy="5240755"/>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lIns="91440" tIns="45721" rIns="91440" bIns="45721" rtlCol="0" anchor="ctr"/>
          <a:lstStyle/>
          <a:p>
            <a:pPr algn="ctr" defTabSz="1218714"/>
            <a:endParaRPr lang="en-US" sz="2400">
              <a:solidFill>
                <a:srgbClr val="292929"/>
              </a:solidFill>
            </a:endParaRPr>
          </a:p>
        </p:txBody>
      </p:sp>
      <p:sp>
        <p:nvSpPr>
          <p:cNvPr id="38" name="Rectangle 37"/>
          <p:cNvSpPr/>
          <p:nvPr/>
        </p:nvSpPr>
        <p:spPr>
          <a:xfrm>
            <a:off x="6246027" y="393548"/>
            <a:ext cx="2647987" cy="640080"/>
          </a:xfrm>
          <a:prstGeom prst="rect">
            <a:avLst/>
          </a:prstGeom>
          <a:no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816" fontAlgn="base">
              <a:spcAft>
                <a:spcPct val="0"/>
              </a:spcAft>
            </a:pPr>
            <a:r>
              <a:rPr lang="en-US" sz="2000" dirty="0">
                <a:gradFill>
                  <a:gsLst>
                    <a:gs pos="0">
                      <a:srgbClr val="292929"/>
                    </a:gs>
                    <a:gs pos="100000">
                      <a:srgbClr val="292929"/>
                    </a:gs>
                  </a:gsLst>
                  <a:lin ang="5400000" scaled="0"/>
                </a:gradFill>
                <a:ea typeface="Kozuka Gothic Pro R" pitchFamily="34" charset="-128"/>
              </a:rPr>
              <a:t>Windows Azure</a:t>
            </a:r>
          </a:p>
        </p:txBody>
      </p:sp>
    </p:spTree>
    <p:extLst>
      <p:ext uri="{BB962C8B-B14F-4D97-AF65-F5344CB8AC3E}">
        <p14:creationId xmlns:p14="http://schemas.microsoft.com/office/powerpoint/2010/main" val="2655707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4"/>
                                        </p:tgtEl>
                                        <p:attrNameLst>
                                          <p:attrName>style.visibility</p:attrName>
                                        </p:attrNameLst>
                                      </p:cBhvr>
                                      <p:to>
                                        <p:strVal val="visible"/>
                                      </p:to>
                                    </p:set>
                                    <p:animEffect transition="in" filter="fade">
                                      <p:cBhvr>
                                        <p:cTn id="19" dur="500"/>
                                        <p:tgtEl>
                                          <p:spTgt spid="124"/>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38"/>
                                        </p:tgtEl>
                                        <p:attrNameLst>
                                          <p:attrName>style.visibility</p:attrName>
                                        </p:attrNameLst>
                                      </p:cBhvr>
                                      <p:to>
                                        <p:strVal val="visible"/>
                                      </p:to>
                                    </p:set>
                                    <p:animEffect transition="in" filter="fade">
                                      <p:cBhvr>
                                        <p:cTn id="27" dur="500"/>
                                        <p:tgtEl>
                                          <p:spTgt spid="38"/>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35"/>
                                        </p:tgtEl>
                                        <p:attrNameLst>
                                          <p:attrName>style.visibility</p:attrName>
                                        </p:attrNameLst>
                                      </p:cBhvr>
                                      <p:to>
                                        <p:strVal val="visible"/>
                                      </p:to>
                                    </p:set>
                                    <p:animEffect transition="in" filter="fade">
                                      <p:cBhvr>
                                        <p:cTn id="31" dur="500"/>
                                        <p:tgtEl>
                                          <p:spTgt spid="135"/>
                                        </p:tgtEl>
                                      </p:cBhvr>
                                    </p:animEffect>
                                  </p:childTnLst>
                                </p:cTn>
                              </p:par>
                              <p:par>
                                <p:cTn id="32" presetID="10" presetClass="entr" presetSubtype="0" fill="hold" grpId="0" nodeType="withEffect">
                                  <p:stCondLst>
                                    <p:cond delay="250"/>
                                  </p:stCondLst>
                                  <p:childTnLst>
                                    <p:set>
                                      <p:cBhvr>
                                        <p:cTn id="33" dur="1" fill="hold">
                                          <p:stCondLst>
                                            <p:cond delay="0"/>
                                          </p:stCondLst>
                                        </p:cTn>
                                        <p:tgtEl>
                                          <p:spTgt spid="134"/>
                                        </p:tgtEl>
                                        <p:attrNameLst>
                                          <p:attrName>style.visibility</p:attrName>
                                        </p:attrNameLst>
                                      </p:cBhvr>
                                      <p:to>
                                        <p:strVal val="visible"/>
                                      </p:to>
                                    </p:set>
                                    <p:animEffect transition="in" filter="fade">
                                      <p:cBhvr>
                                        <p:cTn id="34" dur="500"/>
                                        <p:tgtEl>
                                          <p:spTgt spid="134"/>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136"/>
                                        </p:tgtEl>
                                        <p:attrNameLst>
                                          <p:attrName>style.visibility</p:attrName>
                                        </p:attrNameLst>
                                      </p:cBhvr>
                                      <p:to>
                                        <p:strVal val="visible"/>
                                      </p:to>
                                    </p:set>
                                    <p:animEffect transition="in" filter="fade">
                                      <p:cBhvr>
                                        <p:cTn id="37" dur="500"/>
                                        <p:tgtEl>
                                          <p:spTgt spid="136"/>
                                        </p:tgtEl>
                                      </p:cBhvr>
                                    </p:animEffect>
                                  </p:childTnLst>
                                </p:cTn>
                              </p:par>
                              <p:par>
                                <p:cTn id="38" presetID="10" presetClass="entr" presetSubtype="0" fill="hold" grpId="0" nodeType="withEffect">
                                  <p:stCondLst>
                                    <p:cond delay="750"/>
                                  </p:stCondLst>
                                  <p:childTnLst>
                                    <p:set>
                                      <p:cBhvr>
                                        <p:cTn id="39" dur="1" fill="hold">
                                          <p:stCondLst>
                                            <p:cond delay="0"/>
                                          </p:stCondLst>
                                        </p:cTn>
                                        <p:tgtEl>
                                          <p:spTgt spid="133"/>
                                        </p:tgtEl>
                                        <p:attrNameLst>
                                          <p:attrName>style.visibility</p:attrName>
                                        </p:attrNameLst>
                                      </p:cBhvr>
                                      <p:to>
                                        <p:strVal val="visible"/>
                                      </p:to>
                                    </p:set>
                                    <p:animEffect transition="in" filter="fade">
                                      <p:cBhvr>
                                        <p:cTn id="40" dur="500"/>
                                        <p:tgtEl>
                                          <p:spTgt spid="133"/>
                                        </p:tgtEl>
                                      </p:cBhvr>
                                    </p:animEffect>
                                  </p:childTnLst>
                                </p:cTn>
                              </p:par>
                              <p:par>
                                <p:cTn id="41" presetID="10" presetClass="entr" presetSubtype="0" fill="hold" grpId="0" nodeType="withEffect">
                                  <p:stCondLst>
                                    <p:cond delay="1000"/>
                                  </p:stCondLst>
                                  <p:childTnLst>
                                    <p:set>
                                      <p:cBhvr>
                                        <p:cTn id="42" dur="1" fill="hold">
                                          <p:stCondLst>
                                            <p:cond delay="0"/>
                                          </p:stCondLst>
                                        </p:cTn>
                                        <p:tgtEl>
                                          <p:spTgt spid="129"/>
                                        </p:tgtEl>
                                        <p:attrNameLst>
                                          <p:attrName>style.visibility</p:attrName>
                                        </p:attrNameLst>
                                      </p:cBhvr>
                                      <p:to>
                                        <p:strVal val="visible"/>
                                      </p:to>
                                    </p:set>
                                    <p:animEffect transition="in" filter="fade">
                                      <p:cBhvr>
                                        <p:cTn id="43" dur="500"/>
                                        <p:tgtEl>
                                          <p:spTgt spid="129"/>
                                        </p:tgtEl>
                                      </p:cBhvr>
                                    </p:animEffect>
                                  </p:childTnLst>
                                </p:cTn>
                              </p:par>
                              <p:par>
                                <p:cTn id="44" presetID="10" presetClass="entr" presetSubtype="0" fill="hold" grpId="0" nodeType="withEffect">
                                  <p:stCondLst>
                                    <p:cond delay="1250"/>
                                  </p:stCondLst>
                                  <p:childTnLst>
                                    <p:set>
                                      <p:cBhvr>
                                        <p:cTn id="45" dur="1" fill="hold">
                                          <p:stCondLst>
                                            <p:cond delay="0"/>
                                          </p:stCondLst>
                                        </p:cTn>
                                        <p:tgtEl>
                                          <p:spTgt spid="128"/>
                                        </p:tgtEl>
                                        <p:attrNameLst>
                                          <p:attrName>style.visibility</p:attrName>
                                        </p:attrNameLst>
                                      </p:cBhvr>
                                      <p:to>
                                        <p:strVal val="visible"/>
                                      </p:to>
                                    </p:set>
                                    <p:animEffect transition="in" filter="fade">
                                      <p:cBhvr>
                                        <p:cTn id="46" dur="500"/>
                                        <p:tgtEl>
                                          <p:spTgt spid="128"/>
                                        </p:tgtEl>
                                      </p:cBhvr>
                                    </p:animEffect>
                                  </p:childTnLst>
                                </p:cTn>
                              </p:par>
                              <p:par>
                                <p:cTn id="47" presetID="10" presetClass="entr" presetSubtype="0" fill="hold" grpId="0" nodeType="withEffect">
                                  <p:stCondLst>
                                    <p:cond delay="1500"/>
                                  </p:stCondLst>
                                  <p:childTnLst>
                                    <p:set>
                                      <p:cBhvr>
                                        <p:cTn id="48" dur="1" fill="hold">
                                          <p:stCondLst>
                                            <p:cond delay="0"/>
                                          </p:stCondLst>
                                        </p:cTn>
                                        <p:tgtEl>
                                          <p:spTgt spid="130"/>
                                        </p:tgtEl>
                                        <p:attrNameLst>
                                          <p:attrName>style.visibility</p:attrName>
                                        </p:attrNameLst>
                                      </p:cBhvr>
                                      <p:to>
                                        <p:strVal val="visible"/>
                                      </p:to>
                                    </p:set>
                                    <p:animEffect transition="in" filter="fade">
                                      <p:cBhvr>
                                        <p:cTn id="49" dur="500"/>
                                        <p:tgtEl>
                                          <p:spTgt spid="130"/>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38"/>
                                        </p:tgtEl>
                                        <p:attrNameLst>
                                          <p:attrName>style.visibility</p:attrName>
                                        </p:attrNameLst>
                                      </p:cBhvr>
                                      <p:to>
                                        <p:strVal val="visible"/>
                                      </p:to>
                                    </p:set>
                                    <p:animEffect transition="in" filter="fade">
                                      <p:cBhvr>
                                        <p:cTn id="54" dur="500"/>
                                        <p:tgtEl>
                                          <p:spTgt spid="138"/>
                                        </p:tgtEl>
                                      </p:cBhvr>
                                    </p:animEffect>
                                  </p:childTnLst>
                                </p:cTn>
                              </p:par>
                              <p:par>
                                <p:cTn id="55" presetID="10" presetClass="entr" presetSubtype="0" fill="hold" grpId="0" nodeType="withEffect">
                                  <p:stCondLst>
                                    <p:cond delay="250"/>
                                  </p:stCondLst>
                                  <p:childTnLst>
                                    <p:set>
                                      <p:cBhvr>
                                        <p:cTn id="56" dur="1" fill="hold">
                                          <p:stCondLst>
                                            <p:cond delay="0"/>
                                          </p:stCondLst>
                                        </p:cTn>
                                        <p:tgtEl>
                                          <p:spTgt spid="151"/>
                                        </p:tgtEl>
                                        <p:attrNameLst>
                                          <p:attrName>style.visibility</p:attrName>
                                        </p:attrNameLst>
                                      </p:cBhvr>
                                      <p:to>
                                        <p:strVal val="visible"/>
                                      </p:to>
                                    </p:set>
                                    <p:animEffect transition="in" filter="fade">
                                      <p:cBhvr>
                                        <p:cTn id="57" dur="500"/>
                                        <p:tgtEl>
                                          <p:spTgt spid="151"/>
                                        </p:tgtEl>
                                      </p:cBhvr>
                                    </p:animEffect>
                                  </p:childTnLst>
                                </p:cTn>
                              </p:par>
                              <p:par>
                                <p:cTn id="58" presetID="10" presetClass="entr" presetSubtype="0" fill="hold" grpId="0" nodeType="withEffect">
                                  <p:stCondLst>
                                    <p:cond delay="500"/>
                                  </p:stCondLst>
                                  <p:childTnLst>
                                    <p:set>
                                      <p:cBhvr>
                                        <p:cTn id="59" dur="1" fill="hold">
                                          <p:stCondLst>
                                            <p:cond delay="0"/>
                                          </p:stCondLst>
                                        </p:cTn>
                                        <p:tgtEl>
                                          <p:spTgt spid="150"/>
                                        </p:tgtEl>
                                        <p:attrNameLst>
                                          <p:attrName>style.visibility</p:attrName>
                                        </p:attrNameLst>
                                      </p:cBhvr>
                                      <p:to>
                                        <p:strVal val="visible"/>
                                      </p:to>
                                    </p:set>
                                    <p:animEffect transition="in" filter="fade">
                                      <p:cBhvr>
                                        <p:cTn id="60" dur="500"/>
                                        <p:tgtEl>
                                          <p:spTgt spid="150"/>
                                        </p:tgtEl>
                                      </p:cBhvr>
                                    </p:animEffect>
                                  </p:childTnLst>
                                </p:cTn>
                              </p:par>
                              <p:par>
                                <p:cTn id="61" presetID="10" presetClass="entr" presetSubtype="0" fill="hold" grpId="0" nodeType="withEffect">
                                  <p:stCondLst>
                                    <p:cond delay="750"/>
                                  </p:stCondLst>
                                  <p:childTnLst>
                                    <p:set>
                                      <p:cBhvr>
                                        <p:cTn id="62" dur="1" fill="hold">
                                          <p:stCondLst>
                                            <p:cond delay="0"/>
                                          </p:stCondLst>
                                        </p:cTn>
                                        <p:tgtEl>
                                          <p:spTgt spid="152"/>
                                        </p:tgtEl>
                                        <p:attrNameLst>
                                          <p:attrName>style.visibility</p:attrName>
                                        </p:attrNameLst>
                                      </p:cBhvr>
                                      <p:to>
                                        <p:strVal val="visible"/>
                                      </p:to>
                                    </p:set>
                                    <p:animEffect transition="in" filter="fade">
                                      <p:cBhvr>
                                        <p:cTn id="63" dur="500"/>
                                        <p:tgtEl>
                                          <p:spTgt spid="152"/>
                                        </p:tgtEl>
                                      </p:cBhvr>
                                    </p:animEffect>
                                  </p:childTnLst>
                                </p:cTn>
                              </p:par>
                              <p:par>
                                <p:cTn id="64" presetID="10" presetClass="entr" presetSubtype="0" fill="hold" grpId="0" nodeType="withEffect">
                                  <p:stCondLst>
                                    <p:cond delay="1000"/>
                                  </p:stCondLst>
                                  <p:childTnLst>
                                    <p:set>
                                      <p:cBhvr>
                                        <p:cTn id="65" dur="1" fill="hold">
                                          <p:stCondLst>
                                            <p:cond delay="0"/>
                                          </p:stCondLst>
                                        </p:cTn>
                                        <p:tgtEl>
                                          <p:spTgt spid="149"/>
                                        </p:tgtEl>
                                        <p:attrNameLst>
                                          <p:attrName>style.visibility</p:attrName>
                                        </p:attrNameLst>
                                      </p:cBhvr>
                                      <p:to>
                                        <p:strVal val="visible"/>
                                      </p:to>
                                    </p:set>
                                    <p:animEffect transition="in" filter="fade">
                                      <p:cBhvr>
                                        <p:cTn id="66" dur="500"/>
                                        <p:tgtEl>
                                          <p:spTgt spid="149"/>
                                        </p:tgtEl>
                                      </p:cBhvr>
                                    </p:animEffect>
                                  </p:childTnLst>
                                </p:cTn>
                              </p:par>
                              <p:par>
                                <p:cTn id="67" presetID="10" presetClass="entr" presetSubtype="0" fill="hold" grpId="0" nodeType="withEffect">
                                  <p:stCondLst>
                                    <p:cond delay="1250"/>
                                  </p:stCondLst>
                                  <p:childTnLst>
                                    <p:set>
                                      <p:cBhvr>
                                        <p:cTn id="68" dur="1" fill="hold">
                                          <p:stCondLst>
                                            <p:cond delay="0"/>
                                          </p:stCondLst>
                                        </p:cTn>
                                        <p:tgtEl>
                                          <p:spTgt spid="71"/>
                                        </p:tgtEl>
                                        <p:attrNameLst>
                                          <p:attrName>style.visibility</p:attrName>
                                        </p:attrNameLst>
                                      </p:cBhvr>
                                      <p:to>
                                        <p:strVal val="visible"/>
                                      </p:to>
                                    </p:set>
                                    <p:animEffect transition="in" filter="fade">
                                      <p:cBhvr>
                                        <p:cTn id="69" dur="500"/>
                                        <p:tgtEl>
                                          <p:spTgt spid="71"/>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154"/>
                                        </p:tgtEl>
                                        <p:attrNameLst>
                                          <p:attrName>style.visibility</p:attrName>
                                        </p:attrNameLst>
                                      </p:cBhvr>
                                      <p:to>
                                        <p:strVal val="visible"/>
                                      </p:to>
                                    </p:set>
                                    <p:animEffect transition="in" filter="fade">
                                      <p:cBhvr>
                                        <p:cTn id="74" dur="500"/>
                                        <p:tgtEl>
                                          <p:spTgt spid="154"/>
                                        </p:tgtEl>
                                      </p:cBhvr>
                                    </p:animEffect>
                                  </p:childTnLst>
                                </p:cTn>
                              </p:par>
                              <p:par>
                                <p:cTn id="75" presetID="10" presetClass="entr" presetSubtype="0" fill="hold" grpId="0" nodeType="withEffect">
                                  <p:stCondLst>
                                    <p:cond delay="250"/>
                                  </p:stCondLst>
                                  <p:childTnLst>
                                    <p:set>
                                      <p:cBhvr>
                                        <p:cTn id="76" dur="1" fill="hold">
                                          <p:stCondLst>
                                            <p:cond delay="0"/>
                                          </p:stCondLst>
                                        </p:cTn>
                                        <p:tgtEl>
                                          <p:spTgt spid="166"/>
                                        </p:tgtEl>
                                        <p:attrNameLst>
                                          <p:attrName>style.visibility</p:attrName>
                                        </p:attrNameLst>
                                      </p:cBhvr>
                                      <p:to>
                                        <p:strVal val="visible"/>
                                      </p:to>
                                    </p:set>
                                    <p:animEffect transition="in" filter="fade">
                                      <p:cBhvr>
                                        <p:cTn id="77" dur="500"/>
                                        <p:tgtEl>
                                          <p:spTgt spid="166"/>
                                        </p:tgtEl>
                                      </p:cBhvr>
                                    </p:animEffect>
                                  </p:childTnLst>
                                </p:cTn>
                              </p:par>
                              <p:par>
                                <p:cTn id="78" presetID="10" presetClass="entr" presetSubtype="0" fill="hold" grpId="0" nodeType="withEffect">
                                  <p:stCondLst>
                                    <p:cond delay="500"/>
                                  </p:stCondLst>
                                  <p:childTnLst>
                                    <p:set>
                                      <p:cBhvr>
                                        <p:cTn id="79" dur="1" fill="hold">
                                          <p:stCondLst>
                                            <p:cond delay="0"/>
                                          </p:stCondLst>
                                        </p:cTn>
                                        <p:tgtEl>
                                          <p:spTgt spid="168"/>
                                        </p:tgtEl>
                                        <p:attrNameLst>
                                          <p:attrName>style.visibility</p:attrName>
                                        </p:attrNameLst>
                                      </p:cBhvr>
                                      <p:to>
                                        <p:strVal val="visible"/>
                                      </p:to>
                                    </p:set>
                                    <p:animEffect transition="in" filter="fade">
                                      <p:cBhvr>
                                        <p:cTn id="80" dur="500"/>
                                        <p:tgtEl>
                                          <p:spTgt spid="168"/>
                                        </p:tgtEl>
                                      </p:cBhvr>
                                    </p:animEffect>
                                  </p:childTnLst>
                                </p:cTn>
                              </p:par>
                              <p:par>
                                <p:cTn id="81" presetID="10" presetClass="entr" presetSubtype="0" fill="hold" grpId="0" nodeType="withEffect">
                                  <p:stCondLst>
                                    <p:cond delay="750"/>
                                  </p:stCondLst>
                                  <p:childTnLst>
                                    <p:set>
                                      <p:cBhvr>
                                        <p:cTn id="82" dur="1" fill="hold">
                                          <p:stCondLst>
                                            <p:cond delay="0"/>
                                          </p:stCondLst>
                                        </p:cTn>
                                        <p:tgtEl>
                                          <p:spTgt spid="167"/>
                                        </p:tgtEl>
                                        <p:attrNameLst>
                                          <p:attrName>style.visibility</p:attrName>
                                        </p:attrNameLst>
                                      </p:cBhvr>
                                      <p:to>
                                        <p:strVal val="visible"/>
                                      </p:to>
                                    </p:set>
                                    <p:animEffect transition="in" filter="fade">
                                      <p:cBhvr>
                                        <p:cTn id="83" dur="500"/>
                                        <p:tgtEl>
                                          <p:spTgt spid="167"/>
                                        </p:tgtEl>
                                      </p:cBhvr>
                                    </p:animEffect>
                                  </p:childTnLst>
                                </p:cTn>
                              </p:par>
                              <p:par>
                                <p:cTn id="84" presetID="10" presetClass="entr" presetSubtype="0" fill="hold" grpId="0" nodeType="withEffect">
                                  <p:stCondLst>
                                    <p:cond delay="1000"/>
                                  </p:stCondLst>
                                  <p:childTnLst>
                                    <p:set>
                                      <p:cBhvr>
                                        <p:cTn id="85" dur="1" fill="hold">
                                          <p:stCondLst>
                                            <p:cond delay="0"/>
                                          </p:stCondLst>
                                        </p:cTn>
                                        <p:tgtEl>
                                          <p:spTgt spid="77"/>
                                        </p:tgtEl>
                                        <p:attrNameLst>
                                          <p:attrName>style.visibility</p:attrName>
                                        </p:attrNameLst>
                                      </p:cBhvr>
                                      <p:to>
                                        <p:strVal val="visible"/>
                                      </p:to>
                                    </p:set>
                                    <p:animEffect transition="in" filter="fade">
                                      <p:cBhvr>
                                        <p:cTn id="86" dur="500"/>
                                        <p:tgtEl>
                                          <p:spTgt spid="77"/>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170"/>
                                        </p:tgtEl>
                                        <p:attrNameLst>
                                          <p:attrName>style.visibility</p:attrName>
                                        </p:attrNameLst>
                                      </p:cBhvr>
                                      <p:to>
                                        <p:strVal val="visible"/>
                                      </p:to>
                                    </p:set>
                                    <p:animEffect transition="in" filter="fade">
                                      <p:cBhvr>
                                        <p:cTn id="91" dur="500"/>
                                        <p:tgtEl>
                                          <p:spTgt spid="170"/>
                                        </p:tgtEl>
                                      </p:cBhvr>
                                    </p:animEffect>
                                  </p:childTnLst>
                                </p:cTn>
                              </p:par>
                              <p:par>
                                <p:cTn id="92" presetID="10" presetClass="entr" presetSubtype="0" fill="hold" grpId="0" nodeType="withEffect">
                                  <p:stCondLst>
                                    <p:cond delay="250"/>
                                  </p:stCondLst>
                                  <p:childTnLst>
                                    <p:set>
                                      <p:cBhvr>
                                        <p:cTn id="93" dur="1" fill="hold">
                                          <p:stCondLst>
                                            <p:cond delay="0"/>
                                          </p:stCondLst>
                                        </p:cTn>
                                        <p:tgtEl>
                                          <p:spTgt spid="180"/>
                                        </p:tgtEl>
                                        <p:attrNameLst>
                                          <p:attrName>style.visibility</p:attrName>
                                        </p:attrNameLst>
                                      </p:cBhvr>
                                      <p:to>
                                        <p:strVal val="visible"/>
                                      </p:to>
                                    </p:set>
                                    <p:animEffect transition="in" filter="fade">
                                      <p:cBhvr>
                                        <p:cTn id="94" dur="500"/>
                                        <p:tgtEl>
                                          <p:spTgt spid="180"/>
                                        </p:tgtEl>
                                      </p:cBhvr>
                                    </p:animEffect>
                                  </p:childTnLst>
                                </p:cTn>
                              </p:par>
                              <p:par>
                                <p:cTn id="95" presetID="10" presetClass="entr" presetSubtype="0" fill="hold" grpId="0" nodeType="withEffect">
                                  <p:stCondLst>
                                    <p:cond delay="500"/>
                                  </p:stCondLst>
                                  <p:childTnLst>
                                    <p:set>
                                      <p:cBhvr>
                                        <p:cTn id="96" dur="1" fill="hold">
                                          <p:stCondLst>
                                            <p:cond delay="0"/>
                                          </p:stCondLst>
                                        </p:cTn>
                                        <p:tgtEl>
                                          <p:spTgt spid="182"/>
                                        </p:tgtEl>
                                        <p:attrNameLst>
                                          <p:attrName>style.visibility</p:attrName>
                                        </p:attrNameLst>
                                      </p:cBhvr>
                                      <p:to>
                                        <p:strVal val="visible"/>
                                      </p:to>
                                    </p:set>
                                    <p:animEffect transition="in" filter="fade">
                                      <p:cBhvr>
                                        <p:cTn id="97" dur="500"/>
                                        <p:tgtEl>
                                          <p:spTgt spid="182"/>
                                        </p:tgtEl>
                                      </p:cBhvr>
                                    </p:animEffect>
                                  </p:childTnLst>
                                </p:cTn>
                              </p:par>
                              <p:par>
                                <p:cTn id="98" presetID="22" presetClass="entr" presetSubtype="8" fill="hold" grpId="0" nodeType="withEffect">
                                  <p:stCondLst>
                                    <p:cond delay="50"/>
                                  </p:stCondLst>
                                  <p:childTnLst>
                                    <p:set>
                                      <p:cBhvr>
                                        <p:cTn id="99" dur="1" fill="hold">
                                          <p:stCondLst>
                                            <p:cond delay="0"/>
                                          </p:stCondLst>
                                        </p:cTn>
                                        <p:tgtEl>
                                          <p:spTgt spid="41"/>
                                        </p:tgtEl>
                                        <p:attrNameLst>
                                          <p:attrName>style.visibility</p:attrName>
                                        </p:attrNameLst>
                                      </p:cBhvr>
                                      <p:to>
                                        <p:strVal val="visible"/>
                                      </p:to>
                                    </p:set>
                                    <p:animEffect transition="in" filter="wipe(left)">
                                      <p:cBhvr>
                                        <p:cTn id="100" dur="22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p:bldP spid="128" grpId="0" animBg="1"/>
      <p:bldP spid="129" grpId="0" animBg="1"/>
      <p:bldP spid="130" grpId="0" animBg="1"/>
      <p:bldP spid="133" grpId="0" animBg="1"/>
      <p:bldP spid="134" grpId="0" animBg="1"/>
      <p:bldP spid="135" grpId="0" animBg="1"/>
      <p:bldP spid="136" grpId="0" animBg="1"/>
      <p:bldP spid="170" grpId="0"/>
      <p:bldP spid="180" grpId="0" animBg="1"/>
      <p:bldP spid="182" grpId="0" animBg="1"/>
      <p:bldP spid="154" grpId="0"/>
      <p:bldP spid="166" grpId="0" animBg="1"/>
      <p:bldP spid="167" grpId="0" animBg="1"/>
      <p:bldP spid="168" grpId="0" animBg="1"/>
      <p:bldP spid="77" grpId="0" animBg="1"/>
      <p:bldP spid="138" grpId="0"/>
      <p:bldP spid="149" grpId="0" animBg="1"/>
      <p:bldP spid="150" grpId="0" animBg="1"/>
      <p:bldP spid="151" grpId="0" animBg="1"/>
      <p:bldP spid="152" grpId="0" animBg="1"/>
      <p:bldP spid="71" grpId="0" animBg="1"/>
      <p:bldP spid="41" grpId="0" animBg="1"/>
      <p:bldP spid="3" grpId="0" animBg="1"/>
      <p:bldP spid="3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nvSpPr>
        <p:spPr>
          <a:xfrm>
            <a:off x="3965723" y="1964291"/>
            <a:ext cx="1229001" cy="285750"/>
          </a:xfrm>
          <a:prstGeom prst="rect">
            <a:avLst/>
          </a:prstGeom>
          <a:solidFill>
            <a:schemeClr val="accent1"/>
          </a:solidFill>
          <a:ln w="9525" cap="flat" cmpd="sng" algn="ctr">
            <a:noFill/>
            <a:prstDash val="solid"/>
          </a:ln>
          <a:effectLst/>
        </p:spPr>
        <p:txBody>
          <a:bodyPr lIns="68560" tIns="34281" rIns="68560" bIns="34281"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4"/>
            <a:r>
              <a:rPr lang="en-US" sz="1125" dirty="0">
                <a:solidFill>
                  <a:srgbClr val="000000">
                    <a:alpha val="99000"/>
                  </a:srgbClr>
                </a:solidFill>
                <a:ea typeface="Segoe UI" pitchFamily="34" charset="0"/>
                <a:cs typeface="Segoe UI" pitchFamily="34" charset="0"/>
              </a:rPr>
              <a:t>You Manage</a:t>
            </a:r>
          </a:p>
        </p:txBody>
      </p:sp>
      <p:grpSp>
        <p:nvGrpSpPr>
          <p:cNvPr id="77" name="Group 76"/>
          <p:cNvGrpSpPr/>
          <p:nvPr/>
        </p:nvGrpSpPr>
        <p:grpSpPr>
          <a:xfrm>
            <a:off x="5755030" y="1964292"/>
            <a:ext cx="1229001" cy="653073"/>
            <a:chOff x="3254776" y="1476054"/>
            <a:chExt cx="1638241" cy="870763"/>
          </a:xfrm>
        </p:grpSpPr>
        <p:sp>
          <p:nvSpPr>
            <p:cNvPr id="78" name="Rectangle 77"/>
            <p:cNvSpPr/>
            <p:nvPr/>
          </p:nvSpPr>
          <p:spPr>
            <a:xfrm>
              <a:off x="3254776" y="1476054"/>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4"/>
              <a:r>
                <a:rPr lang="en-US" sz="1125" dirty="0">
                  <a:solidFill>
                    <a:srgbClr val="000000">
                      <a:alpha val="99000"/>
                    </a:srgbClr>
                  </a:solidFill>
                  <a:ea typeface="Segoe UI" pitchFamily="34" charset="0"/>
                  <a:cs typeface="Segoe UI" pitchFamily="34" charset="0"/>
                </a:rPr>
                <a:t>You Manage</a:t>
              </a:r>
            </a:p>
          </p:txBody>
        </p:sp>
        <p:sp>
          <p:nvSpPr>
            <p:cNvPr id="79" name="Rectangle 78"/>
            <p:cNvSpPr/>
            <p:nvPr/>
          </p:nvSpPr>
          <p:spPr>
            <a:xfrm>
              <a:off x="3254777" y="1965817"/>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25" dirty="0">
                  <a:solidFill>
                    <a:srgbClr val="000000">
                      <a:alpha val="99000"/>
                    </a:srgbClr>
                  </a:solidFill>
                  <a:ea typeface="Segoe UI" pitchFamily="34" charset="0"/>
                  <a:cs typeface="Segoe UI" pitchFamily="34" charset="0"/>
                </a:rPr>
                <a:t>Vendor Manages</a:t>
              </a:r>
            </a:p>
          </p:txBody>
        </p:sp>
      </p:grpSp>
      <p:grpSp>
        <p:nvGrpSpPr>
          <p:cNvPr id="80" name="Group 79"/>
          <p:cNvGrpSpPr/>
          <p:nvPr/>
        </p:nvGrpSpPr>
        <p:grpSpPr>
          <a:xfrm>
            <a:off x="7544337" y="1964292"/>
            <a:ext cx="1229001" cy="653073"/>
            <a:chOff x="3254776" y="1476054"/>
            <a:chExt cx="1638241" cy="870763"/>
          </a:xfrm>
        </p:grpSpPr>
        <p:sp>
          <p:nvSpPr>
            <p:cNvPr id="81" name="Rectangle 80"/>
            <p:cNvSpPr/>
            <p:nvPr/>
          </p:nvSpPr>
          <p:spPr>
            <a:xfrm>
              <a:off x="3254776" y="1476054"/>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4"/>
              <a:r>
                <a:rPr lang="en-US" sz="1125" dirty="0">
                  <a:solidFill>
                    <a:srgbClr val="000000">
                      <a:alpha val="99000"/>
                    </a:srgbClr>
                  </a:solidFill>
                  <a:ea typeface="Segoe UI" pitchFamily="34" charset="0"/>
                  <a:cs typeface="Segoe UI" pitchFamily="34" charset="0"/>
                </a:rPr>
                <a:t>You Manage</a:t>
              </a:r>
            </a:p>
          </p:txBody>
        </p:sp>
        <p:sp>
          <p:nvSpPr>
            <p:cNvPr id="82" name="Rectangle 81"/>
            <p:cNvSpPr/>
            <p:nvPr/>
          </p:nvSpPr>
          <p:spPr>
            <a:xfrm>
              <a:off x="3254777" y="1965817"/>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25" dirty="0">
                  <a:solidFill>
                    <a:srgbClr val="000000">
                      <a:alpha val="99000"/>
                    </a:srgbClr>
                  </a:solidFill>
                  <a:ea typeface="Segoe UI" pitchFamily="34" charset="0"/>
                  <a:cs typeface="Segoe UI" pitchFamily="34" charset="0"/>
                </a:rPr>
                <a:t>Vendor Manages</a:t>
              </a:r>
            </a:p>
          </p:txBody>
        </p:sp>
      </p:grpSp>
      <p:grpSp>
        <p:nvGrpSpPr>
          <p:cNvPr id="15" name="Group 14"/>
          <p:cNvGrpSpPr/>
          <p:nvPr/>
        </p:nvGrpSpPr>
        <p:grpSpPr>
          <a:xfrm>
            <a:off x="5545399" y="1933575"/>
            <a:ext cx="1648254" cy="3771900"/>
            <a:chOff x="6108700" y="1676401"/>
            <a:chExt cx="2197100" cy="5029200"/>
          </a:xfrm>
        </p:grpSpPr>
        <p:sp>
          <p:nvSpPr>
            <p:cNvPr id="68" name="Rectangle 67"/>
            <p:cNvSpPr/>
            <p:nvPr/>
          </p:nvSpPr>
          <p:spPr bwMode="auto">
            <a:xfrm>
              <a:off x="6108700" y="1676401"/>
              <a:ext cx="2197100" cy="5029200"/>
            </a:xfrm>
            <a:prstGeom prst="rect">
              <a:avLst/>
            </a:prstGeom>
            <a:solidFill>
              <a:srgbClr val="191919"/>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50" tIns="28575" rIns="28575" bIns="57150" numCol="1" spcCol="0" rtlCol="0" fromWordArt="0" anchor="b" anchorCtr="0" forceAA="0" compatLnSpc="1">
              <a:prstTxWarp prst="textNoShape">
                <a:avLst/>
              </a:prstTxWarp>
              <a:noAutofit/>
            </a:bodyPr>
            <a:lstStyle/>
            <a:p>
              <a:pPr algn="ctr" defTabSz="685368" fontAlgn="base">
                <a:spcBef>
                  <a:spcPct val="0"/>
                </a:spcBef>
                <a:spcAft>
                  <a:spcPct val="0"/>
                </a:spcAft>
              </a:pPr>
              <a:endParaRPr lang="en-US" sz="1375" spc="-3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6207095" y="1778314"/>
              <a:ext cx="2000311" cy="4790434"/>
              <a:chOff x="6315305" y="1583374"/>
              <a:chExt cx="2000311" cy="4790434"/>
            </a:xfrm>
          </p:grpSpPr>
          <p:sp>
            <p:nvSpPr>
              <p:cNvPr id="154" name="Rectangle 153"/>
              <p:cNvSpPr/>
              <p:nvPr/>
            </p:nvSpPr>
            <p:spPr>
              <a:xfrm>
                <a:off x="6315305" y="1583374"/>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3749" fontAlgn="base">
                  <a:spcAft>
                    <a:spcPct val="0"/>
                  </a:spcAft>
                </a:pPr>
                <a:r>
                  <a:rPr lang="en-US" sz="1500" dirty="0">
                    <a:solidFill>
                      <a:srgbClr val="FFFFFF">
                        <a:alpha val="99000"/>
                      </a:srgbClr>
                    </a:solidFill>
                    <a:ea typeface="Kozuka Gothic Pro R" pitchFamily="34" charset="-128"/>
                  </a:rPr>
                  <a:t>Platform</a:t>
                </a:r>
              </a:p>
              <a:p>
                <a:pPr algn="ctr" defTabSz="913824"/>
                <a:r>
                  <a:rPr lang="en-US" sz="1188" dirty="0">
                    <a:solidFill>
                      <a:srgbClr val="FFFFFF">
                        <a:alpha val="99000"/>
                      </a:srgbClr>
                    </a:solidFill>
                    <a:ea typeface="Kozuka Gothic Pro R" pitchFamily="34" charset="-128"/>
                  </a:rPr>
                  <a:t>(as a Service)</a:t>
                </a:r>
              </a:p>
            </p:txBody>
          </p:sp>
          <p:sp>
            <p:nvSpPr>
              <p:cNvPr id="160" name="Rectangle 159"/>
              <p:cNvSpPr/>
              <p:nvPr/>
            </p:nvSpPr>
            <p:spPr>
              <a:xfrm>
                <a:off x="6484238" y="5537991"/>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88" dirty="0">
                    <a:solidFill>
                      <a:srgbClr val="000000">
                        <a:alpha val="99000"/>
                      </a:srgbClr>
                    </a:solidFill>
                    <a:ea typeface="Segoe UI" pitchFamily="34" charset="0"/>
                    <a:cs typeface="Segoe UI" pitchFamily="34" charset="0"/>
                  </a:rPr>
                  <a:t>Storage</a:t>
                </a:r>
              </a:p>
            </p:txBody>
          </p:sp>
          <p:sp>
            <p:nvSpPr>
              <p:cNvPr id="161" name="Rectangle 160"/>
              <p:cNvSpPr/>
              <p:nvPr/>
            </p:nvSpPr>
            <p:spPr>
              <a:xfrm>
                <a:off x="6484238" y="5083172"/>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88" dirty="0">
                    <a:solidFill>
                      <a:srgbClr val="000000">
                        <a:alpha val="99000"/>
                      </a:srgbClr>
                    </a:solidFill>
                    <a:ea typeface="Segoe UI" pitchFamily="34" charset="0"/>
                    <a:cs typeface="Segoe UI" pitchFamily="34" charset="0"/>
                  </a:rPr>
                  <a:t>Servers</a:t>
                </a:r>
              </a:p>
            </p:txBody>
          </p:sp>
          <p:sp>
            <p:nvSpPr>
              <p:cNvPr id="162" name="Rectangle 161"/>
              <p:cNvSpPr/>
              <p:nvPr/>
            </p:nvSpPr>
            <p:spPr>
              <a:xfrm>
                <a:off x="6484238" y="5992808"/>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88" dirty="0">
                    <a:solidFill>
                      <a:srgbClr val="000000">
                        <a:alpha val="99000"/>
                      </a:srgbClr>
                    </a:solidFill>
                    <a:ea typeface="Segoe UI" pitchFamily="34" charset="0"/>
                    <a:cs typeface="Segoe UI" pitchFamily="34" charset="0"/>
                  </a:rPr>
                  <a:t>Networking</a:t>
                </a:r>
              </a:p>
            </p:txBody>
          </p:sp>
          <p:sp>
            <p:nvSpPr>
              <p:cNvPr id="163" name="Rectangle 162"/>
              <p:cNvSpPr/>
              <p:nvPr/>
            </p:nvSpPr>
            <p:spPr>
              <a:xfrm>
                <a:off x="6484238" y="4173534"/>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88" dirty="0">
                    <a:solidFill>
                      <a:srgbClr val="000000">
                        <a:alpha val="99000"/>
                      </a:srgbClr>
                    </a:solidFill>
                    <a:ea typeface="Segoe UI" pitchFamily="34" charset="0"/>
                    <a:cs typeface="Segoe UI" pitchFamily="34" charset="0"/>
                  </a:rPr>
                  <a:t>O/S</a:t>
                </a:r>
              </a:p>
            </p:txBody>
          </p:sp>
          <p:sp>
            <p:nvSpPr>
              <p:cNvPr id="164" name="Rectangle 163"/>
              <p:cNvSpPr/>
              <p:nvPr/>
            </p:nvSpPr>
            <p:spPr>
              <a:xfrm>
                <a:off x="6484238" y="3718715"/>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88" dirty="0">
                    <a:solidFill>
                      <a:srgbClr val="000000">
                        <a:alpha val="99000"/>
                      </a:srgbClr>
                    </a:solidFill>
                    <a:ea typeface="Segoe UI" pitchFamily="34" charset="0"/>
                    <a:cs typeface="Segoe UI" pitchFamily="34" charset="0"/>
                  </a:rPr>
                  <a:t>Middleware</a:t>
                </a:r>
              </a:p>
            </p:txBody>
          </p:sp>
          <p:sp>
            <p:nvSpPr>
              <p:cNvPr id="165" name="Rectangle 164"/>
              <p:cNvSpPr/>
              <p:nvPr/>
            </p:nvSpPr>
            <p:spPr>
              <a:xfrm>
                <a:off x="6484238" y="4628353"/>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88" dirty="0">
                    <a:solidFill>
                      <a:srgbClr val="000000">
                        <a:alpha val="99000"/>
                      </a:srgbClr>
                    </a:solidFill>
                    <a:ea typeface="Segoe UI" pitchFamily="34" charset="0"/>
                    <a:cs typeface="Segoe UI" pitchFamily="34" charset="0"/>
                  </a:rPr>
                  <a:t>Virtualization</a:t>
                </a:r>
              </a:p>
            </p:txBody>
          </p:sp>
          <p:sp>
            <p:nvSpPr>
              <p:cNvPr id="166" name="Rectangle 165"/>
              <p:cNvSpPr/>
              <p:nvPr/>
            </p:nvSpPr>
            <p:spPr>
              <a:xfrm>
                <a:off x="6484238" y="2354258"/>
                <a:ext cx="1638240" cy="381000"/>
              </a:xfrm>
              <a:prstGeom prst="rect">
                <a:avLst/>
              </a:prstGeom>
              <a:solidFill>
                <a:schemeClr val="accent1"/>
              </a:solidFill>
              <a:ln w="9525" cap="flat" cmpd="sng" algn="ctr">
                <a:noFill/>
                <a:prstDash val="solid"/>
              </a:ln>
              <a:effectLst/>
            </p:spPr>
            <p:txBody>
              <a:bodyPr rtlCol="0" anchor="t" anchorCtr="0"/>
              <a:lstStyle/>
              <a:p>
                <a:pPr algn="ctr" defTabSz="913824"/>
                <a:r>
                  <a:rPr lang="en-US" sz="1188" dirty="0">
                    <a:solidFill>
                      <a:srgbClr val="000000">
                        <a:alpha val="99000"/>
                      </a:srgbClr>
                    </a:solidFill>
                    <a:ea typeface="Segoe UI" pitchFamily="34" charset="0"/>
                    <a:cs typeface="Segoe UI" pitchFamily="34" charset="0"/>
                  </a:rPr>
                  <a:t>Applications</a:t>
                </a:r>
              </a:p>
            </p:txBody>
          </p:sp>
          <p:sp>
            <p:nvSpPr>
              <p:cNvPr id="167" name="Rectangle 166"/>
              <p:cNvSpPr/>
              <p:nvPr/>
            </p:nvSpPr>
            <p:spPr>
              <a:xfrm>
                <a:off x="6484238" y="3263896"/>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88" dirty="0">
                    <a:solidFill>
                      <a:srgbClr val="000000">
                        <a:alpha val="99000"/>
                      </a:srgbClr>
                    </a:solidFill>
                    <a:ea typeface="Segoe UI" pitchFamily="34" charset="0"/>
                    <a:cs typeface="Segoe UI" pitchFamily="34" charset="0"/>
                  </a:rPr>
                  <a:t>Runtime</a:t>
                </a:r>
              </a:p>
            </p:txBody>
          </p:sp>
          <p:sp>
            <p:nvSpPr>
              <p:cNvPr id="168" name="Rectangle 167"/>
              <p:cNvSpPr/>
              <p:nvPr/>
            </p:nvSpPr>
            <p:spPr>
              <a:xfrm>
                <a:off x="6484238" y="2809077"/>
                <a:ext cx="1638240" cy="381000"/>
              </a:xfrm>
              <a:prstGeom prst="rect">
                <a:avLst/>
              </a:prstGeom>
              <a:solidFill>
                <a:schemeClr val="accent1"/>
              </a:solidFill>
              <a:ln w="9525" cap="flat" cmpd="sng" algn="ctr">
                <a:noFill/>
                <a:prstDash val="solid"/>
              </a:ln>
              <a:effectLst/>
            </p:spPr>
            <p:txBody>
              <a:bodyPr rtlCol="0" anchor="t" anchorCtr="0"/>
              <a:lstStyle/>
              <a:p>
                <a:pPr algn="ctr" defTabSz="913824"/>
                <a:r>
                  <a:rPr lang="en-US" sz="1188" dirty="0">
                    <a:solidFill>
                      <a:srgbClr val="000000">
                        <a:alpha val="99000"/>
                      </a:srgbClr>
                    </a:solidFill>
                    <a:ea typeface="Segoe UI" pitchFamily="34" charset="0"/>
                    <a:cs typeface="Segoe UI" pitchFamily="34" charset="0"/>
                  </a:rPr>
                  <a:t>Data</a:t>
                </a:r>
              </a:p>
            </p:txBody>
          </p:sp>
        </p:grpSp>
      </p:grpSp>
      <p:grpSp>
        <p:nvGrpSpPr>
          <p:cNvPr id="16" name="Group 15"/>
          <p:cNvGrpSpPr/>
          <p:nvPr/>
        </p:nvGrpSpPr>
        <p:grpSpPr>
          <a:xfrm>
            <a:off x="7361380" y="1933575"/>
            <a:ext cx="1648254" cy="3771900"/>
            <a:chOff x="8466946" y="1676401"/>
            <a:chExt cx="2197100" cy="5029200"/>
          </a:xfrm>
        </p:grpSpPr>
        <p:sp>
          <p:nvSpPr>
            <p:cNvPr id="69" name="Rectangle 68"/>
            <p:cNvSpPr/>
            <p:nvPr/>
          </p:nvSpPr>
          <p:spPr bwMode="auto">
            <a:xfrm>
              <a:off x="8466946" y="1676401"/>
              <a:ext cx="2197100" cy="5029200"/>
            </a:xfrm>
            <a:prstGeom prst="rect">
              <a:avLst/>
            </a:prstGeom>
            <a:solidFill>
              <a:srgbClr val="191919"/>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50" tIns="28575" rIns="28575" bIns="57150" numCol="1" spcCol="0" rtlCol="0" fromWordArt="0" anchor="b" anchorCtr="0" forceAA="0" compatLnSpc="1">
              <a:prstTxWarp prst="textNoShape">
                <a:avLst/>
              </a:prstTxWarp>
              <a:noAutofit/>
            </a:bodyPr>
            <a:lstStyle/>
            <a:p>
              <a:pPr algn="ctr" defTabSz="685368" fontAlgn="base">
                <a:spcBef>
                  <a:spcPct val="0"/>
                </a:spcBef>
                <a:spcAft>
                  <a:spcPct val="0"/>
                </a:spcAft>
              </a:pPr>
              <a:endParaRPr lang="en-US" sz="1375" spc="-3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8551368" y="1778314"/>
              <a:ext cx="2028257" cy="4790431"/>
              <a:chOff x="8840159" y="1583374"/>
              <a:chExt cx="2028257" cy="4790431"/>
            </a:xfrm>
          </p:grpSpPr>
          <p:sp>
            <p:nvSpPr>
              <p:cNvPr id="170" name="Rectangle 169"/>
              <p:cNvSpPr/>
              <p:nvPr/>
            </p:nvSpPr>
            <p:spPr>
              <a:xfrm>
                <a:off x="8840159" y="1583374"/>
                <a:ext cx="2028257"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3749" fontAlgn="base">
                  <a:spcAft>
                    <a:spcPct val="0"/>
                  </a:spcAft>
                </a:pPr>
                <a:r>
                  <a:rPr lang="en-US" sz="1500" dirty="0">
                    <a:solidFill>
                      <a:srgbClr val="FFFFFF">
                        <a:alpha val="99000"/>
                      </a:srgbClr>
                    </a:solidFill>
                    <a:ea typeface="Kozuka Gothic Pro R" pitchFamily="34" charset="-128"/>
                  </a:rPr>
                  <a:t>Software</a:t>
                </a:r>
              </a:p>
              <a:p>
                <a:pPr algn="ctr" defTabSz="913824"/>
                <a:r>
                  <a:rPr lang="en-US" sz="1188" dirty="0">
                    <a:solidFill>
                      <a:srgbClr val="FFFFFF">
                        <a:alpha val="99000"/>
                      </a:srgbClr>
                    </a:solidFill>
                    <a:ea typeface="Kozuka Gothic Pro R" pitchFamily="34" charset="-128"/>
                  </a:rPr>
                  <a:t>(as a Service)</a:t>
                </a:r>
              </a:p>
            </p:txBody>
          </p:sp>
          <p:sp>
            <p:nvSpPr>
              <p:cNvPr id="174" name="Rectangle 173"/>
              <p:cNvSpPr/>
              <p:nvPr/>
            </p:nvSpPr>
            <p:spPr>
              <a:xfrm>
                <a:off x="9040806" y="5537988"/>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88" dirty="0">
                    <a:solidFill>
                      <a:srgbClr val="000000">
                        <a:alpha val="99000"/>
                      </a:srgbClr>
                    </a:solidFill>
                    <a:ea typeface="Segoe UI" pitchFamily="34" charset="0"/>
                    <a:cs typeface="Segoe UI" pitchFamily="34" charset="0"/>
                  </a:rPr>
                  <a:t>Storage</a:t>
                </a:r>
              </a:p>
            </p:txBody>
          </p:sp>
          <p:sp>
            <p:nvSpPr>
              <p:cNvPr id="175" name="Rectangle 174"/>
              <p:cNvSpPr/>
              <p:nvPr/>
            </p:nvSpPr>
            <p:spPr>
              <a:xfrm>
                <a:off x="9040806" y="5083169"/>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88" dirty="0">
                    <a:solidFill>
                      <a:srgbClr val="000000">
                        <a:alpha val="99000"/>
                      </a:srgbClr>
                    </a:solidFill>
                    <a:ea typeface="Segoe UI" pitchFamily="34" charset="0"/>
                    <a:cs typeface="Segoe UI" pitchFamily="34" charset="0"/>
                  </a:rPr>
                  <a:t>Servers</a:t>
                </a:r>
              </a:p>
            </p:txBody>
          </p:sp>
          <p:sp>
            <p:nvSpPr>
              <p:cNvPr id="176" name="Rectangle 175"/>
              <p:cNvSpPr/>
              <p:nvPr/>
            </p:nvSpPr>
            <p:spPr>
              <a:xfrm>
                <a:off x="9040806" y="5992805"/>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88" dirty="0">
                    <a:solidFill>
                      <a:srgbClr val="000000">
                        <a:alpha val="99000"/>
                      </a:srgbClr>
                    </a:solidFill>
                    <a:ea typeface="Segoe UI" pitchFamily="34" charset="0"/>
                    <a:cs typeface="Segoe UI" pitchFamily="34" charset="0"/>
                  </a:rPr>
                  <a:t>Networking</a:t>
                </a:r>
              </a:p>
            </p:txBody>
          </p:sp>
          <p:sp>
            <p:nvSpPr>
              <p:cNvPr id="177" name="Rectangle 176"/>
              <p:cNvSpPr/>
              <p:nvPr/>
            </p:nvSpPr>
            <p:spPr>
              <a:xfrm>
                <a:off x="9040806" y="4173531"/>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88" dirty="0">
                    <a:solidFill>
                      <a:srgbClr val="000000">
                        <a:alpha val="99000"/>
                      </a:srgbClr>
                    </a:solidFill>
                    <a:ea typeface="Segoe UI" pitchFamily="34" charset="0"/>
                    <a:cs typeface="Segoe UI" pitchFamily="34" charset="0"/>
                  </a:rPr>
                  <a:t>O/S</a:t>
                </a:r>
              </a:p>
            </p:txBody>
          </p:sp>
          <p:sp>
            <p:nvSpPr>
              <p:cNvPr id="178" name="Rectangle 177"/>
              <p:cNvSpPr/>
              <p:nvPr/>
            </p:nvSpPr>
            <p:spPr>
              <a:xfrm>
                <a:off x="9040806" y="3718712"/>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88" dirty="0">
                    <a:solidFill>
                      <a:srgbClr val="000000">
                        <a:alpha val="99000"/>
                      </a:srgbClr>
                    </a:solidFill>
                    <a:ea typeface="Segoe UI" pitchFamily="34" charset="0"/>
                    <a:cs typeface="Segoe UI" pitchFamily="34" charset="0"/>
                  </a:rPr>
                  <a:t>Middleware</a:t>
                </a:r>
              </a:p>
            </p:txBody>
          </p:sp>
          <p:sp>
            <p:nvSpPr>
              <p:cNvPr id="179" name="Rectangle 178"/>
              <p:cNvSpPr/>
              <p:nvPr/>
            </p:nvSpPr>
            <p:spPr>
              <a:xfrm>
                <a:off x="9040806" y="4628350"/>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88" dirty="0">
                    <a:solidFill>
                      <a:srgbClr val="000000">
                        <a:alpha val="99000"/>
                      </a:srgbClr>
                    </a:solidFill>
                    <a:ea typeface="Segoe UI" pitchFamily="34" charset="0"/>
                    <a:cs typeface="Segoe UI" pitchFamily="34" charset="0"/>
                  </a:rPr>
                  <a:t>Virtualization</a:t>
                </a:r>
              </a:p>
            </p:txBody>
          </p:sp>
          <p:sp>
            <p:nvSpPr>
              <p:cNvPr id="180" name="Rectangle 179"/>
              <p:cNvSpPr/>
              <p:nvPr/>
            </p:nvSpPr>
            <p:spPr>
              <a:xfrm>
                <a:off x="9040806" y="2354255"/>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88" dirty="0">
                    <a:solidFill>
                      <a:srgbClr val="000000">
                        <a:alpha val="99000"/>
                      </a:srgbClr>
                    </a:solidFill>
                    <a:ea typeface="Segoe UI" pitchFamily="34" charset="0"/>
                    <a:cs typeface="Segoe UI" pitchFamily="34" charset="0"/>
                  </a:rPr>
                  <a:t>Applications</a:t>
                </a:r>
              </a:p>
            </p:txBody>
          </p:sp>
          <p:sp>
            <p:nvSpPr>
              <p:cNvPr id="181" name="Rectangle 180"/>
              <p:cNvSpPr/>
              <p:nvPr/>
            </p:nvSpPr>
            <p:spPr>
              <a:xfrm>
                <a:off x="9040806" y="3263893"/>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88" dirty="0">
                    <a:solidFill>
                      <a:srgbClr val="000000">
                        <a:alpha val="99000"/>
                      </a:srgbClr>
                    </a:solidFill>
                    <a:ea typeface="Segoe UI" pitchFamily="34" charset="0"/>
                    <a:cs typeface="Segoe UI" pitchFamily="34" charset="0"/>
                  </a:rPr>
                  <a:t>Runtime</a:t>
                </a:r>
              </a:p>
            </p:txBody>
          </p:sp>
          <p:sp>
            <p:nvSpPr>
              <p:cNvPr id="182" name="Rectangle 181"/>
              <p:cNvSpPr/>
              <p:nvPr/>
            </p:nvSpPr>
            <p:spPr>
              <a:xfrm>
                <a:off x="9040806" y="2809074"/>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88" dirty="0">
                    <a:solidFill>
                      <a:srgbClr val="000000">
                        <a:alpha val="99000"/>
                      </a:srgbClr>
                    </a:solidFill>
                    <a:ea typeface="Segoe UI" pitchFamily="34" charset="0"/>
                    <a:cs typeface="Segoe UI" pitchFamily="34" charset="0"/>
                  </a:rPr>
                  <a:t>Data</a:t>
                </a:r>
              </a:p>
            </p:txBody>
          </p:sp>
        </p:grpSp>
      </p:grpSp>
      <p:grpSp>
        <p:nvGrpSpPr>
          <p:cNvPr id="14" name="Group 13"/>
          <p:cNvGrpSpPr/>
          <p:nvPr/>
        </p:nvGrpSpPr>
        <p:grpSpPr>
          <a:xfrm>
            <a:off x="3729418" y="1933575"/>
            <a:ext cx="1648254" cy="3771900"/>
            <a:chOff x="3683000" y="1676401"/>
            <a:chExt cx="2197100" cy="5029200"/>
          </a:xfrm>
        </p:grpSpPr>
        <p:sp useBgFill="1">
          <p:nvSpPr>
            <p:cNvPr id="67" name="Rectangle 66"/>
            <p:cNvSpPr/>
            <p:nvPr/>
          </p:nvSpPr>
          <p:spPr bwMode="auto">
            <a:xfrm>
              <a:off x="3683000" y="1676401"/>
              <a:ext cx="2197100" cy="5029200"/>
            </a:xfrm>
            <a:prstGeom prst="rect">
              <a:avLst/>
            </a:prstGeom>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50" tIns="28575" rIns="28575" bIns="57150" numCol="1" spcCol="0" rtlCol="0" fromWordArt="0" anchor="b" anchorCtr="0" forceAA="0" compatLnSpc="1">
              <a:prstTxWarp prst="textNoShape">
                <a:avLst/>
              </a:prstTxWarp>
              <a:noAutofit/>
            </a:bodyPr>
            <a:lstStyle/>
            <a:p>
              <a:pPr algn="ctr" defTabSz="685368" fontAlgn="base">
                <a:spcBef>
                  <a:spcPct val="0"/>
                </a:spcBef>
                <a:spcAft>
                  <a:spcPct val="0"/>
                </a:spcAft>
              </a:pPr>
              <a:endParaRPr lang="en-US" sz="1375" spc="-3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3752850" y="1778313"/>
              <a:ext cx="2057400" cy="4790435"/>
              <a:chOff x="3683007" y="1583373"/>
              <a:chExt cx="2057400" cy="4790435"/>
            </a:xfrm>
          </p:grpSpPr>
          <p:sp>
            <p:nvSpPr>
              <p:cNvPr id="138" name="Rectangle 137"/>
              <p:cNvSpPr/>
              <p:nvPr/>
            </p:nvSpPr>
            <p:spPr>
              <a:xfrm>
                <a:off x="3683007" y="1583373"/>
                <a:ext cx="2057400"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3749" fontAlgn="base">
                  <a:spcAft>
                    <a:spcPct val="0"/>
                  </a:spcAft>
                </a:pPr>
                <a:r>
                  <a:rPr lang="en-US" sz="1500" dirty="0">
                    <a:solidFill>
                      <a:srgbClr val="292929"/>
                    </a:solidFill>
                    <a:ea typeface="Kozuka Gothic Pro R" pitchFamily="34" charset="-128"/>
                  </a:rPr>
                  <a:t>Infrastructure</a:t>
                </a:r>
              </a:p>
              <a:p>
                <a:pPr algn="ctr" defTabSz="913824"/>
                <a:r>
                  <a:rPr lang="en-US" sz="1188" dirty="0">
                    <a:solidFill>
                      <a:srgbClr val="292929"/>
                    </a:solidFill>
                    <a:ea typeface="Kozuka Gothic Pro R" pitchFamily="34" charset="-128"/>
                  </a:rPr>
                  <a:t>(as a Service)</a:t>
                </a:r>
              </a:p>
            </p:txBody>
          </p:sp>
          <p:sp>
            <p:nvSpPr>
              <p:cNvPr id="144" name="Rectangle 143"/>
              <p:cNvSpPr/>
              <p:nvPr/>
            </p:nvSpPr>
            <p:spPr>
              <a:xfrm>
                <a:off x="3928144" y="5537991"/>
                <a:ext cx="1638241" cy="381000"/>
              </a:xfrm>
              <a:prstGeom prst="rect">
                <a:avLst/>
              </a:prstGeom>
              <a:solidFill>
                <a:schemeClr val="accent2"/>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3824"/>
                <a:r>
                  <a:rPr lang="en-US" sz="1188" dirty="0">
                    <a:solidFill>
                      <a:srgbClr val="000000">
                        <a:alpha val="99000"/>
                      </a:srgbClr>
                    </a:solidFill>
                    <a:ea typeface="Segoe UI" pitchFamily="34" charset="0"/>
                    <a:cs typeface="Segoe UI" pitchFamily="34" charset="0"/>
                  </a:rPr>
                  <a:t>Storage</a:t>
                </a:r>
              </a:p>
            </p:txBody>
          </p:sp>
          <p:sp>
            <p:nvSpPr>
              <p:cNvPr id="145" name="Rectangle 144"/>
              <p:cNvSpPr/>
              <p:nvPr/>
            </p:nvSpPr>
            <p:spPr>
              <a:xfrm>
                <a:off x="3928144" y="5083172"/>
                <a:ext cx="1638241" cy="381000"/>
              </a:xfrm>
              <a:prstGeom prst="rect">
                <a:avLst/>
              </a:prstGeom>
              <a:solidFill>
                <a:schemeClr val="accent2"/>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3824"/>
                <a:r>
                  <a:rPr lang="en-US" sz="1188" dirty="0">
                    <a:solidFill>
                      <a:srgbClr val="000000">
                        <a:alpha val="99000"/>
                      </a:srgbClr>
                    </a:solidFill>
                    <a:ea typeface="Segoe UI" pitchFamily="34" charset="0"/>
                    <a:cs typeface="Segoe UI" pitchFamily="34" charset="0"/>
                  </a:rPr>
                  <a:t>Servers</a:t>
                </a:r>
              </a:p>
            </p:txBody>
          </p:sp>
          <p:sp>
            <p:nvSpPr>
              <p:cNvPr id="146" name="Rectangle 145"/>
              <p:cNvSpPr/>
              <p:nvPr/>
            </p:nvSpPr>
            <p:spPr>
              <a:xfrm>
                <a:off x="3928144" y="5992808"/>
                <a:ext cx="1638241" cy="381000"/>
              </a:xfrm>
              <a:prstGeom prst="rect">
                <a:avLst/>
              </a:prstGeom>
              <a:solidFill>
                <a:schemeClr val="accent2"/>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3824"/>
                <a:r>
                  <a:rPr lang="en-US" sz="1188" dirty="0">
                    <a:solidFill>
                      <a:srgbClr val="000000">
                        <a:alpha val="99000"/>
                      </a:srgbClr>
                    </a:solidFill>
                    <a:ea typeface="Segoe UI" pitchFamily="34" charset="0"/>
                    <a:cs typeface="Segoe UI" pitchFamily="34" charset="0"/>
                  </a:rPr>
                  <a:t>Networking</a:t>
                </a:r>
              </a:p>
            </p:txBody>
          </p:sp>
          <p:sp>
            <p:nvSpPr>
              <p:cNvPr id="147" name="Rectangle 146"/>
              <p:cNvSpPr/>
              <p:nvPr/>
            </p:nvSpPr>
            <p:spPr>
              <a:xfrm>
                <a:off x="3928144" y="4173534"/>
                <a:ext cx="1638241" cy="381000"/>
              </a:xfrm>
              <a:prstGeom prst="rect">
                <a:avLst/>
              </a:prstGeom>
              <a:solidFill>
                <a:schemeClr val="accent1"/>
              </a:solidFill>
              <a:ln w="9525" cap="flat" cmpd="sng" algn="ctr">
                <a:noFill/>
                <a:prstDash val="solid"/>
              </a:ln>
              <a:effectLst/>
            </p:spPr>
            <p:txBody>
              <a:bodyPr rtlCol="0" anchor="t" anchorCtr="0"/>
              <a:lstStyle/>
              <a:p>
                <a:pPr algn="ctr" defTabSz="913824"/>
                <a:r>
                  <a:rPr lang="en-US" sz="1188" dirty="0">
                    <a:solidFill>
                      <a:srgbClr val="000000">
                        <a:alpha val="99000"/>
                      </a:srgbClr>
                    </a:solidFill>
                    <a:ea typeface="Segoe UI" pitchFamily="34" charset="0"/>
                    <a:cs typeface="Segoe UI" pitchFamily="34" charset="0"/>
                  </a:rPr>
                  <a:t>O/S</a:t>
                </a:r>
              </a:p>
            </p:txBody>
          </p:sp>
          <p:sp>
            <p:nvSpPr>
              <p:cNvPr id="148" name="Rectangle 147"/>
              <p:cNvSpPr/>
              <p:nvPr/>
            </p:nvSpPr>
            <p:spPr>
              <a:xfrm>
                <a:off x="3928144" y="3718715"/>
                <a:ext cx="1638241" cy="381000"/>
              </a:xfrm>
              <a:prstGeom prst="rect">
                <a:avLst/>
              </a:prstGeom>
              <a:solidFill>
                <a:schemeClr val="accent1"/>
              </a:solidFill>
              <a:ln w="9525" cap="flat" cmpd="sng" algn="ctr">
                <a:noFill/>
                <a:prstDash val="solid"/>
              </a:ln>
              <a:effectLst/>
            </p:spPr>
            <p:txBody>
              <a:bodyPr rtlCol="0" anchor="t" anchorCtr="0"/>
              <a:lstStyle/>
              <a:p>
                <a:pPr algn="ctr" defTabSz="913824"/>
                <a:r>
                  <a:rPr lang="en-US" sz="1188" dirty="0">
                    <a:solidFill>
                      <a:srgbClr val="000000">
                        <a:alpha val="99000"/>
                      </a:srgbClr>
                    </a:solidFill>
                    <a:ea typeface="Segoe UI" pitchFamily="34" charset="0"/>
                    <a:cs typeface="Segoe UI" pitchFamily="34" charset="0"/>
                  </a:rPr>
                  <a:t>Middleware</a:t>
                </a:r>
              </a:p>
            </p:txBody>
          </p:sp>
          <p:sp>
            <p:nvSpPr>
              <p:cNvPr id="149" name="Rectangle 148"/>
              <p:cNvSpPr/>
              <p:nvPr/>
            </p:nvSpPr>
            <p:spPr>
              <a:xfrm>
                <a:off x="3928144" y="4628353"/>
                <a:ext cx="1638241" cy="381000"/>
              </a:xfrm>
              <a:prstGeom prst="rect">
                <a:avLst/>
              </a:prstGeom>
              <a:solidFill>
                <a:schemeClr val="accent2"/>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3824"/>
                <a:r>
                  <a:rPr lang="en-US" sz="1188" dirty="0">
                    <a:solidFill>
                      <a:srgbClr val="000000">
                        <a:alpha val="99000"/>
                      </a:srgbClr>
                    </a:solidFill>
                    <a:ea typeface="Segoe UI" pitchFamily="34" charset="0"/>
                    <a:cs typeface="Segoe UI" pitchFamily="34" charset="0"/>
                  </a:rPr>
                  <a:t>Virtualization</a:t>
                </a:r>
              </a:p>
            </p:txBody>
          </p:sp>
          <p:sp>
            <p:nvSpPr>
              <p:cNvPr id="150" name="Rectangle 149"/>
              <p:cNvSpPr/>
              <p:nvPr/>
            </p:nvSpPr>
            <p:spPr>
              <a:xfrm>
                <a:off x="3928144" y="2809077"/>
                <a:ext cx="1638241" cy="381000"/>
              </a:xfrm>
              <a:prstGeom prst="rect">
                <a:avLst/>
              </a:prstGeom>
              <a:solidFill>
                <a:schemeClr val="accent1"/>
              </a:solidFill>
              <a:ln w="9525" cap="flat" cmpd="sng" algn="ctr">
                <a:noFill/>
                <a:prstDash val="solid"/>
              </a:ln>
              <a:effectLst/>
            </p:spPr>
            <p:txBody>
              <a:bodyPr rtlCol="0" anchor="t" anchorCtr="0"/>
              <a:lstStyle/>
              <a:p>
                <a:pPr algn="ctr" defTabSz="913824"/>
                <a:r>
                  <a:rPr lang="en-US" sz="1188" dirty="0">
                    <a:solidFill>
                      <a:srgbClr val="000000">
                        <a:alpha val="99000"/>
                      </a:srgbClr>
                    </a:solidFill>
                    <a:ea typeface="Segoe UI" pitchFamily="34" charset="0"/>
                    <a:cs typeface="Segoe UI" pitchFamily="34" charset="0"/>
                  </a:rPr>
                  <a:t>Data</a:t>
                </a:r>
              </a:p>
            </p:txBody>
          </p:sp>
          <p:sp>
            <p:nvSpPr>
              <p:cNvPr id="151" name="Rectangle 150"/>
              <p:cNvSpPr/>
              <p:nvPr/>
            </p:nvSpPr>
            <p:spPr>
              <a:xfrm>
                <a:off x="3928144" y="2354258"/>
                <a:ext cx="1638241" cy="381000"/>
              </a:xfrm>
              <a:prstGeom prst="rect">
                <a:avLst/>
              </a:prstGeom>
              <a:solidFill>
                <a:schemeClr val="accent1"/>
              </a:solidFill>
              <a:ln w="9525" cap="flat" cmpd="sng" algn="ctr">
                <a:noFill/>
                <a:prstDash val="solid"/>
              </a:ln>
              <a:effectLst/>
            </p:spPr>
            <p:txBody>
              <a:bodyPr rtlCol="0" anchor="t" anchorCtr="0"/>
              <a:lstStyle/>
              <a:p>
                <a:pPr algn="ctr" defTabSz="913824"/>
                <a:r>
                  <a:rPr lang="en-US" sz="1188" dirty="0">
                    <a:solidFill>
                      <a:srgbClr val="000000">
                        <a:alpha val="99000"/>
                      </a:srgbClr>
                    </a:solidFill>
                    <a:ea typeface="Segoe UI" pitchFamily="34" charset="0"/>
                    <a:cs typeface="Segoe UI" pitchFamily="34" charset="0"/>
                  </a:rPr>
                  <a:t>Applications</a:t>
                </a:r>
              </a:p>
            </p:txBody>
          </p:sp>
          <p:sp>
            <p:nvSpPr>
              <p:cNvPr id="152" name="Rectangle 151"/>
              <p:cNvSpPr/>
              <p:nvPr/>
            </p:nvSpPr>
            <p:spPr>
              <a:xfrm>
                <a:off x="3928144" y="3263896"/>
                <a:ext cx="1638241" cy="381000"/>
              </a:xfrm>
              <a:prstGeom prst="rect">
                <a:avLst/>
              </a:prstGeom>
              <a:solidFill>
                <a:schemeClr val="accent1"/>
              </a:solidFill>
              <a:ln w="9525" cap="flat" cmpd="sng" algn="ctr">
                <a:noFill/>
                <a:prstDash val="solid"/>
              </a:ln>
              <a:effectLst/>
            </p:spPr>
            <p:txBody>
              <a:bodyPr rtlCol="0" anchor="t" anchorCtr="0"/>
              <a:lstStyle/>
              <a:p>
                <a:pPr algn="ctr" defTabSz="913824"/>
                <a:r>
                  <a:rPr lang="en-US" sz="1188" dirty="0">
                    <a:solidFill>
                      <a:srgbClr val="000000">
                        <a:alpha val="99000"/>
                      </a:srgbClr>
                    </a:solidFill>
                    <a:ea typeface="Segoe UI" pitchFamily="34" charset="0"/>
                    <a:cs typeface="Segoe UI" pitchFamily="34" charset="0"/>
                  </a:rPr>
                  <a:t>Runtime</a:t>
                </a:r>
              </a:p>
            </p:txBody>
          </p:sp>
        </p:grpSp>
      </p:grpSp>
      <p:grpSp>
        <p:nvGrpSpPr>
          <p:cNvPr id="18" name="Group 17"/>
          <p:cNvGrpSpPr/>
          <p:nvPr/>
        </p:nvGrpSpPr>
        <p:grpSpPr>
          <a:xfrm>
            <a:off x="9252982" y="1964292"/>
            <a:ext cx="1229001" cy="653073"/>
            <a:chOff x="10404220" y="1435101"/>
            <a:chExt cx="1638241" cy="870763"/>
          </a:xfrm>
        </p:grpSpPr>
        <p:sp>
          <p:nvSpPr>
            <p:cNvPr id="59" name="Rectangle 58"/>
            <p:cNvSpPr/>
            <p:nvPr/>
          </p:nvSpPr>
          <p:spPr>
            <a:xfrm>
              <a:off x="10404220" y="1435101"/>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4"/>
              <a:r>
                <a:rPr lang="en-US" sz="1125" dirty="0">
                  <a:solidFill>
                    <a:srgbClr val="000000">
                      <a:alpha val="99000"/>
                    </a:srgbClr>
                  </a:solidFill>
                  <a:ea typeface="Segoe UI" pitchFamily="34" charset="0"/>
                  <a:cs typeface="Segoe UI" pitchFamily="34" charset="0"/>
                </a:rPr>
                <a:t>You Manage</a:t>
              </a:r>
            </a:p>
          </p:txBody>
        </p:sp>
        <p:sp>
          <p:nvSpPr>
            <p:cNvPr id="60" name="Rectangle 59"/>
            <p:cNvSpPr/>
            <p:nvPr/>
          </p:nvSpPr>
          <p:spPr>
            <a:xfrm>
              <a:off x="10404221" y="1924864"/>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913824"/>
              <a:r>
                <a:rPr lang="en-US" sz="1125" dirty="0">
                  <a:solidFill>
                    <a:srgbClr val="000000">
                      <a:alpha val="99000"/>
                    </a:srgbClr>
                  </a:solidFill>
                  <a:ea typeface="Segoe UI" pitchFamily="34" charset="0"/>
                  <a:cs typeface="Segoe UI" pitchFamily="34" charset="0"/>
                </a:rPr>
                <a:t>Vendor Manages</a:t>
              </a:r>
            </a:p>
          </p:txBody>
        </p:sp>
      </p:grpSp>
      <p:sp>
        <p:nvSpPr>
          <p:cNvPr id="2" name="Title 1"/>
          <p:cNvSpPr>
            <a:spLocks noGrp="1"/>
          </p:cNvSpPr>
          <p:nvPr>
            <p:ph type="title"/>
          </p:nvPr>
        </p:nvSpPr>
        <p:spPr>
          <a:xfrm>
            <a:off x="1913440" y="1028703"/>
            <a:ext cx="8363938" cy="747897"/>
          </a:xfrm>
        </p:spPr>
        <p:txBody>
          <a:bodyPr/>
          <a:lstStyle/>
          <a:p>
            <a:r>
              <a:rPr lang="en-US" dirty="0" smtClean="0">
                <a:solidFill>
                  <a:schemeClr val="tx1"/>
                </a:solidFill>
              </a:rPr>
              <a:t>Cloud </a:t>
            </a:r>
            <a:r>
              <a:rPr lang="en-US" dirty="0">
                <a:solidFill>
                  <a:schemeClr val="tx1"/>
                </a:solidFill>
              </a:rPr>
              <a:t>Services</a:t>
            </a:r>
          </a:p>
        </p:txBody>
      </p:sp>
      <p:grpSp>
        <p:nvGrpSpPr>
          <p:cNvPr id="13" name="Group 12"/>
          <p:cNvGrpSpPr/>
          <p:nvPr/>
        </p:nvGrpSpPr>
        <p:grpSpPr>
          <a:xfrm>
            <a:off x="1913437" y="1933575"/>
            <a:ext cx="1648254" cy="3771900"/>
            <a:chOff x="1257300" y="1676401"/>
            <a:chExt cx="2197100" cy="5029200"/>
          </a:xfrm>
        </p:grpSpPr>
        <p:sp>
          <p:nvSpPr>
            <p:cNvPr id="11" name="Rectangle 10"/>
            <p:cNvSpPr/>
            <p:nvPr/>
          </p:nvSpPr>
          <p:spPr bwMode="auto">
            <a:xfrm>
              <a:off x="1257300" y="1676401"/>
              <a:ext cx="2197100" cy="502920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7150" tIns="28575" rIns="28575" bIns="57150" numCol="1" spcCol="0" rtlCol="0" fromWordArt="0" anchor="b" anchorCtr="0" forceAA="0" compatLnSpc="1">
              <a:prstTxWarp prst="textNoShape">
                <a:avLst/>
              </a:prstTxWarp>
              <a:noAutofit/>
            </a:bodyPr>
            <a:lstStyle/>
            <a:p>
              <a:pPr algn="ctr" defTabSz="685368" fontAlgn="base">
                <a:spcBef>
                  <a:spcPct val="0"/>
                </a:spcBef>
                <a:spcAft>
                  <a:spcPct val="0"/>
                </a:spcAft>
              </a:pPr>
              <a:endParaRPr lang="en-US" sz="1375" spc="-3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p:cNvGrpSpPr/>
            <p:nvPr/>
          </p:nvGrpSpPr>
          <p:grpSpPr>
            <a:xfrm>
              <a:off x="1422464" y="1778314"/>
              <a:ext cx="1866772" cy="4790431"/>
              <a:chOff x="1225894" y="1583374"/>
              <a:chExt cx="1866772" cy="4790431"/>
            </a:xfrm>
          </p:grpSpPr>
          <p:sp>
            <p:nvSpPr>
              <p:cNvPr id="124" name="Rectangle 123"/>
              <p:cNvSpPr/>
              <p:nvPr/>
            </p:nvSpPr>
            <p:spPr>
              <a:xfrm>
                <a:off x="1225894" y="1583374"/>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3749" fontAlgn="base">
                  <a:spcAft>
                    <a:spcPct val="0"/>
                  </a:spcAft>
                </a:pPr>
                <a:r>
                  <a:rPr lang="en-US" sz="1500" dirty="0">
                    <a:solidFill>
                      <a:srgbClr val="292929">
                        <a:alpha val="99000"/>
                      </a:srgbClr>
                    </a:solidFill>
                    <a:ea typeface="Kozuka Gothic Pro R" pitchFamily="34" charset="-128"/>
                  </a:rPr>
                  <a:t>On Premises</a:t>
                </a:r>
              </a:p>
            </p:txBody>
          </p:sp>
          <p:sp>
            <p:nvSpPr>
              <p:cNvPr id="128" name="Rectangle 127"/>
              <p:cNvSpPr/>
              <p:nvPr/>
            </p:nvSpPr>
            <p:spPr>
              <a:xfrm>
                <a:off x="1396458" y="5537988"/>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4"/>
                <a:r>
                  <a:rPr lang="en-US" sz="1188" dirty="0">
                    <a:solidFill>
                      <a:srgbClr val="000000">
                        <a:alpha val="99000"/>
                      </a:srgbClr>
                    </a:solidFill>
                    <a:ea typeface="Segoe UI" pitchFamily="34" charset="0"/>
                    <a:cs typeface="Segoe UI" pitchFamily="34" charset="0"/>
                  </a:rPr>
                  <a:t>Storage</a:t>
                </a:r>
              </a:p>
            </p:txBody>
          </p:sp>
          <p:sp>
            <p:nvSpPr>
              <p:cNvPr id="129" name="Rectangle 128"/>
              <p:cNvSpPr/>
              <p:nvPr/>
            </p:nvSpPr>
            <p:spPr>
              <a:xfrm>
                <a:off x="1396458" y="5083169"/>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4"/>
                <a:r>
                  <a:rPr lang="en-US" sz="1188" dirty="0">
                    <a:solidFill>
                      <a:srgbClr val="000000">
                        <a:alpha val="99000"/>
                      </a:srgbClr>
                    </a:solidFill>
                    <a:ea typeface="Segoe UI" pitchFamily="34" charset="0"/>
                    <a:cs typeface="Segoe UI" pitchFamily="34" charset="0"/>
                  </a:rPr>
                  <a:t>Servers</a:t>
                </a:r>
              </a:p>
            </p:txBody>
          </p:sp>
          <p:sp>
            <p:nvSpPr>
              <p:cNvPr id="130" name="Rectangle 129"/>
              <p:cNvSpPr/>
              <p:nvPr/>
            </p:nvSpPr>
            <p:spPr>
              <a:xfrm>
                <a:off x="1396458" y="5992805"/>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4"/>
                <a:r>
                  <a:rPr lang="en-US" sz="1188" dirty="0">
                    <a:solidFill>
                      <a:srgbClr val="000000">
                        <a:alpha val="99000"/>
                      </a:srgbClr>
                    </a:solidFill>
                    <a:ea typeface="Segoe UI" pitchFamily="34" charset="0"/>
                    <a:cs typeface="Segoe UI" pitchFamily="34" charset="0"/>
                  </a:rPr>
                  <a:t>Networking</a:t>
                </a:r>
              </a:p>
            </p:txBody>
          </p:sp>
          <p:sp>
            <p:nvSpPr>
              <p:cNvPr id="131" name="Rectangle 130"/>
              <p:cNvSpPr/>
              <p:nvPr/>
            </p:nvSpPr>
            <p:spPr>
              <a:xfrm>
                <a:off x="1396458" y="4173531"/>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4"/>
                <a:r>
                  <a:rPr lang="en-US" sz="1188" dirty="0">
                    <a:solidFill>
                      <a:srgbClr val="000000">
                        <a:alpha val="99000"/>
                      </a:srgbClr>
                    </a:solidFill>
                    <a:ea typeface="Segoe UI" pitchFamily="34" charset="0"/>
                    <a:cs typeface="Segoe UI" pitchFamily="34" charset="0"/>
                  </a:rPr>
                  <a:t>O/S</a:t>
                </a:r>
              </a:p>
            </p:txBody>
          </p:sp>
          <p:sp>
            <p:nvSpPr>
              <p:cNvPr id="132" name="Rectangle 131"/>
              <p:cNvSpPr/>
              <p:nvPr/>
            </p:nvSpPr>
            <p:spPr>
              <a:xfrm>
                <a:off x="1396458" y="3718712"/>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4"/>
                <a:r>
                  <a:rPr lang="en-US" sz="1188" dirty="0">
                    <a:solidFill>
                      <a:srgbClr val="000000">
                        <a:alpha val="99000"/>
                      </a:srgbClr>
                    </a:solidFill>
                    <a:ea typeface="Segoe UI" pitchFamily="34" charset="0"/>
                    <a:cs typeface="Segoe UI" pitchFamily="34" charset="0"/>
                  </a:rPr>
                  <a:t>Middleware</a:t>
                </a:r>
              </a:p>
            </p:txBody>
          </p:sp>
          <p:sp>
            <p:nvSpPr>
              <p:cNvPr id="133" name="Rectangle 132"/>
              <p:cNvSpPr/>
              <p:nvPr/>
            </p:nvSpPr>
            <p:spPr>
              <a:xfrm>
                <a:off x="1396458" y="4628350"/>
                <a:ext cx="1638241" cy="381000"/>
              </a:xfrm>
              <a:prstGeom prst="rect">
                <a:avLst/>
              </a:prstGeom>
              <a:solidFill>
                <a:schemeClr val="accent1"/>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4"/>
                <a:r>
                  <a:rPr lang="en-US" sz="1188" dirty="0">
                    <a:solidFill>
                      <a:srgbClr val="000000">
                        <a:alpha val="99000"/>
                      </a:srgbClr>
                    </a:solidFill>
                    <a:ea typeface="Segoe UI" pitchFamily="34" charset="0"/>
                    <a:cs typeface="Segoe UI" pitchFamily="34" charset="0"/>
                  </a:rPr>
                  <a:t>Virtualization</a:t>
                </a:r>
              </a:p>
            </p:txBody>
          </p:sp>
          <p:sp>
            <p:nvSpPr>
              <p:cNvPr id="134" name="Rectangle 133"/>
              <p:cNvSpPr/>
              <p:nvPr/>
            </p:nvSpPr>
            <p:spPr>
              <a:xfrm>
                <a:off x="1396458" y="2809074"/>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4"/>
                <a:r>
                  <a:rPr lang="en-US" sz="1188" dirty="0">
                    <a:solidFill>
                      <a:srgbClr val="000000">
                        <a:alpha val="99000"/>
                      </a:srgbClr>
                    </a:solidFill>
                    <a:ea typeface="Segoe UI" pitchFamily="34" charset="0"/>
                    <a:cs typeface="Segoe UI" pitchFamily="34" charset="0"/>
                  </a:rPr>
                  <a:t>Data</a:t>
                </a:r>
              </a:p>
            </p:txBody>
          </p:sp>
          <p:sp>
            <p:nvSpPr>
              <p:cNvPr id="135" name="Rectangle 134"/>
              <p:cNvSpPr/>
              <p:nvPr/>
            </p:nvSpPr>
            <p:spPr>
              <a:xfrm>
                <a:off x="1396458" y="2354255"/>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4"/>
                <a:r>
                  <a:rPr lang="en-US" sz="1188" dirty="0">
                    <a:solidFill>
                      <a:srgbClr val="000000">
                        <a:alpha val="99000"/>
                      </a:srgbClr>
                    </a:solidFill>
                    <a:ea typeface="Segoe UI" pitchFamily="34" charset="0"/>
                    <a:cs typeface="Segoe UI" pitchFamily="34" charset="0"/>
                  </a:rPr>
                  <a:t>Applications</a:t>
                </a:r>
              </a:p>
            </p:txBody>
          </p:sp>
          <p:sp>
            <p:nvSpPr>
              <p:cNvPr id="136" name="Rectangle 135"/>
              <p:cNvSpPr/>
              <p:nvPr/>
            </p:nvSpPr>
            <p:spPr>
              <a:xfrm>
                <a:off x="1396458" y="3263893"/>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4"/>
                <a:r>
                  <a:rPr lang="en-US" sz="1188" dirty="0">
                    <a:solidFill>
                      <a:srgbClr val="000000">
                        <a:alpha val="99000"/>
                      </a:srgbClr>
                    </a:solidFill>
                    <a:ea typeface="Segoe UI" pitchFamily="34" charset="0"/>
                    <a:cs typeface="Segoe UI" pitchFamily="34" charset="0"/>
                  </a:rPr>
                  <a:t>Runtime</a:t>
                </a:r>
              </a:p>
            </p:txBody>
          </p:sp>
        </p:grpSp>
      </p:grpSp>
    </p:spTree>
    <p:extLst>
      <p:ext uri="{BB962C8B-B14F-4D97-AF65-F5344CB8AC3E}">
        <p14:creationId xmlns:p14="http://schemas.microsoft.com/office/powerpoint/2010/main" val="2519691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4"/>
                                        </p:tgtEl>
                                        <p:attrNameLst>
                                          <p:attrName>style.visibility</p:attrName>
                                        </p:attrNameLst>
                                      </p:cBhvr>
                                      <p:to>
                                        <p:strVal val="visible"/>
                                      </p:to>
                                    </p:set>
                                    <p:animEffect transition="in" filter="wipe(left)">
                                      <p:cBhvr>
                                        <p:cTn id="7" dur="500"/>
                                        <p:tgtEl>
                                          <p:spTgt spid="7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up)">
                                      <p:cBhvr>
                                        <p:cTn id="12" dur="500"/>
                                        <p:tgtEl>
                                          <p:spTgt spid="14"/>
                                        </p:tgtEl>
                                      </p:cBhvr>
                                    </p:animEffect>
                                  </p:childTnLst>
                                </p:cTn>
                              </p:par>
                              <p:par>
                                <p:cTn id="13" presetID="10" presetClass="exit" presetSubtype="0" fill="hold" grpId="1" nodeType="withEffect">
                                  <p:stCondLst>
                                    <p:cond delay="0"/>
                                  </p:stCondLst>
                                  <p:childTnLst>
                                    <p:animEffect transition="out" filter="fade">
                                      <p:cBhvr>
                                        <p:cTn id="14" dur="250"/>
                                        <p:tgtEl>
                                          <p:spTgt spid="74"/>
                                        </p:tgtEl>
                                      </p:cBhvr>
                                    </p:animEffect>
                                    <p:set>
                                      <p:cBhvr>
                                        <p:cTn id="15" dur="1" fill="hold">
                                          <p:stCondLst>
                                            <p:cond delay="249"/>
                                          </p:stCondLst>
                                        </p:cTn>
                                        <p:tgtEl>
                                          <p:spTgt spid="74"/>
                                        </p:tgtEl>
                                        <p:attrNameLst>
                                          <p:attrName>style.visibility</p:attrName>
                                        </p:attrNameLst>
                                      </p:cBhvr>
                                      <p:to>
                                        <p:strVal val="hidden"/>
                                      </p:to>
                                    </p:set>
                                  </p:childTnLst>
                                </p:cTn>
                              </p:par>
                              <p:par>
                                <p:cTn id="16" presetID="22" presetClass="entr" presetSubtype="8" fill="hold" nodeType="withEffect">
                                  <p:stCondLst>
                                    <p:cond delay="0"/>
                                  </p:stCondLst>
                                  <p:childTnLst>
                                    <p:set>
                                      <p:cBhvr>
                                        <p:cTn id="17" dur="1" fill="hold">
                                          <p:stCondLst>
                                            <p:cond delay="0"/>
                                          </p:stCondLst>
                                        </p:cTn>
                                        <p:tgtEl>
                                          <p:spTgt spid="77"/>
                                        </p:tgtEl>
                                        <p:attrNameLst>
                                          <p:attrName>style.visibility</p:attrName>
                                        </p:attrNameLst>
                                      </p:cBhvr>
                                      <p:to>
                                        <p:strVal val="visible"/>
                                      </p:to>
                                    </p:set>
                                    <p:animEffect transition="in" filter="wipe(left)">
                                      <p:cBhvr>
                                        <p:cTn id="18" dur="500"/>
                                        <p:tgtEl>
                                          <p:spTgt spid="77"/>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1" fill="hold" nodeType="click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wipe(up)">
                                      <p:cBhvr>
                                        <p:cTn id="23" dur="500"/>
                                        <p:tgtEl>
                                          <p:spTgt spid="15"/>
                                        </p:tgtEl>
                                      </p:cBhvr>
                                    </p:animEffect>
                                  </p:childTnLst>
                                </p:cTn>
                              </p:par>
                              <p:par>
                                <p:cTn id="24" presetID="10" presetClass="exit" presetSubtype="0" fill="hold" nodeType="withEffect">
                                  <p:stCondLst>
                                    <p:cond delay="0"/>
                                  </p:stCondLst>
                                  <p:childTnLst>
                                    <p:animEffect transition="out" filter="fade">
                                      <p:cBhvr>
                                        <p:cTn id="25" dur="250"/>
                                        <p:tgtEl>
                                          <p:spTgt spid="77"/>
                                        </p:tgtEl>
                                      </p:cBhvr>
                                    </p:animEffect>
                                    <p:set>
                                      <p:cBhvr>
                                        <p:cTn id="26" dur="1" fill="hold">
                                          <p:stCondLst>
                                            <p:cond delay="249"/>
                                          </p:stCondLst>
                                        </p:cTn>
                                        <p:tgtEl>
                                          <p:spTgt spid="77"/>
                                        </p:tgtEl>
                                        <p:attrNameLst>
                                          <p:attrName>style.visibility</p:attrName>
                                        </p:attrNameLst>
                                      </p:cBhvr>
                                      <p:to>
                                        <p:strVal val="hidden"/>
                                      </p:to>
                                    </p:set>
                                  </p:childTnLst>
                                </p:cTn>
                              </p:par>
                              <p:par>
                                <p:cTn id="27" presetID="22" presetClass="entr" presetSubtype="8" fill="hold" nodeType="withEffect">
                                  <p:stCondLst>
                                    <p:cond delay="0"/>
                                  </p:stCondLst>
                                  <p:childTnLst>
                                    <p:set>
                                      <p:cBhvr>
                                        <p:cTn id="28" dur="1" fill="hold">
                                          <p:stCondLst>
                                            <p:cond delay="0"/>
                                          </p:stCondLst>
                                        </p:cTn>
                                        <p:tgtEl>
                                          <p:spTgt spid="80"/>
                                        </p:tgtEl>
                                        <p:attrNameLst>
                                          <p:attrName>style.visibility</p:attrName>
                                        </p:attrNameLst>
                                      </p:cBhvr>
                                      <p:to>
                                        <p:strVal val="visible"/>
                                      </p:to>
                                    </p:set>
                                    <p:animEffect transition="in" filter="wipe(left)">
                                      <p:cBhvr>
                                        <p:cTn id="29" dur="500"/>
                                        <p:tgtEl>
                                          <p:spTgt spid="80"/>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1" fill="hold" nodeType="click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wipe(up)">
                                      <p:cBhvr>
                                        <p:cTn id="34" dur="500"/>
                                        <p:tgtEl>
                                          <p:spTgt spid="16"/>
                                        </p:tgtEl>
                                      </p:cBhvr>
                                    </p:animEffect>
                                  </p:childTnLst>
                                </p:cTn>
                              </p:par>
                              <p:par>
                                <p:cTn id="35" presetID="10" presetClass="exit" presetSubtype="0" fill="hold" nodeType="withEffect">
                                  <p:stCondLst>
                                    <p:cond delay="0"/>
                                  </p:stCondLst>
                                  <p:childTnLst>
                                    <p:animEffect transition="out" filter="fade">
                                      <p:cBhvr>
                                        <p:cTn id="36" dur="250"/>
                                        <p:tgtEl>
                                          <p:spTgt spid="80"/>
                                        </p:tgtEl>
                                      </p:cBhvr>
                                    </p:animEffect>
                                    <p:set>
                                      <p:cBhvr>
                                        <p:cTn id="37" dur="1" fill="hold">
                                          <p:stCondLst>
                                            <p:cond delay="249"/>
                                          </p:stCondLst>
                                        </p:cTn>
                                        <p:tgtEl>
                                          <p:spTgt spid="80"/>
                                        </p:tgtEl>
                                        <p:attrNameLst>
                                          <p:attrName>style.visibility</p:attrName>
                                        </p:attrNameLst>
                                      </p:cBhvr>
                                      <p:to>
                                        <p:strVal val="hidden"/>
                                      </p:to>
                                    </p:set>
                                  </p:childTnLst>
                                </p:cTn>
                              </p:par>
                              <p:par>
                                <p:cTn id="38" presetID="22" presetClass="entr" presetSubtype="8" fill="hold" nodeType="withEffect">
                                  <p:stCondLst>
                                    <p:cond delay="0"/>
                                  </p:stCondLst>
                                  <p:childTnLst>
                                    <p:set>
                                      <p:cBhvr>
                                        <p:cTn id="39" dur="1" fill="hold">
                                          <p:stCondLst>
                                            <p:cond delay="0"/>
                                          </p:stCondLst>
                                        </p:cTn>
                                        <p:tgtEl>
                                          <p:spTgt spid="18"/>
                                        </p:tgtEl>
                                        <p:attrNameLst>
                                          <p:attrName>style.visibility</p:attrName>
                                        </p:attrNameLst>
                                      </p:cBhvr>
                                      <p:to>
                                        <p:strVal val="visible"/>
                                      </p:to>
                                    </p:set>
                                    <p:animEffect transition="in" filter="wipe(left)">
                                      <p:cBhvr>
                                        <p:cTn id="4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74" grpId="1"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Cloud Services</a:t>
            </a:r>
            <a:endParaRPr lang="en-US" dirty="0"/>
          </a:p>
        </p:txBody>
      </p:sp>
    </p:spTree>
    <p:extLst>
      <p:ext uri="{BB962C8B-B14F-4D97-AF65-F5344CB8AC3E}">
        <p14:creationId xmlns:p14="http://schemas.microsoft.com/office/powerpoint/2010/main" val="883946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50844"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4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is a Cloud Service?</a:t>
            </a:r>
            <a:endParaRPr lang="en-US" dirty="0"/>
          </a:p>
        </p:txBody>
      </p:sp>
      <p:sp>
        <p:nvSpPr>
          <p:cNvPr id="6" name="Rectangle 5"/>
          <p:cNvSpPr/>
          <p:nvPr/>
        </p:nvSpPr>
        <p:spPr bwMode="auto">
          <a:xfrm>
            <a:off x="2473216" y="2983041"/>
            <a:ext cx="3455934"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0" name="Rectangle 9"/>
          <p:cNvSpPr/>
          <p:nvPr/>
        </p:nvSpPr>
        <p:spPr bwMode="auto">
          <a:xfrm>
            <a:off x="6098290" y="2983041"/>
            <a:ext cx="3474720" cy="25988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Content Placeholder 2"/>
          <p:cNvSpPr txBox="1">
            <a:spLocks/>
          </p:cNvSpPr>
          <p:nvPr>
            <p:custDataLst>
              <p:tags r:id="rId4"/>
            </p:custDataLst>
          </p:nvPr>
        </p:nvSpPr>
        <p:spPr>
          <a:xfrm>
            <a:off x="552431" y="1843787"/>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ln>
                  <a:solidFill>
                    <a:srgbClr val="FFFFFF">
                      <a:alpha val="0"/>
                    </a:srgbClr>
                  </a:solidFill>
                </a:ln>
                <a:solidFill>
                  <a:srgbClr val="5F5F5F">
                    <a:alpha val="99000"/>
                  </a:srgbClr>
                </a:solidFill>
                <a:latin typeface="Segoe UI Light" pitchFamily="34" charset="0"/>
              </a:rPr>
              <a:t>A container of related service roles</a:t>
            </a:r>
            <a:endParaRPr lang="en-US" dirty="0">
              <a:ln>
                <a:solidFill>
                  <a:srgbClr val="FFFFFF">
                    <a:alpha val="0"/>
                  </a:srgbClr>
                </a:solidFill>
              </a:ln>
              <a:solidFill>
                <a:srgbClr val="5F5F5F">
                  <a:alpha val="99000"/>
                </a:srgbClr>
              </a:solidFill>
              <a:latin typeface="Segoe UI Light" pitchFamily="34" charset="0"/>
            </a:endParaRPr>
          </a:p>
        </p:txBody>
      </p:sp>
      <p:sp>
        <p:nvSpPr>
          <p:cNvPr id="13" name="TextBox 12"/>
          <p:cNvSpPr txBox="1"/>
          <p:nvPr/>
        </p:nvSpPr>
        <p:spPr>
          <a:xfrm>
            <a:off x="2454430" y="3147933"/>
            <a:ext cx="3474720" cy="553998"/>
          </a:xfrm>
          <a:prstGeom prst="rect">
            <a:avLst/>
          </a:prstGeom>
          <a:noFill/>
        </p:spPr>
        <p:txBody>
          <a:bodyPr wrap="square" lIns="0" tIns="0" rIns="0" bIns="0" rtlCol="0">
            <a:spAutoFit/>
          </a:bodyPr>
          <a:lstStyle/>
          <a:p>
            <a:pPr algn="ctr" defTabSz="914363">
              <a:lnSpc>
                <a:spcPct val="90000"/>
              </a:lnSpc>
              <a:spcBef>
                <a:spcPct val="20000"/>
              </a:spcBef>
              <a:buSzPct val="80000"/>
            </a:pPr>
            <a:r>
              <a:rPr lang="en-US" sz="4000" dirty="0">
                <a:solidFill>
                  <a:srgbClr val="FFFFFF">
                    <a:alpha val="99000"/>
                  </a:srgbClr>
                </a:solidFill>
                <a:latin typeface="Segoe UI Light" pitchFamily="34" charset="0"/>
              </a:rPr>
              <a:t>Web Role</a:t>
            </a:r>
          </a:p>
        </p:txBody>
      </p:sp>
      <p:sp>
        <p:nvSpPr>
          <p:cNvPr id="14" name="TextBox 13"/>
          <p:cNvSpPr txBox="1"/>
          <p:nvPr/>
        </p:nvSpPr>
        <p:spPr>
          <a:xfrm>
            <a:off x="6098290" y="3147933"/>
            <a:ext cx="3474720" cy="553998"/>
          </a:xfrm>
          <a:prstGeom prst="rect">
            <a:avLst/>
          </a:prstGeom>
          <a:noFill/>
        </p:spPr>
        <p:txBody>
          <a:bodyPr wrap="square" lIns="0" tIns="0" rIns="0" bIns="0" rtlCol="0">
            <a:spAutoFit/>
          </a:bodyPr>
          <a:lstStyle/>
          <a:p>
            <a:pPr algn="ctr" defTabSz="914363">
              <a:lnSpc>
                <a:spcPct val="90000"/>
              </a:lnSpc>
              <a:spcBef>
                <a:spcPct val="20000"/>
              </a:spcBef>
              <a:buSzPct val="80000"/>
            </a:pPr>
            <a:r>
              <a:rPr lang="en-US" sz="4000" dirty="0">
                <a:solidFill>
                  <a:srgbClr val="FFFFFF">
                    <a:alpha val="99000"/>
                  </a:srgbClr>
                </a:solidFill>
                <a:latin typeface="Segoe UI Light" pitchFamily="34" charset="0"/>
              </a:rPr>
              <a:t>Worker Role</a:t>
            </a:r>
          </a:p>
        </p:txBody>
      </p:sp>
      <p:sp>
        <p:nvSpPr>
          <p:cNvPr id="17" name="Freeform 62"/>
          <p:cNvSpPr>
            <a:spLocks noEditPoints="1"/>
          </p:cNvSpPr>
          <p:nvPr/>
        </p:nvSpPr>
        <p:spPr bwMode="black">
          <a:xfrm>
            <a:off x="3697054" y="3905330"/>
            <a:ext cx="926013" cy="92577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grpSp>
        <p:nvGrpSpPr>
          <p:cNvPr id="18" name="Group 17"/>
          <p:cNvGrpSpPr/>
          <p:nvPr/>
        </p:nvGrpSpPr>
        <p:grpSpPr bwMode="black">
          <a:xfrm>
            <a:off x="7283679" y="3962154"/>
            <a:ext cx="1103942" cy="898105"/>
            <a:chOff x="5184775" y="225425"/>
            <a:chExt cx="1500188" cy="1220788"/>
          </a:xfrm>
          <a:solidFill>
            <a:srgbClr val="FFFFFF"/>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246198925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ntroduction</a:t>
            </a:r>
            <a:endParaRPr lang="en-GB" dirty="0"/>
          </a:p>
        </p:txBody>
      </p:sp>
      <p:sp>
        <p:nvSpPr>
          <p:cNvPr id="6" name="Rectangle 5"/>
          <p:cNvSpPr/>
          <p:nvPr/>
        </p:nvSpPr>
        <p:spPr bwMode="auto">
          <a:xfrm>
            <a:off x="5153370" y="1500916"/>
            <a:ext cx="5842108" cy="23395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9" tIns="91419" rIns="45709" bIns="45709"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spcBef>
                <a:spcPct val="0"/>
              </a:spcBef>
              <a:spcAft>
                <a:spcPts val="600"/>
              </a:spcAft>
            </a:pPr>
            <a:r>
              <a:rPr lang="en-US" sz="3999" kern="0" spc="-100" dirty="0">
                <a:gradFill>
                  <a:gsLst>
                    <a:gs pos="0">
                      <a:srgbClr val="FFFFFF"/>
                    </a:gs>
                    <a:gs pos="100000">
                      <a:srgbClr val="FFFFFF"/>
                    </a:gs>
                  </a:gsLst>
                  <a:lin ang="5400000" scaled="0"/>
                </a:gradFill>
                <a:latin typeface="Segoe UI Light"/>
              </a:rPr>
              <a:t>Agenda</a:t>
            </a:r>
          </a:p>
          <a:p>
            <a:r>
              <a:rPr lang="en-GB" sz="2200" spc="-50" dirty="0" smtClean="0">
                <a:gradFill>
                  <a:gsLst>
                    <a:gs pos="0">
                      <a:srgbClr val="FFFFFF"/>
                    </a:gs>
                    <a:gs pos="100000">
                      <a:srgbClr val="FFFFFF"/>
                    </a:gs>
                  </a:gsLst>
                  <a:lin ang="5400000" scaled="0"/>
                </a:gradFill>
                <a:cs typeface="Arial" charset="0"/>
              </a:rPr>
              <a:t>Windows Azure Intro</a:t>
            </a:r>
            <a:endParaRPr lang="en-GB" sz="2200" spc="-50" dirty="0">
              <a:gradFill>
                <a:gsLst>
                  <a:gs pos="0">
                    <a:srgbClr val="FFFFFF"/>
                  </a:gs>
                  <a:gs pos="100000">
                    <a:srgbClr val="FFFFFF"/>
                  </a:gs>
                </a:gsLst>
                <a:lin ang="5400000" scaled="0"/>
              </a:gradFill>
              <a:cs typeface="Arial" charset="0"/>
            </a:endParaRPr>
          </a:p>
          <a:p>
            <a:r>
              <a:rPr lang="en-US" sz="2200" spc="-50" dirty="0" smtClean="0">
                <a:gradFill>
                  <a:gsLst>
                    <a:gs pos="0">
                      <a:srgbClr val="FFFFFF"/>
                    </a:gs>
                    <a:gs pos="100000">
                      <a:srgbClr val="FFFFFF"/>
                    </a:gs>
                  </a:gsLst>
                  <a:lin ang="5400000" scaled="0"/>
                </a:gradFill>
                <a:cs typeface="Arial" charset="0"/>
              </a:rPr>
              <a:t>Demos</a:t>
            </a:r>
            <a:endParaRPr lang="en-GB" sz="2200" spc="-50" dirty="0">
              <a:gradFill>
                <a:gsLst>
                  <a:gs pos="0">
                    <a:srgbClr val="FFFFFF"/>
                  </a:gs>
                  <a:gs pos="100000">
                    <a:srgbClr val="FFFFFF"/>
                  </a:gs>
                </a:gsLst>
                <a:lin ang="5400000" scaled="0"/>
              </a:gradFill>
              <a:cs typeface="Arial" charset="0"/>
            </a:endParaRPr>
          </a:p>
          <a:p>
            <a:endParaRPr lang="en-GB" sz="1600" spc="-50" dirty="0">
              <a:gradFill>
                <a:gsLst>
                  <a:gs pos="0">
                    <a:srgbClr val="FFFFFF"/>
                  </a:gs>
                  <a:gs pos="100000">
                    <a:srgbClr val="FFFFFF"/>
                  </a:gs>
                </a:gsLst>
                <a:lin ang="5400000" scaled="0"/>
              </a:gradFill>
              <a:cs typeface="Arial" charset="0"/>
            </a:endParaRPr>
          </a:p>
          <a:p>
            <a:endParaRPr lang="en-GB" sz="1600" spc="-50" dirty="0">
              <a:gradFill>
                <a:gsLst>
                  <a:gs pos="0">
                    <a:srgbClr val="FFFFFF"/>
                  </a:gs>
                  <a:gs pos="100000">
                    <a:srgbClr val="FFFFFF"/>
                  </a:gs>
                </a:gsLst>
                <a:lin ang="5400000" scaled="0"/>
              </a:gradFill>
              <a:cs typeface="Arial" charset="0"/>
            </a:endParaRPr>
          </a:p>
          <a:p>
            <a:endParaRPr lang="en-GB" sz="1600" spc="-50" dirty="0">
              <a:gradFill>
                <a:gsLst>
                  <a:gs pos="0">
                    <a:srgbClr val="FFFFFF"/>
                  </a:gs>
                  <a:gs pos="100000">
                    <a:srgbClr val="FFFFFF"/>
                  </a:gs>
                </a:gsLst>
                <a:lin ang="5400000" scaled="0"/>
              </a:gradFill>
              <a:cs typeface="Arial" charset="0"/>
            </a:endParaRPr>
          </a:p>
        </p:txBody>
      </p:sp>
      <p:sp>
        <p:nvSpPr>
          <p:cNvPr id="7" name="Rectangle 6"/>
          <p:cNvSpPr/>
          <p:nvPr/>
        </p:nvSpPr>
        <p:spPr bwMode="auto">
          <a:xfrm>
            <a:off x="1081825" y="1500915"/>
            <a:ext cx="3962031" cy="38561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9" tIns="91419" rIns="45709" bIns="45709"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spcBef>
                <a:spcPct val="0"/>
              </a:spcBef>
              <a:spcAft>
                <a:spcPts val="600"/>
              </a:spcAft>
            </a:pPr>
            <a:r>
              <a:rPr lang="en-US" sz="3999" kern="0" spc="-100" dirty="0">
                <a:gradFill>
                  <a:gsLst>
                    <a:gs pos="0">
                      <a:srgbClr val="FFFFFF"/>
                    </a:gs>
                    <a:gs pos="100000">
                      <a:srgbClr val="FFFFFF"/>
                    </a:gs>
                  </a:gsLst>
                  <a:lin ang="5400000" scaled="0"/>
                </a:gradFill>
                <a:latin typeface="Segoe UI Light"/>
              </a:rPr>
              <a:t>Who</a:t>
            </a:r>
          </a:p>
          <a:p>
            <a:pPr>
              <a:spcAft>
                <a:spcPts val="600"/>
              </a:spcAft>
            </a:pPr>
            <a:r>
              <a:rPr lang="en-US" sz="2200" spc="-50" dirty="0">
                <a:gradFill>
                  <a:gsLst>
                    <a:gs pos="0">
                      <a:srgbClr val="FFFFFF"/>
                    </a:gs>
                    <a:gs pos="100000">
                      <a:srgbClr val="FFFFFF"/>
                    </a:gs>
                  </a:gsLst>
                  <a:lin ang="5400000" scaled="0"/>
                </a:gradFill>
                <a:cs typeface="Arial" charset="0"/>
              </a:rPr>
              <a:t>Richard Conway, </a:t>
            </a:r>
            <a:r>
              <a:rPr lang="en-US" sz="2200" spc="-50" dirty="0" smtClean="0">
                <a:gradFill>
                  <a:gsLst>
                    <a:gs pos="0">
                      <a:srgbClr val="FFFFFF"/>
                    </a:gs>
                    <a:gs pos="100000">
                      <a:srgbClr val="FFFFFF"/>
                    </a:gs>
                  </a:gsLst>
                  <a:lin ang="5400000" scaled="0"/>
                </a:gradFill>
                <a:cs typeface="Arial" charset="0"/>
              </a:rPr>
              <a:t>co-founder </a:t>
            </a:r>
            <a:r>
              <a:rPr lang="en-US" sz="2200" spc="-50" dirty="0">
                <a:gradFill>
                  <a:gsLst>
                    <a:gs pos="0">
                      <a:srgbClr val="FFFFFF"/>
                    </a:gs>
                    <a:gs pos="100000">
                      <a:srgbClr val="FFFFFF"/>
                    </a:gs>
                  </a:gsLst>
                  <a:lin ang="5400000" scaled="0"/>
                </a:gradFill>
                <a:cs typeface="Arial" charset="0"/>
              </a:rPr>
              <a:t>of the UK Windows Azure Users Group, </a:t>
            </a:r>
            <a:r>
              <a:rPr lang="en-US" sz="2200" spc="-50" dirty="0" smtClean="0">
                <a:gradFill>
                  <a:gsLst>
                    <a:gs pos="0">
                      <a:srgbClr val="FFFFFF"/>
                    </a:gs>
                    <a:gs pos="100000">
                      <a:srgbClr val="FFFFFF"/>
                    </a:gs>
                  </a:gsLst>
                  <a:lin ang="5400000" scaled="0"/>
                </a:gradFill>
                <a:cs typeface="Arial" charset="0"/>
              </a:rPr>
              <a:t>Windows Azure MVP and Insider and </a:t>
            </a:r>
            <a:r>
              <a:rPr lang="en-US" sz="2200" spc="-50" dirty="0">
                <a:gradFill>
                  <a:gsLst>
                    <a:gs pos="0">
                      <a:srgbClr val="FFFFFF"/>
                    </a:gs>
                    <a:gs pos="100000">
                      <a:srgbClr val="FFFFFF"/>
                    </a:gs>
                  </a:gsLst>
                  <a:lin ang="5400000" scaled="0"/>
                </a:gradFill>
                <a:cs typeface="Arial" charset="0"/>
              </a:rPr>
              <a:t>lover of all things </a:t>
            </a:r>
            <a:r>
              <a:rPr lang="en-US" sz="2200" spc="-50" dirty="0" smtClean="0">
                <a:gradFill>
                  <a:gsLst>
                    <a:gs pos="0">
                      <a:srgbClr val="FFFFFF"/>
                    </a:gs>
                    <a:gs pos="100000">
                      <a:srgbClr val="FFFFFF"/>
                    </a:gs>
                  </a:gsLst>
                  <a:lin ang="5400000" scaled="0"/>
                </a:gradFill>
                <a:cs typeface="Arial" charset="0"/>
              </a:rPr>
              <a:t>Cloud</a:t>
            </a:r>
            <a:r>
              <a:rPr lang="en-US" sz="2200" spc="-50" dirty="0">
                <a:gradFill>
                  <a:gsLst>
                    <a:gs pos="0">
                      <a:srgbClr val="FFFFFF"/>
                    </a:gs>
                    <a:gs pos="100000">
                      <a:srgbClr val="FFFFFF"/>
                    </a:gs>
                  </a:gsLst>
                  <a:lin ang="5400000" scaled="0"/>
                </a:gradFill>
                <a:cs typeface="Arial" charset="0"/>
              </a:rPr>
              <a:t>, </a:t>
            </a:r>
            <a:r>
              <a:rPr lang="en-US" sz="2200" spc="-50" dirty="0" smtClean="0">
                <a:gradFill>
                  <a:gsLst>
                    <a:gs pos="0">
                      <a:srgbClr val="FFFFFF"/>
                    </a:gs>
                    <a:gs pos="100000">
                      <a:srgbClr val="FFFFFF"/>
                    </a:gs>
                  </a:gsLst>
                  <a:lin ang="5400000" scaled="0"/>
                </a:gradFill>
                <a:cs typeface="Arial" charset="0"/>
              </a:rPr>
              <a:t>HPC, Big Data and Machine Learning! Director of Microsoft Partner </a:t>
            </a:r>
            <a:r>
              <a:rPr lang="en-US" sz="2200" spc="-50" dirty="0" err="1" smtClean="0">
                <a:gradFill>
                  <a:gsLst>
                    <a:gs pos="0">
                      <a:srgbClr val="FFFFFF"/>
                    </a:gs>
                    <a:gs pos="100000">
                      <a:srgbClr val="FFFFFF"/>
                    </a:gs>
                  </a:gsLst>
                  <a:lin ang="5400000" scaled="0"/>
                </a:gradFill>
                <a:cs typeface="Arial" charset="0"/>
              </a:rPr>
              <a:t>Elastacloud</a:t>
            </a:r>
            <a:r>
              <a:rPr lang="en-US" sz="2200" spc="-50" dirty="0" smtClean="0">
                <a:gradFill>
                  <a:gsLst>
                    <a:gs pos="0">
                      <a:srgbClr val="FFFFFF"/>
                    </a:gs>
                    <a:gs pos="100000">
                      <a:srgbClr val="FFFFFF"/>
                    </a:gs>
                  </a:gsLst>
                  <a:lin ang="5400000" scaled="0"/>
                </a:gradFill>
                <a:cs typeface="Arial" charset="0"/>
              </a:rPr>
              <a:t>. Author of Fluent Management. Follow @</a:t>
            </a:r>
            <a:r>
              <a:rPr lang="en-US" sz="2200" spc="-50" dirty="0" err="1" smtClean="0">
                <a:gradFill>
                  <a:gsLst>
                    <a:gs pos="0">
                      <a:srgbClr val="FFFFFF"/>
                    </a:gs>
                    <a:gs pos="100000">
                      <a:srgbClr val="FFFFFF"/>
                    </a:gs>
                  </a:gsLst>
                  <a:lin ang="5400000" scaled="0"/>
                </a:gradFill>
                <a:cs typeface="Arial" charset="0"/>
              </a:rPr>
              <a:t>azurecoder</a:t>
            </a:r>
            <a:endParaRPr lang="en-US" sz="2200" spc="-50" dirty="0">
              <a:gradFill>
                <a:gsLst>
                  <a:gs pos="0">
                    <a:srgbClr val="FFFFFF"/>
                  </a:gs>
                  <a:gs pos="100000">
                    <a:srgbClr val="FFFFFF"/>
                  </a:gs>
                </a:gsLst>
                <a:lin ang="5400000" scaled="0"/>
              </a:gradFill>
              <a:cs typeface="Arial" charset="0"/>
            </a:endParaRPr>
          </a:p>
        </p:txBody>
      </p:sp>
      <p:sp>
        <p:nvSpPr>
          <p:cNvPr id="4" name="Rectangle 3"/>
          <p:cNvSpPr/>
          <p:nvPr/>
        </p:nvSpPr>
        <p:spPr bwMode="auto">
          <a:xfrm>
            <a:off x="7870353" y="2349664"/>
            <a:ext cx="1859898" cy="197545"/>
          </a:xfrm>
          <a:prstGeom prst="rect">
            <a:avLst/>
          </a:prstGeom>
          <a:solidFill>
            <a:schemeClr val="bg1"/>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9" tIns="45709" rIns="45709" bIns="91419" numCol="1" spcCol="0" rtlCol="0" fromWordArt="0" anchor="b" anchorCtr="0" forceAA="0" compatLnSpc="1">
            <a:prstTxWarp prst="textNoShape">
              <a:avLst/>
            </a:prstTxWarp>
            <a:noAutofit/>
          </a:bodyPr>
          <a:lstStyle/>
          <a:p>
            <a:pPr algn="ctr" defTabSz="913916" fontAlgn="base">
              <a:spcBef>
                <a:spcPct val="0"/>
              </a:spcBef>
              <a:spcAft>
                <a:spcPct val="0"/>
              </a:spcAft>
            </a:pPr>
            <a:endParaRPr lang="en-GB" sz="800" spc="-50" dirty="0">
              <a:solidFill>
                <a:srgbClr val="000000"/>
              </a:solidFill>
              <a:ea typeface="Segoe UI" pitchFamily="34" charset="0"/>
              <a:cs typeface="Segoe UI" pitchFamily="34" charset="0"/>
            </a:endParaRPr>
          </a:p>
        </p:txBody>
      </p:sp>
      <p:sp>
        <p:nvSpPr>
          <p:cNvPr id="10" name="Rectangle 9"/>
          <p:cNvSpPr/>
          <p:nvPr/>
        </p:nvSpPr>
        <p:spPr bwMode="auto">
          <a:xfrm>
            <a:off x="7870353" y="1790080"/>
            <a:ext cx="2973658" cy="230979"/>
          </a:xfrm>
          <a:prstGeom prst="rect">
            <a:avLst/>
          </a:prstGeom>
          <a:solidFill>
            <a:schemeClr val="bg1"/>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9" tIns="45709" rIns="45709" bIns="91419" numCol="1" spcCol="0" rtlCol="0" fromWordArt="0" anchor="ctr" anchorCtr="0" forceAA="0" compatLnSpc="1">
            <a:prstTxWarp prst="textNoShape">
              <a:avLst/>
            </a:prstTxWarp>
            <a:noAutofit/>
          </a:bodyPr>
          <a:lstStyle/>
          <a:p>
            <a:pPr algn="ctr" defTabSz="913916" fontAlgn="base">
              <a:spcBef>
                <a:spcPct val="0"/>
              </a:spcBef>
              <a:spcAft>
                <a:spcPct val="0"/>
              </a:spcAft>
            </a:pPr>
            <a:r>
              <a:rPr lang="en-GB" sz="1100" spc="-50" dirty="0">
                <a:solidFill>
                  <a:srgbClr val="00AEEF"/>
                </a:solidFill>
                <a:ea typeface="Segoe UI" pitchFamily="34" charset="0"/>
                <a:cs typeface="Segoe UI" pitchFamily="34" charset="0"/>
              </a:rPr>
              <a:t>Time until next </a:t>
            </a:r>
            <a:r>
              <a:rPr lang="en-GB" sz="1100" spc="-50" dirty="0" smtClean="0">
                <a:solidFill>
                  <a:srgbClr val="00AEEF"/>
                </a:solidFill>
                <a:ea typeface="Segoe UI" pitchFamily="34" charset="0"/>
                <a:cs typeface="Segoe UI" pitchFamily="34" charset="0"/>
              </a:rPr>
              <a:t>coffee 1:30</a:t>
            </a:r>
            <a:endParaRPr lang="en-GB" spc="-50" dirty="0">
              <a:solidFill>
                <a:srgbClr val="00AEEF"/>
              </a:solidFill>
              <a:ea typeface="Segoe UI" pitchFamily="34" charset="0"/>
              <a:cs typeface="Segoe UI" pitchFamily="34" charset="0"/>
            </a:endParaRPr>
          </a:p>
        </p:txBody>
      </p:sp>
      <p:sp>
        <p:nvSpPr>
          <p:cNvPr id="11" name="Rectangle 10"/>
          <p:cNvSpPr/>
          <p:nvPr/>
        </p:nvSpPr>
        <p:spPr bwMode="auto">
          <a:xfrm>
            <a:off x="9824775" y="2627488"/>
            <a:ext cx="1019236" cy="207419"/>
          </a:xfrm>
          <a:prstGeom prst="rect">
            <a:avLst/>
          </a:prstGeom>
          <a:solidFill>
            <a:schemeClr val="bg1"/>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9" tIns="45709" rIns="45709" bIns="91419" numCol="1" spcCol="0" rtlCol="0" fromWordArt="0" anchor="b" anchorCtr="0" forceAA="0" compatLnSpc="1">
            <a:prstTxWarp prst="textNoShape">
              <a:avLst/>
            </a:prstTxWarp>
            <a:noAutofit/>
          </a:bodyPr>
          <a:lstStyle/>
          <a:p>
            <a:pPr algn="ctr" defTabSz="913916" fontAlgn="base">
              <a:spcBef>
                <a:spcPct val="0"/>
              </a:spcBef>
              <a:spcAft>
                <a:spcPct val="0"/>
              </a:spcAft>
            </a:pPr>
            <a:endParaRPr lang="en-GB" sz="800" spc="-50" dirty="0">
              <a:gradFill>
                <a:gsLst>
                  <a:gs pos="0">
                    <a:srgbClr val="FFFFFF"/>
                  </a:gs>
                  <a:gs pos="100000">
                    <a:srgbClr val="FFFFFF"/>
                  </a:gs>
                </a:gsLst>
                <a:lin ang="5400000" scaled="0"/>
              </a:gradFill>
              <a:ea typeface="Segoe UI" pitchFamily="34" charset="0"/>
              <a:cs typeface="Segoe UI" pitchFamily="34" charset="0"/>
            </a:endParaRPr>
          </a:p>
        </p:txBody>
      </p:sp>
      <p:pic>
        <p:nvPicPr>
          <p:cNvPr id="5" name="Content Placeholder 4"/>
          <p:cNvPicPr>
            <a:picLocks noGrp="1" noChangeAspect="1"/>
          </p:cNvPicPr>
          <p:nvPr>
            <p:ph idx="1"/>
          </p:nvPr>
        </p:nvPicPr>
        <p:blipFill>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artisticPencilSketch/>
                    </a14:imgEffect>
                  </a14:imgLayer>
                </a14:imgProps>
              </a:ext>
              <a:ext uri="{28A0092B-C50C-407E-A947-70E740481C1C}">
                <a14:useLocalDpi xmlns:a14="http://schemas.microsoft.com/office/drawing/2010/main" val="0"/>
              </a:ext>
            </a:extLst>
          </a:blip>
          <a:stretch>
            <a:fillRect/>
          </a:stretch>
        </p:blipFill>
        <p:spPr>
          <a:xfrm>
            <a:off x="10163796" y="1800245"/>
            <a:ext cx="361990" cy="220814"/>
          </a:xfrm>
          <a:noFill/>
        </p:spPr>
      </p:pic>
      <p:sp>
        <p:nvSpPr>
          <p:cNvPr id="3" name="TextBox 2"/>
          <p:cNvSpPr txBox="1"/>
          <p:nvPr/>
        </p:nvSpPr>
        <p:spPr>
          <a:xfrm>
            <a:off x="9839765" y="2362543"/>
            <a:ext cx="1010051" cy="184666"/>
          </a:xfrm>
          <a:prstGeom prst="rect">
            <a:avLst/>
          </a:prstGeom>
          <a:noFill/>
        </p:spPr>
        <p:txBody>
          <a:bodyPr wrap="square" lIns="0" tIns="0" rIns="0" bIns="0" rtlCol="0">
            <a:spAutoFit/>
          </a:bodyPr>
          <a:lstStyle/>
          <a:p>
            <a:r>
              <a:rPr lang="en-GB" sz="1200" dirty="0" smtClean="0">
                <a:solidFill>
                  <a:srgbClr val="FFFFFF"/>
                </a:solidFill>
                <a:latin typeface="Segoe UI Light" pitchFamily="34" charset="0"/>
              </a:rPr>
              <a:t>60 minutes</a:t>
            </a:r>
          </a:p>
        </p:txBody>
      </p:sp>
      <p:sp>
        <p:nvSpPr>
          <p:cNvPr id="17" name="TextBox 16"/>
          <p:cNvSpPr txBox="1"/>
          <p:nvPr/>
        </p:nvSpPr>
        <p:spPr>
          <a:xfrm>
            <a:off x="8991261" y="2640868"/>
            <a:ext cx="738990" cy="184666"/>
          </a:xfrm>
          <a:prstGeom prst="rect">
            <a:avLst/>
          </a:prstGeom>
          <a:noFill/>
        </p:spPr>
        <p:txBody>
          <a:bodyPr wrap="square" lIns="0" tIns="0" rIns="0" bIns="0" rtlCol="0">
            <a:spAutoFit/>
          </a:bodyPr>
          <a:lstStyle/>
          <a:p>
            <a:r>
              <a:rPr lang="en-GB" sz="1200" dirty="0">
                <a:solidFill>
                  <a:srgbClr val="FFFFFF"/>
                </a:solidFill>
                <a:latin typeface="Segoe UI Light" pitchFamily="34" charset="0"/>
              </a:rPr>
              <a:t>3</a:t>
            </a:r>
            <a:r>
              <a:rPr lang="en-GB" sz="1200" dirty="0" smtClean="0">
                <a:solidFill>
                  <a:srgbClr val="FFFFFF"/>
                </a:solidFill>
                <a:latin typeface="Segoe UI Light" pitchFamily="34" charset="0"/>
              </a:rPr>
              <a:t>0 minutes</a:t>
            </a:r>
          </a:p>
        </p:txBody>
      </p:sp>
      <p:sp>
        <p:nvSpPr>
          <p:cNvPr id="9" name="TextBox 8"/>
          <p:cNvSpPr txBox="1"/>
          <p:nvPr/>
        </p:nvSpPr>
        <p:spPr>
          <a:xfrm>
            <a:off x="5228216" y="3991087"/>
            <a:ext cx="3367144" cy="615553"/>
          </a:xfrm>
          <a:prstGeom prst="rect">
            <a:avLst/>
          </a:prstGeom>
          <a:noFill/>
        </p:spPr>
        <p:txBody>
          <a:bodyPr wrap="square" lIns="0" tIns="0" rIns="0" bIns="0" rtlCol="0">
            <a:spAutoFit/>
          </a:bodyPr>
          <a:lstStyle/>
          <a:p>
            <a:r>
              <a:rPr lang="en-US" sz="40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Tool vendors</a:t>
            </a:r>
            <a:endParaRPr lang="en-GB"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p:txBody>
      </p:sp>
      <p:pic>
        <p:nvPicPr>
          <p:cNvPr id="12" name="Picture 11"/>
          <p:cNvPicPr>
            <a:picLocks noChangeAspect="1"/>
          </p:cNvPicPr>
          <p:nvPr/>
        </p:nvPicPr>
        <p:blipFill>
          <a:blip r:embed="rId5"/>
          <a:stretch>
            <a:fillRect/>
          </a:stretch>
        </p:blipFill>
        <p:spPr>
          <a:xfrm>
            <a:off x="5562849" y="4867479"/>
            <a:ext cx="1238423" cy="285790"/>
          </a:xfrm>
          <a:prstGeom prst="rect">
            <a:avLst/>
          </a:prstGeom>
        </p:spPr>
      </p:pic>
      <p:pic>
        <p:nvPicPr>
          <p:cNvPr id="15" name="Picture 14"/>
          <p:cNvPicPr>
            <a:picLocks noChangeAspect="1"/>
          </p:cNvPicPr>
          <p:nvPr/>
        </p:nvPicPr>
        <p:blipFill>
          <a:blip r:embed="rId6"/>
          <a:stretch>
            <a:fillRect/>
          </a:stretch>
        </p:blipFill>
        <p:spPr>
          <a:xfrm>
            <a:off x="7320265" y="4702107"/>
            <a:ext cx="4039164" cy="1419423"/>
          </a:xfrm>
          <a:prstGeom prst="rect">
            <a:avLst/>
          </a:prstGeom>
        </p:spPr>
      </p:pic>
      <p:pic>
        <p:nvPicPr>
          <p:cNvPr id="16" name="Picture 15"/>
          <p:cNvPicPr>
            <a:picLocks noChangeAspect="1"/>
          </p:cNvPicPr>
          <p:nvPr/>
        </p:nvPicPr>
        <p:blipFill>
          <a:blip r:embed="rId7"/>
          <a:stretch>
            <a:fillRect/>
          </a:stretch>
        </p:blipFill>
        <p:spPr>
          <a:xfrm>
            <a:off x="5639060" y="5391255"/>
            <a:ext cx="1086002" cy="1066949"/>
          </a:xfrm>
          <a:prstGeom prst="rect">
            <a:avLst/>
          </a:prstGeom>
        </p:spPr>
      </p:pic>
    </p:spTree>
    <p:extLst>
      <p:ext uri="{BB962C8B-B14F-4D97-AF65-F5344CB8AC3E}">
        <p14:creationId xmlns:p14="http://schemas.microsoft.com/office/powerpoint/2010/main" val="276602832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6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Rectangle 4"/>
          <p:cNvSpPr/>
          <p:nvPr/>
        </p:nvSpPr>
        <p:spPr>
          <a:xfrm>
            <a:off x="519114" y="1705354"/>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custDataLst>
              <p:tags r:id="rId3"/>
            </p:custDataLst>
          </p:nvPr>
        </p:nvSpPr>
        <p:spPr/>
        <p:txBody>
          <a:bodyPr/>
          <a:lstStyle/>
          <a:p>
            <a:r>
              <a:rPr lang="en-US" dirty="0" smtClean="0"/>
              <a:t>What Can It Run?</a:t>
            </a:r>
            <a:endParaRPr lang="en-US" dirty="0"/>
          </a:p>
        </p:txBody>
      </p:sp>
      <p:grpSp>
        <p:nvGrpSpPr>
          <p:cNvPr id="3" name="Group 2"/>
          <p:cNvGrpSpPr/>
          <p:nvPr/>
        </p:nvGrpSpPr>
        <p:grpSpPr>
          <a:xfrm>
            <a:off x="736108" y="1895139"/>
            <a:ext cx="4117399" cy="3678083"/>
            <a:chOff x="734518" y="1895138"/>
            <a:chExt cx="10698775" cy="3678083"/>
          </a:xfrm>
        </p:grpSpPr>
        <p:sp>
          <p:nvSpPr>
            <p:cNvPr id="6" name="Rectangle 5"/>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363">
                <a:spcBef>
                  <a:spcPts val="1200"/>
                </a:spcBef>
                <a:buSzPct val="80000"/>
              </a:pPr>
              <a:r>
                <a:rPr lang="en-US" sz="3600" dirty="0">
                  <a:ln>
                    <a:solidFill>
                      <a:srgbClr val="FFFFFF">
                        <a:alpha val="0"/>
                      </a:srgbClr>
                    </a:solidFill>
                  </a:ln>
                  <a:solidFill>
                    <a:srgbClr val="FFFFFF">
                      <a:alpha val="99000"/>
                    </a:srgbClr>
                  </a:solidFill>
                  <a:latin typeface="Segoe UI Light" pitchFamily="34" charset="0"/>
                </a:rPr>
                <a:t>General Rule</a:t>
              </a:r>
            </a:p>
          </p:txBody>
        </p:sp>
        <p:sp>
          <p:nvSpPr>
            <p:cNvPr id="7" name="Rectangle 6"/>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363">
                <a:spcBef>
                  <a:spcPts val="1200"/>
                </a:spcBef>
                <a:buSzPct val="80000"/>
              </a:pPr>
              <a:r>
                <a:rPr lang="en-US" sz="3200" dirty="0">
                  <a:ln>
                    <a:solidFill>
                      <a:srgbClr val="FFFFFF">
                        <a:alpha val="0"/>
                      </a:srgbClr>
                    </a:solidFill>
                  </a:ln>
                  <a:solidFill>
                    <a:srgbClr val="FFFFFF">
                      <a:alpha val="99000"/>
                    </a:srgbClr>
                  </a:solidFill>
                  <a:latin typeface="Segoe UI Light" pitchFamily="34" charset="0"/>
                </a:rPr>
                <a:t>Choice of Language</a:t>
              </a:r>
            </a:p>
          </p:txBody>
        </p:sp>
        <p:sp>
          <p:nvSpPr>
            <p:cNvPr id="8" name="Rectangle 7"/>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363">
                <a:spcBef>
                  <a:spcPts val="1200"/>
                </a:spcBef>
                <a:buSzPct val="80000"/>
              </a:pPr>
              <a:r>
                <a:rPr lang="en-US" sz="3200" dirty="0">
                  <a:ln>
                    <a:solidFill>
                      <a:srgbClr val="FFFFFF">
                        <a:alpha val="0"/>
                      </a:srgbClr>
                    </a:solidFill>
                  </a:ln>
                  <a:solidFill>
                    <a:srgbClr val="FFFFFF">
                      <a:alpha val="99000"/>
                    </a:srgbClr>
                  </a:solidFill>
                  <a:latin typeface="Segoe UI Light" pitchFamily="34" charset="0"/>
                </a:rPr>
                <a:t>Choice of Frameworks</a:t>
              </a:r>
            </a:p>
          </p:txBody>
        </p:sp>
      </p:grpSp>
      <p:grpSp>
        <p:nvGrpSpPr>
          <p:cNvPr id="9" name="Group 8"/>
          <p:cNvGrpSpPr/>
          <p:nvPr/>
        </p:nvGrpSpPr>
        <p:grpSpPr>
          <a:xfrm>
            <a:off x="4976144" y="1885235"/>
            <a:ext cx="6483436" cy="3678083"/>
            <a:chOff x="734518" y="1895138"/>
            <a:chExt cx="10698775" cy="3678083"/>
          </a:xfrm>
        </p:grpSpPr>
        <p:sp>
          <p:nvSpPr>
            <p:cNvPr id="10" name="Rectangle 9"/>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defTabSz="914363">
                <a:spcBef>
                  <a:spcPts val="300"/>
                </a:spcBef>
                <a:buSzPct val="80000"/>
              </a:pPr>
              <a:r>
                <a:rPr lang="en-US" sz="2000" dirty="0">
                  <a:ln>
                    <a:solidFill>
                      <a:srgbClr val="FFFFFF">
                        <a:alpha val="0"/>
                      </a:srgbClr>
                    </a:solidFill>
                  </a:ln>
                  <a:solidFill>
                    <a:srgbClr val="FFFFFF">
                      <a:alpha val="99000"/>
                    </a:srgbClr>
                  </a:solidFill>
                </a:rPr>
                <a:t>If it runs in Windows it runs in Windows Azure</a:t>
              </a:r>
            </a:p>
          </p:txBody>
        </p:sp>
        <p:sp>
          <p:nvSpPr>
            <p:cNvPr id="11" name="Rectangle 10"/>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defTabSz="914363">
                <a:spcBef>
                  <a:spcPts val="300"/>
                </a:spcBef>
                <a:buSzPct val="80000"/>
              </a:pPr>
              <a:r>
                <a:rPr lang="en-US" sz="2000" dirty="0">
                  <a:ln>
                    <a:solidFill>
                      <a:srgbClr val="FFFFFF">
                        <a:alpha val="0"/>
                      </a:srgbClr>
                    </a:solidFill>
                  </a:ln>
                  <a:solidFill>
                    <a:srgbClr val="FFFFFF"/>
                  </a:solidFill>
                </a:rPr>
                <a:t>C#, VB, C++, Java, PHP, Node.js, </a:t>
              </a:r>
              <a:r>
                <a:rPr lang="en-US" sz="2000" dirty="0" smtClean="0">
                  <a:ln>
                    <a:solidFill>
                      <a:srgbClr val="FFFFFF">
                        <a:alpha val="0"/>
                      </a:srgbClr>
                    </a:solidFill>
                  </a:ln>
                  <a:solidFill>
                    <a:srgbClr val="FFFFFF"/>
                  </a:solidFill>
                </a:rPr>
                <a:t>Python, Ruby </a:t>
              </a:r>
              <a:r>
                <a:rPr lang="en-US" sz="2000" dirty="0">
                  <a:ln>
                    <a:solidFill>
                      <a:srgbClr val="FFFFFF">
                        <a:alpha val="0"/>
                      </a:srgbClr>
                    </a:solidFill>
                  </a:ln>
                  <a:solidFill>
                    <a:srgbClr val="FFFFFF"/>
                  </a:solidFill>
                </a:rPr>
                <a:t>etc.</a:t>
              </a:r>
            </a:p>
          </p:txBody>
        </p:sp>
        <p:sp>
          <p:nvSpPr>
            <p:cNvPr id="12" name="Rectangle 11"/>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defTabSz="914363">
                <a:spcBef>
                  <a:spcPts val="300"/>
                </a:spcBef>
                <a:buSzPct val="80000"/>
              </a:pPr>
              <a:r>
                <a:rPr lang="en-US" sz="2000" dirty="0">
                  <a:ln>
                    <a:solidFill>
                      <a:srgbClr val="FFFFFF">
                        <a:alpha val="0"/>
                      </a:srgbClr>
                    </a:solidFill>
                  </a:ln>
                  <a:solidFill>
                    <a:srgbClr val="FFFFFF"/>
                  </a:solidFill>
                </a:rPr>
                <a:t>.NET, ExpressJS, Rails, Zend, etc.</a:t>
              </a:r>
            </a:p>
          </p:txBody>
        </p:sp>
      </p:grpSp>
    </p:spTree>
    <p:extLst>
      <p:ext uri="{BB962C8B-B14F-4D97-AF65-F5344CB8AC3E}">
        <p14:creationId xmlns:p14="http://schemas.microsoft.com/office/powerpoint/2010/main" val="1139658554"/>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9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Roles and Instances</a:t>
            </a:r>
            <a:endParaRPr lang="en-US" dirty="0"/>
          </a:p>
        </p:txBody>
      </p:sp>
      <p:sp>
        <p:nvSpPr>
          <p:cNvPr id="5" name="Rectangle 4"/>
          <p:cNvSpPr/>
          <p:nvPr/>
        </p:nvSpPr>
        <p:spPr>
          <a:xfrm>
            <a:off x="519114"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8828"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rgbClr val="FFFFFF">
                    <a:alpha val="99000"/>
                  </a:srgbClr>
                </a:solidFill>
                <a:ea typeface="Segoe UI" pitchFamily="34" charset="0"/>
                <a:cs typeface="Segoe UI" pitchFamily="34" charset="0"/>
              </a:rPr>
              <a:t> </a:t>
            </a:r>
          </a:p>
        </p:txBody>
      </p:sp>
      <p:sp>
        <p:nvSpPr>
          <p:cNvPr id="7" name="Rounded Rectangle 6"/>
          <p:cNvSpPr/>
          <p:nvPr/>
        </p:nvSpPr>
        <p:spPr bwMode="auto">
          <a:xfrm>
            <a:off x="6221416"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rgbClr val="FFFFFF">
                    <a:alpha val="99000"/>
                  </a:srgbClr>
                </a:solidFill>
                <a:ea typeface="Segoe UI" pitchFamily="34" charset="0"/>
                <a:cs typeface="Segoe UI" pitchFamily="34" charset="0"/>
              </a:rPr>
              <a:t> </a:t>
            </a:r>
          </a:p>
        </p:txBody>
      </p:sp>
      <p:sp>
        <p:nvSpPr>
          <p:cNvPr id="8" name="TextBox 7"/>
          <p:cNvSpPr txBox="1"/>
          <p:nvPr/>
        </p:nvSpPr>
        <p:spPr>
          <a:xfrm>
            <a:off x="6387398" y="2368297"/>
            <a:ext cx="4586990" cy="2508379"/>
          </a:xfrm>
          <a:prstGeom prst="rect">
            <a:avLst/>
          </a:prstGeom>
          <a:noFill/>
        </p:spPr>
        <p:txBody>
          <a:bodyPr wrap="square" lIns="0" tIns="0" rIns="0" bIns="0" rtlCol="0">
            <a:spAutoFit/>
          </a:bodyPr>
          <a:lstStyle/>
          <a:p>
            <a:pPr defTabSz="914363">
              <a:lnSpc>
                <a:spcPts val="3800"/>
              </a:lnSpc>
            </a:pPr>
            <a:r>
              <a:rPr lang="en-US" sz="3600" dirty="0">
                <a:solidFill>
                  <a:srgbClr val="FFFFFF">
                    <a:alpha val="99000"/>
                  </a:srgbClr>
                </a:solidFill>
                <a:latin typeface="Segoe UI Light" pitchFamily="34" charset="0"/>
              </a:rPr>
              <a:t>At runtime each Role will execute on one or more instances </a:t>
            </a:r>
          </a:p>
          <a:p>
            <a:pPr marL="0" lvl="1" defTabSz="914363"/>
            <a:endParaRPr lang="en-US" sz="800" dirty="0">
              <a:solidFill>
                <a:srgbClr val="5F5F5F">
                  <a:alpha val="99000"/>
                </a:srgbClr>
              </a:solidFill>
            </a:endParaRPr>
          </a:p>
          <a:p>
            <a:pPr marL="0" lvl="1" defTabSz="914363"/>
            <a:r>
              <a:rPr lang="en-US" sz="2000" dirty="0">
                <a:solidFill>
                  <a:srgbClr val="FFFFFF">
                    <a:alpha val="99000"/>
                  </a:srgbClr>
                </a:solidFill>
              </a:rPr>
              <a:t>A role instance is a set of code, configuration, and local data, deployed in a dedicated VM</a:t>
            </a:r>
          </a:p>
        </p:txBody>
      </p:sp>
      <p:sp>
        <p:nvSpPr>
          <p:cNvPr id="9" name="TextBox 8"/>
          <p:cNvSpPr txBox="1"/>
          <p:nvPr/>
        </p:nvSpPr>
        <p:spPr>
          <a:xfrm>
            <a:off x="892780" y="2368297"/>
            <a:ext cx="4947663" cy="2636619"/>
          </a:xfrm>
          <a:prstGeom prst="rect">
            <a:avLst/>
          </a:prstGeom>
          <a:noFill/>
        </p:spPr>
        <p:txBody>
          <a:bodyPr wrap="square" lIns="0" tIns="0" rIns="0" bIns="0" rtlCol="0">
            <a:spAutoFit/>
          </a:bodyPr>
          <a:lstStyle/>
          <a:p>
            <a:pPr defTabSz="914363">
              <a:lnSpc>
                <a:spcPts val="3800"/>
              </a:lnSpc>
            </a:pPr>
            <a:r>
              <a:rPr lang="en-US" sz="3600" dirty="0">
                <a:solidFill>
                  <a:srgbClr val="FFFFFF">
                    <a:alpha val="99000"/>
                  </a:srgbClr>
                </a:solidFill>
                <a:latin typeface="Segoe UI Light" pitchFamily="34" charset="0"/>
              </a:rPr>
              <a:t>Roles are defined in a Hosted Service</a:t>
            </a:r>
          </a:p>
          <a:p>
            <a:pPr marL="0" lvl="1" defTabSz="914363"/>
            <a:endParaRPr lang="en-US" sz="800" dirty="0">
              <a:solidFill>
                <a:srgbClr val="5F5F5F">
                  <a:alpha val="99000"/>
                </a:srgbClr>
              </a:solidFill>
            </a:endParaRPr>
          </a:p>
          <a:p>
            <a:pPr marL="0" lvl="1" defTabSz="914363"/>
            <a:r>
              <a:rPr lang="en-US" sz="2000" b="1" dirty="0">
                <a:solidFill>
                  <a:srgbClr val="FFFFFF">
                    <a:alpha val="99000"/>
                  </a:srgbClr>
                </a:solidFill>
              </a:rPr>
              <a:t>A role definition specifies:</a:t>
            </a:r>
          </a:p>
          <a:p>
            <a:pPr marL="0" lvl="1" defTabSz="914363"/>
            <a:r>
              <a:rPr lang="en-US" sz="2000" dirty="0">
                <a:solidFill>
                  <a:srgbClr val="FFFFFF">
                    <a:alpha val="99000"/>
                  </a:srgbClr>
                </a:solidFill>
              </a:rPr>
              <a:t>VM size</a:t>
            </a:r>
          </a:p>
          <a:p>
            <a:pPr marL="0" lvl="1" defTabSz="914363"/>
            <a:r>
              <a:rPr lang="en-US" sz="2000" dirty="0">
                <a:solidFill>
                  <a:srgbClr val="FFFFFF">
                    <a:alpha val="99000"/>
                  </a:srgbClr>
                </a:solidFill>
              </a:rPr>
              <a:t>Communication Endpoints</a:t>
            </a:r>
          </a:p>
          <a:p>
            <a:pPr marL="0" lvl="1" defTabSz="914363"/>
            <a:r>
              <a:rPr lang="en-US" sz="2000" dirty="0">
                <a:solidFill>
                  <a:srgbClr val="FFFFFF">
                    <a:alpha val="99000"/>
                  </a:srgbClr>
                </a:solidFill>
              </a:rPr>
              <a:t>Local storage resources</a:t>
            </a:r>
          </a:p>
          <a:p>
            <a:pPr marL="0" lvl="1" defTabSz="914363"/>
            <a:r>
              <a:rPr lang="en-US" sz="2000" dirty="0">
                <a:solidFill>
                  <a:srgbClr val="FFFFFF">
                    <a:alpha val="99000"/>
                  </a:srgbClr>
                </a:solidFill>
              </a:rPr>
              <a:t>etc.</a:t>
            </a:r>
          </a:p>
        </p:txBody>
      </p:sp>
    </p:spTree>
    <p:extLst>
      <p:ext uri="{BB962C8B-B14F-4D97-AF65-F5344CB8AC3E}">
        <p14:creationId xmlns:p14="http://schemas.microsoft.com/office/powerpoint/2010/main" val="527456981"/>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15"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20701" y="228600"/>
            <a:ext cx="11149013" cy="1107996"/>
          </a:xfrm>
        </p:spPr>
        <p:txBody>
          <a:bodyPr/>
          <a:lstStyle/>
          <a:p>
            <a:r>
              <a:rPr lang="en-US" dirty="0"/>
              <a:t>Roles and Instances</a:t>
            </a:r>
            <a:br>
              <a:rPr lang="en-US" dirty="0"/>
            </a:br>
            <a:r>
              <a:rPr lang="en-US" sz="2600" dirty="0">
                <a:solidFill>
                  <a:schemeClr val="accent4">
                    <a:lumMod val="75000"/>
                    <a:alpha val="99000"/>
                  </a:schemeClr>
                </a:solidFill>
              </a:rPr>
              <a:t>Example Hosted Service configuration with a single web role and a single worker role</a:t>
            </a:r>
            <a:endParaRPr lang="en-US" sz="2600" dirty="0">
              <a:solidFill>
                <a:schemeClr val="accent4">
                  <a:alpha val="99000"/>
                </a:schemeClr>
              </a:solidFill>
            </a:endParaRPr>
          </a:p>
        </p:txBody>
      </p:sp>
      <p:sp>
        <p:nvSpPr>
          <p:cNvPr id="4" name="Rectangle 3"/>
          <p:cNvSpPr/>
          <p:nvPr>
            <p:custDataLst>
              <p:tags r:id="rId4"/>
            </p:custDataLst>
          </p:nvPr>
        </p:nvSpPr>
        <p:spPr bwMode="auto">
          <a:xfrm>
            <a:off x="519113" y="1695450"/>
            <a:ext cx="11158538" cy="42535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3200" cap="all" dirty="0">
                <a:ln>
                  <a:solidFill>
                    <a:srgbClr val="FFFFFF">
                      <a:alpha val="0"/>
                    </a:srgbClr>
                  </a:solidFill>
                </a:ln>
                <a:solidFill>
                  <a:srgbClr val="595959">
                    <a:alpha val="99000"/>
                  </a:srgbClr>
                </a:solidFill>
                <a:latin typeface="Segoe UI Light" pitchFamily="34" charset="0"/>
              </a:rPr>
              <a:t>Hosted Service</a:t>
            </a:r>
          </a:p>
        </p:txBody>
      </p:sp>
      <p:sp>
        <p:nvSpPr>
          <p:cNvPr id="5" name="Rectangle 4"/>
          <p:cNvSpPr/>
          <p:nvPr>
            <p:custDataLst>
              <p:tags r:id="rId5"/>
            </p:custDataLst>
          </p:nvPr>
        </p:nvSpPr>
        <p:spPr bwMode="auto">
          <a:xfrm>
            <a:off x="625793" y="2335530"/>
            <a:ext cx="5394960"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cap="all" dirty="0">
                <a:ln>
                  <a:solidFill>
                    <a:srgbClr val="FFFFFF">
                      <a:alpha val="0"/>
                    </a:srgbClr>
                  </a:solidFill>
                </a:ln>
                <a:gradFill>
                  <a:gsLst>
                    <a:gs pos="0">
                      <a:srgbClr val="FFFFFF"/>
                    </a:gs>
                    <a:gs pos="100000">
                      <a:srgbClr val="FFFFFF"/>
                    </a:gs>
                  </a:gsLst>
                  <a:lin ang="5400000" scaled="0"/>
                </a:gradFill>
              </a:rPr>
              <a:t>Web Role</a:t>
            </a:r>
          </a:p>
        </p:txBody>
      </p:sp>
      <p:sp>
        <p:nvSpPr>
          <p:cNvPr id="6" name="Rectangle 5"/>
          <p:cNvSpPr/>
          <p:nvPr>
            <p:custDataLst>
              <p:tags r:id="rId6"/>
            </p:custDataLst>
          </p:nvPr>
        </p:nvSpPr>
        <p:spPr bwMode="auto">
          <a:xfrm>
            <a:off x="6159342" y="2335530"/>
            <a:ext cx="5394960"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cap="all" dirty="0">
                <a:ln>
                  <a:solidFill>
                    <a:srgbClr val="FFFFFF">
                      <a:alpha val="0"/>
                    </a:srgbClr>
                  </a:solidFill>
                </a:ln>
                <a:gradFill>
                  <a:gsLst>
                    <a:gs pos="0">
                      <a:srgbClr val="FFFFFF"/>
                    </a:gs>
                    <a:gs pos="100000">
                      <a:srgbClr val="FFFFFF"/>
                    </a:gs>
                  </a:gsLst>
                  <a:lin ang="5400000" scaled="0"/>
                </a:gradFill>
              </a:rPr>
              <a:t>Worker Role</a:t>
            </a:r>
          </a:p>
        </p:txBody>
      </p:sp>
      <p:sp>
        <p:nvSpPr>
          <p:cNvPr id="7" name="Rectangle 6"/>
          <p:cNvSpPr/>
          <p:nvPr>
            <p:custDataLst>
              <p:tags r:id="rId7"/>
            </p:custDataLst>
          </p:nvPr>
        </p:nvSpPr>
        <p:spPr bwMode="auto">
          <a:xfrm>
            <a:off x="732473"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1</a:t>
            </a:r>
          </a:p>
        </p:txBody>
      </p:sp>
      <p:sp>
        <p:nvSpPr>
          <p:cNvPr id="8" name="Rectangle 7"/>
          <p:cNvSpPr/>
          <p:nvPr>
            <p:custDataLst>
              <p:tags r:id="rId8"/>
            </p:custDataLst>
          </p:nvPr>
        </p:nvSpPr>
        <p:spPr bwMode="auto">
          <a:xfrm>
            <a:off x="2048193"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2</a:t>
            </a:r>
          </a:p>
        </p:txBody>
      </p:sp>
      <p:sp>
        <p:nvSpPr>
          <p:cNvPr id="9" name="Rectangle 8"/>
          <p:cNvSpPr/>
          <p:nvPr>
            <p:custDataLst>
              <p:tags r:id="rId9"/>
            </p:custDataLst>
          </p:nvPr>
        </p:nvSpPr>
        <p:spPr bwMode="auto">
          <a:xfrm>
            <a:off x="3363913"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3</a:t>
            </a:r>
          </a:p>
        </p:txBody>
      </p:sp>
      <p:sp>
        <p:nvSpPr>
          <p:cNvPr id="10" name="Rectangle 9"/>
          <p:cNvSpPr/>
          <p:nvPr>
            <p:custDataLst>
              <p:tags r:id="rId10"/>
            </p:custDataLst>
          </p:nvPr>
        </p:nvSpPr>
        <p:spPr bwMode="auto">
          <a:xfrm>
            <a:off x="4679633"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4</a:t>
            </a:r>
          </a:p>
        </p:txBody>
      </p:sp>
      <p:sp>
        <p:nvSpPr>
          <p:cNvPr id="11" name="Rectangle 10"/>
          <p:cNvSpPr/>
          <p:nvPr>
            <p:custDataLst>
              <p:tags r:id="rId11"/>
            </p:custDataLst>
          </p:nvPr>
        </p:nvSpPr>
        <p:spPr bwMode="auto">
          <a:xfrm>
            <a:off x="732473"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5</a:t>
            </a:r>
          </a:p>
        </p:txBody>
      </p:sp>
      <p:sp>
        <p:nvSpPr>
          <p:cNvPr id="12" name="Rectangle 11"/>
          <p:cNvSpPr/>
          <p:nvPr>
            <p:custDataLst>
              <p:tags r:id="rId12"/>
            </p:custDataLst>
          </p:nvPr>
        </p:nvSpPr>
        <p:spPr bwMode="auto">
          <a:xfrm>
            <a:off x="2048193"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6</a:t>
            </a:r>
          </a:p>
        </p:txBody>
      </p:sp>
      <p:sp>
        <p:nvSpPr>
          <p:cNvPr id="13" name="Rectangle 12"/>
          <p:cNvSpPr/>
          <p:nvPr>
            <p:custDataLst>
              <p:tags r:id="rId13"/>
            </p:custDataLst>
          </p:nvPr>
        </p:nvSpPr>
        <p:spPr bwMode="auto">
          <a:xfrm>
            <a:off x="3363913"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7</a:t>
            </a:r>
          </a:p>
        </p:txBody>
      </p:sp>
      <p:sp>
        <p:nvSpPr>
          <p:cNvPr id="14" name="Rectangle 13"/>
          <p:cNvSpPr/>
          <p:nvPr>
            <p:custDataLst>
              <p:tags r:id="rId14"/>
            </p:custDataLst>
          </p:nvPr>
        </p:nvSpPr>
        <p:spPr bwMode="auto">
          <a:xfrm>
            <a:off x="4679633"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8</a:t>
            </a:r>
          </a:p>
        </p:txBody>
      </p:sp>
      <p:sp>
        <p:nvSpPr>
          <p:cNvPr id="15" name="Rectangle 14"/>
          <p:cNvSpPr/>
          <p:nvPr>
            <p:custDataLst>
              <p:tags r:id="rId15"/>
            </p:custDataLst>
          </p:nvPr>
        </p:nvSpPr>
        <p:spPr bwMode="auto">
          <a:xfrm>
            <a:off x="732473" y="481965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9</a:t>
            </a:r>
          </a:p>
        </p:txBody>
      </p:sp>
      <p:sp>
        <p:nvSpPr>
          <p:cNvPr id="16" name="Rectangle 15"/>
          <p:cNvSpPr/>
          <p:nvPr>
            <p:custDataLst>
              <p:tags r:id="rId16"/>
            </p:custDataLst>
          </p:nvPr>
        </p:nvSpPr>
        <p:spPr bwMode="auto">
          <a:xfrm>
            <a:off x="3363913" y="481965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n</a:t>
            </a:r>
          </a:p>
        </p:txBody>
      </p:sp>
      <p:sp>
        <p:nvSpPr>
          <p:cNvPr id="18" name="Rectangle 17"/>
          <p:cNvSpPr/>
          <p:nvPr>
            <p:custDataLst>
              <p:tags r:id="rId17"/>
            </p:custDataLst>
          </p:nvPr>
        </p:nvSpPr>
        <p:spPr bwMode="auto">
          <a:xfrm>
            <a:off x="6266022"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1</a:t>
            </a:r>
          </a:p>
        </p:txBody>
      </p:sp>
      <p:sp>
        <p:nvSpPr>
          <p:cNvPr id="19" name="Rectangle 18"/>
          <p:cNvSpPr/>
          <p:nvPr>
            <p:custDataLst>
              <p:tags r:id="rId18"/>
            </p:custDataLst>
          </p:nvPr>
        </p:nvSpPr>
        <p:spPr bwMode="auto">
          <a:xfrm>
            <a:off x="7581742"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2</a:t>
            </a:r>
          </a:p>
        </p:txBody>
      </p:sp>
      <p:sp>
        <p:nvSpPr>
          <p:cNvPr id="20" name="Rectangle 19"/>
          <p:cNvSpPr/>
          <p:nvPr>
            <p:custDataLst>
              <p:tags r:id="rId19"/>
            </p:custDataLst>
          </p:nvPr>
        </p:nvSpPr>
        <p:spPr bwMode="auto">
          <a:xfrm>
            <a:off x="8897462"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3</a:t>
            </a:r>
          </a:p>
        </p:txBody>
      </p:sp>
      <p:sp>
        <p:nvSpPr>
          <p:cNvPr id="21" name="Rectangle 20"/>
          <p:cNvSpPr/>
          <p:nvPr>
            <p:custDataLst>
              <p:tags r:id="rId20"/>
            </p:custDataLst>
          </p:nvPr>
        </p:nvSpPr>
        <p:spPr bwMode="auto">
          <a:xfrm>
            <a:off x="10213182"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4</a:t>
            </a:r>
          </a:p>
        </p:txBody>
      </p:sp>
      <p:sp>
        <p:nvSpPr>
          <p:cNvPr id="22" name="Rectangle 21"/>
          <p:cNvSpPr/>
          <p:nvPr>
            <p:custDataLst>
              <p:tags r:id="rId21"/>
            </p:custDataLst>
          </p:nvPr>
        </p:nvSpPr>
        <p:spPr bwMode="auto">
          <a:xfrm>
            <a:off x="6266022" y="382222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5</a:t>
            </a:r>
          </a:p>
        </p:txBody>
      </p:sp>
      <p:sp>
        <p:nvSpPr>
          <p:cNvPr id="23" name="Rectangle 22"/>
          <p:cNvSpPr/>
          <p:nvPr>
            <p:custDataLst>
              <p:tags r:id="rId22"/>
            </p:custDataLst>
          </p:nvPr>
        </p:nvSpPr>
        <p:spPr bwMode="auto">
          <a:xfrm>
            <a:off x="8897462" y="382222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n</a:t>
            </a:r>
          </a:p>
        </p:txBody>
      </p:sp>
      <p:sp>
        <p:nvSpPr>
          <p:cNvPr id="26" name="Rectangle 25"/>
          <p:cNvSpPr/>
          <p:nvPr>
            <p:custDataLst>
              <p:tags r:id="rId23"/>
            </p:custDataLst>
          </p:nvPr>
        </p:nvSpPr>
        <p:spPr>
          <a:xfrm>
            <a:off x="2463635" y="5067651"/>
            <a:ext cx="385271" cy="400110"/>
          </a:xfrm>
          <a:prstGeom prst="rect">
            <a:avLst/>
          </a:prstGeom>
        </p:spPr>
        <p:txBody>
          <a:bodyPr wrap="square">
            <a:spAutoFit/>
          </a:bodyPr>
          <a:lstStyle/>
          <a:p>
            <a:pPr defTabSz="914363">
              <a:spcBef>
                <a:spcPts val="1200"/>
              </a:spcBef>
              <a:buSzPct val="80000"/>
            </a:pPr>
            <a:r>
              <a:rPr lang="en-US" sz="2000" dirty="0">
                <a:ln>
                  <a:solidFill>
                    <a:srgbClr val="FFFFFF">
                      <a:alpha val="0"/>
                    </a:srgbClr>
                  </a:solidFill>
                </a:ln>
                <a:solidFill>
                  <a:srgbClr val="FFFFFF"/>
                </a:solidFill>
              </a:rPr>
              <a:t>…</a:t>
            </a:r>
          </a:p>
        </p:txBody>
      </p:sp>
      <p:sp>
        <p:nvSpPr>
          <p:cNvPr id="27" name="Rectangle 26"/>
          <p:cNvSpPr/>
          <p:nvPr>
            <p:custDataLst>
              <p:tags r:id="rId24"/>
            </p:custDataLst>
          </p:nvPr>
        </p:nvSpPr>
        <p:spPr>
          <a:xfrm>
            <a:off x="7997183" y="4069431"/>
            <a:ext cx="385271" cy="400110"/>
          </a:xfrm>
          <a:prstGeom prst="rect">
            <a:avLst/>
          </a:prstGeom>
        </p:spPr>
        <p:txBody>
          <a:bodyPr wrap="square">
            <a:spAutoFit/>
          </a:bodyPr>
          <a:lstStyle/>
          <a:p>
            <a:pPr defTabSz="914363">
              <a:spcBef>
                <a:spcPts val="1200"/>
              </a:spcBef>
              <a:buSzPct val="80000"/>
            </a:pPr>
            <a:r>
              <a:rPr lang="en-US" sz="2000" dirty="0">
                <a:ln>
                  <a:solidFill>
                    <a:srgbClr val="FFFFFF">
                      <a:alpha val="0"/>
                    </a:srgbClr>
                  </a:solidFill>
                </a:ln>
                <a:solidFill>
                  <a:srgbClr val="FFFFFF"/>
                </a:solidFill>
              </a:rPr>
              <a:t>…</a:t>
            </a:r>
          </a:p>
        </p:txBody>
      </p:sp>
    </p:spTree>
    <p:extLst>
      <p:ext uri="{BB962C8B-B14F-4D97-AF65-F5344CB8AC3E}">
        <p14:creationId xmlns:p14="http://schemas.microsoft.com/office/powerpoint/2010/main" val="2020308982"/>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513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Fault Domains</a:t>
            </a:r>
            <a:endParaRPr lang="en-US" dirty="0"/>
          </a:p>
        </p:txBody>
      </p:sp>
      <p:sp>
        <p:nvSpPr>
          <p:cNvPr id="3" name="Content Placeholder 2"/>
          <p:cNvSpPr>
            <a:spLocks noGrp="1"/>
          </p:cNvSpPr>
          <p:nvPr>
            <p:ph sz="quarter" idx="10"/>
            <p:custDataLst>
              <p:tags r:id="rId4"/>
            </p:custDataLst>
          </p:nvPr>
        </p:nvSpPr>
        <p:spPr>
          <a:xfrm>
            <a:off x="520701" y="1463675"/>
            <a:ext cx="11155680" cy="3475310"/>
          </a:xfrm>
        </p:spPr>
        <p:txBody>
          <a:bodyPr/>
          <a:lstStyle/>
          <a:p>
            <a:r>
              <a:rPr lang="en-US" sz="4000" dirty="0">
                <a:solidFill>
                  <a:schemeClr val="accent2">
                    <a:alpha val="99000"/>
                  </a:schemeClr>
                </a:solidFill>
                <a:latin typeface="Segoe UI Light" pitchFamily="34" charset="0"/>
              </a:rPr>
              <a:t>99.95% Uptime Guarantee</a:t>
            </a:r>
          </a:p>
          <a:p>
            <a:pPr marL="0" lvl="1"/>
            <a:r>
              <a:rPr lang="en-US" sz="2000" dirty="0"/>
              <a:t>Requires 2 or more instance per role</a:t>
            </a:r>
          </a:p>
          <a:p>
            <a:pPr marL="0" lvl="1"/>
            <a:endParaRPr lang="en-US" sz="2000" dirty="0"/>
          </a:p>
          <a:p>
            <a:pPr>
              <a:lnSpc>
                <a:spcPts val="3800"/>
              </a:lnSpc>
            </a:pPr>
            <a:r>
              <a:rPr lang="en-US" sz="4000" dirty="0">
                <a:solidFill>
                  <a:schemeClr val="accent2">
                    <a:alpha val="99000"/>
                  </a:schemeClr>
                </a:solidFill>
                <a:latin typeface="Segoe UI Light" pitchFamily="34" charset="0"/>
              </a:rPr>
              <a:t>Role instance are isolated </a:t>
            </a:r>
            <a:br>
              <a:rPr lang="en-US" sz="4000" dirty="0">
                <a:solidFill>
                  <a:schemeClr val="accent2">
                    <a:alpha val="99000"/>
                  </a:schemeClr>
                </a:solidFill>
                <a:latin typeface="Segoe UI Light" pitchFamily="34" charset="0"/>
              </a:rPr>
            </a:br>
            <a:r>
              <a:rPr lang="en-US" sz="4000" dirty="0">
                <a:solidFill>
                  <a:schemeClr val="accent2">
                    <a:alpha val="99000"/>
                  </a:schemeClr>
                </a:solidFill>
                <a:latin typeface="Segoe UI Light" pitchFamily="34" charset="0"/>
              </a:rPr>
              <a:t>by fault domain</a:t>
            </a:r>
          </a:p>
          <a:p>
            <a:pPr marL="0" lvl="1"/>
            <a:r>
              <a:rPr lang="en-US" sz="2000" dirty="0"/>
              <a:t>Fault domains isolate VMs</a:t>
            </a:r>
          </a:p>
          <a:p>
            <a:pPr marL="0" lvl="1"/>
            <a:r>
              <a:rPr lang="en-US" sz="2000" dirty="0"/>
              <a:t>Fault domains provide redundancy</a:t>
            </a:r>
          </a:p>
          <a:p>
            <a:pPr marL="0" lvl="1"/>
            <a:r>
              <a:rPr lang="en-US" sz="2000" dirty="0"/>
              <a:t>At least two fault domains per role</a:t>
            </a:r>
          </a:p>
        </p:txBody>
      </p:sp>
      <p:sp>
        <p:nvSpPr>
          <p:cNvPr id="5" name="Freeform 11"/>
          <p:cNvSpPr>
            <a:spLocks noEditPoints="1"/>
          </p:cNvSpPr>
          <p:nvPr/>
        </p:nvSpPr>
        <p:spPr bwMode="black">
          <a:xfrm>
            <a:off x="7967274" y="1695451"/>
            <a:ext cx="2794145" cy="2793423"/>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587305276"/>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19114"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736107" y="1895138"/>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0" tIns="45718" rIns="274320" bIns="45718" numCol="1" rtlCol="0" anchor="ctr" anchorCtr="0" compatLnSpc="1">
            <a:prstTxWarp prst="textNoShape">
              <a:avLst/>
            </a:prstTxWarp>
          </a:bodyPr>
          <a:lstStyle/>
          <a:p>
            <a:pPr algn="ctr" defTabSz="914363">
              <a:spcBef>
                <a:spcPts val="1200"/>
              </a:spcBef>
              <a:buSzPct val="80000"/>
            </a:pPr>
            <a:r>
              <a:rPr lang="en-US" sz="3200" dirty="0">
                <a:ln>
                  <a:solidFill>
                    <a:srgbClr val="FFFFFF">
                      <a:alpha val="0"/>
                    </a:srgbClr>
                  </a:solidFill>
                </a:ln>
                <a:solidFill>
                  <a:srgbClr val="FFFFFF">
                    <a:alpha val="99000"/>
                  </a:srgbClr>
                </a:solidFill>
                <a:latin typeface="Segoe UI Light" pitchFamily="34" charset="0"/>
              </a:rPr>
              <a:t>Logical unit, which determines how </a:t>
            </a:r>
            <a:br>
              <a:rPr lang="en-US" sz="3200" dirty="0">
                <a:ln>
                  <a:solidFill>
                    <a:srgbClr val="FFFFFF">
                      <a:alpha val="0"/>
                    </a:srgbClr>
                  </a:solidFill>
                </a:ln>
                <a:solidFill>
                  <a:srgbClr val="FFFFFF">
                    <a:alpha val="99000"/>
                  </a:srgbClr>
                </a:solidFill>
                <a:latin typeface="Segoe UI Light" pitchFamily="34" charset="0"/>
              </a:rPr>
            </a:br>
            <a:r>
              <a:rPr lang="en-US" sz="3200" dirty="0">
                <a:ln>
                  <a:solidFill>
                    <a:srgbClr val="FFFFFF">
                      <a:alpha val="0"/>
                    </a:srgbClr>
                  </a:solidFill>
                </a:ln>
                <a:solidFill>
                  <a:srgbClr val="FFFFFF">
                    <a:alpha val="99000"/>
                  </a:srgbClr>
                </a:solidFill>
                <a:latin typeface="Segoe UI Light" pitchFamily="34" charset="0"/>
              </a:rPr>
              <a:t>particular service will be upgraded</a:t>
            </a:r>
          </a:p>
        </p:txBody>
      </p:sp>
      <p:sp>
        <p:nvSpPr>
          <p:cNvPr id="7" name="Rectangle 6"/>
          <p:cNvSpPr/>
          <p:nvPr/>
        </p:nvSpPr>
        <p:spPr bwMode="auto">
          <a:xfrm>
            <a:off x="736107" y="3167741"/>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18" rIns="274320" bIns="45718" numCol="1" spcCol="0" rtlCol="0" fromWordArt="0" anchor="ctr" anchorCtr="0" forceAA="0" compatLnSpc="1">
            <a:prstTxWarp prst="textNoShape">
              <a:avLst/>
            </a:prstTxWarp>
            <a:noAutofit/>
          </a:bodyPr>
          <a:lstStyle/>
          <a:p>
            <a:pPr algn="ctr" defTabSz="914363">
              <a:spcBef>
                <a:spcPts val="1200"/>
              </a:spcBef>
              <a:buSzPct val="80000"/>
            </a:pPr>
            <a:r>
              <a:rPr lang="en-US" sz="3200" dirty="0">
                <a:ln>
                  <a:solidFill>
                    <a:srgbClr val="FFFFFF">
                      <a:alpha val="0"/>
                    </a:srgbClr>
                  </a:solidFill>
                </a:ln>
                <a:solidFill>
                  <a:srgbClr val="FFFFFF">
                    <a:alpha val="99000"/>
                  </a:srgbClr>
                </a:solidFill>
                <a:latin typeface="Segoe UI Light" pitchFamily="34" charset="0"/>
              </a:rPr>
              <a:t>Default number of upgrade domains </a:t>
            </a:r>
            <a:br>
              <a:rPr lang="en-US" sz="3200" dirty="0">
                <a:ln>
                  <a:solidFill>
                    <a:srgbClr val="FFFFFF">
                      <a:alpha val="0"/>
                    </a:srgbClr>
                  </a:solidFill>
                </a:ln>
                <a:solidFill>
                  <a:srgbClr val="FFFFFF">
                    <a:alpha val="99000"/>
                  </a:srgbClr>
                </a:solidFill>
                <a:latin typeface="Segoe UI Light" pitchFamily="34" charset="0"/>
              </a:rPr>
            </a:br>
            <a:r>
              <a:rPr lang="en-US" sz="3200" dirty="0">
                <a:ln>
                  <a:solidFill>
                    <a:srgbClr val="FFFFFF">
                      <a:alpha val="0"/>
                    </a:srgbClr>
                  </a:solidFill>
                </a:ln>
                <a:solidFill>
                  <a:srgbClr val="FFFFFF">
                    <a:alpha val="99000"/>
                  </a:srgbClr>
                </a:solidFill>
                <a:latin typeface="Segoe UI Light" pitchFamily="34" charset="0"/>
              </a:rPr>
              <a:t>that are configured for your application is </a:t>
            </a:r>
            <a:r>
              <a:rPr lang="en-US" sz="3200" b="1" dirty="0">
                <a:ln>
                  <a:solidFill>
                    <a:srgbClr val="FFFFFF">
                      <a:alpha val="0"/>
                    </a:srgbClr>
                  </a:solidFill>
                </a:ln>
                <a:solidFill>
                  <a:srgbClr val="FFFFFF">
                    <a:alpha val="99000"/>
                  </a:srgbClr>
                </a:solidFill>
                <a:latin typeface="Segoe UI Light" pitchFamily="34" charset="0"/>
              </a:rPr>
              <a:t>5</a:t>
            </a:r>
            <a:r>
              <a:rPr lang="en-US" sz="3200" dirty="0">
                <a:ln>
                  <a:solidFill>
                    <a:srgbClr val="FFFFFF">
                      <a:alpha val="0"/>
                    </a:srgbClr>
                  </a:solidFill>
                </a:ln>
                <a:solidFill>
                  <a:srgbClr val="FFFFFF">
                    <a:alpha val="99000"/>
                  </a:srgbClr>
                </a:solidFill>
                <a:latin typeface="Segoe UI Light" pitchFamily="34" charset="0"/>
              </a:rPr>
              <a:t> (five)</a:t>
            </a:r>
          </a:p>
        </p:txBody>
      </p:sp>
      <p:sp>
        <p:nvSpPr>
          <p:cNvPr id="8" name="Rectangle 7"/>
          <p:cNvSpPr/>
          <p:nvPr/>
        </p:nvSpPr>
        <p:spPr bwMode="auto">
          <a:xfrm>
            <a:off x="761885" y="4440345"/>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18" rIns="274320" bIns="45718" numCol="1" spcCol="0" rtlCol="0" fromWordArt="0" anchor="ctr" anchorCtr="0" forceAA="0" compatLnSpc="1">
            <a:prstTxWarp prst="textNoShape">
              <a:avLst/>
            </a:prstTxWarp>
            <a:noAutofit/>
          </a:bodyPr>
          <a:lstStyle/>
          <a:p>
            <a:pPr algn="ctr" defTabSz="914363">
              <a:spcBef>
                <a:spcPts val="1200"/>
              </a:spcBef>
              <a:buSzPct val="80000"/>
            </a:pPr>
            <a:r>
              <a:rPr lang="en-US" sz="3200" dirty="0">
                <a:ln>
                  <a:solidFill>
                    <a:srgbClr val="FFFFFF">
                      <a:alpha val="0"/>
                    </a:srgbClr>
                  </a:solidFill>
                </a:ln>
                <a:solidFill>
                  <a:srgbClr val="FFFFFF">
                    <a:alpha val="99000"/>
                  </a:srgbClr>
                </a:solidFill>
                <a:latin typeface="Segoe UI Light" pitchFamily="34" charset="0"/>
              </a:rPr>
              <a:t>You can control how many upgrade domains </a:t>
            </a:r>
            <a:br>
              <a:rPr lang="en-US" sz="3200" dirty="0">
                <a:ln>
                  <a:solidFill>
                    <a:srgbClr val="FFFFFF">
                      <a:alpha val="0"/>
                    </a:srgbClr>
                  </a:solidFill>
                </a:ln>
                <a:solidFill>
                  <a:srgbClr val="FFFFFF">
                    <a:alpha val="99000"/>
                  </a:srgbClr>
                </a:solidFill>
                <a:latin typeface="Segoe UI Light" pitchFamily="34" charset="0"/>
              </a:rPr>
            </a:br>
            <a:r>
              <a:rPr lang="en-US" sz="3200" dirty="0">
                <a:ln>
                  <a:solidFill>
                    <a:srgbClr val="FFFFFF">
                      <a:alpha val="0"/>
                    </a:srgbClr>
                  </a:solidFill>
                </a:ln>
                <a:solidFill>
                  <a:srgbClr val="FFFFFF">
                    <a:alpha val="99000"/>
                  </a:srgbClr>
                </a:solidFill>
                <a:latin typeface="Segoe UI Light" pitchFamily="34" charset="0"/>
              </a:rPr>
              <a:t>your application will use through the </a:t>
            </a: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6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pgrade Domains</a:t>
            </a:r>
            <a:endParaRPr lang="en-US" dirty="0"/>
          </a:p>
        </p:txBody>
      </p:sp>
    </p:spTree>
    <p:extLst>
      <p:ext uri="{BB962C8B-B14F-4D97-AF65-F5344CB8AC3E}">
        <p14:creationId xmlns:p14="http://schemas.microsoft.com/office/powerpoint/2010/main" val="3634389379"/>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87"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20701" y="228600"/>
            <a:ext cx="11149013" cy="1107996"/>
          </a:xfrm>
        </p:spPr>
        <p:txBody>
          <a:bodyPr/>
          <a:lstStyle/>
          <a:p>
            <a:r>
              <a:rPr lang="en-US" dirty="0"/>
              <a:t>Roles and Instances</a:t>
            </a:r>
            <a:br>
              <a:rPr lang="en-US" dirty="0"/>
            </a:br>
            <a:r>
              <a:rPr lang="en-US" sz="2600" dirty="0">
                <a:solidFill>
                  <a:schemeClr val="accent4">
                    <a:alpha val="99000"/>
                  </a:schemeClr>
                </a:solidFill>
              </a:rPr>
              <a:t>Example role with nine virtual machines distributed across three fault domains</a:t>
            </a:r>
          </a:p>
        </p:txBody>
      </p:sp>
      <p:sp>
        <p:nvSpPr>
          <p:cNvPr id="4" name="Rectangle 3"/>
          <p:cNvSpPr/>
          <p:nvPr>
            <p:custDataLst>
              <p:tags r:id="rId4"/>
            </p:custDataLst>
          </p:nvPr>
        </p:nvSpPr>
        <p:spPr bwMode="auto">
          <a:xfrm>
            <a:off x="2439988" y="1695451"/>
            <a:ext cx="7313592" cy="546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cap="all" dirty="0">
                <a:ln>
                  <a:solidFill>
                    <a:srgbClr val="FFFFFF">
                      <a:alpha val="0"/>
                    </a:srgbClr>
                  </a:solidFill>
                </a:ln>
                <a:gradFill>
                  <a:gsLst>
                    <a:gs pos="0">
                      <a:srgbClr val="FFFFFF"/>
                    </a:gs>
                    <a:gs pos="100000">
                      <a:srgbClr val="FFFFFF"/>
                    </a:gs>
                  </a:gsLst>
                  <a:lin ang="5400000" scaled="0"/>
                </a:gradFill>
              </a:rPr>
              <a:t>Network Load Balancer</a:t>
            </a:r>
          </a:p>
        </p:txBody>
      </p:sp>
      <p:sp>
        <p:nvSpPr>
          <p:cNvPr id="5" name="Rectangle 4"/>
          <p:cNvSpPr/>
          <p:nvPr>
            <p:custDataLst>
              <p:tags r:id="rId5"/>
            </p:custDataLst>
          </p:nvPr>
        </p:nvSpPr>
        <p:spPr bwMode="auto">
          <a:xfrm>
            <a:off x="519113" y="2615781"/>
            <a:ext cx="11158538" cy="3398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sz="2400" cap="all" dirty="0">
                <a:ln>
                  <a:solidFill>
                    <a:srgbClr val="FFFFFF">
                      <a:alpha val="0"/>
                    </a:srgbClr>
                  </a:solidFill>
                </a:ln>
                <a:solidFill>
                  <a:srgbClr val="595959">
                    <a:alpha val="99000"/>
                  </a:srgbClr>
                </a:solidFill>
              </a:rPr>
              <a:t>Role</a:t>
            </a:r>
          </a:p>
        </p:txBody>
      </p:sp>
      <p:sp>
        <p:nvSpPr>
          <p:cNvPr id="25" name="Rectangle 24"/>
          <p:cNvSpPr/>
          <p:nvPr>
            <p:custDataLst>
              <p:tags r:id="rId6"/>
            </p:custDataLst>
          </p:nvPr>
        </p:nvSpPr>
        <p:spPr bwMode="auto">
          <a:xfrm>
            <a:off x="702628"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a:ln>
                  <a:solidFill>
                    <a:srgbClr val="FFFFFF">
                      <a:alpha val="0"/>
                    </a:srgbClr>
                  </a:solidFill>
                </a:ln>
                <a:solidFill>
                  <a:srgbClr val="FFFFFF">
                    <a:alpha val="99000"/>
                  </a:srgbClr>
                </a:solidFill>
              </a:rPr>
              <a:t>Fault Domain 1</a:t>
            </a:r>
          </a:p>
        </p:txBody>
      </p:sp>
      <p:sp>
        <p:nvSpPr>
          <p:cNvPr id="7" name="Rectangle 6"/>
          <p:cNvSpPr/>
          <p:nvPr>
            <p:custDataLst>
              <p:tags r:id="rId7"/>
            </p:custDataLst>
          </p:nvPr>
        </p:nvSpPr>
        <p:spPr bwMode="auto">
          <a:xfrm>
            <a:off x="823912"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1</a:t>
            </a:r>
          </a:p>
        </p:txBody>
      </p:sp>
      <p:sp>
        <p:nvSpPr>
          <p:cNvPr id="8" name="Rectangle 7"/>
          <p:cNvSpPr/>
          <p:nvPr>
            <p:custDataLst>
              <p:tags r:id="rId8"/>
            </p:custDataLst>
          </p:nvPr>
        </p:nvSpPr>
        <p:spPr bwMode="auto">
          <a:xfrm>
            <a:off x="2505392"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3</a:t>
            </a:r>
          </a:p>
        </p:txBody>
      </p:sp>
      <p:sp>
        <p:nvSpPr>
          <p:cNvPr id="11" name="Rectangle 10"/>
          <p:cNvSpPr/>
          <p:nvPr>
            <p:custDataLst>
              <p:tags r:id="rId9"/>
            </p:custDataLst>
          </p:nvPr>
        </p:nvSpPr>
        <p:spPr bwMode="auto">
          <a:xfrm>
            <a:off x="823912"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5</a:t>
            </a:r>
          </a:p>
        </p:txBody>
      </p:sp>
      <p:sp>
        <p:nvSpPr>
          <p:cNvPr id="12" name="Rectangle 11"/>
          <p:cNvSpPr/>
          <p:nvPr>
            <p:custDataLst>
              <p:tags r:id="rId10"/>
            </p:custDataLst>
          </p:nvPr>
        </p:nvSpPr>
        <p:spPr bwMode="auto">
          <a:xfrm>
            <a:off x="2505392"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8</a:t>
            </a:r>
          </a:p>
        </p:txBody>
      </p:sp>
      <p:sp>
        <p:nvSpPr>
          <p:cNvPr id="31" name="Rectangle 30"/>
          <p:cNvSpPr/>
          <p:nvPr>
            <p:custDataLst>
              <p:tags r:id="rId11"/>
            </p:custDataLst>
          </p:nvPr>
        </p:nvSpPr>
        <p:spPr bwMode="auto">
          <a:xfrm>
            <a:off x="4358620"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a:ln>
                  <a:solidFill>
                    <a:srgbClr val="FFFFFF">
                      <a:alpha val="0"/>
                    </a:srgbClr>
                  </a:solidFill>
                </a:ln>
                <a:solidFill>
                  <a:srgbClr val="FFFFFF">
                    <a:alpha val="99000"/>
                  </a:srgbClr>
                </a:solidFill>
              </a:rPr>
              <a:t>Fault Domain 2</a:t>
            </a:r>
          </a:p>
        </p:txBody>
      </p:sp>
      <p:sp>
        <p:nvSpPr>
          <p:cNvPr id="32" name="Rectangle 31"/>
          <p:cNvSpPr/>
          <p:nvPr>
            <p:custDataLst>
              <p:tags r:id="rId12"/>
            </p:custDataLst>
          </p:nvPr>
        </p:nvSpPr>
        <p:spPr bwMode="auto">
          <a:xfrm>
            <a:off x="4479904"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2</a:t>
            </a:r>
          </a:p>
        </p:txBody>
      </p:sp>
      <p:sp>
        <p:nvSpPr>
          <p:cNvPr id="33" name="Rectangle 32"/>
          <p:cNvSpPr/>
          <p:nvPr>
            <p:custDataLst>
              <p:tags r:id="rId13"/>
            </p:custDataLst>
          </p:nvPr>
        </p:nvSpPr>
        <p:spPr bwMode="auto">
          <a:xfrm>
            <a:off x="6161384"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4</a:t>
            </a:r>
          </a:p>
        </p:txBody>
      </p:sp>
      <p:sp>
        <p:nvSpPr>
          <p:cNvPr id="34" name="Rectangle 33"/>
          <p:cNvSpPr/>
          <p:nvPr>
            <p:custDataLst>
              <p:tags r:id="rId14"/>
            </p:custDataLst>
          </p:nvPr>
        </p:nvSpPr>
        <p:spPr bwMode="auto">
          <a:xfrm>
            <a:off x="4479904"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6</a:t>
            </a:r>
          </a:p>
        </p:txBody>
      </p:sp>
      <p:sp>
        <p:nvSpPr>
          <p:cNvPr id="35" name="Rectangle 34"/>
          <p:cNvSpPr/>
          <p:nvPr>
            <p:custDataLst>
              <p:tags r:id="rId15"/>
            </p:custDataLst>
          </p:nvPr>
        </p:nvSpPr>
        <p:spPr bwMode="auto">
          <a:xfrm>
            <a:off x="6161384"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9</a:t>
            </a:r>
          </a:p>
        </p:txBody>
      </p:sp>
      <p:cxnSp>
        <p:nvCxnSpPr>
          <p:cNvPr id="44" name="Elbow Connector 43"/>
          <p:cNvCxnSpPr/>
          <p:nvPr>
            <p:custDataLst>
              <p:tags r:id="rId16"/>
            </p:custDataLst>
          </p:nvPr>
        </p:nvCxnSpPr>
        <p:spPr>
          <a:xfrm rot="5400000">
            <a:off x="3830120" y="874337"/>
            <a:ext cx="876532" cy="3656796"/>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40" name="Rectangle 39"/>
          <p:cNvSpPr/>
          <p:nvPr>
            <p:custDataLst>
              <p:tags r:id="rId17"/>
            </p:custDataLst>
          </p:nvPr>
        </p:nvSpPr>
        <p:spPr bwMode="auto">
          <a:xfrm>
            <a:off x="8016220"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a:ln>
                  <a:solidFill>
                    <a:srgbClr val="FFFFFF">
                      <a:alpha val="0"/>
                    </a:srgbClr>
                  </a:solidFill>
                </a:ln>
                <a:solidFill>
                  <a:srgbClr val="FFFFFF"/>
                </a:solidFill>
              </a:rPr>
              <a:t>Fault Domain 3</a:t>
            </a:r>
          </a:p>
        </p:txBody>
      </p:sp>
      <p:sp>
        <p:nvSpPr>
          <p:cNvPr id="41" name="Rectangle 40"/>
          <p:cNvSpPr/>
          <p:nvPr>
            <p:custDataLst>
              <p:tags r:id="rId18"/>
            </p:custDataLst>
          </p:nvPr>
        </p:nvSpPr>
        <p:spPr bwMode="auto">
          <a:xfrm>
            <a:off x="8137504"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6</a:t>
            </a:r>
          </a:p>
        </p:txBody>
      </p:sp>
      <p:sp>
        <p:nvSpPr>
          <p:cNvPr id="43" name="Rectangle 42"/>
          <p:cNvSpPr/>
          <p:nvPr>
            <p:custDataLst>
              <p:tags r:id="rId19"/>
            </p:custDataLst>
          </p:nvPr>
        </p:nvSpPr>
        <p:spPr bwMode="auto">
          <a:xfrm>
            <a:off x="9818984"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9</a:t>
            </a:r>
          </a:p>
        </p:txBody>
      </p:sp>
      <p:cxnSp>
        <p:nvCxnSpPr>
          <p:cNvPr id="29" name="Elbow Connector 28"/>
          <p:cNvCxnSpPr/>
          <p:nvPr>
            <p:custDataLst>
              <p:tags r:id="rId20"/>
            </p:custDataLst>
          </p:nvPr>
        </p:nvCxnSpPr>
        <p:spPr>
          <a:xfrm rot="16200000" flipH="1">
            <a:off x="7492605" y="874337"/>
            <a:ext cx="876532" cy="3656796"/>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30" name="&quot;No&quot; Symbol 29"/>
          <p:cNvSpPr/>
          <p:nvPr>
            <p:custDataLst>
              <p:tags r:id="rId21"/>
            </p:custDataLst>
          </p:nvPr>
        </p:nvSpPr>
        <p:spPr bwMode="auto">
          <a:xfrm>
            <a:off x="8374360" y="3118701"/>
            <a:ext cx="2758440" cy="2758440"/>
          </a:xfrm>
          <a:prstGeom prst="noSmoking">
            <a:avLst>
              <a:gd name="adj" fmla="val 9516"/>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rgbClr val="FFFFFF">
                    <a:alpha val="0"/>
                  </a:srgbClr>
                </a:solidFill>
              </a:ln>
              <a:gradFill>
                <a:gsLst>
                  <a:gs pos="0">
                    <a:srgbClr val="FFFFFF"/>
                  </a:gs>
                  <a:gs pos="100000">
                    <a:srgbClr val="FFFFFF"/>
                  </a:gs>
                </a:gsLst>
                <a:lin ang="5400000" scaled="0"/>
              </a:gradFill>
            </a:endParaRPr>
          </a:p>
        </p:txBody>
      </p:sp>
      <p:cxnSp>
        <p:nvCxnSpPr>
          <p:cNvPr id="13" name="Straight Arrow Connector 12"/>
          <p:cNvCxnSpPr/>
          <p:nvPr/>
        </p:nvCxnSpPr>
        <p:spPr>
          <a:xfrm>
            <a:off x="6096000" y="2703007"/>
            <a:ext cx="0" cy="401934"/>
          </a:xfrm>
          <a:prstGeom prst="straightConnector1">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96620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nodeType="clickEffect">
                                  <p:stCondLst>
                                    <p:cond delay="0"/>
                                  </p:stCondLst>
                                  <p:childTnLst>
                                    <p:animEffect transition="out" filter="fade">
                                      <p:cBhvr>
                                        <p:cTn id="10" dur="500"/>
                                        <p:tgtEl>
                                          <p:spTgt spid="29"/>
                                        </p:tgtEl>
                                      </p:cBhvr>
                                    </p:animEffect>
                                    <p:set>
                                      <p:cBhvr>
                                        <p:cTn id="11" dur="1" fill="hold">
                                          <p:stCondLst>
                                            <p:cond delay="499"/>
                                          </p:stCondLst>
                                        </p:cTn>
                                        <p:tgtEl>
                                          <p:spTgt spid="29"/>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fade">
                                      <p:cBhvr>
                                        <p:cTn id="16" dur="500"/>
                                        <p:tgtEl>
                                          <p:spTgt spid="3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0"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8211"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20701" y="228600"/>
            <a:ext cx="11149013" cy="1107996"/>
          </a:xfrm>
        </p:spPr>
        <p:txBody>
          <a:bodyPr/>
          <a:lstStyle/>
          <a:p>
            <a:r>
              <a:rPr lang="en-US" dirty="0">
                <a:cs typeface="Segoe UI"/>
              </a:rPr>
              <a:t>The High Scale Application Archetype</a:t>
            </a:r>
            <a:br>
              <a:rPr lang="en-US" dirty="0">
                <a:cs typeface="Segoe UI"/>
              </a:rPr>
            </a:br>
            <a:r>
              <a:rPr lang="en-US" sz="2600" dirty="0">
                <a:solidFill>
                  <a:schemeClr val="accent4">
                    <a:alpha val="99000"/>
                  </a:schemeClr>
                </a:solidFill>
                <a:cs typeface="Segoe UI"/>
              </a:rPr>
              <a:t>Windows Azure provides a ‘pay-as-you-go’ scale out application platform</a:t>
            </a:r>
          </a:p>
        </p:txBody>
      </p:sp>
      <p:sp>
        <p:nvSpPr>
          <p:cNvPr id="6" name="Rectangle 5"/>
          <p:cNvSpPr/>
          <p:nvPr>
            <p:custDataLst>
              <p:tags r:id="rId4"/>
            </p:custDataLst>
          </p:nvPr>
        </p:nvSpPr>
        <p:spPr bwMode="auto">
          <a:xfrm>
            <a:off x="1615440" y="1695450"/>
            <a:ext cx="896112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rgbClr val="FFFFFF">
                      <a:alpha val="0"/>
                    </a:srgbClr>
                  </a:solidFill>
                </a:ln>
                <a:gradFill>
                  <a:gsLst>
                    <a:gs pos="0">
                      <a:srgbClr val="FFFFFF"/>
                    </a:gs>
                    <a:gs pos="100000">
                      <a:srgbClr val="FFFFFF"/>
                    </a:gs>
                  </a:gsLst>
                  <a:lin ang="5400000" scaled="0"/>
                </a:gradFill>
              </a:rPr>
              <a:t>Intelligent Network Load Balancer</a:t>
            </a:r>
          </a:p>
        </p:txBody>
      </p:sp>
      <p:sp>
        <p:nvSpPr>
          <p:cNvPr id="7" name="Rectangle 6"/>
          <p:cNvSpPr/>
          <p:nvPr>
            <p:custDataLst>
              <p:tags r:id="rId5"/>
            </p:custDataLst>
          </p:nvPr>
        </p:nvSpPr>
        <p:spPr bwMode="auto">
          <a:xfrm>
            <a:off x="1615440" y="2931124"/>
            <a:ext cx="896112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rgbClr val="FFFFFF">
                      <a:alpha val="0"/>
                    </a:srgbClr>
                  </a:solidFill>
                </a:ln>
                <a:gradFill>
                  <a:gsLst>
                    <a:gs pos="0">
                      <a:srgbClr val="FFFFFF"/>
                    </a:gs>
                    <a:gs pos="100000">
                      <a:srgbClr val="FFFFFF"/>
                    </a:gs>
                  </a:gsLst>
                  <a:lin ang="5400000" scaled="0"/>
                </a:gradFill>
              </a:rPr>
              <a:t>Stateless Web and/or Application Servers</a:t>
            </a:r>
          </a:p>
        </p:txBody>
      </p:sp>
      <p:sp>
        <p:nvSpPr>
          <p:cNvPr id="8" name="Rectangle 7"/>
          <p:cNvSpPr/>
          <p:nvPr>
            <p:custDataLst>
              <p:tags r:id="rId6"/>
            </p:custDataLst>
          </p:nvPr>
        </p:nvSpPr>
        <p:spPr bwMode="auto">
          <a:xfrm>
            <a:off x="1615440" y="3608921"/>
            <a:ext cx="448056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rgbClr val="FFFFFF">
                      <a:alpha val="0"/>
                    </a:srgbClr>
                  </a:solidFill>
                </a:ln>
                <a:gradFill>
                  <a:gsLst>
                    <a:gs pos="0">
                      <a:srgbClr val="FFFFFF"/>
                    </a:gs>
                    <a:gs pos="100000">
                      <a:srgbClr val="FFFFFF"/>
                    </a:gs>
                  </a:gsLst>
                  <a:lin ang="5400000" scaled="0"/>
                </a:gradFill>
              </a:rPr>
              <a:t>Stateless ‘Worker’ Machines</a:t>
            </a:r>
          </a:p>
        </p:txBody>
      </p:sp>
      <p:sp>
        <p:nvSpPr>
          <p:cNvPr id="9" name="Rectangle 8"/>
          <p:cNvSpPr/>
          <p:nvPr>
            <p:custDataLst>
              <p:tags r:id="rId7"/>
            </p:custDataLst>
          </p:nvPr>
        </p:nvSpPr>
        <p:spPr bwMode="auto">
          <a:xfrm>
            <a:off x="1615440" y="4876077"/>
            <a:ext cx="8961120" cy="13716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ln>
                <a:solidFill>
                  <a:srgbClr val="FFFFFF">
                    <a:alpha val="0"/>
                  </a:srgbClr>
                </a:solidFill>
              </a:ln>
              <a:gradFill>
                <a:gsLst>
                  <a:gs pos="0">
                    <a:srgbClr val="FFFFFF"/>
                  </a:gs>
                  <a:gs pos="100000">
                    <a:srgbClr val="FFFFFF"/>
                  </a:gs>
                </a:gsLst>
                <a:lin ang="5400000" scaled="0"/>
              </a:gradFill>
            </a:endParaRPr>
          </a:p>
        </p:txBody>
      </p:sp>
      <p:sp>
        <p:nvSpPr>
          <p:cNvPr id="10" name="Up-Down Arrow 9"/>
          <p:cNvSpPr/>
          <p:nvPr>
            <p:custDataLst>
              <p:tags r:id="rId8"/>
            </p:custDataLst>
          </p:nvPr>
        </p:nvSpPr>
        <p:spPr bwMode="auto">
          <a:xfrm>
            <a:off x="8553450" y="3537841"/>
            <a:ext cx="365760" cy="1280160"/>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ln>
                <a:solidFill>
                  <a:srgbClr val="FFFFFF">
                    <a:alpha val="0"/>
                  </a:srgbClr>
                </a:solidFill>
              </a:ln>
              <a:gradFill>
                <a:gsLst>
                  <a:gs pos="0">
                    <a:srgbClr val="FFFFFF"/>
                  </a:gs>
                  <a:gs pos="100000">
                    <a:srgbClr val="FFFFFF"/>
                  </a:gs>
                </a:gsLst>
                <a:lin ang="5400000" scaled="0"/>
              </a:gradFill>
            </a:endParaRPr>
          </a:p>
        </p:txBody>
      </p:sp>
      <p:sp>
        <p:nvSpPr>
          <p:cNvPr id="11" name="Up-Down Arrow 10"/>
          <p:cNvSpPr/>
          <p:nvPr>
            <p:custDataLst>
              <p:tags r:id="rId9"/>
            </p:custDataLst>
          </p:nvPr>
        </p:nvSpPr>
        <p:spPr bwMode="auto">
          <a:xfrm>
            <a:off x="3272790" y="4226026"/>
            <a:ext cx="354330" cy="550872"/>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ln>
                <a:solidFill>
                  <a:srgbClr val="FFFFFF">
                    <a:alpha val="0"/>
                  </a:srgbClr>
                </a:solidFill>
              </a:ln>
              <a:gradFill>
                <a:gsLst>
                  <a:gs pos="0">
                    <a:srgbClr val="FFFFFF"/>
                  </a:gs>
                  <a:gs pos="100000">
                    <a:srgbClr val="FFFFFF"/>
                  </a:gs>
                </a:gsLst>
                <a:lin ang="5400000" scaled="0"/>
              </a:gradFill>
            </a:endParaRPr>
          </a:p>
        </p:txBody>
      </p:sp>
      <p:sp>
        <p:nvSpPr>
          <p:cNvPr id="12" name="Right Arrow 11"/>
          <p:cNvSpPr/>
          <p:nvPr>
            <p:custDataLst>
              <p:tags r:id="rId10"/>
            </p:custDataLst>
          </p:nvPr>
        </p:nvSpPr>
        <p:spPr bwMode="auto">
          <a:xfrm rot="5400000">
            <a:off x="5821680" y="2359007"/>
            <a:ext cx="548640" cy="4572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ln>
                <a:solidFill>
                  <a:srgbClr val="FFFFFF">
                    <a:alpha val="0"/>
                  </a:srgbClr>
                </a:solidFill>
              </a:ln>
              <a:gradFill>
                <a:gsLst>
                  <a:gs pos="0">
                    <a:srgbClr val="FFFFFF"/>
                  </a:gs>
                  <a:gs pos="100000">
                    <a:srgbClr val="FFFFFF"/>
                  </a:gs>
                </a:gsLst>
                <a:lin ang="5400000" scaled="0"/>
              </a:gradFill>
            </a:endParaRPr>
          </a:p>
        </p:txBody>
      </p:sp>
      <p:sp>
        <p:nvSpPr>
          <p:cNvPr id="14" name="Rectangle 13"/>
          <p:cNvSpPr/>
          <p:nvPr>
            <p:custDataLst>
              <p:tags r:id="rId11"/>
            </p:custDataLst>
          </p:nvPr>
        </p:nvSpPr>
        <p:spPr>
          <a:xfrm>
            <a:off x="3849982" y="4256007"/>
            <a:ext cx="2420086" cy="461665"/>
          </a:xfrm>
          <a:prstGeom prst="rect">
            <a:avLst/>
          </a:prstGeom>
        </p:spPr>
        <p:txBody>
          <a:bodyPr wrap="none">
            <a:spAutoFit/>
          </a:bodyPr>
          <a:lstStyle/>
          <a:p>
            <a:pPr defTabSz="914363"/>
            <a:r>
              <a:rPr lang="en-US" sz="2400" dirty="0">
                <a:ln>
                  <a:solidFill>
                    <a:srgbClr val="FFFFFF">
                      <a:alpha val="0"/>
                    </a:srgbClr>
                  </a:solidFill>
                </a:ln>
                <a:solidFill>
                  <a:srgbClr val="595959">
                    <a:alpha val="99000"/>
                  </a:srgbClr>
                </a:solidFill>
              </a:rPr>
              <a:t>Async Activation</a:t>
            </a:r>
          </a:p>
        </p:txBody>
      </p:sp>
      <p:sp>
        <p:nvSpPr>
          <p:cNvPr id="15" name="Rectangle 14"/>
          <p:cNvSpPr/>
          <p:nvPr>
            <p:custDataLst>
              <p:tags r:id="rId12"/>
            </p:custDataLst>
          </p:nvPr>
        </p:nvSpPr>
        <p:spPr>
          <a:xfrm>
            <a:off x="6348408" y="2356775"/>
            <a:ext cx="2783070" cy="461665"/>
          </a:xfrm>
          <a:prstGeom prst="rect">
            <a:avLst/>
          </a:prstGeom>
        </p:spPr>
        <p:txBody>
          <a:bodyPr wrap="none">
            <a:spAutoFit/>
          </a:bodyPr>
          <a:lstStyle/>
          <a:p>
            <a:pPr defTabSz="914363"/>
            <a:r>
              <a:rPr lang="en-US" sz="2400" dirty="0">
                <a:ln>
                  <a:solidFill>
                    <a:srgbClr val="FFFFFF">
                      <a:alpha val="0"/>
                    </a:srgbClr>
                  </a:solidFill>
                </a:ln>
                <a:solidFill>
                  <a:srgbClr val="595959"/>
                </a:solidFill>
              </a:rPr>
              <a:t>Network Activation</a:t>
            </a:r>
          </a:p>
        </p:txBody>
      </p:sp>
      <p:sp>
        <p:nvSpPr>
          <p:cNvPr id="16" name="Rectangle 15"/>
          <p:cNvSpPr/>
          <p:nvPr>
            <p:custDataLst>
              <p:tags r:id="rId13"/>
            </p:custDataLst>
          </p:nvPr>
        </p:nvSpPr>
        <p:spPr bwMode="auto">
          <a:xfrm>
            <a:off x="1752600"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rgbClr val="FFFFFF">
                      <a:alpha val="0"/>
                    </a:srgbClr>
                  </a:solidFill>
                </a:ln>
                <a:solidFill>
                  <a:srgbClr val="FFFFFF">
                    <a:alpha val="99000"/>
                  </a:srgbClr>
                </a:solidFill>
              </a:rPr>
              <a:t>State Tier</a:t>
            </a:r>
          </a:p>
        </p:txBody>
      </p:sp>
      <p:sp>
        <p:nvSpPr>
          <p:cNvPr id="17" name="Rectangle 16"/>
          <p:cNvSpPr/>
          <p:nvPr>
            <p:custDataLst>
              <p:tags r:id="rId14"/>
            </p:custDataLst>
          </p:nvPr>
        </p:nvSpPr>
        <p:spPr bwMode="auto">
          <a:xfrm>
            <a:off x="3512820"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rgbClr val="FFFFFF">
                      <a:alpha val="0"/>
                    </a:srgbClr>
                  </a:solidFill>
                </a:ln>
                <a:solidFill>
                  <a:srgbClr val="FFFFFF">
                    <a:alpha val="99000"/>
                  </a:srgbClr>
                </a:solidFill>
              </a:rPr>
              <a:t>Queues</a:t>
            </a:r>
            <a:endParaRPr lang="en-NZ" sz="2400" dirty="0">
              <a:ln>
                <a:solidFill>
                  <a:srgbClr val="FFFFFF">
                    <a:alpha val="0"/>
                  </a:srgbClr>
                </a:solidFill>
              </a:ln>
              <a:solidFill>
                <a:srgbClr val="FFFFFF">
                  <a:alpha val="99000"/>
                </a:srgbClr>
              </a:solidFill>
            </a:endParaRPr>
          </a:p>
        </p:txBody>
      </p:sp>
      <p:sp>
        <p:nvSpPr>
          <p:cNvPr id="18" name="Rectangle 17"/>
          <p:cNvSpPr/>
          <p:nvPr>
            <p:custDataLst>
              <p:tags r:id="rId15"/>
            </p:custDataLst>
          </p:nvPr>
        </p:nvSpPr>
        <p:spPr bwMode="auto">
          <a:xfrm>
            <a:off x="5273040"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rgbClr val="FFFFFF">
                      <a:alpha val="0"/>
                    </a:srgbClr>
                  </a:solidFill>
                </a:ln>
                <a:solidFill>
                  <a:srgbClr val="FFFFFF">
                    <a:alpha val="99000"/>
                  </a:srgbClr>
                </a:solidFill>
              </a:rPr>
              <a:t>Key/Value</a:t>
            </a:r>
            <a:br>
              <a:rPr lang="en-US" sz="2400" dirty="0">
                <a:ln>
                  <a:solidFill>
                    <a:srgbClr val="FFFFFF">
                      <a:alpha val="0"/>
                    </a:srgbClr>
                  </a:solidFill>
                </a:ln>
                <a:solidFill>
                  <a:srgbClr val="FFFFFF">
                    <a:alpha val="99000"/>
                  </a:srgbClr>
                </a:solidFill>
              </a:rPr>
            </a:br>
            <a:r>
              <a:rPr lang="en-US" sz="2400" dirty="0">
                <a:ln>
                  <a:solidFill>
                    <a:srgbClr val="FFFFFF">
                      <a:alpha val="0"/>
                    </a:srgbClr>
                  </a:solidFill>
                </a:ln>
                <a:solidFill>
                  <a:srgbClr val="FFFFFF">
                    <a:alpha val="99000"/>
                  </a:srgbClr>
                </a:solidFill>
              </a:rPr>
              <a:t>Datastores</a:t>
            </a:r>
            <a:endParaRPr lang="en-NZ" sz="2400" dirty="0">
              <a:ln>
                <a:solidFill>
                  <a:srgbClr val="FFFFFF">
                    <a:alpha val="0"/>
                  </a:srgbClr>
                </a:solidFill>
              </a:ln>
              <a:solidFill>
                <a:srgbClr val="FFFFFF">
                  <a:alpha val="99000"/>
                </a:srgbClr>
              </a:solidFill>
            </a:endParaRPr>
          </a:p>
        </p:txBody>
      </p:sp>
      <p:sp>
        <p:nvSpPr>
          <p:cNvPr id="19" name="Rectangle 18"/>
          <p:cNvSpPr/>
          <p:nvPr>
            <p:custDataLst>
              <p:tags r:id="rId16"/>
            </p:custDataLst>
          </p:nvPr>
        </p:nvSpPr>
        <p:spPr bwMode="auto">
          <a:xfrm>
            <a:off x="7033260"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rgbClr val="FFFFFF">
                      <a:alpha val="0"/>
                    </a:srgbClr>
                  </a:solidFill>
                </a:ln>
                <a:solidFill>
                  <a:srgbClr val="FFFFFF">
                    <a:alpha val="99000"/>
                  </a:srgbClr>
                </a:solidFill>
              </a:rPr>
              <a:t>Partitioned RDBMS</a:t>
            </a:r>
            <a:endParaRPr lang="en-NZ" sz="2400" dirty="0">
              <a:ln>
                <a:solidFill>
                  <a:srgbClr val="FFFFFF">
                    <a:alpha val="0"/>
                  </a:srgbClr>
                </a:solidFill>
              </a:ln>
              <a:solidFill>
                <a:srgbClr val="FFFFFF">
                  <a:alpha val="99000"/>
                </a:srgbClr>
              </a:solidFill>
            </a:endParaRPr>
          </a:p>
        </p:txBody>
      </p:sp>
      <p:sp>
        <p:nvSpPr>
          <p:cNvPr id="20" name="Rectangle 19"/>
          <p:cNvSpPr/>
          <p:nvPr>
            <p:custDataLst>
              <p:tags r:id="rId17"/>
            </p:custDataLst>
          </p:nvPr>
        </p:nvSpPr>
        <p:spPr bwMode="auto">
          <a:xfrm>
            <a:off x="8793480"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rgbClr val="FFFFFF">
                      <a:alpha val="0"/>
                    </a:srgbClr>
                  </a:solidFill>
                </a:ln>
                <a:solidFill>
                  <a:srgbClr val="FFFFFF">
                    <a:alpha val="99000"/>
                  </a:srgbClr>
                </a:solidFill>
              </a:rPr>
              <a:t>Shared Filesystem</a:t>
            </a:r>
            <a:endParaRPr lang="en-NZ" sz="2400" dirty="0">
              <a:ln>
                <a:solidFill>
                  <a:srgbClr val="FFFFFF">
                    <a:alpha val="0"/>
                  </a:srgbClr>
                </a:solidFill>
              </a:ln>
              <a:solidFill>
                <a:srgbClr val="FFFFFF">
                  <a:alpha val="99000"/>
                </a:srgbClr>
              </a:solidFill>
            </a:endParaRPr>
          </a:p>
        </p:txBody>
      </p:sp>
    </p:spTree>
    <p:extLst>
      <p:ext uri="{BB962C8B-B14F-4D97-AF65-F5344CB8AC3E}">
        <p14:creationId xmlns:p14="http://schemas.microsoft.com/office/powerpoint/2010/main" val="3858263528"/>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SDKs and Tools</a:t>
            </a:r>
            <a:endParaRPr lang="en-US" dirty="0"/>
          </a:p>
        </p:txBody>
      </p:sp>
      <p:sp>
        <p:nvSpPr>
          <p:cNvPr id="4" name="Content Placeholder 3"/>
          <p:cNvSpPr>
            <a:spLocks noGrp="1"/>
          </p:cNvSpPr>
          <p:nvPr>
            <p:ph sz="quarter" idx="10"/>
          </p:nvPr>
        </p:nvSpPr>
        <p:spPr>
          <a:xfrm>
            <a:off x="520701" y="1463675"/>
            <a:ext cx="11155680" cy="3462486"/>
          </a:xfrm>
        </p:spPr>
        <p:txBody>
          <a:bodyPr/>
          <a:lstStyle/>
          <a:p>
            <a:r>
              <a:rPr lang="en-US" sz="4000" dirty="0">
                <a:ln>
                  <a:solidFill>
                    <a:srgbClr val="FFFFFF">
                      <a:alpha val="0"/>
                    </a:srgbClr>
                  </a:solidFill>
                </a:ln>
                <a:solidFill>
                  <a:srgbClr val="00AEEF">
                    <a:alpha val="99000"/>
                  </a:srgbClr>
                </a:solidFill>
                <a:latin typeface="Segoe UI Light" pitchFamily="34" charset="0"/>
              </a:rPr>
              <a:t>.Net</a:t>
            </a:r>
          </a:p>
          <a:p>
            <a:pPr marL="0" lvl="1"/>
            <a:r>
              <a:rPr lang="en-US" sz="2000" dirty="0">
                <a:ln>
                  <a:solidFill>
                    <a:srgbClr val="FFFFFF">
                      <a:alpha val="0"/>
                    </a:srgbClr>
                  </a:solidFill>
                </a:ln>
              </a:rPr>
              <a:t>Visual Studio Tools</a:t>
            </a:r>
          </a:p>
          <a:p>
            <a:pPr marL="0" lvl="1"/>
            <a:r>
              <a:rPr lang="en-US" sz="2000" dirty="0">
                <a:ln>
                  <a:solidFill>
                    <a:srgbClr val="FFFFFF">
                      <a:alpha val="0"/>
                    </a:srgbClr>
                  </a:solidFill>
                </a:ln>
              </a:rPr>
              <a:t>Client Libraries for .Net</a:t>
            </a:r>
          </a:p>
          <a:p>
            <a:r>
              <a:rPr lang="en-US" sz="4000" dirty="0">
                <a:ln>
                  <a:solidFill>
                    <a:srgbClr val="FFFFFF">
                      <a:alpha val="0"/>
                    </a:srgbClr>
                  </a:solidFill>
                </a:ln>
                <a:solidFill>
                  <a:srgbClr val="00AEEF">
                    <a:alpha val="99000"/>
                  </a:srgbClr>
                </a:solidFill>
                <a:latin typeface="Segoe UI Light" pitchFamily="34" charset="0"/>
              </a:rPr>
              <a:t>Node.js</a:t>
            </a:r>
          </a:p>
          <a:p>
            <a:pPr marL="0" lvl="1"/>
            <a:r>
              <a:rPr lang="en-US" sz="2000" dirty="0">
                <a:ln>
                  <a:solidFill>
                    <a:srgbClr val="FFFFFF">
                      <a:alpha val="0"/>
                    </a:srgbClr>
                  </a:solidFill>
                </a:ln>
              </a:rPr>
              <a:t>PowerShell Tools</a:t>
            </a:r>
          </a:p>
          <a:p>
            <a:pPr marL="0" lvl="1"/>
            <a:r>
              <a:rPr lang="en-US" sz="2000" dirty="0">
                <a:ln>
                  <a:solidFill>
                    <a:srgbClr val="FFFFFF">
                      <a:alpha val="0"/>
                    </a:srgbClr>
                  </a:solidFill>
                </a:ln>
              </a:rPr>
              <a:t>Node.js for Windows</a:t>
            </a:r>
          </a:p>
          <a:p>
            <a:pPr marL="0" lvl="1"/>
            <a:r>
              <a:rPr lang="en-US" sz="2000" dirty="0">
                <a:ln>
                  <a:solidFill>
                    <a:srgbClr val="FFFFFF">
                      <a:alpha val="0"/>
                    </a:srgbClr>
                  </a:solidFill>
                </a:ln>
              </a:rPr>
              <a:t>IISNode</a:t>
            </a:r>
          </a:p>
          <a:p>
            <a:pPr marL="0" lvl="1"/>
            <a:r>
              <a:rPr lang="en-US" sz="2000" dirty="0">
                <a:ln>
                  <a:solidFill>
                    <a:srgbClr val="FFFFFF">
                      <a:alpha val="0"/>
                    </a:srgbClr>
                  </a:solidFill>
                </a:ln>
              </a:rPr>
              <a:t>Client Libraries for Node.js</a:t>
            </a:r>
          </a:p>
        </p:txBody>
      </p:sp>
      <p:sp>
        <p:nvSpPr>
          <p:cNvPr id="7" name="Content Placeholder 3"/>
          <p:cNvSpPr txBox="1">
            <a:spLocks/>
          </p:cNvSpPr>
          <p:nvPr/>
        </p:nvSpPr>
        <p:spPr>
          <a:xfrm>
            <a:off x="6218116" y="1463676"/>
            <a:ext cx="4314144" cy="2769989"/>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0" dirty="0">
                <a:ln>
                  <a:solidFill>
                    <a:srgbClr val="FFFFFF">
                      <a:alpha val="0"/>
                    </a:srgbClr>
                  </a:solidFill>
                </a:ln>
                <a:solidFill>
                  <a:srgbClr val="00AEEF">
                    <a:alpha val="99000"/>
                  </a:srgbClr>
                </a:solidFill>
                <a:latin typeface="Segoe UI Light" pitchFamily="34" charset="0"/>
              </a:rPr>
              <a:t>Java</a:t>
            </a:r>
          </a:p>
          <a:p>
            <a:pPr marL="0" lvl="1" indent="0">
              <a:buNone/>
            </a:pPr>
            <a:r>
              <a:rPr lang="en-US" sz="2000" dirty="0">
                <a:ln>
                  <a:solidFill>
                    <a:srgbClr val="FFFFFF">
                      <a:alpha val="0"/>
                    </a:srgbClr>
                  </a:solidFill>
                </a:ln>
              </a:rPr>
              <a:t>Eclipse Tools</a:t>
            </a:r>
          </a:p>
          <a:p>
            <a:pPr marL="0" lvl="1" indent="0">
              <a:buNone/>
            </a:pPr>
            <a:r>
              <a:rPr lang="en-US" sz="2000" dirty="0">
                <a:ln>
                  <a:solidFill>
                    <a:srgbClr val="FFFFFF">
                      <a:alpha val="0"/>
                    </a:srgbClr>
                  </a:solidFill>
                </a:ln>
              </a:rPr>
              <a:t>Client Libraries for Java</a:t>
            </a:r>
          </a:p>
          <a:p>
            <a:pPr marL="0" indent="0">
              <a:buNone/>
            </a:pPr>
            <a:r>
              <a:rPr lang="en-US" sz="4000" dirty="0">
                <a:ln>
                  <a:solidFill>
                    <a:srgbClr val="FFFFFF">
                      <a:alpha val="0"/>
                    </a:srgbClr>
                  </a:solidFill>
                </a:ln>
                <a:solidFill>
                  <a:srgbClr val="00AEEF">
                    <a:alpha val="99000"/>
                  </a:srgbClr>
                </a:solidFill>
                <a:latin typeface="Segoe UI Light" pitchFamily="34" charset="0"/>
              </a:rPr>
              <a:t>php</a:t>
            </a:r>
          </a:p>
          <a:p>
            <a:pPr marL="0" lvl="1" indent="0">
              <a:buNone/>
            </a:pPr>
            <a:r>
              <a:rPr lang="en-US" sz="2000" dirty="0">
                <a:ln>
                  <a:solidFill>
                    <a:srgbClr val="FFFFFF">
                      <a:alpha val="0"/>
                    </a:srgbClr>
                  </a:solidFill>
                </a:ln>
              </a:rPr>
              <a:t>Command Line Tools</a:t>
            </a:r>
          </a:p>
          <a:p>
            <a:pPr marL="0" lvl="1" indent="0">
              <a:buNone/>
            </a:pPr>
            <a:r>
              <a:rPr lang="en-US" sz="2000" dirty="0">
                <a:ln>
                  <a:solidFill>
                    <a:srgbClr val="FFFFFF">
                      <a:alpha val="0"/>
                    </a:srgbClr>
                  </a:solidFill>
                </a:ln>
              </a:rPr>
              <a:t>Client Libraries for php</a:t>
            </a:r>
          </a:p>
        </p:txBody>
      </p:sp>
    </p:spTree>
    <p:extLst>
      <p:ext uri="{BB962C8B-B14F-4D97-AF65-F5344CB8AC3E}">
        <p14:creationId xmlns:p14="http://schemas.microsoft.com/office/powerpoint/2010/main" val="1496697208"/>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custDataLst>
              <p:tags r:id="rId2"/>
            </p:custDataLst>
          </p:nvPr>
        </p:nvSpPr>
        <p:spPr bwMode="auto">
          <a:xfrm>
            <a:off x="518161" y="1970088"/>
            <a:ext cx="5391859" cy="35112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endParaRPr lang="en-US" sz="4000" dirty="0">
              <a:ln>
                <a:solidFill>
                  <a:srgbClr val="FFFFFF">
                    <a:alpha val="0"/>
                  </a:srgbClr>
                </a:solidFill>
              </a:ln>
              <a:gradFill>
                <a:gsLst>
                  <a:gs pos="0">
                    <a:srgbClr val="FFFFFF"/>
                  </a:gs>
                  <a:gs pos="100000">
                    <a:srgbClr val="FFFFFF"/>
                  </a:gs>
                </a:gsLst>
                <a:lin ang="5400000" scaled="0"/>
              </a:gradFill>
              <a:latin typeface="Segoe Light" pitchFamily="34" charset="0"/>
            </a:endParaRPr>
          </a:p>
        </p:txBody>
      </p:sp>
      <p:graphicFrame>
        <p:nvGraphicFramePr>
          <p:cNvPr id="6" name="Object 5" hidden="1"/>
          <p:cNvGraphicFramePr>
            <a:graphicFrameLocks noChangeAspect="1"/>
          </p:cNvGraphicFramePr>
          <p:nvPr>
            <p:custDataLst>
              <p:tags r:id="rId3"/>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25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custDataLst>
              <p:tags r:id="rId4"/>
            </p:custDataLst>
          </p:nvPr>
        </p:nvSpPr>
        <p:spPr/>
        <p:txBody>
          <a:bodyPr/>
          <a:lstStyle/>
          <a:p>
            <a:r>
              <a:rPr lang="en-US" dirty="0"/>
              <a:t>Windows Azure </a:t>
            </a:r>
            <a:r>
              <a:rPr lang="en-US" dirty="0" smtClean="0"/>
              <a:t>for .Net Developers</a:t>
            </a:r>
            <a:endParaRPr lang="en-US" dirty="0"/>
          </a:p>
        </p:txBody>
      </p:sp>
      <p:sp>
        <p:nvSpPr>
          <p:cNvPr id="12" name="Rectangle 11"/>
          <p:cNvSpPr/>
          <p:nvPr>
            <p:custDataLst>
              <p:tags r:id="rId5"/>
            </p:custDataLst>
          </p:nvPr>
        </p:nvSpPr>
        <p:spPr bwMode="auto">
          <a:xfrm>
            <a:off x="6097589" y="1970089"/>
            <a:ext cx="5478421" cy="350865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182880" bIns="91440" numCol="1" rtlCol="0" anchor="t" anchorCtr="0" compatLnSpc="1">
            <a:prstTxWarp prst="textNoShape">
              <a:avLst/>
            </a:prstTxWarp>
            <a:spAutoFit/>
          </a:bodyPr>
          <a:lstStyle/>
          <a:p>
            <a:pPr defTabSz="914099" fontAlgn="base">
              <a:spcBef>
                <a:spcPts val="1200"/>
              </a:spcBef>
            </a:pPr>
            <a:r>
              <a:rPr lang="en-US" sz="3200" b="1" dirty="0">
                <a:ln>
                  <a:solidFill>
                    <a:srgbClr val="FFFFFF">
                      <a:alpha val="0"/>
                    </a:srgbClr>
                  </a:solidFill>
                </a:ln>
                <a:gradFill>
                  <a:gsLst>
                    <a:gs pos="0">
                      <a:srgbClr val="FFFFFF"/>
                    </a:gs>
                    <a:gs pos="100000">
                      <a:srgbClr val="FFFFFF"/>
                    </a:gs>
                  </a:gsLst>
                  <a:lin ang="5400000" scaled="0"/>
                </a:gradFill>
                <a:latin typeface="Segoe UI Light" pitchFamily="34" charset="0"/>
              </a:rPr>
              <a:t>Windows Azure SDK for .Net</a:t>
            </a:r>
          </a:p>
          <a:p>
            <a:pPr defTabSz="914099" fontAlgn="base">
              <a:spcBef>
                <a:spcPts val="600"/>
              </a:spcBef>
            </a:pPr>
            <a:r>
              <a:rPr lang="en-US" sz="2200" dirty="0">
                <a:ln>
                  <a:solidFill>
                    <a:srgbClr val="FFFFFF">
                      <a:alpha val="0"/>
                    </a:srgbClr>
                  </a:solidFill>
                </a:ln>
                <a:gradFill>
                  <a:gsLst>
                    <a:gs pos="0">
                      <a:srgbClr val="FFFFFF"/>
                    </a:gs>
                    <a:gs pos="100000">
                      <a:srgbClr val="FFFFFF"/>
                    </a:gs>
                  </a:gsLst>
                  <a:lin ang="5400000" scaled="0"/>
                </a:gradFill>
              </a:rPr>
              <a:t>Windows Server 2008, Windows 7 or Windows 8</a:t>
            </a:r>
          </a:p>
          <a:p>
            <a:pPr defTabSz="914099" fontAlgn="base">
              <a:spcBef>
                <a:spcPts val="600"/>
              </a:spcBef>
            </a:pPr>
            <a:r>
              <a:rPr lang="en-US" sz="2200" dirty="0">
                <a:ln>
                  <a:solidFill>
                    <a:srgbClr val="FFFFFF">
                      <a:alpha val="0"/>
                    </a:srgbClr>
                  </a:solidFill>
                </a:ln>
                <a:gradFill>
                  <a:gsLst>
                    <a:gs pos="0">
                      <a:srgbClr val="FFFFFF"/>
                    </a:gs>
                    <a:gs pos="100000">
                      <a:srgbClr val="FFFFFF"/>
                    </a:gs>
                  </a:gsLst>
                  <a:lin ang="5400000" scaled="0"/>
                </a:gradFill>
              </a:rPr>
              <a:t>SQL Express 2005+</a:t>
            </a:r>
          </a:p>
          <a:p>
            <a:pPr defTabSz="914099" fontAlgn="base">
              <a:spcBef>
                <a:spcPts val="600"/>
              </a:spcBef>
            </a:pPr>
            <a:r>
              <a:rPr lang="en-US" sz="2200" dirty="0">
                <a:ln>
                  <a:solidFill>
                    <a:srgbClr val="FFFFFF">
                      <a:alpha val="0"/>
                    </a:srgbClr>
                  </a:solidFill>
                </a:ln>
                <a:gradFill>
                  <a:gsLst>
                    <a:gs pos="0">
                      <a:srgbClr val="FFFFFF"/>
                    </a:gs>
                    <a:gs pos="100000">
                      <a:srgbClr val="FFFFFF"/>
                    </a:gs>
                  </a:gsLst>
                  <a:lin ang="5400000" scaled="0"/>
                </a:gradFill>
              </a:rPr>
              <a:t>.NET 3.5 SP1+</a:t>
            </a:r>
          </a:p>
          <a:p>
            <a:pPr defTabSz="914099" fontAlgn="base">
              <a:spcBef>
                <a:spcPts val="600"/>
              </a:spcBef>
            </a:pPr>
            <a:r>
              <a:rPr lang="en-US" sz="2200" dirty="0">
                <a:ln>
                  <a:solidFill>
                    <a:srgbClr val="FFFFFF">
                      <a:alpha val="0"/>
                    </a:srgbClr>
                  </a:solidFill>
                </a:ln>
                <a:gradFill>
                  <a:gsLst>
                    <a:gs pos="0">
                      <a:srgbClr val="FFFFFF"/>
                    </a:gs>
                    <a:gs pos="100000">
                      <a:srgbClr val="FFFFFF"/>
                    </a:gs>
                  </a:gsLst>
                  <a:lin ang="5400000" scaled="0"/>
                </a:gradFill>
              </a:rPr>
              <a:t>Development Fabric</a:t>
            </a:r>
          </a:p>
          <a:p>
            <a:pPr defTabSz="914099" fontAlgn="base">
              <a:spcBef>
                <a:spcPts val="600"/>
              </a:spcBef>
            </a:pPr>
            <a:r>
              <a:rPr lang="en-US" sz="2200" dirty="0">
                <a:ln>
                  <a:solidFill>
                    <a:srgbClr val="FFFFFF">
                      <a:alpha val="0"/>
                    </a:srgbClr>
                  </a:solidFill>
                </a:ln>
                <a:gradFill>
                  <a:gsLst>
                    <a:gs pos="0">
                      <a:srgbClr val="FFFFFF"/>
                    </a:gs>
                    <a:gs pos="100000">
                      <a:srgbClr val="FFFFFF"/>
                    </a:gs>
                  </a:gsLst>
                  <a:lin ang="5400000" scaled="0"/>
                </a:gradFill>
              </a:rPr>
              <a:t>Development Storage</a:t>
            </a:r>
          </a:p>
          <a:p>
            <a:pPr defTabSz="914099" fontAlgn="base">
              <a:spcBef>
                <a:spcPts val="600"/>
              </a:spcBef>
            </a:pPr>
            <a:r>
              <a:rPr lang="en-US" sz="2200" dirty="0">
                <a:ln>
                  <a:solidFill>
                    <a:srgbClr val="FFFFFF">
                      <a:alpha val="0"/>
                    </a:srgbClr>
                  </a:solidFill>
                </a:ln>
                <a:gradFill>
                  <a:gsLst>
                    <a:gs pos="0">
                      <a:srgbClr val="FFFFFF"/>
                    </a:gs>
                    <a:gs pos="100000">
                      <a:srgbClr val="FFFFFF"/>
                    </a:gs>
                  </a:gsLst>
                  <a:lin ang="5400000" scaled="0"/>
                </a:gradFill>
              </a:rPr>
              <a:t>.NET APIs</a:t>
            </a:r>
          </a:p>
        </p:txBody>
      </p:sp>
      <p:pic>
        <p:nvPicPr>
          <p:cNvPr id="36910" name="Picture 46"/>
          <p:cNvPicPr>
            <a:picLocks noChangeAspect="1" noChangeArrowheads="1"/>
          </p:cNvPicPr>
          <p:nvPr/>
        </p:nvPicPr>
        <p:blipFill rotWithShape="1">
          <a:blip r:embed="rId10">
            <a:extLst>
              <a:ext uri="{BEBA8EAE-BF5A-486C-A8C5-ECC9F3942E4B}">
                <a14:imgProps xmlns:a14="http://schemas.microsoft.com/office/drawing/2010/main">
                  <a14:imgLayer r:embed="rId11">
                    <a14:imgEffect>
                      <a14:brightnessContrast contrast="-100000"/>
                    </a14:imgEffect>
                  </a14:imgLayer>
                </a14:imgProps>
              </a:ext>
              <a:ext uri="{28A0092B-C50C-407E-A947-70E740481C1C}">
                <a14:useLocalDpi xmlns:a14="http://schemas.microsoft.com/office/drawing/2010/main" val="0"/>
              </a:ext>
            </a:extLst>
          </a:blip>
          <a:srcRect r="74733"/>
          <a:stretch/>
        </p:blipFill>
        <p:spPr bwMode="auto">
          <a:xfrm>
            <a:off x="4031231" y="2120805"/>
            <a:ext cx="1416564" cy="702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735119" y="2125298"/>
            <a:ext cx="3114989" cy="3200876"/>
          </a:xfrm>
          <a:prstGeom prst="rect">
            <a:avLst/>
          </a:prstGeom>
        </p:spPr>
        <p:txBody>
          <a:bodyPr wrap="square">
            <a:spAutoFit/>
          </a:bodyPr>
          <a:lstStyle/>
          <a:p>
            <a:pPr defTabSz="914099" fontAlgn="base">
              <a:spcBef>
                <a:spcPts val="600"/>
              </a:spcBef>
              <a:spcAft>
                <a:spcPct val="0"/>
              </a:spcAft>
            </a:pPr>
            <a:r>
              <a:rPr lang="en-US" dirty="0">
                <a:ln>
                  <a:solidFill>
                    <a:srgbClr val="FFFFFF">
                      <a:alpha val="0"/>
                    </a:srgbClr>
                  </a:solidFill>
                </a:ln>
                <a:solidFill>
                  <a:srgbClr val="595959">
                    <a:alpha val="99000"/>
                  </a:srgbClr>
                </a:solidFill>
              </a:rPr>
              <a:t>Visual Studio 2010/2012</a:t>
            </a:r>
          </a:p>
          <a:p>
            <a:pPr defTabSz="914099" fontAlgn="base">
              <a:spcBef>
                <a:spcPts val="600"/>
              </a:spcBef>
              <a:spcAft>
                <a:spcPct val="0"/>
              </a:spcAft>
            </a:pPr>
            <a:r>
              <a:rPr lang="en-US" dirty="0">
                <a:ln>
                  <a:solidFill>
                    <a:srgbClr val="FFFFFF">
                      <a:alpha val="0"/>
                    </a:srgbClr>
                  </a:solidFill>
                </a:ln>
                <a:solidFill>
                  <a:srgbClr val="595959">
                    <a:alpha val="99000"/>
                  </a:srgbClr>
                </a:solidFill>
              </a:rPr>
              <a:t>Project Templates</a:t>
            </a:r>
          </a:p>
          <a:p>
            <a:pPr defTabSz="914099" fontAlgn="base">
              <a:spcBef>
                <a:spcPts val="600"/>
              </a:spcBef>
              <a:spcAft>
                <a:spcPct val="0"/>
              </a:spcAft>
            </a:pPr>
            <a:r>
              <a:rPr lang="en-US" dirty="0">
                <a:ln>
                  <a:solidFill>
                    <a:srgbClr val="FFFFFF">
                      <a:alpha val="0"/>
                    </a:srgbClr>
                  </a:solidFill>
                </a:ln>
                <a:solidFill>
                  <a:srgbClr val="595959">
                    <a:alpha val="99000"/>
                  </a:srgbClr>
                </a:solidFill>
              </a:rPr>
              <a:t>Model &amp; Config Tooling</a:t>
            </a:r>
          </a:p>
          <a:p>
            <a:pPr defTabSz="914099" fontAlgn="base">
              <a:spcBef>
                <a:spcPts val="600"/>
              </a:spcBef>
              <a:spcAft>
                <a:spcPct val="0"/>
              </a:spcAft>
            </a:pPr>
            <a:r>
              <a:rPr lang="en-US" dirty="0">
                <a:ln>
                  <a:solidFill>
                    <a:srgbClr val="FFFFFF">
                      <a:alpha val="0"/>
                    </a:srgbClr>
                  </a:solidFill>
                </a:ln>
                <a:solidFill>
                  <a:srgbClr val="595959">
                    <a:alpha val="99000"/>
                  </a:srgbClr>
                </a:solidFill>
              </a:rPr>
              <a:t>Package &amp; 1 Click Deploy</a:t>
            </a:r>
          </a:p>
          <a:p>
            <a:pPr defTabSz="914099" fontAlgn="base">
              <a:spcBef>
                <a:spcPts val="600"/>
              </a:spcBef>
              <a:spcAft>
                <a:spcPct val="0"/>
              </a:spcAft>
            </a:pPr>
            <a:r>
              <a:rPr lang="en-US" dirty="0">
                <a:ln>
                  <a:solidFill>
                    <a:srgbClr val="FFFFFF">
                      <a:alpha val="0"/>
                    </a:srgbClr>
                  </a:solidFill>
                </a:ln>
                <a:solidFill>
                  <a:srgbClr val="595959">
                    <a:alpha val="99000"/>
                  </a:srgbClr>
                </a:solidFill>
              </a:rPr>
              <a:t>Debugging Support</a:t>
            </a:r>
          </a:p>
          <a:p>
            <a:pPr defTabSz="914099" fontAlgn="base">
              <a:spcBef>
                <a:spcPts val="600"/>
              </a:spcBef>
              <a:spcAft>
                <a:spcPct val="0"/>
              </a:spcAft>
            </a:pPr>
            <a:r>
              <a:rPr lang="en-US" dirty="0">
                <a:ln>
                  <a:solidFill>
                    <a:srgbClr val="FFFFFF">
                      <a:alpha val="0"/>
                    </a:srgbClr>
                  </a:solidFill>
                </a:ln>
                <a:solidFill>
                  <a:srgbClr val="595959">
                    <a:alpha val="99000"/>
                  </a:srgbClr>
                </a:solidFill>
              </a:rPr>
              <a:t>Storage Explorer</a:t>
            </a:r>
          </a:p>
          <a:p>
            <a:pPr defTabSz="914099" fontAlgn="base">
              <a:spcBef>
                <a:spcPts val="600"/>
              </a:spcBef>
              <a:spcAft>
                <a:spcPct val="0"/>
              </a:spcAft>
            </a:pPr>
            <a:r>
              <a:rPr lang="en-US" dirty="0">
                <a:ln>
                  <a:solidFill>
                    <a:srgbClr val="FFFFFF">
                      <a:alpha val="0"/>
                    </a:srgbClr>
                  </a:solidFill>
                </a:ln>
                <a:solidFill>
                  <a:srgbClr val="595959">
                    <a:alpha val="99000"/>
                  </a:srgbClr>
                </a:solidFill>
              </a:rPr>
              <a:t>Server Explorer</a:t>
            </a:r>
          </a:p>
          <a:p>
            <a:pPr defTabSz="914099" fontAlgn="base">
              <a:spcBef>
                <a:spcPts val="600"/>
              </a:spcBef>
              <a:spcAft>
                <a:spcPct val="0"/>
              </a:spcAft>
            </a:pPr>
            <a:r>
              <a:rPr lang="en-US" dirty="0">
                <a:ln>
                  <a:solidFill>
                    <a:srgbClr val="FFFFFF">
                      <a:alpha val="0"/>
                    </a:srgbClr>
                  </a:solidFill>
                </a:ln>
                <a:solidFill>
                  <a:srgbClr val="595959">
                    <a:alpha val="99000"/>
                  </a:srgbClr>
                </a:solidFill>
              </a:rPr>
              <a:t>IntelliTrace Support</a:t>
            </a:r>
          </a:p>
          <a:p>
            <a:pPr defTabSz="914099" fontAlgn="base">
              <a:spcBef>
                <a:spcPts val="600"/>
              </a:spcBef>
              <a:spcAft>
                <a:spcPct val="0"/>
              </a:spcAft>
            </a:pPr>
            <a:r>
              <a:rPr lang="en-US" dirty="0">
                <a:ln>
                  <a:solidFill>
                    <a:srgbClr val="FFFFFF">
                      <a:alpha val="0"/>
                    </a:srgbClr>
                  </a:solidFill>
                </a:ln>
                <a:solidFill>
                  <a:srgbClr val="595959">
                    <a:alpha val="99000"/>
                  </a:srgbClr>
                </a:solidFill>
              </a:rPr>
              <a:t>Profiling Support</a:t>
            </a:r>
          </a:p>
        </p:txBody>
      </p:sp>
    </p:spTree>
    <p:extLst>
      <p:ext uri="{BB962C8B-B14F-4D97-AF65-F5344CB8AC3E}">
        <p14:creationId xmlns:p14="http://schemas.microsoft.com/office/powerpoint/2010/main" val="2782572902"/>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50844"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717321" y="2693774"/>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 name="Rectangle 6"/>
          <p:cNvSpPr/>
          <p:nvPr/>
        </p:nvSpPr>
        <p:spPr bwMode="auto">
          <a:xfrm>
            <a:off x="4361181" y="2693774"/>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Rectangle 7"/>
          <p:cNvSpPr/>
          <p:nvPr/>
        </p:nvSpPr>
        <p:spPr bwMode="auto">
          <a:xfrm>
            <a:off x="8005040" y="2693774"/>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9" name="Content Placeholder 2"/>
          <p:cNvSpPr txBox="1">
            <a:spLocks/>
          </p:cNvSpPr>
          <p:nvPr>
            <p:custDataLst>
              <p:tags r:id="rId2"/>
            </p:custDataLst>
          </p:nvPr>
        </p:nvSpPr>
        <p:spPr>
          <a:xfrm>
            <a:off x="552431" y="1843787"/>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ln>
                  <a:solidFill>
                    <a:srgbClr val="FFFFFF">
                      <a:alpha val="0"/>
                    </a:srgbClr>
                  </a:solidFill>
                </a:ln>
                <a:solidFill>
                  <a:srgbClr val="5F5F5F">
                    <a:alpha val="99000"/>
                  </a:srgbClr>
                </a:solidFill>
                <a:latin typeface="Segoe UI Light" pitchFamily="34" charset="0"/>
              </a:rPr>
              <a:t>Inherits RoleEntryPoint</a:t>
            </a:r>
          </a:p>
        </p:txBody>
      </p:sp>
      <p:sp>
        <p:nvSpPr>
          <p:cNvPr id="10" name="TextBox 9"/>
          <p:cNvSpPr txBox="1"/>
          <p:nvPr/>
        </p:nvSpPr>
        <p:spPr>
          <a:xfrm>
            <a:off x="717321" y="2826653"/>
            <a:ext cx="3474720" cy="2723823"/>
          </a:xfrm>
          <a:prstGeom prst="rect">
            <a:avLst/>
          </a:prstGeom>
          <a:noFill/>
        </p:spPr>
        <p:txBody>
          <a:bodyPr wrap="square" lIns="0" tIns="0" rIns="0" bIns="0" rtlCol="0">
            <a:spAutoFit/>
          </a:bodyPr>
          <a:lstStyle/>
          <a:p>
            <a:pPr algn="ctr" defTabSz="914363">
              <a:lnSpc>
                <a:spcPct val="90000"/>
              </a:lnSpc>
              <a:spcBef>
                <a:spcPct val="20000"/>
              </a:spcBef>
              <a:buSzPct val="80000"/>
            </a:pPr>
            <a:r>
              <a:rPr lang="en-US" sz="4000" dirty="0">
                <a:solidFill>
                  <a:srgbClr val="FFFFFF">
                    <a:alpha val="99000"/>
                  </a:srgbClr>
                </a:solidFill>
                <a:latin typeface="Segoe UI Light" pitchFamily="34" charset="0"/>
              </a:rPr>
              <a:t>OnStart() Method</a:t>
            </a:r>
          </a:p>
          <a:p>
            <a:pPr marL="0" lvl="1" algn="ctr" defTabSz="914363">
              <a:spcBef>
                <a:spcPts val="300"/>
              </a:spcBef>
              <a:buSzPct val="80000"/>
            </a:pPr>
            <a:r>
              <a:rPr lang="en-US" sz="2000" dirty="0">
                <a:ln>
                  <a:solidFill>
                    <a:srgbClr val="FFFFFF">
                      <a:alpha val="0"/>
                    </a:srgbClr>
                  </a:solidFill>
                </a:ln>
                <a:solidFill>
                  <a:srgbClr val="FFFFFF">
                    <a:alpha val="99000"/>
                  </a:srgbClr>
                </a:solidFill>
              </a:rPr>
              <a:t>Called by Fabric on startup, allows you to perform initialization tasks.</a:t>
            </a:r>
            <a:br>
              <a:rPr lang="en-US" sz="2000" dirty="0">
                <a:ln>
                  <a:solidFill>
                    <a:srgbClr val="FFFFFF">
                      <a:alpha val="0"/>
                    </a:srgbClr>
                  </a:solidFill>
                </a:ln>
                <a:solidFill>
                  <a:srgbClr val="FFFFFF">
                    <a:alpha val="99000"/>
                  </a:srgbClr>
                </a:solidFill>
              </a:rPr>
            </a:br>
            <a:r>
              <a:rPr lang="en-US" sz="2000" dirty="0">
                <a:ln>
                  <a:solidFill>
                    <a:srgbClr val="FFFFFF">
                      <a:alpha val="0"/>
                    </a:srgbClr>
                  </a:solidFill>
                </a:ln>
                <a:solidFill>
                  <a:srgbClr val="FFFFFF">
                    <a:alpha val="99000"/>
                  </a:srgbClr>
                </a:solidFill>
              </a:rPr>
              <a:t>Reports Busy status to load balancer until you return true.</a:t>
            </a:r>
            <a:endParaRPr lang="en-US" sz="4000" dirty="0">
              <a:solidFill>
                <a:srgbClr val="FFFFFF">
                  <a:alpha val="99000"/>
                </a:srgbClr>
              </a:solidFill>
              <a:latin typeface="Segoe UI Light" pitchFamily="34" charset="0"/>
            </a:endParaRPr>
          </a:p>
        </p:txBody>
      </p:sp>
      <p:sp>
        <p:nvSpPr>
          <p:cNvPr id="11" name="TextBox 10"/>
          <p:cNvSpPr txBox="1"/>
          <p:nvPr/>
        </p:nvSpPr>
        <p:spPr>
          <a:xfrm>
            <a:off x="4361181" y="2826652"/>
            <a:ext cx="3474720" cy="2746906"/>
          </a:xfrm>
          <a:prstGeom prst="rect">
            <a:avLst/>
          </a:prstGeom>
          <a:noFill/>
        </p:spPr>
        <p:txBody>
          <a:bodyPr wrap="square" lIns="0" tIns="0" rIns="0" bIns="0" rtlCol="0">
            <a:spAutoFit/>
          </a:bodyPr>
          <a:lstStyle/>
          <a:p>
            <a:pPr algn="ctr" defTabSz="914363">
              <a:lnSpc>
                <a:spcPct val="90000"/>
              </a:lnSpc>
              <a:spcBef>
                <a:spcPct val="20000"/>
              </a:spcBef>
              <a:buSzPct val="80000"/>
            </a:pPr>
            <a:r>
              <a:rPr lang="en-US" sz="4000" dirty="0">
                <a:solidFill>
                  <a:srgbClr val="FFFFFF">
                    <a:alpha val="99000"/>
                  </a:srgbClr>
                </a:solidFill>
                <a:latin typeface="Segoe UI Light" pitchFamily="34" charset="0"/>
              </a:rPr>
              <a:t>Run() </a:t>
            </a:r>
            <a:br>
              <a:rPr lang="en-US" sz="4000" dirty="0">
                <a:solidFill>
                  <a:srgbClr val="FFFFFF">
                    <a:alpha val="99000"/>
                  </a:srgbClr>
                </a:solidFill>
                <a:latin typeface="Segoe UI Light" pitchFamily="34" charset="0"/>
              </a:rPr>
            </a:br>
            <a:r>
              <a:rPr lang="en-US" sz="4000" dirty="0">
                <a:solidFill>
                  <a:srgbClr val="FFFFFF">
                    <a:alpha val="99000"/>
                  </a:srgbClr>
                </a:solidFill>
                <a:latin typeface="Segoe UI Light" pitchFamily="34" charset="0"/>
              </a:rPr>
              <a:t>Method</a:t>
            </a:r>
          </a:p>
          <a:p>
            <a:pPr marL="0" lvl="1" algn="ctr" defTabSz="914363">
              <a:spcBef>
                <a:spcPts val="300"/>
              </a:spcBef>
              <a:buSzPct val="80000"/>
            </a:pPr>
            <a:r>
              <a:rPr lang="en-US" sz="2000" dirty="0">
                <a:ln>
                  <a:solidFill>
                    <a:srgbClr val="FFFFFF">
                      <a:alpha val="0"/>
                    </a:srgbClr>
                  </a:solidFill>
                </a:ln>
                <a:solidFill>
                  <a:srgbClr val="FFFFFF">
                    <a:alpha val="99000"/>
                  </a:srgbClr>
                </a:solidFill>
              </a:rPr>
              <a:t>Main logic is here – can do anything, typically infinite loop. Should never exit.</a:t>
            </a:r>
          </a:p>
          <a:p>
            <a:pPr algn="ctr" defTabSz="914363">
              <a:lnSpc>
                <a:spcPct val="90000"/>
              </a:lnSpc>
              <a:spcBef>
                <a:spcPct val="20000"/>
              </a:spcBef>
              <a:buSzPct val="80000"/>
            </a:pPr>
            <a:endParaRPr lang="en-US" sz="4000" dirty="0">
              <a:solidFill>
                <a:srgbClr val="FFFFFF">
                  <a:alpha val="99000"/>
                </a:srgbClr>
              </a:solidFill>
              <a:latin typeface="Segoe UI Light" pitchFamily="34" charset="0"/>
            </a:endParaRPr>
          </a:p>
        </p:txBody>
      </p:sp>
      <p:sp>
        <p:nvSpPr>
          <p:cNvPr id="12" name="TextBox 11"/>
          <p:cNvSpPr txBox="1"/>
          <p:nvPr/>
        </p:nvSpPr>
        <p:spPr>
          <a:xfrm>
            <a:off x="8010381" y="2826653"/>
            <a:ext cx="3474720" cy="2108269"/>
          </a:xfrm>
          <a:prstGeom prst="rect">
            <a:avLst/>
          </a:prstGeom>
          <a:noFill/>
        </p:spPr>
        <p:txBody>
          <a:bodyPr wrap="square" lIns="0" tIns="0" rIns="0" bIns="0" rtlCol="0">
            <a:spAutoFit/>
          </a:bodyPr>
          <a:lstStyle/>
          <a:p>
            <a:pPr algn="ctr" defTabSz="914363">
              <a:lnSpc>
                <a:spcPct val="90000"/>
              </a:lnSpc>
              <a:spcBef>
                <a:spcPct val="20000"/>
              </a:spcBef>
              <a:buSzPct val="80000"/>
            </a:pPr>
            <a:r>
              <a:rPr lang="en-US" sz="4000" dirty="0">
                <a:solidFill>
                  <a:srgbClr val="FFFFFF">
                    <a:alpha val="99000"/>
                  </a:srgbClr>
                </a:solidFill>
                <a:latin typeface="Segoe UI Light" pitchFamily="34" charset="0"/>
              </a:rPr>
              <a:t>OnStop() Method</a:t>
            </a:r>
          </a:p>
          <a:p>
            <a:pPr marL="0" lvl="1" algn="ctr" defTabSz="914363">
              <a:spcBef>
                <a:spcPts val="300"/>
              </a:spcBef>
              <a:buSzPct val="80000"/>
            </a:pPr>
            <a:r>
              <a:rPr lang="en-US" sz="2000" dirty="0">
                <a:ln>
                  <a:solidFill>
                    <a:srgbClr val="FFFFFF">
                      <a:alpha val="0"/>
                    </a:srgbClr>
                  </a:solidFill>
                </a:ln>
                <a:solidFill>
                  <a:srgbClr val="FFFFFF">
                    <a:alpha val="99000"/>
                  </a:srgbClr>
                </a:solidFill>
              </a:rPr>
              <a:t>Called when role is to be shutdown, graceful exit.</a:t>
            </a:r>
          </a:p>
          <a:p>
            <a:pPr marL="0" lvl="1" algn="ctr" defTabSz="914363">
              <a:spcBef>
                <a:spcPts val="300"/>
              </a:spcBef>
              <a:buSzPct val="80000"/>
            </a:pPr>
            <a:r>
              <a:rPr lang="en-US" sz="2000" dirty="0">
                <a:ln>
                  <a:solidFill>
                    <a:srgbClr val="FFFFFF">
                      <a:alpha val="0"/>
                    </a:srgbClr>
                  </a:solidFill>
                </a:ln>
                <a:solidFill>
                  <a:srgbClr val="FFFFFF">
                    <a:alpha val="99000"/>
                  </a:srgbClr>
                </a:solidFill>
              </a:rPr>
              <a:t>30 Seconds to tidy </a:t>
            </a:r>
            <a:r>
              <a:rPr lang="en-US" sz="2000" dirty="0">
                <a:ln>
                  <a:solidFill>
                    <a:srgbClr val="FFFFFF">
                      <a:alpha val="0"/>
                    </a:srgbClr>
                  </a:solidFill>
                </a:ln>
                <a:solidFill>
                  <a:srgbClr val="FFFFFF"/>
                </a:solidFill>
              </a:rPr>
              <a:t>up.</a:t>
            </a:r>
          </a:p>
        </p:txBody>
      </p:sp>
      <p:graphicFrame>
        <p:nvGraphicFramePr>
          <p:cNvPr id="4" name="Object 3" hidden="1"/>
          <p:cNvGraphicFramePr>
            <a:graphicFrameLocks noChangeAspect="1"/>
          </p:cNvGraphicFramePr>
          <p:nvPr>
            <p:custDataLst>
              <p:tags r:id="rId3"/>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128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smtClean="0"/>
              <a:t>Role Programming Model</a:t>
            </a:r>
            <a:endParaRPr lang="en-US" dirty="0"/>
          </a:p>
        </p:txBody>
      </p:sp>
    </p:spTree>
    <p:extLst>
      <p:ext uri="{BB962C8B-B14F-4D97-AF65-F5344CB8AC3E}">
        <p14:creationId xmlns:p14="http://schemas.microsoft.com/office/powerpoint/2010/main" val="4001620193"/>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1353502610"/>
              </p:ext>
            </p:extLst>
          </p:nvPr>
        </p:nvGraphicFramePr>
        <p:xfrm>
          <a:off x="519113" y="1447800"/>
          <a:ext cx="11152188" cy="3408680"/>
        </p:xfrm>
        <a:graphic>
          <a:graphicData uri="http://schemas.openxmlformats.org/drawingml/2006/table">
            <a:tbl>
              <a:tblPr firstRow="1" bandRow="1">
                <a:tableStyleId>{5C22544A-7EE6-4342-B048-85BDC9FD1C3A}</a:tableStyleId>
              </a:tblPr>
              <a:tblGrid>
                <a:gridCol w="3717396"/>
                <a:gridCol w="3717396"/>
                <a:gridCol w="3717396"/>
              </a:tblGrid>
              <a:tr h="370840">
                <a:tc>
                  <a:txBody>
                    <a:bodyPr/>
                    <a:lstStyle/>
                    <a:p>
                      <a:r>
                        <a:rPr lang="en-US" dirty="0" smtClean="0"/>
                        <a:t>Topic</a:t>
                      </a:r>
                      <a:endParaRPr lang="en-GB" dirty="0"/>
                    </a:p>
                  </a:txBody>
                  <a:tcPr/>
                </a:tc>
                <a:tc>
                  <a:txBody>
                    <a:bodyPr/>
                    <a:lstStyle/>
                    <a:p>
                      <a:r>
                        <a:rPr lang="en-US" dirty="0" smtClean="0"/>
                        <a:t>Trainer</a:t>
                      </a:r>
                      <a:endParaRPr lang="en-GB" dirty="0"/>
                    </a:p>
                  </a:txBody>
                  <a:tcPr/>
                </a:tc>
                <a:tc>
                  <a:txBody>
                    <a:bodyPr/>
                    <a:lstStyle/>
                    <a:p>
                      <a:r>
                        <a:rPr lang="en-US" dirty="0" smtClean="0"/>
                        <a:t>Time</a:t>
                      </a:r>
                      <a:endParaRPr lang="en-GB" dirty="0"/>
                    </a:p>
                  </a:txBody>
                  <a:tcPr/>
                </a:tc>
              </a:tr>
              <a:tr h="370840">
                <a:tc>
                  <a:txBody>
                    <a:bodyPr/>
                    <a:lstStyle/>
                    <a:p>
                      <a:r>
                        <a:rPr lang="en-US" dirty="0" smtClean="0"/>
                        <a:t>Overview of Windows Azure Services</a:t>
                      </a:r>
                      <a:endParaRPr lang="en-GB" dirty="0"/>
                    </a:p>
                  </a:txBody>
                  <a:tcPr/>
                </a:tc>
                <a:tc>
                  <a:txBody>
                    <a:bodyPr/>
                    <a:lstStyle/>
                    <a:p>
                      <a:r>
                        <a:rPr lang="en-US" dirty="0" smtClean="0"/>
                        <a:t>Richard Conway/Wenming Ye</a:t>
                      </a:r>
                      <a:endParaRPr lang="en-GB" dirty="0"/>
                    </a:p>
                  </a:txBody>
                  <a:tcPr/>
                </a:tc>
                <a:tc>
                  <a:txBody>
                    <a:bodyPr/>
                    <a:lstStyle/>
                    <a:p>
                      <a:r>
                        <a:rPr lang="en-US" dirty="0" smtClean="0"/>
                        <a:t>9.05 – 10.30</a:t>
                      </a:r>
                      <a:endParaRPr lang="en-GB" dirty="0"/>
                    </a:p>
                  </a:txBody>
                  <a:tcPr/>
                </a:tc>
              </a:tr>
              <a:tr h="370840">
                <a:tc>
                  <a:txBody>
                    <a:bodyPr/>
                    <a:lstStyle/>
                    <a:p>
                      <a:r>
                        <a:rPr lang="en-US" dirty="0" smtClean="0"/>
                        <a:t>Introduction to Windows Azure Websites and Virtual Machines</a:t>
                      </a:r>
                      <a:endParaRPr lang="en-GB" dirty="0"/>
                    </a:p>
                  </a:txBody>
                  <a:tcPr/>
                </a:tc>
                <a:tc>
                  <a:txBody>
                    <a:bodyPr/>
                    <a:lstStyle/>
                    <a:p>
                      <a:r>
                        <a:rPr lang="en-US" dirty="0" smtClean="0"/>
                        <a:t>Richard Conway</a:t>
                      </a:r>
                      <a:endParaRPr lang="en-GB" dirty="0"/>
                    </a:p>
                  </a:txBody>
                  <a:tcPr/>
                </a:tc>
                <a:tc>
                  <a:txBody>
                    <a:bodyPr/>
                    <a:lstStyle/>
                    <a:p>
                      <a:r>
                        <a:rPr lang="en-US" dirty="0" smtClean="0"/>
                        <a:t>10.45 – 12</a:t>
                      </a:r>
                      <a:endParaRPr lang="en-GB" dirty="0"/>
                    </a:p>
                  </a:txBody>
                  <a:tcPr/>
                </a:tc>
              </a:tr>
              <a:tr h="370840">
                <a:tc>
                  <a:txBody>
                    <a:bodyPr/>
                    <a:lstStyle/>
                    <a:p>
                      <a:r>
                        <a:rPr lang="en-US" dirty="0" smtClean="0"/>
                        <a:t>Introduction</a:t>
                      </a:r>
                      <a:r>
                        <a:rPr lang="en-US" baseline="0" dirty="0" smtClean="0"/>
                        <a:t> to Windows Azure Websites and Virtual Machines (HOLs)</a:t>
                      </a:r>
                      <a:endParaRPr lang="en-US" dirty="0" smtClean="0"/>
                    </a:p>
                  </a:txBody>
                  <a:tcPr/>
                </a:tc>
                <a:tc>
                  <a:txBody>
                    <a:bodyPr/>
                    <a:lstStyle/>
                    <a:p>
                      <a:r>
                        <a:rPr lang="en-US" dirty="0" smtClean="0"/>
                        <a:t>Richard Conway</a:t>
                      </a:r>
                      <a:endParaRPr lang="en-GB" dirty="0"/>
                    </a:p>
                  </a:txBody>
                  <a:tcPr/>
                </a:tc>
                <a:tc>
                  <a:txBody>
                    <a:bodyPr/>
                    <a:lstStyle/>
                    <a:p>
                      <a:r>
                        <a:rPr lang="en-US" dirty="0" smtClean="0"/>
                        <a:t>1 – 1.45 </a:t>
                      </a:r>
                      <a:endParaRPr lang="en-GB" dirty="0"/>
                    </a:p>
                  </a:txBody>
                  <a:tcPr/>
                </a:tc>
              </a:tr>
              <a:tr h="370840">
                <a:tc>
                  <a:txBody>
                    <a:bodyPr/>
                    <a:lstStyle/>
                    <a:p>
                      <a:r>
                        <a:rPr lang="en-US" dirty="0" err="1" smtClean="0"/>
                        <a:t>IPython</a:t>
                      </a:r>
                      <a:r>
                        <a:rPr lang="en-US" dirty="0" smtClean="0"/>
                        <a:t> on Windows Azure HOLs</a:t>
                      </a:r>
                      <a:endParaRPr lang="en-GB" dirty="0"/>
                    </a:p>
                  </a:txBody>
                  <a:tcPr/>
                </a:tc>
                <a:tc>
                  <a:txBody>
                    <a:bodyPr/>
                    <a:lstStyle/>
                    <a:p>
                      <a:r>
                        <a:rPr lang="en-US" dirty="0" smtClean="0"/>
                        <a:t>Richard Conway/Wenming Ye</a:t>
                      </a:r>
                      <a:endParaRPr lang="en-GB" dirty="0"/>
                    </a:p>
                  </a:txBody>
                  <a:tcPr/>
                </a:tc>
                <a:tc>
                  <a:txBody>
                    <a:bodyPr/>
                    <a:lstStyle/>
                    <a:p>
                      <a:r>
                        <a:rPr lang="en-US" dirty="0" smtClean="0"/>
                        <a:t>1.45 – 2.30 </a:t>
                      </a:r>
                      <a:endParaRPr lang="en-GB" dirty="0"/>
                    </a:p>
                  </a:txBody>
                  <a:tcPr/>
                </a:tc>
              </a:tr>
              <a:tr h="370840">
                <a:tc>
                  <a:txBody>
                    <a:bodyPr/>
                    <a:lstStyle/>
                    <a:p>
                      <a:r>
                        <a:rPr lang="en-US" dirty="0" smtClean="0"/>
                        <a:t>Windows Azure Storage</a:t>
                      </a:r>
                      <a:endParaRPr lang="en-GB" dirty="0"/>
                    </a:p>
                  </a:txBody>
                  <a:tcPr/>
                </a:tc>
                <a:tc>
                  <a:txBody>
                    <a:bodyPr/>
                    <a:lstStyle/>
                    <a:p>
                      <a:r>
                        <a:rPr lang="en-US" dirty="0" smtClean="0"/>
                        <a:t>Richard Conway</a:t>
                      </a:r>
                      <a:endParaRPr lang="en-GB" dirty="0"/>
                    </a:p>
                  </a:txBody>
                  <a:tcPr/>
                </a:tc>
                <a:tc>
                  <a:txBody>
                    <a:bodyPr/>
                    <a:lstStyle/>
                    <a:p>
                      <a:r>
                        <a:rPr lang="en-US" dirty="0" smtClean="0"/>
                        <a:t>3 – 4</a:t>
                      </a:r>
                      <a:endParaRPr lang="en-GB" dirty="0"/>
                    </a:p>
                  </a:txBody>
                  <a:tcPr/>
                </a:tc>
              </a:tr>
              <a:tr h="370840">
                <a:tc>
                  <a:txBody>
                    <a:bodyPr/>
                    <a:lstStyle/>
                    <a:p>
                      <a:r>
                        <a:rPr lang="en-US" dirty="0" err="1" smtClean="0"/>
                        <a:t>Visualisation</a:t>
                      </a:r>
                      <a:r>
                        <a:rPr lang="en-US" baseline="0" dirty="0" smtClean="0"/>
                        <a:t> with Excel tools and Windows Azure </a:t>
                      </a:r>
                      <a:endParaRPr lang="en-GB" dirty="0"/>
                    </a:p>
                  </a:txBody>
                  <a:tcPr/>
                </a:tc>
                <a:tc>
                  <a:txBody>
                    <a:bodyPr/>
                    <a:lstStyle/>
                    <a:p>
                      <a:r>
                        <a:rPr lang="en-US" dirty="0" smtClean="0"/>
                        <a:t>Wenming Ye</a:t>
                      </a:r>
                      <a:endParaRPr lang="en-GB" dirty="0"/>
                    </a:p>
                  </a:txBody>
                  <a:tcPr/>
                </a:tc>
                <a:tc>
                  <a:txBody>
                    <a:bodyPr/>
                    <a:lstStyle/>
                    <a:p>
                      <a:r>
                        <a:rPr lang="en-US" dirty="0" smtClean="0"/>
                        <a:t>4 – 4.40</a:t>
                      </a:r>
                      <a:endParaRPr lang="en-GB" dirty="0"/>
                    </a:p>
                  </a:txBody>
                  <a:tcPr/>
                </a:tc>
              </a:tr>
              <a:tr h="370840">
                <a:tc>
                  <a:txBody>
                    <a:bodyPr/>
                    <a:lstStyle/>
                    <a:p>
                      <a:r>
                        <a:rPr lang="en-US" dirty="0" smtClean="0"/>
                        <a:t>Questions?</a:t>
                      </a:r>
                      <a:endParaRPr lang="en-GB" dirty="0"/>
                    </a:p>
                  </a:txBody>
                  <a:tcPr/>
                </a:tc>
                <a:tc>
                  <a:txBody>
                    <a:bodyPr/>
                    <a:lstStyle/>
                    <a:p>
                      <a:r>
                        <a:rPr lang="en-US" dirty="0" smtClean="0"/>
                        <a:t>Richard Conway</a:t>
                      </a:r>
                      <a:endParaRPr lang="en-GB" dirty="0"/>
                    </a:p>
                  </a:txBody>
                  <a:tcPr/>
                </a:tc>
                <a:tc>
                  <a:txBody>
                    <a:bodyPr/>
                    <a:lstStyle/>
                    <a:p>
                      <a:r>
                        <a:rPr lang="en-US" dirty="0" smtClean="0"/>
                        <a:t>4.40 – 5 </a:t>
                      </a:r>
                      <a:endParaRPr lang="en-GB" dirty="0"/>
                    </a:p>
                  </a:txBody>
                  <a:tcPr/>
                </a:tc>
              </a:tr>
            </a:tbl>
          </a:graphicData>
        </a:graphic>
      </p:graphicFrame>
    </p:spTree>
    <p:extLst>
      <p:ext uri="{BB962C8B-B14F-4D97-AF65-F5344CB8AC3E}">
        <p14:creationId xmlns:p14="http://schemas.microsoft.com/office/powerpoint/2010/main" val="355625600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2307"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Role Lifecycle</a:t>
            </a:r>
          </a:p>
        </p:txBody>
      </p:sp>
      <p:sp>
        <p:nvSpPr>
          <p:cNvPr id="4" name="Content Placeholder 3"/>
          <p:cNvSpPr>
            <a:spLocks noGrp="1"/>
          </p:cNvSpPr>
          <p:nvPr>
            <p:ph sz="quarter" idx="10"/>
          </p:nvPr>
        </p:nvSpPr>
        <p:spPr>
          <a:xfrm>
            <a:off x="520701" y="1463676"/>
            <a:ext cx="11155680" cy="1138773"/>
          </a:xfrm>
        </p:spPr>
        <p:txBody>
          <a:bodyPr/>
          <a:lstStyle/>
          <a:p>
            <a:r>
              <a:rPr lang="en-US" dirty="0">
                <a:latin typeface="Segoe UI Light" pitchFamily="34" charset="0"/>
              </a:rPr>
              <a:t>All roles may extend RoleEntryPoint</a:t>
            </a:r>
          </a:p>
          <a:p>
            <a:r>
              <a:rPr lang="en-US" dirty="0">
                <a:latin typeface="Segoe UI Light" pitchFamily="34" charset="0"/>
              </a:rPr>
              <a:t>Roles report status via </a:t>
            </a:r>
            <a:r>
              <a:rPr lang="en-US" dirty="0" smtClean="0">
                <a:latin typeface="Segoe UI Light" pitchFamily="34" charset="0"/>
              </a:rPr>
              <a:t>RoleEnvironment</a:t>
            </a:r>
            <a:endParaRPr lang="en-US" dirty="0">
              <a:latin typeface="Segoe UI Light" pitchFamily="34" charset="0"/>
            </a:endParaRPr>
          </a:p>
        </p:txBody>
      </p:sp>
      <p:sp>
        <p:nvSpPr>
          <p:cNvPr id="39" name="Rectangle 38"/>
          <p:cNvSpPr/>
          <p:nvPr>
            <p:custDataLst>
              <p:tags r:id="rId3"/>
            </p:custDataLst>
          </p:nvPr>
        </p:nvSpPr>
        <p:spPr bwMode="auto">
          <a:xfrm>
            <a:off x="5951479" y="3075076"/>
            <a:ext cx="2303012" cy="42748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rgbClr val="FFFFFF">
                      <a:alpha val="0"/>
                    </a:srgbClr>
                  </a:solidFill>
                </a:ln>
                <a:solidFill>
                  <a:srgbClr val="595959">
                    <a:alpha val="99000"/>
                  </a:srgbClr>
                </a:solidFill>
              </a:rPr>
              <a:t>StatusCheck</a:t>
            </a:r>
          </a:p>
        </p:txBody>
      </p:sp>
      <p:sp>
        <p:nvSpPr>
          <p:cNvPr id="41" name="Rectangle 40"/>
          <p:cNvSpPr/>
          <p:nvPr>
            <p:custDataLst>
              <p:tags r:id="rId4"/>
            </p:custDataLst>
          </p:nvPr>
        </p:nvSpPr>
        <p:spPr bwMode="auto">
          <a:xfrm>
            <a:off x="5951479" y="3911467"/>
            <a:ext cx="2303012" cy="42748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rgbClr val="FFFFFF">
                      <a:alpha val="0"/>
                    </a:srgbClr>
                  </a:solidFill>
                </a:ln>
                <a:solidFill>
                  <a:srgbClr val="595959">
                    <a:alpha val="99000"/>
                  </a:srgbClr>
                </a:solidFill>
              </a:rPr>
              <a:t>StatusCheck</a:t>
            </a:r>
          </a:p>
        </p:txBody>
      </p:sp>
      <p:sp>
        <p:nvSpPr>
          <p:cNvPr id="42" name="Rectangle 41"/>
          <p:cNvSpPr/>
          <p:nvPr>
            <p:custDataLst>
              <p:tags r:id="rId5"/>
            </p:custDataLst>
          </p:nvPr>
        </p:nvSpPr>
        <p:spPr bwMode="auto">
          <a:xfrm>
            <a:off x="5951480" y="5253489"/>
            <a:ext cx="2288497" cy="36576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rgbClr val="FFFFFF">
                      <a:alpha val="0"/>
                    </a:srgbClr>
                  </a:solidFill>
                </a:ln>
                <a:solidFill>
                  <a:srgbClr val="595959">
                    <a:alpha val="99000"/>
                  </a:srgbClr>
                </a:solidFill>
              </a:rPr>
              <a:t>StatusCheck</a:t>
            </a:r>
          </a:p>
        </p:txBody>
      </p:sp>
      <p:sp>
        <p:nvSpPr>
          <p:cNvPr id="43" name="Rectangle 42"/>
          <p:cNvSpPr/>
          <p:nvPr>
            <p:custDataLst>
              <p:tags r:id="rId6"/>
            </p:custDataLst>
          </p:nvPr>
        </p:nvSpPr>
        <p:spPr bwMode="auto">
          <a:xfrm>
            <a:off x="5951479" y="5672639"/>
            <a:ext cx="2288497" cy="36576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rgbClr val="FFFFFF">
                      <a:alpha val="0"/>
                    </a:srgbClr>
                  </a:solidFill>
                </a:ln>
                <a:solidFill>
                  <a:srgbClr val="595959">
                    <a:alpha val="99000"/>
                  </a:srgbClr>
                </a:solidFill>
              </a:rPr>
              <a:t>Stopping</a:t>
            </a:r>
          </a:p>
        </p:txBody>
      </p:sp>
      <p:sp>
        <p:nvSpPr>
          <p:cNvPr id="44" name="Rectangle 43"/>
          <p:cNvSpPr/>
          <p:nvPr>
            <p:custDataLst>
              <p:tags r:id="rId7"/>
            </p:custDataLst>
          </p:nvPr>
        </p:nvSpPr>
        <p:spPr bwMode="auto">
          <a:xfrm>
            <a:off x="2522200" y="3075075"/>
            <a:ext cx="2844800" cy="8291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363"/>
            <a:r>
              <a:rPr lang="en-NZ" sz="2000" dirty="0">
                <a:ln>
                  <a:solidFill>
                    <a:srgbClr val="FFFFFF">
                      <a:alpha val="0"/>
                    </a:srgbClr>
                  </a:solidFill>
                </a:ln>
                <a:solidFill>
                  <a:srgbClr val="FFFFFF">
                    <a:alpha val="99000"/>
                  </a:srgbClr>
                </a:solidFill>
              </a:rPr>
              <a:t>OnStart</a:t>
            </a:r>
          </a:p>
        </p:txBody>
      </p:sp>
      <p:sp>
        <p:nvSpPr>
          <p:cNvPr id="45" name="Rectangle 44"/>
          <p:cNvSpPr/>
          <p:nvPr>
            <p:custDataLst>
              <p:tags r:id="rId8"/>
            </p:custDataLst>
          </p:nvPr>
        </p:nvSpPr>
        <p:spPr bwMode="auto">
          <a:xfrm>
            <a:off x="2522200" y="3901316"/>
            <a:ext cx="2844800" cy="1347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363"/>
            <a:r>
              <a:rPr lang="en-NZ" sz="2000" dirty="0">
                <a:ln>
                  <a:solidFill>
                    <a:srgbClr val="FFFFFF">
                      <a:alpha val="0"/>
                    </a:srgbClr>
                  </a:solidFill>
                </a:ln>
                <a:solidFill>
                  <a:srgbClr val="FFFFFF">
                    <a:alpha val="99000"/>
                  </a:srgbClr>
                </a:solidFill>
              </a:rPr>
              <a:t>Run</a:t>
            </a:r>
          </a:p>
        </p:txBody>
      </p:sp>
      <p:sp>
        <p:nvSpPr>
          <p:cNvPr id="46" name="Rectangle 45"/>
          <p:cNvSpPr/>
          <p:nvPr>
            <p:custDataLst>
              <p:tags r:id="rId9"/>
            </p:custDataLst>
          </p:nvPr>
        </p:nvSpPr>
        <p:spPr bwMode="auto">
          <a:xfrm>
            <a:off x="2522200" y="5246230"/>
            <a:ext cx="2844800" cy="78491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363"/>
            <a:r>
              <a:rPr lang="en-NZ" sz="2000" dirty="0">
                <a:ln>
                  <a:solidFill>
                    <a:srgbClr val="FFFFFF">
                      <a:alpha val="0"/>
                    </a:srgbClr>
                  </a:solidFill>
                </a:ln>
                <a:solidFill>
                  <a:srgbClr val="FFFFFF">
                    <a:alpha val="99000"/>
                  </a:srgbClr>
                </a:solidFill>
              </a:rPr>
              <a:t>OnStop</a:t>
            </a:r>
          </a:p>
        </p:txBody>
      </p:sp>
      <p:sp>
        <p:nvSpPr>
          <p:cNvPr id="47" name="TextBox 46"/>
          <p:cNvSpPr txBox="1"/>
          <p:nvPr>
            <p:custDataLst>
              <p:tags r:id="rId10"/>
            </p:custDataLst>
          </p:nvPr>
        </p:nvSpPr>
        <p:spPr>
          <a:xfrm flipH="1">
            <a:off x="2522199" y="2736031"/>
            <a:ext cx="2844801" cy="307777"/>
          </a:xfrm>
          <a:prstGeom prst="rect">
            <a:avLst/>
          </a:prstGeom>
          <a:noFill/>
          <a:ln>
            <a:noFill/>
          </a:ln>
          <a:effectLst/>
        </p:spPr>
        <p:txBody>
          <a:bodyPr wrap="square" lIns="0" tIns="0" rIns="0" bIns="0" rtlCol="0">
            <a:spAutoFit/>
          </a:bodyPr>
          <a:lstStyle/>
          <a:p>
            <a:pPr algn="ctr" defTabSz="914363"/>
            <a:r>
              <a:rPr lang="en-NZ" sz="2000" cap="all" dirty="0">
                <a:ln>
                  <a:solidFill>
                    <a:srgbClr val="FFFFFF">
                      <a:alpha val="0"/>
                    </a:srgbClr>
                  </a:solidFill>
                </a:ln>
                <a:solidFill>
                  <a:srgbClr val="595959">
                    <a:alpha val="99000"/>
                  </a:srgbClr>
                </a:solidFill>
              </a:rPr>
              <a:t>Methods</a:t>
            </a:r>
          </a:p>
        </p:txBody>
      </p:sp>
      <p:sp>
        <p:nvSpPr>
          <p:cNvPr id="48" name="Left Brace 47"/>
          <p:cNvSpPr/>
          <p:nvPr>
            <p:custDataLst>
              <p:tags r:id="rId11"/>
            </p:custDataLst>
          </p:nvPr>
        </p:nvSpPr>
        <p:spPr>
          <a:xfrm>
            <a:off x="2145792" y="3082335"/>
            <a:ext cx="365760" cy="2956065"/>
          </a:xfrm>
          <a:prstGeom prst="leftBrace">
            <a:avLst/>
          </a:prstGeom>
          <a:ln w="25400">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914363"/>
            <a:endParaRPr lang="en-NZ" dirty="0">
              <a:ln>
                <a:solidFill>
                  <a:srgbClr val="FFFFFF">
                    <a:alpha val="0"/>
                  </a:srgbClr>
                </a:solidFill>
              </a:ln>
              <a:solidFill>
                <a:srgbClr val="595959"/>
              </a:solidFill>
            </a:endParaRPr>
          </a:p>
        </p:txBody>
      </p:sp>
      <p:sp>
        <p:nvSpPr>
          <p:cNvPr id="49" name="TextBox 48"/>
          <p:cNvSpPr txBox="1"/>
          <p:nvPr>
            <p:custDataLst>
              <p:tags r:id="rId12"/>
            </p:custDataLst>
          </p:nvPr>
        </p:nvSpPr>
        <p:spPr>
          <a:xfrm flipH="1">
            <a:off x="5951479" y="2736031"/>
            <a:ext cx="2329596" cy="307777"/>
          </a:xfrm>
          <a:prstGeom prst="rect">
            <a:avLst/>
          </a:prstGeom>
          <a:noFill/>
          <a:ln>
            <a:noFill/>
          </a:ln>
          <a:effectLst/>
        </p:spPr>
        <p:txBody>
          <a:bodyPr wrap="square" lIns="0" tIns="0" rIns="0" bIns="0" rtlCol="0">
            <a:spAutoFit/>
          </a:bodyPr>
          <a:lstStyle/>
          <a:p>
            <a:pPr algn="ctr" defTabSz="914363"/>
            <a:r>
              <a:rPr lang="en-NZ" sz="2000" cap="all" dirty="0">
                <a:ln>
                  <a:solidFill>
                    <a:srgbClr val="FFFFFF">
                      <a:alpha val="0"/>
                    </a:srgbClr>
                  </a:solidFill>
                </a:ln>
                <a:solidFill>
                  <a:srgbClr val="595959">
                    <a:alpha val="99000"/>
                  </a:srgbClr>
                </a:solidFill>
              </a:rPr>
              <a:t>Events</a:t>
            </a:r>
          </a:p>
        </p:txBody>
      </p:sp>
      <p:sp>
        <p:nvSpPr>
          <p:cNvPr id="50" name="TextBox 49"/>
          <p:cNvSpPr txBox="1"/>
          <p:nvPr>
            <p:custDataLst>
              <p:tags r:id="rId13"/>
            </p:custDataLst>
          </p:nvPr>
        </p:nvSpPr>
        <p:spPr>
          <a:xfrm flipH="1">
            <a:off x="8239976" y="2736031"/>
            <a:ext cx="1422400" cy="307777"/>
          </a:xfrm>
          <a:prstGeom prst="rect">
            <a:avLst/>
          </a:prstGeom>
          <a:noFill/>
          <a:ln>
            <a:noFill/>
          </a:ln>
          <a:effectLst/>
        </p:spPr>
        <p:txBody>
          <a:bodyPr wrap="square" lIns="0" tIns="0" rIns="0" bIns="0" rtlCol="0">
            <a:spAutoFit/>
          </a:bodyPr>
          <a:lstStyle/>
          <a:p>
            <a:pPr algn="ctr" defTabSz="914363"/>
            <a:r>
              <a:rPr lang="en-NZ" sz="2000" cap="all" dirty="0">
                <a:ln>
                  <a:solidFill>
                    <a:srgbClr val="FFFFFF">
                      <a:alpha val="0"/>
                    </a:srgbClr>
                  </a:solidFill>
                </a:ln>
                <a:solidFill>
                  <a:srgbClr val="595959">
                    <a:alpha val="99000"/>
                  </a:srgbClr>
                </a:solidFill>
              </a:rPr>
              <a:t>Status</a:t>
            </a:r>
          </a:p>
        </p:txBody>
      </p:sp>
      <p:sp>
        <p:nvSpPr>
          <p:cNvPr id="51" name="Left Brace 50"/>
          <p:cNvSpPr/>
          <p:nvPr>
            <p:custDataLst>
              <p:tags r:id="rId14"/>
            </p:custDataLst>
          </p:nvPr>
        </p:nvSpPr>
        <p:spPr>
          <a:xfrm rot="10800000">
            <a:off x="9668105" y="3911466"/>
            <a:ext cx="388375" cy="1344915"/>
          </a:xfrm>
          <a:prstGeom prst="leftBrace">
            <a:avLst>
              <a:gd name="adj1" fmla="val 8333"/>
              <a:gd name="adj2" fmla="val 49207"/>
            </a:avLst>
          </a:prstGeom>
          <a:ln w="25400">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914363"/>
            <a:endParaRPr lang="en-NZ" dirty="0">
              <a:ln>
                <a:solidFill>
                  <a:srgbClr val="FFFFFF">
                    <a:alpha val="0"/>
                  </a:srgbClr>
                </a:solidFill>
              </a:ln>
              <a:solidFill>
                <a:srgbClr val="292929"/>
              </a:solidFill>
            </a:endParaRPr>
          </a:p>
        </p:txBody>
      </p:sp>
      <p:sp>
        <p:nvSpPr>
          <p:cNvPr id="52" name="Right Arrow 51"/>
          <p:cNvSpPr/>
          <p:nvPr>
            <p:custDataLst>
              <p:tags r:id="rId15"/>
            </p:custDataLst>
          </p:nvPr>
        </p:nvSpPr>
        <p:spPr bwMode="auto">
          <a:xfrm rot="5400000">
            <a:off x="3875000" y="4255727"/>
            <a:ext cx="3566160" cy="1204856"/>
          </a:xfrm>
          <a:prstGeom prst="rightArrow">
            <a:avLst>
              <a:gd name="adj1" fmla="val 50000"/>
              <a:gd name="adj2" fmla="val 38722"/>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363"/>
            <a:r>
              <a:rPr lang="en-NZ" sz="2000" dirty="0">
                <a:ln>
                  <a:solidFill>
                    <a:srgbClr val="FFFFFF">
                      <a:alpha val="0"/>
                    </a:srgbClr>
                  </a:solidFill>
                </a:ln>
                <a:solidFill>
                  <a:srgbClr val="FFFFFF"/>
                </a:solidFill>
              </a:rPr>
              <a:t>Role Lifetime</a:t>
            </a:r>
          </a:p>
        </p:txBody>
      </p:sp>
      <p:sp>
        <p:nvSpPr>
          <p:cNvPr id="53" name="Rectangle 52"/>
          <p:cNvSpPr/>
          <p:nvPr>
            <p:custDataLst>
              <p:tags r:id="rId16"/>
            </p:custDataLst>
          </p:nvPr>
        </p:nvSpPr>
        <p:spPr bwMode="auto">
          <a:xfrm>
            <a:off x="1302995" y="3082336"/>
            <a:ext cx="667658" cy="294880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363"/>
            <a:r>
              <a:rPr lang="en-NZ" sz="2000" dirty="0">
                <a:ln>
                  <a:solidFill>
                    <a:srgbClr val="FFFFFF">
                      <a:alpha val="0"/>
                    </a:srgbClr>
                  </a:solidFill>
                </a:ln>
                <a:solidFill>
                  <a:srgbClr val="FFFFFF">
                    <a:alpha val="99000"/>
                  </a:srgbClr>
                </a:solidFill>
              </a:rPr>
              <a:t>Fabric Calls</a:t>
            </a:r>
          </a:p>
        </p:txBody>
      </p:sp>
      <p:sp>
        <p:nvSpPr>
          <p:cNvPr id="54" name="Rectangle 53"/>
          <p:cNvSpPr/>
          <p:nvPr>
            <p:custDataLst>
              <p:tags r:id="rId17"/>
            </p:custDataLst>
          </p:nvPr>
        </p:nvSpPr>
        <p:spPr bwMode="auto">
          <a:xfrm>
            <a:off x="10164994" y="3082335"/>
            <a:ext cx="667658" cy="294880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91436" tIns="45718" rIns="91436" bIns="45718" numCol="1" rtlCol="0" anchor="ctr" anchorCtr="0" compatLnSpc="1">
            <a:prstTxWarp prst="textNoShape">
              <a:avLst/>
            </a:prstTxWarp>
          </a:bodyPr>
          <a:lstStyle/>
          <a:p>
            <a:pPr algn="ctr" defTabSz="914363"/>
            <a:r>
              <a:rPr lang="en-NZ" sz="2000" dirty="0">
                <a:ln>
                  <a:solidFill>
                    <a:srgbClr val="FFFFFF">
                      <a:alpha val="0"/>
                    </a:srgbClr>
                  </a:solidFill>
                </a:ln>
                <a:solidFill>
                  <a:srgbClr val="FFFFFF">
                    <a:alpha val="99000"/>
                  </a:srgbClr>
                </a:solidFill>
              </a:rPr>
              <a:t>Requests Routed</a:t>
            </a:r>
          </a:p>
        </p:txBody>
      </p:sp>
      <p:sp>
        <p:nvSpPr>
          <p:cNvPr id="55" name="Rectangle 54"/>
          <p:cNvSpPr/>
          <p:nvPr>
            <p:custDataLst>
              <p:tags r:id="rId18"/>
            </p:custDataLst>
          </p:nvPr>
        </p:nvSpPr>
        <p:spPr bwMode="auto">
          <a:xfrm>
            <a:off x="8239976" y="3075075"/>
            <a:ext cx="1422400" cy="8291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363"/>
            <a:r>
              <a:rPr lang="en-NZ" sz="2000" dirty="0">
                <a:ln>
                  <a:solidFill>
                    <a:srgbClr val="FFFFFF">
                      <a:alpha val="0"/>
                    </a:srgbClr>
                  </a:solidFill>
                </a:ln>
                <a:solidFill>
                  <a:srgbClr val="FFFFFF">
                    <a:alpha val="99000"/>
                  </a:srgbClr>
                </a:solidFill>
              </a:rPr>
              <a:t>Busy</a:t>
            </a:r>
          </a:p>
        </p:txBody>
      </p:sp>
      <p:sp>
        <p:nvSpPr>
          <p:cNvPr id="56" name="Rectangle 55"/>
          <p:cNvSpPr/>
          <p:nvPr>
            <p:custDataLst>
              <p:tags r:id="rId19"/>
            </p:custDataLst>
          </p:nvPr>
        </p:nvSpPr>
        <p:spPr bwMode="auto">
          <a:xfrm>
            <a:off x="8239976" y="3904945"/>
            <a:ext cx="1422400" cy="1347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363"/>
            <a:r>
              <a:rPr lang="en-NZ" sz="2000" dirty="0">
                <a:ln>
                  <a:solidFill>
                    <a:srgbClr val="FFFFFF">
                      <a:alpha val="0"/>
                    </a:srgbClr>
                  </a:solidFill>
                </a:ln>
                <a:solidFill>
                  <a:srgbClr val="FFFFFF">
                    <a:alpha val="99000"/>
                  </a:srgbClr>
                </a:solidFill>
              </a:rPr>
              <a:t>Ready</a:t>
            </a:r>
          </a:p>
        </p:txBody>
      </p:sp>
      <p:sp>
        <p:nvSpPr>
          <p:cNvPr id="57" name="Rectangle 56"/>
          <p:cNvSpPr/>
          <p:nvPr>
            <p:custDataLst>
              <p:tags r:id="rId20"/>
            </p:custDataLst>
          </p:nvPr>
        </p:nvSpPr>
        <p:spPr bwMode="auto">
          <a:xfrm>
            <a:off x="8239976" y="5253489"/>
            <a:ext cx="1422400" cy="78491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363"/>
            <a:r>
              <a:rPr lang="en-NZ" sz="2000" dirty="0">
                <a:ln>
                  <a:solidFill>
                    <a:srgbClr val="FFFFFF">
                      <a:alpha val="0"/>
                    </a:srgbClr>
                  </a:solidFill>
                </a:ln>
                <a:solidFill>
                  <a:srgbClr val="FFFFFF">
                    <a:alpha val="99000"/>
                  </a:srgbClr>
                </a:solidFill>
              </a:rPr>
              <a:t>Busy</a:t>
            </a:r>
          </a:p>
        </p:txBody>
      </p:sp>
    </p:spTree>
    <p:extLst>
      <p:ext uri="{BB962C8B-B14F-4D97-AF65-F5344CB8AC3E}">
        <p14:creationId xmlns:p14="http://schemas.microsoft.com/office/powerpoint/2010/main" val="5934076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1" grpId="0" animBg="1"/>
      <p:bldP spid="42" grpId="0" animBg="1"/>
      <p:bldP spid="43" grpId="0" animBg="1"/>
      <p:bldP spid="44" grpId="0" animBg="1"/>
      <p:bldP spid="45" grpId="0" animBg="1"/>
      <p:bldP spid="46" grpId="0" animBg="1"/>
      <p:bldP spid="48" grpId="0" animBg="1"/>
      <p:bldP spid="51" grpId="0" animBg="1"/>
      <p:bldP spid="53" grpId="0" animBg="1"/>
      <p:bldP spid="54" grpId="0" animBg="1"/>
      <p:bldP spid="55" grpId="0" animBg="1"/>
      <p:bldP spid="56" grpId="0" animBg="1"/>
      <p:bldP spid="57"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20701" y="1446180"/>
            <a:ext cx="11149012" cy="482127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333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orker Role Patterns</a:t>
            </a:r>
            <a:endParaRPr lang="en-US" dirty="0"/>
          </a:p>
        </p:txBody>
      </p:sp>
      <p:sp>
        <p:nvSpPr>
          <p:cNvPr id="3" name="Content Placeholder 2"/>
          <p:cNvSpPr>
            <a:spLocks noGrp="1"/>
          </p:cNvSpPr>
          <p:nvPr>
            <p:ph sz="quarter" idx="10"/>
            <p:custDataLst>
              <p:tags r:id="rId4"/>
            </p:custDataLst>
          </p:nvPr>
        </p:nvSpPr>
        <p:spPr>
          <a:xfrm>
            <a:off x="805514" y="1463676"/>
            <a:ext cx="11155680" cy="4924425"/>
          </a:xfrm>
        </p:spPr>
        <p:txBody>
          <a:bodyPr/>
          <a:lstStyle/>
          <a:p>
            <a:r>
              <a:rPr lang="en-US" sz="3600" dirty="0">
                <a:solidFill>
                  <a:schemeClr val="bg1">
                    <a:alpha val="99000"/>
                  </a:schemeClr>
                </a:solidFill>
                <a:latin typeface="Segoe UI Light" pitchFamily="34" charset="0"/>
              </a:rPr>
              <a:t>Queue Polling Worker</a:t>
            </a:r>
          </a:p>
          <a:p>
            <a:pPr marL="0" lvl="1"/>
            <a:r>
              <a:rPr lang="en-US" sz="2000" dirty="0">
                <a:solidFill>
                  <a:schemeClr val="accent6">
                    <a:lumMod val="20000"/>
                    <a:lumOff val="80000"/>
                    <a:alpha val="99000"/>
                  </a:schemeClr>
                </a:solidFill>
              </a:rPr>
              <a:t>Poll and Pop Messages within while(true) loop</a:t>
            </a:r>
          </a:p>
          <a:p>
            <a:pPr marL="0" lvl="1"/>
            <a:r>
              <a:rPr lang="en-US" sz="2000" dirty="0">
                <a:solidFill>
                  <a:schemeClr val="accent6">
                    <a:lumMod val="20000"/>
                    <a:lumOff val="80000"/>
                    <a:alpha val="99000"/>
                  </a:schemeClr>
                </a:solidFill>
              </a:rPr>
              <a:t>E.g. Map/Reduce pattern, background image processing</a:t>
            </a:r>
          </a:p>
          <a:p>
            <a:r>
              <a:rPr lang="en-US" sz="3600" dirty="0">
                <a:solidFill>
                  <a:schemeClr val="bg1">
                    <a:alpha val="99000"/>
                  </a:schemeClr>
                </a:solidFill>
                <a:latin typeface="Segoe UI Light" pitchFamily="34" charset="0"/>
              </a:rPr>
              <a:t>Listening Worker Role</a:t>
            </a:r>
          </a:p>
          <a:p>
            <a:pPr marL="0" lvl="1"/>
            <a:r>
              <a:rPr lang="en-US" sz="2000" dirty="0">
                <a:solidFill>
                  <a:schemeClr val="accent6">
                    <a:lumMod val="20000"/>
                    <a:lumOff val="80000"/>
                    <a:alpha val="99000"/>
                  </a:schemeClr>
                </a:solidFill>
              </a:rPr>
              <a:t>Create TcpListener or WCF Service Host</a:t>
            </a:r>
          </a:p>
          <a:p>
            <a:pPr marL="0" lvl="1"/>
            <a:r>
              <a:rPr lang="en-US" sz="2000" dirty="0">
                <a:solidFill>
                  <a:schemeClr val="accent6">
                    <a:lumMod val="20000"/>
                    <a:lumOff val="80000"/>
                    <a:alpha val="99000"/>
                  </a:schemeClr>
                </a:solidFill>
              </a:rPr>
              <a:t>E.g. Run a .NET SMTP server or WCF Service</a:t>
            </a:r>
          </a:p>
          <a:p>
            <a:r>
              <a:rPr lang="en-US" sz="3600" dirty="0">
                <a:solidFill>
                  <a:schemeClr val="bg1">
                    <a:alpha val="99000"/>
                  </a:schemeClr>
                </a:solidFill>
                <a:latin typeface="Segoe UI Light" pitchFamily="34" charset="0"/>
              </a:rPr>
              <a:t>External Process Worker Role</a:t>
            </a:r>
          </a:p>
          <a:p>
            <a:pPr marL="0" lvl="1"/>
            <a:r>
              <a:rPr lang="en-US" sz="2000" dirty="0">
                <a:solidFill>
                  <a:schemeClr val="accent6">
                    <a:lumMod val="20000"/>
                    <a:lumOff val="80000"/>
                    <a:alpha val="99000"/>
                  </a:schemeClr>
                </a:solidFill>
              </a:rPr>
              <a:t>OnStart or Run method executes Process.Start()</a:t>
            </a:r>
          </a:p>
          <a:p>
            <a:pPr marL="0" lvl="1"/>
            <a:r>
              <a:rPr lang="en-US" sz="2000" dirty="0">
                <a:solidFill>
                  <a:schemeClr val="accent6">
                    <a:lumMod val="20000"/>
                    <a:lumOff val="80000"/>
                    <a:alpha val="99000"/>
                  </a:schemeClr>
                </a:solidFill>
              </a:rPr>
              <a:t>Startup Task installs or executes background/foreground process</a:t>
            </a:r>
          </a:p>
          <a:p>
            <a:pPr marL="0" lvl="1"/>
            <a:r>
              <a:rPr lang="en-US" sz="2000" dirty="0">
                <a:solidFill>
                  <a:schemeClr val="accent6">
                    <a:lumMod val="20000"/>
                    <a:lumOff val="80000"/>
                    <a:alpha val="99000"/>
                  </a:schemeClr>
                </a:solidFill>
              </a:rPr>
              <a:t>Custom Role Entry Point (executable or .Net assembly)</a:t>
            </a:r>
          </a:p>
          <a:p>
            <a:pPr marL="0" lvl="1"/>
            <a:r>
              <a:rPr lang="en-US" sz="2000" dirty="0">
                <a:solidFill>
                  <a:schemeClr val="accent6">
                    <a:lumMod val="20000"/>
                    <a:lumOff val="80000"/>
                    <a:alpha val="99000"/>
                  </a:schemeClr>
                </a:solidFill>
              </a:rPr>
              <a:t>E.g. Run a database server, web server, distributed cache</a:t>
            </a:r>
          </a:p>
        </p:txBody>
      </p:sp>
      <p:grpSp>
        <p:nvGrpSpPr>
          <p:cNvPr id="10" name="Group 9"/>
          <p:cNvGrpSpPr/>
          <p:nvPr/>
        </p:nvGrpSpPr>
        <p:grpSpPr bwMode="black">
          <a:xfrm>
            <a:off x="8307037" y="2503358"/>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104319141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20701" y="1446180"/>
            <a:ext cx="11149012" cy="482127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435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eb Role</a:t>
            </a:r>
            <a:endParaRPr lang="en-US" dirty="0"/>
          </a:p>
        </p:txBody>
      </p:sp>
      <p:sp>
        <p:nvSpPr>
          <p:cNvPr id="3" name="Content Placeholder 2"/>
          <p:cNvSpPr>
            <a:spLocks noGrp="1"/>
          </p:cNvSpPr>
          <p:nvPr>
            <p:ph sz="quarter" idx="10"/>
            <p:custDataLst>
              <p:tags r:id="rId4"/>
            </p:custDataLst>
          </p:nvPr>
        </p:nvSpPr>
        <p:spPr>
          <a:xfrm>
            <a:off x="820504" y="1463676"/>
            <a:ext cx="11155680" cy="5116785"/>
          </a:xfrm>
        </p:spPr>
        <p:txBody>
          <a:bodyPr/>
          <a:lstStyle/>
          <a:p>
            <a:r>
              <a:rPr lang="en-US" sz="3600" dirty="0">
                <a:solidFill>
                  <a:schemeClr val="bg1">
                    <a:alpha val="99000"/>
                  </a:schemeClr>
                </a:solidFill>
                <a:latin typeface="Segoe UI Light" pitchFamily="34" charset="0"/>
              </a:rPr>
              <a:t>All features of a worker role + IIS 7, 7.5 or IIS 8.0*</a:t>
            </a:r>
          </a:p>
          <a:p>
            <a:r>
              <a:rPr lang="en-US" sz="3600" dirty="0">
                <a:solidFill>
                  <a:schemeClr val="bg1">
                    <a:alpha val="99000"/>
                  </a:schemeClr>
                </a:solidFill>
                <a:latin typeface="Segoe UI Light" pitchFamily="34" charset="0"/>
              </a:rPr>
              <a:t>ASP.NET 3.5 SP1, 4.0 or 4.5* – 64bit</a:t>
            </a:r>
          </a:p>
          <a:p>
            <a:r>
              <a:rPr lang="en-US" sz="3600" dirty="0">
                <a:solidFill>
                  <a:schemeClr val="bg1">
                    <a:alpha val="99000"/>
                  </a:schemeClr>
                </a:solidFill>
                <a:latin typeface="Segoe UI Light" pitchFamily="34" charset="0"/>
              </a:rPr>
              <a:t>Hosts</a:t>
            </a:r>
          </a:p>
          <a:p>
            <a:pPr marL="0" lvl="1"/>
            <a:r>
              <a:rPr lang="en-US" sz="2000" dirty="0">
                <a:solidFill>
                  <a:schemeClr val="accent4">
                    <a:lumMod val="50000"/>
                    <a:alpha val="99000"/>
                  </a:schemeClr>
                </a:solidFill>
              </a:rPr>
              <a:t>Webforms or MVC</a:t>
            </a:r>
          </a:p>
          <a:p>
            <a:pPr marL="0" lvl="1"/>
            <a:r>
              <a:rPr lang="en-US" sz="2000" dirty="0">
                <a:solidFill>
                  <a:schemeClr val="accent4">
                    <a:lumMod val="50000"/>
                    <a:alpha val="99000"/>
                  </a:schemeClr>
                </a:solidFill>
              </a:rPr>
              <a:t>FastCGI applications (e.g. PHP)</a:t>
            </a:r>
          </a:p>
          <a:p>
            <a:pPr marL="0" lvl="1"/>
            <a:r>
              <a:rPr lang="en-US" sz="2000" dirty="0">
                <a:solidFill>
                  <a:schemeClr val="accent4">
                    <a:lumMod val="50000"/>
                    <a:alpha val="99000"/>
                  </a:schemeClr>
                </a:solidFill>
              </a:rPr>
              <a:t>Multiple Websites</a:t>
            </a:r>
          </a:p>
          <a:p>
            <a:r>
              <a:rPr lang="en-US" sz="3600" dirty="0">
                <a:solidFill>
                  <a:schemeClr val="bg1">
                    <a:alpha val="99000"/>
                  </a:schemeClr>
                </a:solidFill>
                <a:latin typeface="Segoe UI Light" pitchFamily="34" charset="0"/>
              </a:rPr>
              <a:t>Http(s)</a:t>
            </a:r>
          </a:p>
          <a:p>
            <a:r>
              <a:rPr lang="en-US" sz="3600" dirty="0">
                <a:solidFill>
                  <a:schemeClr val="bg1">
                    <a:alpha val="99000"/>
                  </a:schemeClr>
                </a:solidFill>
                <a:latin typeface="Segoe UI Light" pitchFamily="34" charset="0"/>
              </a:rPr>
              <a:t>Web/Worker Hybrid</a:t>
            </a:r>
          </a:p>
          <a:p>
            <a:pPr marL="0" lvl="1"/>
            <a:r>
              <a:rPr lang="en-US" sz="2000" dirty="0">
                <a:solidFill>
                  <a:schemeClr val="accent4">
                    <a:lumMod val="50000"/>
                    <a:alpha val="99000"/>
                  </a:schemeClr>
                </a:solidFill>
              </a:rPr>
              <a:t>Can optionally implement </a:t>
            </a:r>
            <a:r>
              <a:rPr lang="en-US" sz="2000" dirty="0" err="1">
                <a:solidFill>
                  <a:schemeClr val="accent4">
                    <a:lumMod val="50000"/>
                    <a:alpha val="99000"/>
                  </a:schemeClr>
                </a:solidFill>
              </a:rPr>
              <a:t>RoleEntryPoint</a:t>
            </a:r>
            <a:r>
              <a:rPr lang="en-US" sz="2000" dirty="0">
                <a:solidFill>
                  <a:schemeClr val="accent4">
                    <a:lumMod val="50000"/>
                    <a:alpha val="99000"/>
                  </a:schemeClr>
                </a:solidFill>
              </a:rPr>
              <a:t>                 		      </a:t>
            </a:r>
            <a:r>
              <a:rPr lang="en-US" sz="1800" dirty="0">
                <a:solidFill>
                  <a:schemeClr val="bg1">
                    <a:alpha val="99000"/>
                  </a:schemeClr>
                </a:solidFill>
              </a:rPr>
              <a:t>*with Windows Server 2012</a:t>
            </a:r>
            <a:endParaRPr lang="en-US" sz="2000" dirty="0">
              <a:solidFill>
                <a:schemeClr val="bg1">
                  <a:alpha val="99000"/>
                </a:schemeClr>
              </a:solidFill>
            </a:endParaRPr>
          </a:p>
          <a:p>
            <a:pPr marL="0" lvl="1"/>
            <a:endParaRPr lang="en-US" sz="2000" dirty="0">
              <a:solidFill>
                <a:schemeClr val="accent4">
                  <a:lumMod val="50000"/>
                  <a:alpha val="99000"/>
                </a:schemeClr>
              </a:solidFill>
            </a:endParaRPr>
          </a:p>
        </p:txBody>
      </p:sp>
      <p:sp>
        <p:nvSpPr>
          <p:cNvPr id="10" name="Freeform 62"/>
          <p:cNvSpPr>
            <a:spLocks noEditPoints="1"/>
          </p:cNvSpPr>
          <p:nvPr/>
        </p:nvSpPr>
        <p:spPr bwMode="black">
          <a:xfrm>
            <a:off x="8411071"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2590279849"/>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537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nderstanding Packaging and Config</a:t>
            </a:r>
            <a:endParaRPr lang="en-US" dirty="0"/>
          </a:p>
        </p:txBody>
      </p:sp>
      <p:sp>
        <p:nvSpPr>
          <p:cNvPr id="3" name="Content Placeholder 2"/>
          <p:cNvSpPr>
            <a:spLocks noGrp="1"/>
          </p:cNvSpPr>
          <p:nvPr>
            <p:ph sz="quarter" idx="10"/>
            <p:custDataLst>
              <p:tags r:id="rId4"/>
            </p:custDataLst>
          </p:nvPr>
        </p:nvSpPr>
        <p:spPr>
          <a:xfrm>
            <a:off x="520701" y="1463675"/>
            <a:ext cx="11155680" cy="4131900"/>
          </a:xfrm>
        </p:spPr>
        <p:txBody>
          <a:bodyPr/>
          <a:lstStyle/>
          <a:p>
            <a:r>
              <a:rPr lang="en-US" dirty="0" smtClean="0">
                <a:solidFill>
                  <a:schemeClr val="accent2">
                    <a:alpha val="99000"/>
                  </a:schemeClr>
                </a:solidFill>
                <a:latin typeface="Segoe UI Light" pitchFamily="34" charset="0"/>
              </a:rPr>
              <a:t>Windows Azure Services are described by two important artifacts:</a:t>
            </a:r>
          </a:p>
          <a:p>
            <a:pPr marL="0" lvl="1"/>
            <a:r>
              <a:rPr lang="en-US" dirty="0" smtClean="0">
                <a:latin typeface="Consolas" pitchFamily="49" charset="0"/>
                <a:cs typeface="Consolas" pitchFamily="49" charset="0"/>
              </a:rPr>
              <a:t>Service Definition (*.csdef)</a:t>
            </a:r>
          </a:p>
          <a:p>
            <a:pPr marL="0" lvl="1"/>
            <a:r>
              <a:rPr lang="en-US" dirty="0" smtClean="0">
                <a:latin typeface="Consolas" pitchFamily="49" charset="0"/>
                <a:cs typeface="Consolas" pitchFamily="49" charset="0"/>
              </a:rPr>
              <a:t>Service Configuration (*.cscfg)</a:t>
            </a:r>
          </a:p>
          <a:p>
            <a:pPr lvl="1"/>
            <a:endParaRPr lang="en-US" dirty="0" smtClean="0">
              <a:latin typeface="Consolas" pitchFamily="49" charset="0"/>
              <a:cs typeface="Consolas" pitchFamily="49" charset="0"/>
            </a:endParaRPr>
          </a:p>
          <a:p>
            <a:r>
              <a:rPr lang="en-US" dirty="0" smtClean="0">
                <a:solidFill>
                  <a:schemeClr val="accent2">
                    <a:alpha val="99000"/>
                  </a:schemeClr>
                </a:solidFill>
                <a:latin typeface="Segoe UI Light" pitchFamily="34" charset="0"/>
              </a:rPr>
              <a:t>Your code is zipped and packaged with definition (*.cspkg)</a:t>
            </a:r>
          </a:p>
          <a:p>
            <a:pPr marL="0" lvl="1"/>
            <a:r>
              <a:rPr lang="en-US" dirty="0" smtClean="0">
                <a:latin typeface="Consolas" pitchFamily="49" charset="0"/>
                <a:cs typeface="Consolas" pitchFamily="49" charset="0"/>
              </a:rPr>
              <a:t>Encrypted(Zipped(Code + *.csdef)) == *.cspkg</a:t>
            </a:r>
          </a:p>
          <a:p>
            <a:pPr lvl="1"/>
            <a:endParaRPr lang="en-US" dirty="0" smtClean="0">
              <a:latin typeface="Consolas" pitchFamily="49" charset="0"/>
              <a:cs typeface="Consolas" pitchFamily="49" charset="0"/>
            </a:endParaRPr>
          </a:p>
          <a:p>
            <a:r>
              <a:rPr lang="en-US" dirty="0" smtClean="0">
                <a:solidFill>
                  <a:schemeClr val="accent2">
                    <a:alpha val="99000"/>
                  </a:schemeClr>
                </a:solidFill>
                <a:latin typeface="Segoe UI Light" pitchFamily="34" charset="0"/>
              </a:rPr>
              <a:t>Windows Azure consumes just (*.cspkg + *.cscfg)</a:t>
            </a:r>
            <a:endParaRPr lang="en-US" dirty="0">
              <a:solidFill>
                <a:schemeClr val="accent2">
                  <a:alpha val="99000"/>
                </a:schemeClr>
              </a:solidFill>
              <a:latin typeface="Segoe UI Light" pitchFamily="34" charset="0"/>
            </a:endParaRPr>
          </a:p>
        </p:txBody>
      </p:sp>
    </p:spTree>
    <p:extLst>
      <p:ext uri="{BB962C8B-B14F-4D97-AF65-F5344CB8AC3E}">
        <p14:creationId xmlns:p14="http://schemas.microsoft.com/office/powerpoint/2010/main" val="1104186825"/>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640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9" name="TextBox 8"/>
          <p:cNvSpPr txBox="1"/>
          <p:nvPr>
            <p:custDataLst>
              <p:tags r:id="rId3"/>
            </p:custDataLst>
          </p:nvPr>
        </p:nvSpPr>
        <p:spPr>
          <a:xfrm>
            <a:off x="518160" y="1728788"/>
            <a:ext cx="11155680" cy="3041858"/>
          </a:xfrm>
          <a:prstGeom prst="rect">
            <a:avLst/>
          </a:prstGeom>
          <a:noFill/>
        </p:spPr>
        <p:txBody>
          <a:bodyPr wrap="square" lIns="0" tIns="0" rIns="0" bIns="0" rtlCol="0">
            <a:spAutoFit/>
          </a:bodyPr>
          <a:lstStyle/>
          <a:p>
            <a:pPr defTabSz="914363">
              <a:lnSpc>
                <a:spcPts val="3800"/>
              </a:lnSpc>
              <a:spcBef>
                <a:spcPts val="1200"/>
              </a:spcBef>
            </a:pPr>
            <a:r>
              <a:rPr lang="en-US" sz="4000" dirty="0">
                <a:ln>
                  <a:solidFill>
                    <a:srgbClr val="FFFFFF">
                      <a:alpha val="0"/>
                    </a:srgbClr>
                  </a:solidFill>
                </a:ln>
                <a:solidFill>
                  <a:srgbClr val="00AEEF">
                    <a:alpha val="99000"/>
                  </a:srgbClr>
                </a:solidFill>
                <a:latin typeface="Segoe UI Light" pitchFamily="34" charset="0"/>
              </a:rPr>
              <a:t>Describes the shape of your </a:t>
            </a:r>
            <a:br>
              <a:rPr lang="en-US" sz="4000" dirty="0">
                <a:ln>
                  <a:solidFill>
                    <a:srgbClr val="FFFFFF">
                      <a:alpha val="0"/>
                    </a:srgbClr>
                  </a:solidFill>
                </a:ln>
                <a:solidFill>
                  <a:srgbClr val="00AEEF">
                    <a:alpha val="99000"/>
                  </a:srgbClr>
                </a:solidFill>
                <a:latin typeface="Segoe UI Light" pitchFamily="34" charset="0"/>
              </a:rPr>
            </a:br>
            <a:r>
              <a:rPr lang="en-US" sz="4000" dirty="0">
                <a:ln>
                  <a:solidFill>
                    <a:srgbClr val="FFFFFF">
                      <a:alpha val="0"/>
                    </a:srgbClr>
                  </a:solidFill>
                </a:ln>
                <a:solidFill>
                  <a:srgbClr val="00AEEF">
                    <a:alpha val="99000"/>
                  </a:srgbClr>
                </a:solidFill>
                <a:latin typeface="Segoe UI Light" pitchFamily="34" charset="0"/>
              </a:rPr>
              <a:t>Windows Azure Service</a:t>
            </a:r>
          </a:p>
          <a:p>
            <a:pPr marL="0" lvl="1" defTabSz="914363">
              <a:spcBef>
                <a:spcPts val="300"/>
              </a:spcBef>
            </a:pPr>
            <a:r>
              <a:rPr lang="en-US" sz="2400" dirty="0">
                <a:ln>
                  <a:solidFill>
                    <a:srgbClr val="FFFFFF">
                      <a:alpha val="0"/>
                    </a:srgbClr>
                  </a:solidFill>
                </a:ln>
                <a:solidFill>
                  <a:srgbClr val="595959">
                    <a:alpha val="99000"/>
                  </a:srgbClr>
                </a:solidFill>
              </a:rPr>
              <a:t>Defines Roles, Ports, Certificates, Configuration Settings, </a:t>
            </a:r>
            <a:br>
              <a:rPr lang="en-US" sz="2400" dirty="0">
                <a:ln>
                  <a:solidFill>
                    <a:srgbClr val="FFFFFF">
                      <a:alpha val="0"/>
                    </a:srgbClr>
                  </a:solidFill>
                </a:ln>
                <a:solidFill>
                  <a:srgbClr val="595959">
                    <a:alpha val="99000"/>
                  </a:srgbClr>
                </a:solidFill>
              </a:rPr>
            </a:br>
            <a:r>
              <a:rPr lang="en-US" sz="2400" dirty="0">
                <a:ln>
                  <a:solidFill>
                    <a:srgbClr val="FFFFFF">
                      <a:alpha val="0"/>
                    </a:srgbClr>
                  </a:solidFill>
                </a:ln>
                <a:solidFill>
                  <a:srgbClr val="595959">
                    <a:alpha val="99000"/>
                  </a:srgbClr>
                </a:solidFill>
              </a:rPr>
              <a:t>Startup Tasks, IIS Configuration, and more…</a:t>
            </a:r>
          </a:p>
          <a:p>
            <a:pPr marL="0" lvl="1" defTabSz="914363">
              <a:spcBef>
                <a:spcPts val="300"/>
              </a:spcBef>
            </a:pPr>
            <a:endParaRPr lang="en-US" sz="800" dirty="0">
              <a:ln>
                <a:solidFill>
                  <a:srgbClr val="FFFFFF">
                    <a:alpha val="0"/>
                  </a:srgbClr>
                </a:solidFill>
              </a:ln>
              <a:solidFill>
                <a:srgbClr val="595959">
                  <a:alpha val="99000"/>
                </a:srgbClr>
              </a:solidFill>
            </a:endParaRPr>
          </a:p>
          <a:p>
            <a:pPr defTabSz="914363">
              <a:lnSpc>
                <a:spcPts val="3800"/>
              </a:lnSpc>
              <a:spcBef>
                <a:spcPts val="1200"/>
              </a:spcBef>
            </a:pPr>
            <a:r>
              <a:rPr lang="en-US" sz="4000" dirty="0">
                <a:ln>
                  <a:solidFill>
                    <a:srgbClr val="FFFFFF">
                      <a:alpha val="0"/>
                    </a:srgbClr>
                  </a:solidFill>
                </a:ln>
                <a:solidFill>
                  <a:srgbClr val="00AEEF">
                    <a:alpha val="99000"/>
                  </a:srgbClr>
                </a:solidFill>
                <a:latin typeface="Segoe UI Light" pitchFamily="34" charset="0"/>
              </a:rPr>
              <a:t>Can only be changed by upgrades </a:t>
            </a:r>
            <a:br>
              <a:rPr lang="en-US" sz="4000" dirty="0">
                <a:ln>
                  <a:solidFill>
                    <a:srgbClr val="FFFFFF">
                      <a:alpha val="0"/>
                    </a:srgbClr>
                  </a:solidFill>
                </a:ln>
                <a:solidFill>
                  <a:srgbClr val="00AEEF">
                    <a:alpha val="99000"/>
                  </a:srgbClr>
                </a:solidFill>
                <a:latin typeface="Segoe UI Light" pitchFamily="34" charset="0"/>
              </a:rPr>
            </a:br>
            <a:r>
              <a:rPr lang="en-US" sz="4000" dirty="0">
                <a:ln>
                  <a:solidFill>
                    <a:srgbClr val="FFFFFF">
                      <a:alpha val="0"/>
                    </a:srgbClr>
                  </a:solidFill>
                </a:ln>
                <a:solidFill>
                  <a:srgbClr val="00AEEF">
                    <a:alpha val="99000"/>
                  </a:srgbClr>
                </a:solidFill>
                <a:latin typeface="Segoe UI Light" pitchFamily="34" charset="0"/>
              </a:rPr>
              <a:t>or new deployments</a:t>
            </a:r>
          </a:p>
        </p:txBody>
      </p:sp>
      <p:sp>
        <p:nvSpPr>
          <p:cNvPr id="2" name="Title 1"/>
          <p:cNvSpPr>
            <a:spLocks noGrp="1"/>
          </p:cNvSpPr>
          <p:nvPr>
            <p:ph type="title"/>
            <p:custDataLst>
              <p:tags r:id="rId4"/>
            </p:custDataLst>
          </p:nvPr>
        </p:nvSpPr>
        <p:spPr/>
        <p:txBody>
          <a:bodyPr/>
          <a:lstStyle/>
          <a:p>
            <a:r>
              <a:rPr lang="en-US" dirty="0">
                <a:cs typeface="Segoe UI"/>
              </a:rPr>
              <a:t>Service Definition</a:t>
            </a:r>
          </a:p>
        </p:txBody>
      </p:sp>
    </p:spTree>
    <p:extLst>
      <p:ext uri="{BB962C8B-B14F-4D97-AF65-F5344CB8AC3E}">
        <p14:creationId xmlns:p14="http://schemas.microsoft.com/office/powerpoint/2010/main" val="818683567"/>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742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Service Definition</a:t>
            </a:r>
          </a:p>
        </p:txBody>
      </p:sp>
      <p:sp>
        <p:nvSpPr>
          <p:cNvPr id="3" name="Content Placeholder 2"/>
          <p:cNvSpPr>
            <a:spLocks noGrp="1"/>
          </p:cNvSpPr>
          <p:nvPr>
            <p:ph sz="quarter" idx="10"/>
            <p:custDataLst>
              <p:tags r:id="rId4"/>
            </p:custDataLst>
          </p:nvPr>
        </p:nvSpPr>
        <p:spPr>
          <a:xfrm>
            <a:off x="518160" y="1690689"/>
            <a:ext cx="11346877" cy="4524315"/>
          </a:xfrm>
          <a:noFill/>
        </p:spPr>
        <p:txBody>
          <a:bodyPr/>
          <a:lstStyle/>
          <a:p>
            <a:pPr>
              <a:spcBef>
                <a:spcPts val="0"/>
              </a:spcBef>
            </a:pPr>
            <a:r>
              <a:rPr lang="en-US" sz="1400" dirty="0">
                <a:ln>
                  <a:solidFill>
                    <a:srgbClr val="FFFFFF">
                      <a:alpha val="0"/>
                    </a:srgbClr>
                  </a:solidFill>
                </a:ln>
                <a:solidFill>
                  <a:schemeClr val="accent6"/>
                </a:solidFill>
              </a:rPr>
              <a:t>&lt;?</a:t>
            </a:r>
            <a:r>
              <a:rPr lang="en-US" sz="1400" dirty="0">
                <a:ln>
                  <a:solidFill>
                    <a:srgbClr val="FFFFFF">
                      <a:alpha val="0"/>
                    </a:srgbClr>
                  </a:solidFill>
                </a:ln>
                <a:solidFill>
                  <a:schemeClr val="accent3"/>
                </a:solidFill>
              </a:rPr>
              <a:t>xml</a:t>
            </a:r>
            <a:r>
              <a:rPr lang="en-US" sz="1400" dirty="0">
                <a:ln>
                  <a:solidFill>
                    <a:srgbClr val="FFFFFF">
                      <a:alpha val="0"/>
                    </a:srgbClr>
                  </a:solidFill>
                </a:ln>
                <a:solidFill>
                  <a:schemeClr val="accent6"/>
                </a:solidFill>
              </a:rPr>
              <a:t> </a:t>
            </a:r>
            <a:r>
              <a:rPr lang="en-US" sz="1400" dirty="0">
                <a:ln>
                  <a:solidFill>
                    <a:srgbClr val="FFFFFF">
                      <a:alpha val="0"/>
                    </a:srgbClr>
                  </a:solidFill>
                </a:ln>
                <a:solidFill>
                  <a:schemeClr val="accent5"/>
                </a:solidFill>
              </a:rPr>
              <a:t>version</a:t>
            </a:r>
            <a:r>
              <a:rPr lang="en-US" sz="1400" dirty="0">
                <a:ln>
                  <a:solidFill>
                    <a:srgbClr val="FFFFFF">
                      <a:alpha val="0"/>
                    </a:srgbClr>
                  </a:solidFill>
                </a:ln>
                <a:solidFill>
                  <a:schemeClr val="accent6"/>
                </a:solidFill>
              </a:rPr>
              <a:t>="1.0" </a:t>
            </a:r>
            <a:r>
              <a:rPr lang="en-US" sz="1400" dirty="0">
                <a:ln>
                  <a:solidFill>
                    <a:srgbClr val="FFFFFF">
                      <a:alpha val="0"/>
                    </a:srgbClr>
                  </a:solidFill>
                </a:ln>
                <a:solidFill>
                  <a:schemeClr val="accent5"/>
                </a:solidFill>
              </a:rPr>
              <a:t>encoding</a:t>
            </a:r>
            <a:r>
              <a:rPr lang="en-US" sz="1400" dirty="0">
                <a:ln>
                  <a:solidFill>
                    <a:srgbClr val="FFFFFF">
                      <a:alpha val="0"/>
                    </a:srgbClr>
                  </a:solidFill>
                </a:ln>
                <a:solidFill>
                  <a:schemeClr val="accent6"/>
                </a:solidFill>
              </a:rPr>
              <a:t>="utf-8"?&gt;</a:t>
            </a:r>
          </a:p>
          <a:p>
            <a:pPr>
              <a:spcBef>
                <a:spcPts val="0"/>
              </a:spcBef>
            </a:pPr>
            <a:r>
              <a:rPr lang="en-US" sz="1400" dirty="0">
                <a:ln>
                  <a:solidFill>
                    <a:srgbClr val="FFFFFF">
                      <a:alpha val="0"/>
                    </a:srgbClr>
                  </a:solidFill>
                </a:ln>
                <a:solidFill>
                  <a:schemeClr val="accent6"/>
                </a:solidFill>
              </a:rPr>
              <a:t>&lt;</a:t>
            </a:r>
            <a:r>
              <a:rPr lang="en-US" sz="1400" dirty="0">
                <a:ln>
                  <a:solidFill>
                    <a:srgbClr val="FFFFFF">
                      <a:alpha val="0"/>
                    </a:srgbClr>
                  </a:solidFill>
                </a:ln>
                <a:solidFill>
                  <a:schemeClr val="accent3"/>
                </a:solidFill>
              </a:rPr>
              <a:t>ServiceDefinition </a:t>
            </a:r>
            <a:r>
              <a:rPr lang="en-US" sz="1400" dirty="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WebDeploy" </a:t>
            </a:r>
            <a:r>
              <a:rPr lang="en-US" sz="1400" dirty="0">
                <a:ln>
                  <a:solidFill>
                    <a:srgbClr val="FFFFFF">
                      <a:alpha val="0"/>
                    </a:srgbClr>
                  </a:solidFill>
                </a:ln>
                <a:solidFill>
                  <a:schemeClr val="accent5"/>
                </a:solidFill>
              </a:rPr>
              <a:t>xmlns</a:t>
            </a:r>
            <a:r>
              <a:rPr lang="en-US" sz="1400" dirty="0">
                <a:ln>
                  <a:solidFill>
                    <a:srgbClr val="FFFFFF">
                      <a:alpha val="0"/>
                    </a:srgbClr>
                  </a:solidFill>
                </a:ln>
                <a:solidFill>
                  <a:schemeClr val="accent6"/>
                </a:solidFill>
              </a:rPr>
              <a:t>="</a:t>
            </a:r>
            <a:r>
              <a:rPr lang="en-US" sz="1400" dirty="0">
                <a:ln>
                  <a:solidFill>
                    <a:srgbClr val="FFFFFF">
                      <a:alpha val="0"/>
                    </a:srgbClr>
                  </a:solidFill>
                </a:ln>
                <a:solidFill>
                  <a:schemeClr val="accent6"/>
                </a:solidFill>
                <a:hlinkClick r:id="rId9"/>
              </a:rPr>
              <a:t>http://schemas.microsoft.com/ServiceHosting/2008/10/ServiceDefinition</a:t>
            </a:r>
            <a:r>
              <a:rPr lang="en-US" sz="1400" dirty="0">
                <a:ln>
                  <a:solidFill>
                    <a:srgbClr val="FFFFFF">
                      <a:alpha val="0"/>
                    </a:srgbClr>
                  </a:solidFill>
                </a:ln>
                <a:solidFill>
                  <a:schemeClr val="accent6"/>
                </a:solidFill>
              </a:rPr>
              <a:t>"&gt;</a:t>
            </a:r>
          </a:p>
          <a:p>
            <a:pPr lvl="1">
              <a:spcBef>
                <a:spcPts val="0"/>
              </a:spcBef>
            </a:pPr>
            <a:r>
              <a:rPr lang="en-US" sz="1400" dirty="0">
                <a:ln>
                  <a:solidFill>
                    <a:srgbClr val="FFFFFF">
                      <a:alpha val="0"/>
                    </a:srgbClr>
                  </a:solidFill>
                </a:ln>
                <a:solidFill>
                  <a:schemeClr val="accent6"/>
                </a:solidFill>
              </a:rPr>
              <a:t>&lt;</a:t>
            </a:r>
            <a:r>
              <a:rPr lang="en-US" sz="1400" dirty="0">
                <a:ln>
                  <a:solidFill>
                    <a:srgbClr val="FFFFFF">
                      <a:alpha val="0"/>
                    </a:srgbClr>
                  </a:solidFill>
                </a:ln>
                <a:solidFill>
                  <a:schemeClr val="accent3"/>
                </a:solidFill>
              </a:rPr>
              <a:t>WebRole </a:t>
            </a:r>
            <a:r>
              <a:rPr lang="en-US" sz="1400" dirty="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WebUX"&gt;</a:t>
            </a:r>
          </a:p>
          <a:p>
            <a:pPr lvl="2">
              <a:spcBef>
                <a:spcPts val="0"/>
              </a:spcBef>
            </a:pPr>
            <a:r>
              <a:rPr lang="en-US" sz="1400" dirty="0">
                <a:ln>
                  <a:solidFill>
                    <a:srgbClr val="FFFFFF">
                      <a:alpha val="0"/>
                    </a:srgbClr>
                  </a:solidFill>
                </a:ln>
                <a:solidFill>
                  <a:schemeClr val="accent6"/>
                </a:solidFill>
              </a:rPr>
              <a:t>&lt;</a:t>
            </a:r>
            <a:r>
              <a:rPr lang="en-US" sz="1400" dirty="0">
                <a:ln>
                  <a:solidFill>
                    <a:srgbClr val="FFFFFF">
                      <a:alpha val="0"/>
                    </a:srgbClr>
                  </a:solidFill>
                </a:ln>
                <a:solidFill>
                  <a:schemeClr val="accent3"/>
                </a:solidFill>
              </a:rPr>
              <a:t>Startup</a:t>
            </a:r>
            <a:r>
              <a:rPr lang="en-US" sz="1400" dirty="0">
                <a:ln>
                  <a:solidFill>
                    <a:srgbClr val="FFFFFF">
                      <a:alpha val="0"/>
                    </a:srgbClr>
                  </a:solidFill>
                </a:ln>
                <a:solidFill>
                  <a:schemeClr val="accent6"/>
                </a:solidFill>
              </a:rPr>
              <a:t>&gt;</a:t>
            </a:r>
          </a:p>
          <a:p>
            <a:pPr lvl="3">
              <a:spcBef>
                <a:spcPts val="0"/>
              </a:spcBef>
            </a:pPr>
            <a:r>
              <a:rPr lang="en-US" sz="1400" dirty="0">
                <a:ln>
                  <a:solidFill>
                    <a:srgbClr val="FFFFFF">
                      <a:alpha val="0"/>
                    </a:srgbClr>
                  </a:solidFill>
                </a:ln>
                <a:solidFill>
                  <a:schemeClr val="accent6"/>
                </a:solidFill>
              </a:rPr>
              <a:t>&lt;</a:t>
            </a:r>
            <a:r>
              <a:rPr lang="en-US" sz="1400" dirty="0">
                <a:ln>
                  <a:solidFill>
                    <a:srgbClr val="FFFFFF">
                      <a:alpha val="0"/>
                    </a:srgbClr>
                  </a:solidFill>
                </a:ln>
                <a:solidFill>
                  <a:schemeClr val="accent3"/>
                </a:solidFill>
              </a:rPr>
              <a:t>Task</a:t>
            </a:r>
            <a:r>
              <a:rPr lang="en-US" sz="1400" dirty="0">
                <a:ln>
                  <a:solidFill>
                    <a:srgbClr val="FFFFFF">
                      <a:alpha val="0"/>
                    </a:srgbClr>
                  </a:solidFill>
                </a:ln>
                <a:solidFill>
                  <a:schemeClr val="accent6"/>
                </a:solidFill>
              </a:rPr>
              <a:t> </a:t>
            </a:r>
            <a:r>
              <a:rPr lang="en-US" sz="1400" dirty="0">
                <a:ln>
                  <a:solidFill>
                    <a:srgbClr val="FFFFFF">
                      <a:alpha val="0"/>
                    </a:srgbClr>
                  </a:solidFill>
                </a:ln>
                <a:solidFill>
                  <a:schemeClr val="accent5"/>
                </a:solidFill>
              </a:rPr>
              <a:t>commandLine</a:t>
            </a:r>
            <a:r>
              <a:rPr lang="en-US" sz="1400" dirty="0">
                <a:ln>
                  <a:solidFill>
                    <a:srgbClr val="FFFFFF">
                      <a:alpha val="0"/>
                    </a:srgbClr>
                  </a:solidFill>
                </a:ln>
                <a:solidFill>
                  <a:schemeClr val="accent6"/>
                </a:solidFill>
              </a:rPr>
              <a:t>="..\Startup\EnableWebAdmin.cmd" </a:t>
            </a:r>
            <a:r>
              <a:rPr lang="en-US" sz="1400" dirty="0">
                <a:ln>
                  <a:solidFill>
                    <a:srgbClr val="FFFFFF">
                      <a:alpha val="0"/>
                    </a:srgbClr>
                  </a:solidFill>
                </a:ln>
                <a:solidFill>
                  <a:schemeClr val="accent5"/>
                </a:solidFill>
              </a:rPr>
              <a:t>executionContext</a:t>
            </a:r>
            <a:r>
              <a:rPr lang="en-US" sz="1400" dirty="0">
                <a:ln>
                  <a:solidFill>
                    <a:srgbClr val="FFFFFF">
                      <a:alpha val="0"/>
                    </a:srgbClr>
                  </a:solidFill>
                </a:ln>
                <a:solidFill>
                  <a:schemeClr val="accent6"/>
                </a:solidFill>
              </a:rPr>
              <a:t>="elevated" </a:t>
            </a:r>
            <a:r>
              <a:rPr lang="en-US" sz="1400" dirty="0">
                <a:ln>
                  <a:solidFill>
                    <a:srgbClr val="FFFFFF">
                      <a:alpha val="0"/>
                    </a:srgbClr>
                  </a:solidFill>
                </a:ln>
                <a:solidFill>
                  <a:schemeClr val="accent5"/>
                </a:solidFill>
              </a:rPr>
              <a:t>taskType</a:t>
            </a:r>
            <a:r>
              <a:rPr lang="en-US" sz="1400" dirty="0">
                <a:ln>
                  <a:solidFill>
                    <a:srgbClr val="FFFFFF">
                      <a:alpha val="0"/>
                    </a:srgbClr>
                  </a:solidFill>
                </a:ln>
                <a:solidFill>
                  <a:schemeClr val="accent6"/>
                </a:solidFill>
              </a:rPr>
              <a:t>="simple" /&gt;</a:t>
            </a:r>
          </a:p>
          <a:p>
            <a:pPr lvl="2">
              <a:spcBef>
                <a:spcPts val="0"/>
              </a:spcBef>
            </a:pPr>
            <a:r>
              <a:rPr lang="en-US" sz="1400" dirty="0">
                <a:ln>
                  <a:solidFill>
                    <a:srgbClr val="FFFFFF">
                      <a:alpha val="0"/>
                    </a:srgbClr>
                  </a:solidFill>
                </a:ln>
                <a:solidFill>
                  <a:schemeClr val="accent6"/>
                </a:solidFill>
              </a:rPr>
              <a:t>&lt;/</a:t>
            </a:r>
            <a:r>
              <a:rPr lang="en-US" sz="1400" dirty="0">
                <a:ln>
                  <a:solidFill>
                    <a:srgbClr val="FFFFFF">
                      <a:alpha val="0"/>
                    </a:srgbClr>
                  </a:solidFill>
                </a:ln>
                <a:solidFill>
                  <a:schemeClr val="accent3"/>
                </a:solidFill>
              </a:rPr>
              <a:t>Startup</a:t>
            </a:r>
            <a:r>
              <a:rPr lang="en-US" sz="1400" dirty="0">
                <a:ln>
                  <a:solidFill>
                    <a:srgbClr val="FFFFFF">
                      <a:alpha val="0"/>
                    </a:srgbClr>
                  </a:solidFill>
                </a:ln>
                <a:solidFill>
                  <a:schemeClr val="accent6"/>
                </a:solidFill>
              </a:rPr>
              <a:t>&gt;</a:t>
            </a:r>
          </a:p>
          <a:p>
            <a:pPr lvl="2">
              <a:spcBef>
                <a:spcPts val="0"/>
              </a:spcBef>
            </a:pPr>
            <a:r>
              <a:rPr lang="en-US" sz="1400" dirty="0">
                <a:ln>
                  <a:solidFill>
                    <a:srgbClr val="FFFFFF">
                      <a:alpha val="0"/>
                    </a:srgbClr>
                  </a:solidFill>
                </a:ln>
                <a:solidFill>
                  <a:schemeClr val="accent6"/>
                </a:solidFill>
              </a:rPr>
              <a:t>&lt;</a:t>
            </a:r>
            <a:r>
              <a:rPr lang="en-US" sz="1400" dirty="0">
                <a:ln>
                  <a:solidFill>
                    <a:srgbClr val="FFFFFF">
                      <a:alpha val="0"/>
                    </a:srgbClr>
                  </a:solidFill>
                </a:ln>
                <a:solidFill>
                  <a:schemeClr val="accent3"/>
                </a:solidFill>
              </a:rPr>
              <a:t>Imports</a:t>
            </a:r>
            <a:r>
              <a:rPr lang="en-US" sz="1400" dirty="0">
                <a:ln>
                  <a:solidFill>
                    <a:srgbClr val="FFFFFF">
                      <a:alpha val="0"/>
                    </a:srgbClr>
                  </a:solidFill>
                </a:ln>
                <a:solidFill>
                  <a:schemeClr val="accent6"/>
                </a:solidFill>
              </a:rPr>
              <a:t>&gt;</a:t>
            </a:r>
          </a:p>
          <a:p>
            <a:pPr lvl="3">
              <a:spcBef>
                <a:spcPts val="0"/>
              </a:spcBef>
            </a:pPr>
            <a:r>
              <a:rPr lang="en-US" sz="1400" dirty="0">
                <a:ln>
                  <a:solidFill>
                    <a:srgbClr val="FFFFFF">
                      <a:alpha val="0"/>
                    </a:srgbClr>
                  </a:solidFill>
                </a:ln>
                <a:solidFill>
                  <a:schemeClr val="accent6"/>
                </a:solidFill>
              </a:rPr>
              <a:t>&lt;</a:t>
            </a:r>
            <a:r>
              <a:rPr lang="en-US" sz="1400" dirty="0">
                <a:ln>
                  <a:solidFill>
                    <a:srgbClr val="FFFFFF">
                      <a:alpha val="0"/>
                    </a:srgbClr>
                  </a:solidFill>
                </a:ln>
                <a:solidFill>
                  <a:schemeClr val="accent3"/>
                </a:solidFill>
              </a:rPr>
              <a:t>Import</a:t>
            </a:r>
            <a:r>
              <a:rPr lang="en-US" sz="1400" dirty="0">
                <a:ln>
                  <a:solidFill>
                    <a:srgbClr val="FFFFFF">
                      <a:alpha val="0"/>
                    </a:srgbClr>
                  </a:solidFill>
                </a:ln>
                <a:solidFill>
                  <a:schemeClr val="accent6"/>
                </a:solidFill>
              </a:rPr>
              <a:t> </a:t>
            </a:r>
            <a:r>
              <a:rPr lang="en-US" sz="1400" dirty="0">
                <a:ln>
                  <a:solidFill>
                    <a:srgbClr val="FFFFFF">
                      <a:alpha val="0"/>
                    </a:srgbClr>
                  </a:solidFill>
                </a:ln>
                <a:solidFill>
                  <a:schemeClr val="accent5"/>
                </a:solidFill>
              </a:rPr>
              <a:t>moduleName</a:t>
            </a:r>
            <a:r>
              <a:rPr lang="en-US" sz="1400" dirty="0">
                <a:ln>
                  <a:solidFill>
                    <a:srgbClr val="FFFFFF">
                      <a:alpha val="0"/>
                    </a:srgbClr>
                  </a:solidFill>
                </a:ln>
                <a:solidFill>
                  <a:schemeClr val="accent6"/>
                </a:solidFill>
              </a:rPr>
              <a:t>="RemoteAccess" /&gt;</a:t>
            </a:r>
          </a:p>
          <a:p>
            <a:pPr lvl="3">
              <a:spcBef>
                <a:spcPts val="0"/>
              </a:spcBef>
            </a:pPr>
            <a:r>
              <a:rPr lang="en-US" sz="1400" dirty="0">
                <a:ln>
                  <a:solidFill>
                    <a:srgbClr val="FFFFFF">
                      <a:alpha val="0"/>
                    </a:srgbClr>
                  </a:solidFill>
                </a:ln>
                <a:solidFill>
                  <a:schemeClr val="accent6"/>
                </a:solidFill>
              </a:rPr>
              <a:t>&lt;</a:t>
            </a:r>
            <a:r>
              <a:rPr lang="en-US" sz="1400" dirty="0">
                <a:ln>
                  <a:solidFill>
                    <a:srgbClr val="FFFFFF">
                      <a:alpha val="0"/>
                    </a:srgbClr>
                  </a:solidFill>
                </a:ln>
                <a:solidFill>
                  <a:schemeClr val="accent3"/>
                </a:solidFill>
              </a:rPr>
              <a:t>Import</a:t>
            </a:r>
            <a:r>
              <a:rPr lang="en-US" sz="1400" dirty="0">
                <a:ln>
                  <a:solidFill>
                    <a:srgbClr val="FFFFFF">
                      <a:alpha val="0"/>
                    </a:srgbClr>
                  </a:solidFill>
                </a:ln>
                <a:solidFill>
                  <a:schemeClr val="accent6"/>
                </a:solidFill>
              </a:rPr>
              <a:t> </a:t>
            </a:r>
            <a:r>
              <a:rPr lang="en-US" sz="1400" dirty="0">
                <a:ln>
                  <a:solidFill>
                    <a:srgbClr val="FFFFFF">
                      <a:alpha val="0"/>
                    </a:srgbClr>
                  </a:solidFill>
                </a:ln>
                <a:solidFill>
                  <a:schemeClr val="accent5"/>
                </a:solidFill>
              </a:rPr>
              <a:t>moduleName</a:t>
            </a:r>
            <a:r>
              <a:rPr lang="en-US" sz="1400" dirty="0">
                <a:ln>
                  <a:solidFill>
                    <a:srgbClr val="FFFFFF">
                      <a:alpha val="0"/>
                    </a:srgbClr>
                  </a:solidFill>
                </a:ln>
                <a:solidFill>
                  <a:schemeClr val="accent6"/>
                </a:solidFill>
              </a:rPr>
              <a:t>="RemoteForwarder"/&gt;</a:t>
            </a:r>
          </a:p>
          <a:p>
            <a:pPr lvl="2">
              <a:spcBef>
                <a:spcPts val="0"/>
              </a:spcBef>
            </a:pPr>
            <a:r>
              <a:rPr lang="en-US" sz="1400" dirty="0">
                <a:ln>
                  <a:solidFill>
                    <a:srgbClr val="FFFFFF">
                      <a:alpha val="0"/>
                    </a:srgbClr>
                  </a:solidFill>
                </a:ln>
                <a:solidFill>
                  <a:schemeClr val="accent6"/>
                </a:solidFill>
              </a:rPr>
              <a:t>&lt;/</a:t>
            </a:r>
            <a:r>
              <a:rPr lang="en-US" sz="1400" dirty="0">
                <a:ln>
                  <a:solidFill>
                    <a:srgbClr val="FFFFFF">
                      <a:alpha val="0"/>
                    </a:srgbClr>
                  </a:solidFill>
                </a:ln>
                <a:solidFill>
                  <a:schemeClr val="accent3"/>
                </a:solidFill>
              </a:rPr>
              <a:t>Imports</a:t>
            </a:r>
            <a:r>
              <a:rPr lang="en-US" sz="1400" dirty="0">
                <a:ln>
                  <a:solidFill>
                    <a:srgbClr val="FFFFFF">
                      <a:alpha val="0"/>
                    </a:srgbClr>
                  </a:solidFill>
                </a:ln>
                <a:solidFill>
                  <a:schemeClr val="accent6"/>
                </a:solidFill>
              </a:rPr>
              <a:t>&gt;</a:t>
            </a:r>
          </a:p>
          <a:p>
            <a:pPr lvl="2">
              <a:spcBef>
                <a:spcPts val="0"/>
              </a:spcBef>
            </a:pPr>
            <a:r>
              <a:rPr lang="en-US" sz="1400" dirty="0">
                <a:ln>
                  <a:solidFill>
                    <a:srgbClr val="FFFFFF">
                      <a:alpha val="0"/>
                    </a:srgbClr>
                  </a:solidFill>
                </a:ln>
                <a:solidFill>
                  <a:schemeClr val="accent6"/>
                </a:solidFill>
              </a:rPr>
              <a:t>&lt;</a:t>
            </a:r>
            <a:r>
              <a:rPr lang="en-US" sz="1400" dirty="0">
                <a:ln>
                  <a:solidFill>
                    <a:srgbClr val="FFFFFF">
                      <a:alpha val="0"/>
                    </a:srgbClr>
                  </a:solidFill>
                </a:ln>
                <a:solidFill>
                  <a:schemeClr val="accent3"/>
                </a:solidFill>
              </a:rPr>
              <a:t>Sites</a:t>
            </a:r>
            <a:r>
              <a:rPr lang="en-US" sz="1400" dirty="0">
                <a:ln>
                  <a:solidFill>
                    <a:srgbClr val="FFFFFF">
                      <a:alpha val="0"/>
                    </a:srgbClr>
                  </a:solidFill>
                </a:ln>
                <a:solidFill>
                  <a:schemeClr val="accent6"/>
                </a:solidFill>
              </a:rPr>
              <a:t>&gt;</a:t>
            </a:r>
          </a:p>
          <a:p>
            <a:pPr lvl="3">
              <a:spcBef>
                <a:spcPts val="0"/>
              </a:spcBef>
            </a:pPr>
            <a:r>
              <a:rPr lang="en-US" sz="1400" dirty="0">
                <a:ln>
                  <a:solidFill>
                    <a:srgbClr val="FFFFFF">
                      <a:alpha val="0"/>
                    </a:srgbClr>
                  </a:solidFill>
                </a:ln>
                <a:solidFill>
                  <a:schemeClr val="accent6"/>
                </a:solidFill>
              </a:rPr>
              <a:t>&lt;</a:t>
            </a:r>
            <a:r>
              <a:rPr lang="en-US" sz="1400" dirty="0">
                <a:ln>
                  <a:solidFill>
                    <a:srgbClr val="FFFFFF">
                      <a:alpha val="0"/>
                    </a:srgbClr>
                  </a:solidFill>
                </a:ln>
                <a:solidFill>
                  <a:schemeClr val="accent3"/>
                </a:solidFill>
              </a:rPr>
              <a:t>Site</a:t>
            </a:r>
            <a:r>
              <a:rPr lang="en-US" sz="1400" dirty="0">
                <a:ln>
                  <a:solidFill>
                    <a:srgbClr val="FFFFFF">
                      <a:alpha val="0"/>
                    </a:srgbClr>
                  </a:solidFill>
                </a:ln>
                <a:solidFill>
                  <a:schemeClr val="accent6"/>
                </a:solidFill>
              </a:rPr>
              <a:t> </a:t>
            </a:r>
            <a:r>
              <a:rPr lang="en-US" sz="1400" dirty="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Web"&gt;</a:t>
            </a:r>
          </a:p>
          <a:p>
            <a:pPr lvl="4">
              <a:spcBef>
                <a:spcPts val="0"/>
              </a:spcBef>
            </a:pPr>
            <a:r>
              <a:rPr lang="en-US" sz="1400" dirty="0">
                <a:ln>
                  <a:solidFill>
                    <a:srgbClr val="FFFFFF">
                      <a:alpha val="0"/>
                    </a:srgbClr>
                  </a:solidFill>
                </a:ln>
                <a:solidFill>
                  <a:schemeClr val="accent6"/>
                </a:solidFill>
              </a:rPr>
              <a:t>&lt;</a:t>
            </a:r>
            <a:r>
              <a:rPr lang="en-US" sz="1400" dirty="0">
                <a:ln>
                  <a:solidFill>
                    <a:srgbClr val="FFFFFF">
                      <a:alpha val="0"/>
                    </a:srgbClr>
                  </a:solidFill>
                </a:ln>
                <a:solidFill>
                  <a:schemeClr val="accent3"/>
                </a:solidFill>
              </a:rPr>
              <a:t>Bindings</a:t>
            </a:r>
            <a:r>
              <a:rPr lang="en-US" sz="1400" dirty="0">
                <a:ln>
                  <a:solidFill>
                    <a:srgbClr val="FFFFFF">
                      <a:alpha val="0"/>
                    </a:srgbClr>
                  </a:solidFill>
                </a:ln>
                <a:solidFill>
                  <a:schemeClr val="accent6"/>
                </a:solidFill>
              </a:rPr>
              <a:t>&gt;</a:t>
            </a:r>
          </a:p>
          <a:p>
            <a:pPr lvl="4">
              <a:spcBef>
                <a:spcPts val="0"/>
              </a:spcBef>
            </a:pPr>
            <a:r>
              <a:rPr lang="en-US" sz="1400" dirty="0">
                <a:ln>
                  <a:solidFill>
                    <a:srgbClr val="FFFFFF">
                      <a:alpha val="0"/>
                    </a:srgbClr>
                  </a:solidFill>
                </a:ln>
                <a:solidFill>
                  <a:schemeClr val="accent6"/>
                </a:solidFill>
              </a:rPr>
              <a:t>     &lt;</a:t>
            </a:r>
            <a:r>
              <a:rPr lang="en-US" sz="1400" dirty="0">
                <a:ln>
                  <a:solidFill>
                    <a:srgbClr val="FFFFFF">
                      <a:alpha val="0"/>
                    </a:srgbClr>
                  </a:solidFill>
                </a:ln>
                <a:solidFill>
                  <a:schemeClr val="accent3"/>
                </a:solidFill>
              </a:rPr>
              <a:t>Binding</a:t>
            </a:r>
            <a:r>
              <a:rPr lang="en-US" sz="1400" dirty="0">
                <a:ln>
                  <a:solidFill>
                    <a:srgbClr val="FFFFFF">
                      <a:alpha val="0"/>
                    </a:srgbClr>
                  </a:solidFill>
                </a:ln>
                <a:solidFill>
                  <a:schemeClr val="accent6"/>
                </a:solidFill>
              </a:rPr>
              <a:t> </a:t>
            </a:r>
            <a:r>
              <a:rPr lang="en-US" sz="1400" dirty="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HttpIn" </a:t>
            </a:r>
            <a:r>
              <a:rPr lang="en-US" sz="1400" dirty="0">
                <a:ln>
                  <a:solidFill>
                    <a:srgbClr val="FFFFFF">
                      <a:alpha val="0"/>
                    </a:srgbClr>
                  </a:solidFill>
                </a:ln>
                <a:solidFill>
                  <a:schemeClr val="accent5"/>
                </a:solidFill>
              </a:rPr>
              <a:t>endpointName</a:t>
            </a:r>
            <a:r>
              <a:rPr lang="en-US" sz="1400" dirty="0">
                <a:ln>
                  <a:solidFill>
                    <a:srgbClr val="FFFFFF">
                      <a:alpha val="0"/>
                    </a:srgbClr>
                  </a:solidFill>
                </a:ln>
                <a:solidFill>
                  <a:schemeClr val="accent6"/>
                </a:solidFill>
              </a:rPr>
              <a:t>="HttpIn"/&gt;</a:t>
            </a:r>
          </a:p>
          <a:p>
            <a:pPr lvl="4">
              <a:spcBef>
                <a:spcPts val="0"/>
              </a:spcBef>
            </a:pPr>
            <a:r>
              <a:rPr lang="en-US" sz="1400" dirty="0">
                <a:ln>
                  <a:solidFill>
                    <a:srgbClr val="FFFFFF">
                      <a:alpha val="0"/>
                    </a:srgbClr>
                  </a:solidFill>
                </a:ln>
                <a:solidFill>
                  <a:schemeClr val="accent6"/>
                </a:solidFill>
              </a:rPr>
              <a:t>&lt;/</a:t>
            </a:r>
            <a:r>
              <a:rPr lang="en-US" sz="1400" dirty="0">
                <a:ln>
                  <a:solidFill>
                    <a:srgbClr val="FFFFFF">
                      <a:alpha val="0"/>
                    </a:srgbClr>
                  </a:solidFill>
                </a:ln>
                <a:solidFill>
                  <a:schemeClr val="accent3"/>
                </a:solidFill>
              </a:rPr>
              <a:t>Bindings</a:t>
            </a:r>
            <a:r>
              <a:rPr lang="en-US" sz="1400" dirty="0">
                <a:ln>
                  <a:solidFill>
                    <a:srgbClr val="FFFFFF">
                      <a:alpha val="0"/>
                    </a:srgbClr>
                  </a:solidFill>
                </a:ln>
                <a:solidFill>
                  <a:schemeClr val="accent6"/>
                </a:solidFill>
              </a:rPr>
              <a:t>&gt;</a:t>
            </a:r>
          </a:p>
          <a:p>
            <a:pPr lvl="3">
              <a:spcBef>
                <a:spcPts val="0"/>
              </a:spcBef>
            </a:pPr>
            <a:r>
              <a:rPr lang="en-US" sz="1400" dirty="0">
                <a:ln>
                  <a:solidFill>
                    <a:srgbClr val="FFFFFF">
                      <a:alpha val="0"/>
                    </a:srgbClr>
                  </a:solidFill>
                </a:ln>
                <a:solidFill>
                  <a:schemeClr val="accent6"/>
                </a:solidFill>
              </a:rPr>
              <a:t>&lt;/</a:t>
            </a:r>
            <a:r>
              <a:rPr lang="en-US" sz="1400" dirty="0">
                <a:ln>
                  <a:solidFill>
                    <a:srgbClr val="FFFFFF">
                      <a:alpha val="0"/>
                    </a:srgbClr>
                  </a:solidFill>
                </a:ln>
                <a:solidFill>
                  <a:schemeClr val="accent3"/>
                </a:solidFill>
              </a:rPr>
              <a:t>Site</a:t>
            </a:r>
            <a:r>
              <a:rPr lang="en-US" sz="1400" dirty="0">
                <a:ln>
                  <a:solidFill>
                    <a:srgbClr val="FFFFFF">
                      <a:alpha val="0"/>
                    </a:srgbClr>
                  </a:solidFill>
                </a:ln>
                <a:solidFill>
                  <a:schemeClr val="accent6"/>
                </a:solidFill>
              </a:rPr>
              <a:t>&gt;</a:t>
            </a:r>
          </a:p>
          <a:p>
            <a:pPr lvl="2">
              <a:spcBef>
                <a:spcPts val="0"/>
              </a:spcBef>
            </a:pPr>
            <a:r>
              <a:rPr lang="en-US" sz="1400" dirty="0">
                <a:ln>
                  <a:solidFill>
                    <a:srgbClr val="FFFFFF">
                      <a:alpha val="0"/>
                    </a:srgbClr>
                  </a:solidFill>
                </a:ln>
                <a:solidFill>
                  <a:schemeClr val="accent6"/>
                </a:solidFill>
              </a:rPr>
              <a:t>&lt;/</a:t>
            </a:r>
            <a:r>
              <a:rPr lang="en-US" sz="1400" dirty="0">
                <a:ln>
                  <a:solidFill>
                    <a:srgbClr val="FFFFFF">
                      <a:alpha val="0"/>
                    </a:srgbClr>
                  </a:solidFill>
                </a:ln>
                <a:solidFill>
                  <a:schemeClr val="accent3"/>
                </a:solidFill>
              </a:rPr>
              <a:t>Sites</a:t>
            </a:r>
            <a:r>
              <a:rPr lang="en-US" sz="1400" dirty="0">
                <a:ln>
                  <a:solidFill>
                    <a:srgbClr val="FFFFFF">
                      <a:alpha val="0"/>
                    </a:srgbClr>
                  </a:solidFill>
                </a:ln>
                <a:solidFill>
                  <a:schemeClr val="accent6"/>
                </a:solidFill>
              </a:rPr>
              <a:t>&gt;</a:t>
            </a:r>
          </a:p>
          <a:p>
            <a:pPr lvl="2">
              <a:spcBef>
                <a:spcPts val="0"/>
              </a:spcBef>
            </a:pPr>
            <a:r>
              <a:rPr lang="en-US" sz="1400" dirty="0">
                <a:ln>
                  <a:solidFill>
                    <a:srgbClr val="FFFFFF">
                      <a:alpha val="0"/>
                    </a:srgbClr>
                  </a:solidFill>
                </a:ln>
                <a:solidFill>
                  <a:schemeClr val="accent6"/>
                </a:solidFill>
              </a:rPr>
              <a:t>&lt;</a:t>
            </a:r>
            <a:r>
              <a:rPr lang="en-US" sz="1400" dirty="0">
                <a:ln>
                  <a:solidFill>
                    <a:srgbClr val="FFFFFF">
                      <a:alpha val="0"/>
                    </a:srgbClr>
                  </a:solidFill>
                </a:ln>
                <a:solidFill>
                  <a:schemeClr val="accent3"/>
                </a:solidFill>
              </a:rPr>
              <a:t>Endpoints</a:t>
            </a:r>
            <a:r>
              <a:rPr lang="en-US" sz="1400" dirty="0">
                <a:ln>
                  <a:solidFill>
                    <a:srgbClr val="FFFFFF">
                      <a:alpha val="0"/>
                    </a:srgbClr>
                  </a:solidFill>
                </a:ln>
                <a:solidFill>
                  <a:schemeClr val="accent6"/>
                </a:solidFill>
              </a:rPr>
              <a:t>&gt;</a:t>
            </a:r>
          </a:p>
          <a:p>
            <a:pPr lvl="3">
              <a:spcBef>
                <a:spcPts val="0"/>
              </a:spcBef>
            </a:pPr>
            <a:r>
              <a:rPr lang="en-US" sz="1400" dirty="0">
                <a:ln>
                  <a:solidFill>
                    <a:srgbClr val="FFFFFF">
                      <a:alpha val="0"/>
                    </a:srgbClr>
                  </a:solidFill>
                </a:ln>
                <a:solidFill>
                  <a:schemeClr val="accent6"/>
                </a:solidFill>
              </a:rPr>
              <a:t>&lt;</a:t>
            </a:r>
            <a:r>
              <a:rPr lang="en-US" sz="1400" dirty="0">
                <a:ln>
                  <a:solidFill>
                    <a:srgbClr val="FFFFFF">
                      <a:alpha val="0"/>
                    </a:srgbClr>
                  </a:solidFill>
                </a:ln>
                <a:solidFill>
                  <a:schemeClr val="accent3"/>
                </a:solidFill>
              </a:rPr>
              <a:t>InputEndpoint </a:t>
            </a:r>
            <a:r>
              <a:rPr lang="en-US" sz="1400" dirty="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HttpIn" </a:t>
            </a:r>
            <a:r>
              <a:rPr lang="en-US" sz="1400" dirty="0">
                <a:ln>
                  <a:solidFill>
                    <a:srgbClr val="FFFFFF">
                      <a:alpha val="0"/>
                    </a:srgbClr>
                  </a:solidFill>
                </a:ln>
                <a:solidFill>
                  <a:schemeClr val="accent5"/>
                </a:solidFill>
              </a:rPr>
              <a:t>protocol</a:t>
            </a:r>
            <a:r>
              <a:rPr lang="en-US" sz="1400" dirty="0">
                <a:ln>
                  <a:solidFill>
                    <a:srgbClr val="FFFFFF">
                      <a:alpha val="0"/>
                    </a:srgbClr>
                  </a:solidFill>
                </a:ln>
                <a:solidFill>
                  <a:schemeClr val="accent6"/>
                </a:solidFill>
              </a:rPr>
              <a:t>="http" </a:t>
            </a:r>
            <a:r>
              <a:rPr lang="en-US" sz="1400" dirty="0">
                <a:ln>
                  <a:solidFill>
                    <a:srgbClr val="FFFFFF">
                      <a:alpha val="0"/>
                    </a:srgbClr>
                  </a:solidFill>
                </a:ln>
                <a:solidFill>
                  <a:schemeClr val="accent5"/>
                </a:solidFill>
              </a:rPr>
              <a:t>port</a:t>
            </a:r>
            <a:r>
              <a:rPr lang="en-US" sz="1400" dirty="0">
                <a:ln>
                  <a:solidFill>
                    <a:srgbClr val="FFFFFF">
                      <a:alpha val="0"/>
                    </a:srgbClr>
                  </a:solidFill>
                </a:ln>
                <a:solidFill>
                  <a:schemeClr val="accent6"/>
                </a:solidFill>
              </a:rPr>
              <a:t>="80"/&gt;</a:t>
            </a:r>
          </a:p>
          <a:p>
            <a:pPr lvl="3">
              <a:spcBef>
                <a:spcPts val="0"/>
              </a:spcBef>
            </a:pPr>
            <a:r>
              <a:rPr lang="en-US" sz="1400" dirty="0">
                <a:ln>
                  <a:solidFill>
                    <a:srgbClr val="FFFFFF">
                      <a:alpha val="0"/>
                    </a:srgbClr>
                  </a:solidFill>
                </a:ln>
                <a:solidFill>
                  <a:schemeClr val="accent6"/>
                </a:solidFill>
              </a:rPr>
              <a:t>&lt;</a:t>
            </a:r>
            <a:r>
              <a:rPr lang="en-US" sz="1400" dirty="0">
                <a:ln>
                  <a:solidFill>
                    <a:srgbClr val="FFFFFF">
                      <a:alpha val="0"/>
                    </a:srgbClr>
                  </a:solidFill>
                </a:ln>
                <a:solidFill>
                  <a:schemeClr val="accent3"/>
                </a:solidFill>
              </a:rPr>
              <a:t>InputEndpoint </a:t>
            </a:r>
            <a:r>
              <a:rPr lang="en-US" sz="1400" dirty="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mgmtsvc" </a:t>
            </a:r>
            <a:r>
              <a:rPr lang="en-US" sz="1400" dirty="0">
                <a:ln>
                  <a:solidFill>
                    <a:srgbClr val="FFFFFF">
                      <a:alpha val="0"/>
                    </a:srgbClr>
                  </a:solidFill>
                </a:ln>
                <a:solidFill>
                  <a:schemeClr val="accent5"/>
                </a:solidFill>
              </a:rPr>
              <a:t>protocol</a:t>
            </a:r>
            <a:r>
              <a:rPr lang="en-US" sz="1400" dirty="0">
                <a:ln>
                  <a:solidFill>
                    <a:srgbClr val="FFFFFF">
                      <a:alpha val="0"/>
                    </a:srgbClr>
                  </a:solidFill>
                </a:ln>
                <a:solidFill>
                  <a:schemeClr val="accent6"/>
                </a:solidFill>
              </a:rPr>
              <a:t>="tcp" </a:t>
            </a:r>
            <a:r>
              <a:rPr lang="en-US" sz="1400" dirty="0">
                <a:ln>
                  <a:solidFill>
                    <a:srgbClr val="FFFFFF">
                      <a:alpha val="0"/>
                    </a:srgbClr>
                  </a:solidFill>
                </a:ln>
                <a:solidFill>
                  <a:schemeClr val="accent5"/>
                </a:solidFill>
              </a:rPr>
              <a:t>port</a:t>
            </a:r>
            <a:r>
              <a:rPr lang="en-US" sz="1400" dirty="0">
                <a:ln>
                  <a:solidFill>
                    <a:srgbClr val="FFFFFF">
                      <a:alpha val="0"/>
                    </a:srgbClr>
                  </a:solidFill>
                </a:ln>
                <a:solidFill>
                  <a:schemeClr val="accent6"/>
                </a:solidFill>
              </a:rPr>
              <a:t>="8172" </a:t>
            </a:r>
            <a:r>
              <a:rPr lang="en-US" sz="1400" dirty="0">
                <a:ln>
                  <a:solidFill>
                    <a:srgbClr val="FFFFFF">
                      <a:alpha val="0"/>
                    </a:srgbClr>
                  </a:solidFill>
                </a:ln>
                <a:solidFill>
                  <a:schemeClr val="accent5">
                    <a:alpha val="99000"/>
                  </a:schemeClr>
                </a:solidFill>
              </a:rPr>
              <a:t>localPort</a:t>
            </a:r>
            <a:r>
              <a:rPr lang="en-US" sz="1400" dirty="0">
                <a:ln>
                  <a:solidFill>
                    <a:srgbClr val="FFFFFF">
                      <a:alpha val="0"/>
                    </a:srgbClr>
                  </a:solidFill>
                </a:ln>
                <a:solidFill>
                  <a:schemeClr val="accent6"/>
                </a:solidFill>
              </a:rPr>
              <a:t>="8712"/&gt;</a:t>
            </a:r>
          </a:p>
          <a:p>
            <a:pPr lvl="2">
              <a:spcBef>
                <a:spcPts val="0"/>
              </a:spcBef>
            </a:pPr>
            <a:r>
              <a:rPr lang="en-US" sz="1400" dirty="0">
                <a:ln>
                  <a:solidFill>
                    <a:srgbClr val="FFFFFF">
                      <a:alpha val="0"/>
                    </a:srgbClr>
                  </a:solidFill>
                </a:ln>
                <a:solidFill>
                  <a:schemeClr val="accent6"/>
                </a:solidFill>
              </a:rPr>
              <a:t>&lt;/</a:t>
            </a:r>
            <a:r>
              <a:rPr lang="en-US" sz="1400" dirty="0">
                <a:ln>
                  <a:solidFill>
                    <a:srgbClr val="FFFFFF">
                      <a:alpha val="0"/>
                    </a:srgbClr>
                  </a:solidFill>
                </a:ln>
                <a:solidFill>
                  <a:schemeClr val="accent3"/>
                </a:solidFill>
              </a:rPr>
              <a:t>Endpoints</a:t>
            </a:r>
            <a:r>
              <a:rPr lang="en-US" sz="1400" dirty="0">
                <a:ln>
                  <a:solidFill>
                    <a:srgbClr val="FFFFFF">
                      <a:alpha val="0"/>
                    </a:srgbClr>
                  </a:solidFill>
                </a:ln>
                <a:solidFill>
                  <a:schemeClr val="accent6"/>
                </a:solidFill>
              </a:rPr>
              <a:t>&gt;</a:t>
            </a:r>
          </a:p>
        </p:txBody>
      </p:sp>
    </p:spTree>
    <p:extLst>
      <p:ext uri="{BB962C8B-B14F-4D97-AF65-F5344CB8AC3E}">
        <p14:creationId xmlns:p14="http://schemas.microsoft.com/office/powerpoint/2010/main" val="3904983084"/>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845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8" name="TextBox 7"/>
          <p:cNvSpPr txBox="1"/>
          <p:nvPr>
            <p:custDataLst>
              <p:tags r:id="rId3"/>
            </p:custDataLst>
          </p:nvPr>
        </p:nvSpPr>
        <p:spPr>
          <a:xfrm>
            <a:off x="518160" y="1690688"/>
            <a:ext cx="11155680" cy="1569660"/>
          </a:xfrm>
          <a:prstGeom prst="rect">
            <a:avLst/>
          </a:prstGeom>
          <a:noFill/>
        </p:spPr>
        <p:txBody>
          <a:bodyPr wrap="square" lIns="0" tIns="0" rIns="0" bIns="0" rtlCol="0">
            <a:spAutoFit/>
          </a:bodyPr>
          <a:lstStyle/>
          <a:p>
            <a:pPr defTabSz="914363">
              <a:spcBef>
                <a:spcPts val="1200"/>
              </a:spcBef>
            </a:pPr>
            <a:r>
              <a:rPr lang="en-US" sz="3600" dirty="0">
                <a:ln>
                  <a:solidFill>
                    <a:srgbClr val="FFFFFF">
                      <a:alpha val="0"/>
                    </a:srgbClr>
                  </a:solidFill>
                </a:ln>
                <a:solidFill>
                  <a:srgbClr val="00AEEF">
                    <a:alpha val="99000"/>
                  </a:srgbClr>
                </a:solidFill>
                <a:latin typeface="Segoe Light" pitchFamily="34" charset="0"/>
              </a:rPr>
              <a:t>Supplies Runtime Values </a:t>
            </a:r>
            <a:r>
              <a:rPr lang="en-US" sz="3200" dirty="0">
                <a:ln>
                  <a:solidFill>
                    <a:srgbClr val="FFFFFF">
                      <a:alpha val="0"/>
                    </a:srgbClr>
                  </a:solidFill>
                </a:ln>
                <a:solidFill>
                  <a:srgbClr val="5F5F5F">
                    <a:alpha val="99000"/>
                  </a:srgbClr>
                </a:solidFill>
              </a:rPr>
              <a:t/>
            </a:r>
            <a:br>
              <a:rPr lang="en-US" sz="3200" dirty="0">
                <a:ln>
                  <a:solidFill>
                    <a:srgbClr val="FFFFFF">
                      <a:alpha val="0"/>
                    </a:srgbClr>
                  </a:solidFill>
                </a:ln>
                <a:solidFill>
                  <a:srgbClr val="5F5F5F">
                    <a:alpha val="99000"/>
                  </a:srgbClr>
                </a:solidFill>
              </a:rPr>
            </a:br>
            <a:r>
              <a:rPr lang="en-US" sz="2000" dirty="0">
                <a:ln>
                  <a:solidFill>
                    <a:srgbClr val="FFFFFF">
                      <a:alpha val="0"/>
                    </a:srgbClr>
                  </a:solidFill>
                </a:ln>
                <a:solidFill>
                  <a:srgbClr val="5F5F5F">
                    <a:alpha val="99000"/>
                  </a:srgbClr>
                </a:solidFill>
              </a:rPr>
              <a:t>(Scale, Config Settings, Certificates to use, VHD, etc.)</a:t>
            </a:r>
          </a:p>
          <a:p>
            <a:pPr defTabSz="914363">
              <a:spcBef>
                <a:spcPts val="1200"/>
              </a:spcBef>
            </a:pPr>
            <a:r>
              <a:rPr lang="en-US" sz="3600" dirty="0">
                <a:ln>
                  <a:solidFill>
                    <a:srgbClr val="FFFFFF">
                      <a:alpha val="0"/>
                    </a:srgbClr>
                  </a:solidFill>
                </a:ln>
                <a:solidFill>
                  <a:srgbClr val="00AEEF">
                    <a:alpha val="99000"/>
                  </a:srgbClr>
                </a:solidFill>
                <a:latin typeface="Segoe Light" pitchFamily="34" charset="0"/>
              </a:rPr>
              <a:t>Can be updated any time through Portal or API</a:t>
            </a:r>
          </a:p>
        </p:txBody>
      </p:sp>
      <p:sp>
        <p:nvSpPr>
          <p:cNvPr id="4" name="Title 3"/>
          <p:cNvSpPr>
            <a:spLocks noGrp="1"/>
          </p:cNvSpPr>
          <p:nvPr>
            <p:ph type="title"/>
            <p:custDataLst>
              <p:tags r:id="rId4"/>
            </p:custDataLst>
          </p:nvPr>
        </p:nvSpPr>
        <p:spPr/>
        <p:txBody>
          <a:bodyPr/>
          <a:lstStyle/>
          <a:p>
            <a:r>
              <a:rPr lang="en-US" dirty="0" smtClean="0">
                <a:cs typeface="Segoe UI"/>
              </a:rPr>
              <a:t>Service Configuration</a:t>
            </a:r>
            <a:endParaRPr lang="en-US" dirty="0">
              <a:cs typeface="Segoe UI"/>
            </a:endParaRPr>
          </a:p>
        </p:txBody>
      </p:sp>
    </p:spTree>
    <p:extLst>
      <p:ext uri="{BB962C8B-B14F-4D97-AF65-F5344CB8AC3E}">
        <p14:creationId xmlns:p14="http://schemas.microsoft.com/office/powerpoint/2010/main" val="550571998"/>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947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5" name="Text Placeholder 4"/>
          <p:cNvSpPr>
            <a:spLocks noGrp="1"/>
          </p:cNvSpPr>
          <p:nvPr>
            <p:ph sz="quarter" idx="10"/>
            <p:custDataLst>
              <p:tags r:id="rId3"/>
            </p:custDataLst>
          </p:nvPr>
        </p:nvSpPr>
        <p:spPr>
          <a:xfrm>
            <a:off x="518160" y="1690689"/>
            <a:ext cx="11155681" cy="3139321"/>
          </a:xfrm>
          <a:noFill/>
        </p:spPr>
        <p:txBody>
          <a:bodyPr/>
          <a:lstStyle/>
          <a:p>
            <a:pPr>
              <a:spcBef>
                <a:spcPts val="0"/>
              </a:spcBef>
            </a:pPr>
            <a:r>
              <a:rPr lang="en-US" sz="1200" dirty="0">
                <a:solidFill>
                  <a:schemeClr val="accent6"/>
                </a:solidFill>
              </a:rPr>
              <a:t>&lt;?</a:t>
            </a:r>
            <a:r>
              <a:rPr lang="en-US" sz="1200" dirty="0">
                <a:solidFill>
                  <a:schemeClr val="accent3"/>
                </a:solidFill>
              </a:rPr>
              <a:t>xml</a:t>
            </a:r>
            <a:r>
              <a:rPr lang="en-US" sz="1200" dirty="0">
                <a:solidFill>
                  <a:schemeClr val="accent6"/>
                </a:solidFill>
              </a:rPr>
              <a:t> </a:t>
            </a:r>
            <a:r>
              <a:rPr lang="en-US" sz="1200" dirty="0">
                <a:solidFill>
                  <a:schemeClr val="accent5"/>
                </a:solidFill>
              </a:rPr>
              <a:t>version</a:t>
            </a:r>
            <a:r>
              <a:rPr lang="en-US" sz="1200" dirty="0">
                <a:solidFill>
                  <a:schemeClr val="accent6"/>
                </a:solidFill>
              </a:rPr>
              <a:t>="1.0"?&gt;</a:t>
            </a:r>
          </a:p>
          <a:p>
            <a:pPr>
              <a:spcBef>
                <a:spcPts val="0"/>
              </a:spcBef>
            </a:pPr>
            <a:r>
              <a:rPr lang="en-US" sz="1200" dirty="0">
                <a:solidFill>
                  <a:schemeClr val="accent6"/>
                </a:solidFill>
              </a:rPr>
              <a:t>&lt;</a:t>
            </a:r>
            <a:r>
              <a:rPr lang="en-US" sz="1200" dirty="0">
                <a:solidFill>
                  <a:schemeClr val="accent3"/>
                </a:solidFill>
              </a:rPr>
              <a:t>ServiceConfiguration</a:t>
            </a:r>
            <a:r>
              <a:rPr lang="en-US" sz="1200" dirty="0">
                <a:solidFill>
                  <a:schemeClr val="accent6"/>
                </a:solidFill>
              </a:rPr>
              <a:t> </a:t>
            </a:r>
            <a:r>
              <a:rPr lang="en-US" sz="1200" dirty="0">
                <a:solidFill>
                  <a:schemeClr val="accent5"/>
                </a:solidFill>
              </a:rPr>
              <a:t>serviceName</a:t>
            </a:r>
            <a:r>
              <a:rPr lang="en-US" sz="1200" dirty="0">
                <a:solidFill>
                  <a:schemeClr val="accent6"/>
                </a:solidFill>
              </a:rPr>
              <a:t>="WebDeploy" </a:t>
            </a:r>
            <a:r>
              <a:rPr lang="en-US" sz="1200" dirty="0">
                <a:solidFill>
                  <a:schemeClr val="accent5"/>
                </a:solidFill>
              </a:rPr>
              <a:t>xmlns</a:t>
            </a:r>
            <a:r>
              <a:rPr lang="en-US" sz="1200" dirty="0">
                <a:solidFill>
                  <a:schemeClr val="accent6"/>
                </a:solidFill>
              </a:rPr>
              <a:t>="</a:t>
            </a:r>
            <a:r>
              <a:rPr lang="en-US" sz="1200" dirty="0">
                <a:solidFill>
                  <a:schemeClr val="accent6"/>
                </a:solidFill>
                <a:hlinkClick r:id="rId9"/>
              </a:rPr>
              <a:t>http://schemas.microsoft.com/serviceHosting/2008/10ServiceConfiguration</a:t>
            </a:r>
            <a:r>
              <a:rPr lang="en-US" sz="1200" dirty="0">
                <a:solidFill>
                  <a:schemeClr val="accent6"/>
                </a:solidFill>
              </a:rPr>
              <a:t>"&gt;</a:t>
            </a:r>
          </a:p>
          <a:p>
            <a:pPr>
              <a:spcBef>
                <a:spcPts val="0"/>
              </a:spcBef>
            </a:pPr>
            <a:r>
              <a:rPr lang="en-US" sz="1200" dirty="0">
                <a:solidFill>
                  <a:schemeClr val="accent6"/>
                </a:solidFill>
              </a:rPr>
              <a:t>   &lt;</a:t>
            </a:r>
            <a:r>
              <a:rPr lang="en-US" sz="1200" dirty="0">
                <a:solidFill>
                  <a:schemeClr val="accent3"/>
                </a:solidFill>
              </a:rPr>
              <a:t>Role</a:t>
            </a:r>
            <a:r>
              <a:rPr lang="en-US" sz="1200" dirty="0">
                <a:solidFill>
                  <a:schemeClr val="accent6"/>
                </a:solidFill>
              </a:rPr>
              <a:t> </a:t>
            </a:r>
            <a:r>
              <a:rPr lang="en-US" sz="1200" dirty="0">
                <a:solidFill>
                  <a:schemeClr val="accent5"/>
                </a:solidFill>
              </a:rPr>
              <a:t>name</a:t>
            </a:r>
            <a:r>
              <a:rPr lang="en-US" sz="1200" dirty="0">
                <a:solidFill>
                  <a:schemeClr val="accent6"/>
                </a:solidFill>
              </a:rPr>
              <a:t>="Webux"&gt;</a:t>
            </a:r>
          </a:p>
          <a:p>
            <a:pPr marL="520700">
              <a:spcBef>
                <a:spcPts val="0"/>
              </a:spcBef>
            </a:pPr>
            <a:r>
              <a:rPr lang="en-US" sz="1200" dirty="0">
                <a:solidFill>
                  <a:schemeClr val="accent6"/>
                </a:solidFill>
              </a:rPr>
              <a:t>&lt;</a:t>
            </a:r>
            <a:r>
              <a:rPr lang="en-US" sz="1200" dirty="0">
                <a:solidFill>
                  <a:schemeClr val="accent3"/>
                </a:solidFill>
              </a:rPr>
              <a:t>Instances</a:t>
            </a:r>
            <a:r>
              <a:rPr lang="en-US" sz="1200" dirty="0">
                <a:solidFill>
                  <a:schemeClr val="accent6"/>
                </a:solidFill>
              </a:rPr>
              <a:t> </a:t>
            </a:r>
            <a:r>
              <a:rPr lang="en-US" sz="1200" dirty="0">
                <a:solidFill>
                  <a:schemeClr val="accent5"/>
                </a:solidFill>
              </a:rPr>
              <a:t>count</a:t>
            </a:r>
            <a:r>
              <a:rPr lang="en-US" sz="1200" dirty="0">
                <a:solidFill>
                  <a:schemeClr val="accent6"/>
                </a:solidFill>
              </a:rPr>
              <a:t>="1"/&gt;</a:t>
            </a:r>
          </a:p>
          <a:p>
            <a:pPr marL="520700">
              <a:spcBef>
                <a:spcPts val="0"/>
              </a:spcBef>
            </a:pPr>
            <a:r>
              <a:rPr lang="en-US" sz="1200" dirty="0">
                <a:solidFill>
                  <a:schemeClr val="accent6"/>
                </a:solidFill>
              </a:rPr>
              <a:t>&lt;</a:t>
            </a:r>
            <a:r>
              <a:rPr lang="en-US" sz="1200" dirty="0">
                <a:solidFill>
                  <a:schemeClr val="accent3"/>
                </a:solidFill>
              </a:rPr>
              <a:t>ConfigurationSettings</a:t>
            </a:r>
            <a:r>
              <a:rPr lang="en-US" sz="1200" dirty="0">
                <a:solidFill>
                  <a:schemeClr val="accent6"/>
                </a:solidFill>
              </a:rPr>
              <a:t>&gt;</a:t>
            </a:r>
          </a:p>
          <a:p>
            <a:pPr marL="863600">
              <a:spcBef>
                <a:spcPts val="0"/>
              </a:spcBef>
            </a:pPr>
            <a:r>
              <a:rPr lang="en-US" sz="1200" dirty="0">
                <a:solidFill>
                  <a:schemeClr val="accent6"/>
                </a:solidFill>
              </a:rPr>
              <a:t>&lt;</a:t>
            </a:r>
            <a:r>
              <a:rPr lang="en-US" sz="1200" dirty="0">
                <a:solidFill>
                  <a:schemeClr val="accent3"/>
                </a:solidFill>
              </a:rPr>
              <a:t>Setting</a:t>
            </a:r>
            <a:r>
              <a:rPr lang="en-US" sz="1200" dirty="0">
                <a:solidFill>
                  <a:schemeClr val="accent6"/>
                </a:solidFill>
              </a:rPr>
              <a:t> </a:t>
            </a:r>
            <a:r>
              <a:rPr lang="en-US" sz="1200" dirty="0">
                <a:solidFill>
                  <a:schemeClr val="accent5"/>
                </a:solidFill>
              </a:rPr>
              <a:t>name</a:t>
            </a:r>
            <a:r>
              <a:rPr lang="en-US" sz="1200" dirty="0">
                <a:solidFill>
                  <a:schemeClr val="accent6"/>
                </a:solidFill>
              </a:rPr>
              <a:t>="DiagnosticsConnectionString" </a:t>
            </a:r>
            <a:r>
              <a:rPr lang="en-US" sz="1200" dirty="0">
                <a:solidFill>
                  <a:schemeClr val="accent5"/>
                </a:solidFill>
              </a:rPr>
              <a:t>value</a:t>
            </a:r>
            <a:r>
              <a:rPr lang="en-US" sz="1200" dirty="0">
                <a:solidFill>
                  <a:schemeClr val="accent6"/>
                </a:solidFill>
              </a:rPr>
              <a:t>="UseDevelopmentStorage=true/&gt;</a:t>
            </a:r>
          </a:p>
          <a:p>
            <a:pPr marL="863600">
              <a:spcBef>
                <a:spcPts val="0"/>
              </a:spcBef>
            </a:pPr>
            <a:r>
              <a:rPr lang="en-US" sz="1200" dirty="0">
                <a:solidFill>
                  <a:schemeClr val="accent6"/>
                </a:solidFill>
              </a:rPr>
              <a:t>&lt;</a:t>
            </a:r>
            <a:r>
              <a:rPr lang="en-US" sz="1200" dirty="0">
                <a:solidFill>
                  <a:schemeClr val="accent3"/>
                </a:solidFill>
              </a:rPr>
              <a:t>Setting</a:t>
            </a:r>
            <a:r>
              <a:rPr lang="en-US" sz="1200" dirty="0">
                <a:solidFill>
                  <a:schemeClr val="accent6"/>
                </a:solidFill>
              </a:rPr>
              <a:t> </a:t>
            </a:r>
            <a:r>
              <a:rPr lang="en-US" sz="1200" dirty="0">
                <a:solidFill>
                  <a:schemeClr val="accent5"/>
                </a:solidFill>
              </a:rPr>
              <a:t>name</a:t>
            </a:r>
            <a:r>
              <a:rPr lang="en-US" sz="1200" dirty="0">
                <a:solidFill>
                  <a:schemeClr val="accent6"/>
                </a:solidFill>
              </a:rPr>
              <a:t>="Microsoft.WindowsAzure.plugins.RemoteAccess.Enabled" </a:t>
            </a:r>
            <a:r>
              <a:rPr lang="en-US" sz="1200" dirty="0">
                <a:solidFill>
                  <a:schemeClr val="accent5"/>
                </a:solidFill>
              </a:rPr>
              <a:t>value</a:t>
            </a:r>
            <a:r>
              <a:rPr lang="en-US" sz="1200" dirty="0">
                <a:solidFill>
                  <a:schemeClr val="accent6"/>
                </a:solidFill>
              </a:rPr>
              <a:t>="True"/&gt;</a:t>
            </a:r>
          </a:p>
          <a:p>
            <a:pPr marL="863600">
              <a:spcBef>
                <a:spcPts val="0"/>
              </a:spcBef>
            </a:pPr>
            <a:r>
              <a:rPr lang="en-US" sz="1200" dirty="0">
                <a:solidFill>
                  <a:schemeClr val="accent6"/>
                </a:solidFill>
              </a:rPr>
              <a:t>&lt;</a:t>
            </a:r>
            <a:r>
              <a:rPr lang="en-US" sz="1200" dirty="0">
                <a:solidFill>
                  <a:schemeClr val="accent3"/>
                </a:solidFill>
              </a:rPr>
              <a:t>Setting</a:t>
            </a:r>
            <a:r>
              <a:rPr lang="en-US" sz="1200" dirty="0">
                <a:solidFill>
                  <a:schemeClr val="accent6"/>
                </a:solidFill>
              </a:rPr>
              <a:t> </a:t>
            </a:r>
            <a:r>
              <a:rPr lang="en-US" sz="1200" dirty="0">
                <a:solidFill>
                  <a:schemeClr val="accent5"/>
                </a:solidFill>
              </a:rPr>
              <a:t>name</a:t>
            </a:r>
            <a:r>
              <a:rPr lang="en-US" sz="1200" dirty="0">
                <a:solidFill>
                  <a:schemeClr val="accent6"/>
                </a:solidFill>
              </a:rPr>
              <a:t>="Microsoft.WindowsAzure.plugins.RemoteAccess.AccountUsername" </a:t>
            </a:r>
            <a:r>
              <a:rPr lang="en-US" sz="1200" dirty="0">
                <a:solidFill>
                  <a:schemeClr val="accent5"/>
                </a:solidFill>
              </a:rPr>
              <a:t>value</a:t>
            </a:r>
            <a:r>
              <a:rPr lang="en-US" sz="1200" dirty="0">
                <a:solidFill>
                  <a:schemeClr val="accent6"/>
                </a:solidFill>
              </a:rPr>
              <a:t>="dunnry"/&gt;</a:t>
            </a:r>
          </a:p>
          <a:p>
            <a:pPr marL="863600">
              <a:spcBef>
                <a:spcPts val="0"/>
              </a:spcBef>
              <a:tabLst>
                <a:tab pos="2971800" algn="l"/>
              </a:tabLst>
            </a:pPr>
            <a:r>
              <a:rPr lang="en-US" sz="1200" dirty="0">
                <a:solidFill>
                  <a:schemeClr val="accent6"/>
                </a:solidFill>
              </a:rPr>
              <a:t>&lt;</a:t>
            </a:r>
            <a:r>
              <a:rPr lang="en-US" sz="1200" dirty="0">
                <a:solidFill>
                  <a:schemeClr val="accent3"/>
                </a:solidFill>
              </a:rPr>
              <a:t>Setting</a:t>
            </a:r>
            <a:r>
              <a:rPr lang="en-US" sz="1200" dirty="0">
                <a:solidFill>
                  <a:schemeClr val="accent6"/>
                </a:solidFill>
              </a:rPr>
              <a:t> </a:t>
            </a:r>
            <a:r>
              <a:rPr lang="en-US" sz="1200" dirty="0">
                <a:solidFill>
                  <a:schemeClr val="accent5"/>
                </a:solidFill>
              </a:rPr>
              <a:t>name</a:t>
            </a:r>
            <a:r>
              <a:rPr lang="en-US" sz="1200" dirty="0">
                <a:solidFill>
                  <a:schemeClr val="accent6"/>
                </a:solidFill>
              </a:rPr>
              <a:t>="Microsoft.WindowsAzure.plugins.RemoteAccess.AccountEncryptedPassword" </a:t>
            </a:r>
            <a:r>
              <a:rPr lang="en-US" sz="1200" dirty="0">
                <a:solidFill>
                  <a:schemeClr val="accent5"/>
                </a:solidFill>
              </a:rPr>
              <a:t>value</a:t>
            </a:r>
            <a:r>
              <a:rPr lang="en-US" sz="1200" dirty="0">
                <a:solidFill>
                  <a:schemeClr val="accent6"/>
                </a:solidFill>
              </a:rPr>
              <a:t>="MIIBrAYJKoZIhvcNAQcDoIIB"/&gt;</a:t>
            </a:r>
          </a:p>
          <a:p>
            <a:pPr marL="863600">
              <a:spcBef>
                <a:spcPts val="0"/>
              </a:spcBef>
            </a:pPr>
            <a:r>
              <a:rPr lang="en-US" sz="1200" dirty="0">
                <a:solidFill>
                  <a:schemeClr val="accent6"/>
                </a:solidFill>
              </a:rPr>
              <a:t>&lt;</a:t>
            </a:r>
            <a:r>
              <a:rPr lang="en-US" sz="1200" dirty="0">
                <a:solidFill>
                  <a:schemeClr val="accent3"/>
                </a:solidFill>
              </a:rPr>
              <a:t>Setting</a:t>
            </a:r>
            <a:r>
              <a:rPr lang="en-US" sz="1200" dirty="0">
                <a:solidFill>
                  <a:schemeClr val="accent6"/>
                </a:solidFill>
              </a:rPr>
              <a:t> </a:t>
            </a:r>
            <a:r>
              <a:rPr lang="en-US" sz="1200" dirty="0">
                <a:solidFill>
                  <a:schemeClr val="accent5"/>
                </a:solidFill>
              </a:rPr>
              <a:t>name</a:t>
            </a:r>
            <a:r>
              <a:rPr lang="en-US" sz="1200" dirty="0">
                <a:solidFill>
                  <a:schemeClr val="accent6"/>
                </a:solidFill>
              </a:rPr>
              <a:t>="Microsoft.WindowsAzure.plugins.RemoteAccess.AccountExpiration" </a:t>
            </a:r>
            <a:r>
              <a:rPr lang="en-US" sz="1200" dirty="0">
                <a:solidFill>
                  <a:schemeClr val="accent5"/>
                </a:solidFill>
              </a:rPr>
              <a:t>value</a:t>
            </a:r>
            <a:r>
              <a:rPr lang="en-US" sz="1200" dirty="0">
                <a:solidFill>
                  <a:schemeClr val="accent6"/>
                </a:solidFill>
              </a:rPr>
              <a:t>="2010-12-23T23:59:59.0000000-07"/&gt;</a:t>
            </a:r>
          </a:p>
          <a:p>
            <a:pPr marL="863600">
              <a:spcBef>
                <a:spcPts val="0"/>
              </a:spcBef>
            </a:pPr>
            <a:r>
              <a:rPr lang="en-US" sz="1200" dirty="0">
                <a:solidFill>
                  <a:schemeClr val="accent6"/>
                </a:solidFill>
              </a:rPr>
              <a:t>&lt;</a:t>
            </a:r>
            <a:r>
              <a:rPr lang="en-US" sz="1200" dirty="0">
                <a:solidFill>
                  <a:schemeClr val="accent3"/>
                </a:solidFill>
              </a:rPr>
              <a:t>Setting</a:t>
            </a:r>
            <a:r>
              <a:rPr lang="en-US" sz="1200" dirty="0">
                <a:solidFill>
                  <a:schemeClr val="accent6"/>
                </a:solidFill>
              </a:rPr>
              <a:t> </a:t>
            </a:r>
            <a:r>
              <a:rPr lang="en-US" sz="1200" dirty="0">
                <a:solidFill>
                  <a:schemeClr val="accent5"/>
                </a:solidFill>
              </a:rPr>
              <a:t>name</a:t>
            </a:r>
            <a:r>
              <a:rPr lang="en-US" sz="1200" dirty="0">
                <a:solidFill>
                  <a:schemeClr val="accent6"/>
                </a:solidFill>
              </a:rPr>
              <a:t>="Microsoft.Windows Azure.Plugins.RemoteForwarder.Enabled" </a:t>
            </a:r>
            <a:r>
              <a:rPr lang="en-US" sz="1200" dirty="0">
                <a:solidFill>
                  <a:schemeClr val="accent5"/>
                </a:solidFill>
              </a:rPr>
              <a:t>value</a:t>
            </a:r>
            <a:r>
              <a:rPr lang="en-US" sz="1200" dirty="0">
                <a:solidFill>
                  <a:schemeClr val="accent6"/>
                </a:solidFill>
              </a:rPr>
              <a:t>="True"/&gt;</a:t>
            </a:r>
          </a:p>
          <a:p>
            <a:pPr marL="228600">
              <a:spcBef>
                <a:spcPts val="0"/>
              </a:spcBef>
            </a:pPr>
            <a:r>
              <a:rPr lang="en-US" sz="1200" dirty="0">
                <a:solidFill>
                  <a:schemeClr val="accent6"/>
                </a:solidFill>
              </a:rPr>
              <a:t>&lt;</a:t>
            </a:r>
            <a:r>
              <a:rPr lang="en-US" sz="1200" dirty="0">
                <a:solidFill>
                  <a:schemeClr val="accent3"/>
                </a:solidFill>
              </a:rPr>
              <a:t>ConfigurationSettings</a:t>
            </a:r>
            <a:r>
              <a:rPr lang="en-US" sz="1200" dirty="0">
                <a:solidFill>
                  <a:schemeClr val="accent6"/>
                </a:solidFill>
              </a:rPr>
              <a:t>&gt;</a:t>
            </a:r>
          </a:p>
          <a:p>
            <a:pPr marL="228600">
              <a:spcBef>
                <a:spcPts val="0"/>
              </a:spcBef>
            </a:pPr>
            <a:r>
              <a:rPr lang="en-US" sz="1200" dirty="0">
                <a:solidFill>
                  <a:schemeClr val="accent6"/>
                </a:solidFill>
              </a:rPr>
              <a:t>&lt;</a:t>
            </a:r>
            <a:r>
              <a:rPr lang="en-US" sz="1200" dirty="0">
                <a:solidFill>
                  <a:schemeClr val="accent3"/>
                </a:solidFill>
              </a:rPr>
              <a:t>Certificate</a:t>
            </a:r>
            <a:r>
              <a:rPr lang="en-US" sz="1200" dirty="0">
                <a:solidFill>
                  <a:schemeClr val="accent6"/>
                </a:solidFill>
              </a:rPr>
              <a:t>&gt;</a:t>
            </a:r>
          </a:p>
          <a:p>
            <a:pPr marL="863600">
              <a:spcBef>
                <a:spcPts val="0"/>
              </a:spcBef>
            </a:pPr>
            <a:r>
              <a:rPr lang="en-US" sz="1200" dirty="0">
                <a:solidFill>
                  <a:schemeClr val="accent6"/>
                </a:solidFill>
              </a:rPr>
              <a:t>&lt;</a:t>
            </a:r>
            <a:r>
              <a:rPr lang="en-US" sz="1200" dirty="0">
                <a:solidFill>
                  <a:schemeClr val="accent3"/>
                </a:solidFill>
              </a:rPr>
              <a:t>Certificates</a:t>
            </a:r>
            <a:r>
              <a:rPr lang="en-US" sz="1200" dirty="0">
                <a:solidFill>
                  <a:schemeClr val="accent6"/>
                </a:solidFill>
              </a:rPr>
              <a:t> </a:t>
            </a:r>
            <a:r>
              <a:rPr lang="en-US" sz="1200" dirty="0">
                <a:solidFill>
                  <a:schemeClr val="accent5"/>
                </a:solidFill>
              </a:rPr>
              <a:t>name</a:t>
            </a:r>
            <a:r>
              <a:rPr lang="en-US" sz="1200" dirty="0">
                <a:solidFill>
                  <a:schemeClr val="accent6"/>
                </a:solidFill>
              </a:rPr>
              <a:t>="Microsoft.WindowsAzure.Plugins.remoteAccess.PasswordEncryption" </a:t>
            </a:r>
            <a:r>
              <a:rPr lang="en-US" sz="1200" dirty="0">
                <a:solidFill>
                  <a:schemeClr val="accent5"/>
                </a:solidFill>
              </a:rPr>
              <a:t>thumbprint</a:t>
            </a:r>
            <a:r>
              <a:rPr lang="en-US" sz="1200" dirty="0">
                <a:solidFill>
                  <a:schemeClr val="accent6"/>
                </a:solidFill>
              </a:rPr>
              <a:t>="D6BE55AC439FAC6CBEBAF"/&gt;</a:t>
            </a:r>
          </a:p>
          <a:p>
            <a:pPr marL="228600">
              <a:spcBef>
                <a:spcPts val="0"/>
              </a:spcBef>
            </a:pPr>
            <a:r>
              <a:rPr lang="en-US" sz="1200" dirty="0">
                <a:solidFill>
                  <a:schemeClr val="accent6"/>
                </a:solidFill>
              </a:rPr>
              <a:t>&lt;/</a:t>
            </a:r>
            <a:r>
              <a:rPr lang="en-US" sz="1200" dirty="0">
                <a:solidFill>
                  <a:schemeClr val="accent3"/>
                </a:solidFill>
              </a:rPr>
              <a:t>Certificate</a:t>
            </a:r>
            <a:r>
              <a:rPr lang="en-US" sz="1200" dirty="0">
                <a:solidFill>
                  <a:schemeClr val="accent6"/>
                </a:solidFill>
              </a:rPr>
              <a:t>&gt;</a:t>
            </a:r>
          </a:p>
          <a:p>
            <a:pPr marL="114300">
              <a:spcBef>
                <a:spcPts val="0"/>
              </a:spcBef>
            </a:pPr>
            <a:r>
              <a:rPr lang="en-US" sz="1200" dirty="0">
                <a:solidFill>
                  <a:schemeClr val="accent6"/>
                </a:solidFill>
              </a:rPr>
              <a:t>&lt;/</a:t>
            </a:r>
            <a:r>
              <a:rPr lang="en-US" sz="1200" dirty="0">
                <a:solidFill>
                  <a:schemeClr val="accent3"/>
                </a:solidFill>
              </a:rPr>
              <a:t>Role</a:t>
            </a:r>
            <a:r>
              <a:rPr lang="en-US" sz="1200" dirty="0">
                <a:solidFill>
                  <a:schemeClr val="accent6"/>
                </a:solidFill>
              </a:rPr>
              <a:t>&gt;</a:t>
            </a:r>
          </a:p>
          <a:p>
            <a:pPr>
              <a:spcBef>
                <a:spcPts val="0"/>
              </a:spcBef>
            </a:pPr>
            <a:r>
              <a:rPr lang="en-US" sz="1200" dirty="0">
                <a:solidFill>
                  <a:schemeClr val="accent6"/>
                </a:solidFill>
              </a:rPr>
              <a:t>&lt;/</a:t>
            </a:r>
            <a:r>
              <a:rPr lang="en-US" sz="1200" dirty="0">
                <a:solidFill>
                  <a:schemeClr val="accent3"/>
                </a:solidFill>
              </a:rPr>
              <a:t>ServiceConfiguration</a:t>
            </a:r>
            <a:r>
              <a:rPr lang="en-US" sz="1200" dirty="0">
                <a:solidFill>
                  <a:schemeClr val="accent6"/>
                </a:solidFill>
              </a:rPr>
              <a:t>&gt; </a:t>
            </a:r>
          </a:p>
        </p:txBody>
      </p:sp>
      <p:sp>
        <p:nvSpPr>
          <p:cNvPr id="4" name="Title 3"/>
          <p:cNvSpPr>
            <a:spLocks noGrp="1"/>
          </p:cNvSpPr>
          <p:nvPr>
            <p:ph type="title"/>
            <p:custDataLst>
              <p:tags r:id="rId4"/>
            </p:custDataLst>
          </p:nvPr>
        </p:nvSpPr>
        <p:spPr/>
        <p:txBody>
          <a:bodyPr/>
          <a:lstStyle/>
          <a:p>
            <a:r>
              <a:rPr lang="en-US" dirty="0" smtClean="0">
                <a:cs typeface="Segoe UI"/>
              </a:rPr>
              <a:t>Service Configuration</a:t>
            </a:r>
            <a:endParaRPr lang="en-US" dirty="0">
              <a:cs typeface="Segoe UI"/>
            </a:endParaRPr>
          </a:p>
        </p:txBody>
      </p:sp>
    </p:spTree>
    <p:extLst>
      <p:ext uri="{BB962C8B-B14F-4D97-AF65-F5344CB8AC3E}">
        <p14:creationId xmlns:p14="http://schemas.microsoft.com/office/powerpoint/2010/main" val="552043443"/>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49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4" name="TextBox 3"/>
          <p:cNvSpPr txBox="1"/>
          <p:nvPr>
            <p:custDataLst>
              <p:tags r:id="rId3"/>
            </p:custDataLst>
          </p:nvPr>
        </p:nvSpPr>
        <p:spPr>
          <a:xfrm>
            <a:off x="518160" y="1690688"/>
            <a:ext cx="11155680" cy="2677656"/>
          </a:xfrm>
          <a:prstGeom prst="rect">
            <a:avLst/>
          </a:prstGeom>
          <a:noFill/>
        </p:spPr>
        <p:txBody>
          <a:bodyPr wrap="square" lIns="0" tIns="0" rIns="0" bIns="0" rtlCol="0">
            <a:spAutoFit/>
          </a:bodyPr>
          <a:lstStyle/>
          <a:p>
            <a:pPr defTabSz="914363">
              <a:spcBef>
                <a:spcPts val="1200"/>
              </a:spcBef>
            </a:pPr>
            <a:r>
              <a:rPr lang="en-US" sz="3600" dirty="0">
                <a:ln>
                  <a:solidFill>
                    <a:srgbClr val="FFFFFF">
                      <a:alpha val="0"/>
                    </a:srgbClr>
                  </a:solidFill>
                </a:ln>
                <a:solidFill>
                  <a:srgbClr val="00AEEF">
                    <a:alpha val="99000"/>
                  </a:srgbClr>
                </a:solidFill>
                <a:latin typeface="Segoe Light" pitchFamily="34" charset="0"/>
              </a:rPr>
              <a:t>Run any executable in your role</a:t>
            </a:r>
          </a:p>
          <a:p>
            <a:pPr defTabSz="914363">
              <a:spcBef>
                <a:spcPts val="1200"/>
              </a:spcBef>
            </a:pPr>
            <a:r>
              <a:rPr lang="en-US" sz="3600" dirty="0">
                <a:ln>
                  <a:solidFill>
                    <a:srgbClr val="FFFFFF">
                      <a:alpha val="0"/>
                    </a:srgbClr>
                  </a:solidFill>
                </a:ln>
                <a:solidFill>
                  <a:srgbClr val="00AEEF">
                    <a:alpha val="99000"/>
                  </a:srgbClr>
                </a:solidFill>
                <a:latin typeface="Segoe Light" pitchFamily="34" charset="0"/>
              </a:rPr>
              <a:t>Not just limited to .Net code</a:t>
            </a:r>
          </a:p>
          <a:p>
            <a:pPr defTabSz="914363">
              <a:spcBef>
                <a:spcPts val="1200"/>
              </a:spcBef>
            </a:pPr>
            <a:r>
              <a:rPr lang="en-US" sz="3600" dirty="0">
                <a:ln>
                  <a:solidFill>
                    <a:srgbClr val="FFFFFF">
                      <a:alpha val="0"/>
                    </a:srgbClr>
                  </a:solidFill>
                </a:ln>
                <a:solidFill>
                  <a:srgbClr val="00AEEF">
                    <a:alpha val="99000"/>
                  </a:srgbClr>
                </a:solidFill>
                <a:latin typeface="Segoe Light" pitchFamily="34" charset="0"/>
              </a:rPr>
              <a:t>Run custom processes without code</a:t>
            </a:r>
          </a:p>
          <a:p>
            <a:pPr defTabSz="914363">
              <a:spcBef>
                <a:spcPts val="1200"/>
              </a:spcBef>
            </a:pPr>
            <a:r>
              <a:rPr lang="en-US" sz="3600" dirty="0">
                <a:ln>
                  <a:solidFill>
                    <a:srgbClr val="FFFFFF">
                      <a:alpha val="0"/>
                    </a:srgbClr>
                  </a:solidFill>
                </a:ln>
                <a:solidFill>
                  <a:srgbClr val="00AEEF">
                    <a:alpha val="99000"/>
                  </a:srgbClr>
                </a:solidFill>
                <a:latin typeface="Segoe Light" pitchFamily="34" charset="0"/>
              </a:rPr>
              <a:t>Role automatically restarts if process stops</a:t>
            </a:r>
          </a:p>
        </p:txBody>
      </p:sp>
      <p:sp>
        <p:nvSpPr>
          <p:cNvPr id="2" name="Title 1"/>
          <p:cNvSpPr>
            <a:spLocks noGrp="1"/>
          </p:cNvSpPr>
          <p:nvPr>
            <p:ph type="title"/>
            <p:custDataLst>
              <p:tags r:id="rId4"/>
            </p:custDataLst>
          </p:nvPr>
        </p:nvSpPr>
        <p:spPr/>
        <p:txBody>
          <a:bodyPr/>
          <a:lstStyle/>
          <a:p>
            <a:r>
              <a:rPr lang="en-US" dirty="0"/>
              <a:t>Custom Role Entry Points</a:t>
            </a:r>
          </a:p>
        </p:txBody>
      </p:sp>
    </p:spTree>
    <p:extLst>
      <p:ext uri="{BB962C8B-B14F-4D97-AF65-F5344CB8AC3E}">
        <p14:creationId xmlns:p14="http://schemas.microsoft.com/office/powerpoint/2010/main" val="48680559"/>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152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Custom Role Entry Points</a:t>
            </a:r>
          </a:p>
        </p:txBody>
      </p:sp>
      <p:sp>
        <p:nvSpPr>
          <p:cNvPr id="3" name="Content Placeholder 2"/>
          <p:cNvSpPr>
            <a:spLocks noGrp="1"/>
          </p:cNvSpPr>
          <p:nvPr>
            <p:ph sz="quarter" idx="10"/>
            <p:custDataLst>
              <p:tags r:id="rId4"/>
            </p:custDataLst>
          </p:nvPr>
        </p:nvSpPr>
        <p:spPr>
          <a:xfrm>
            <a:off x="518160" y="1690689"/>
            <a:ext cx="11155680" cy="4370427"/>
          </a:xfrm>
          <a:noFill/>
        </p:spPr>
        <p:txBody>
          <a:bodyPr/>
          <a:lstStyle/>
          <a:p>
            <a:pPr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xml</a:t>
            </a:r>
            <a:r>
              <a:rPr lang="en-US" sz="1600" dirty="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version</a:t>
            </a:r>
            <a:r>
              <a:rPr lang="en-US" sz="1600" dirty="0">
                <a:ln>
                  <a:solidFill>
                    <a:srgbClr val="FFFFFF">
                      <a:alpha val="0"/>
                    </a:srgbClr>
                  </a:solidFill>
                </a:ln>
                <a:solidFill>
                  <a:schemeClr val="accent6"/>
                </a:solidFill>
              </a:rPr>
              <a:t>=</a:t>
            </a:r>
            <a:r>
              <a:rPr lang="en-US" sz="1600" dirty="0">
                <a:solidFill>
                  <a:schemeClr val="accent6"/>
                </a:solidFill>
              </a:rPr>
              <a:t>"</a:t>
            </a:r>
            <a:r>
              <a:rPr lang="en-US" sz="1600" dirty="0">
                <a:ln>
                  <a:solidFill>
                    <a:srgbClr val="FFFFFF">
                      <a:alpha val="0"/>
                    </a:srgbClr>
                  </a:solidFill>
                </a:ln>
                <a:solidFill>
                  <a:schemeClr val="accent6"/>
                </a:solidFill>
              </a:rPr>
              <a:t>1.0</a:t>
            </a:r>
            <a:r>
              <a:rPr lang="en-US" sz="1600" dirty="0">
                <a:solidFill>
                  <a:schemeClr val="accent6"/>
                </a:solidFill>
              </a:rPr>
              <a:t>"</a:t>
            </a:r>
            <a:r>
              <a:rPr lang="en-US" sz="1600" dirty="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encoding</a:t>
            </a:r>
            <a:r>
              <a:rPr lang="en-US" sz="1600" dirty="0">
                <a:ln>
                  <a:solidFill>
                    <a:srgbClr val="FFFFFF">
                      <a:alpha val="0"/>
                    </a:srgbClr>
                  </a:solidFill>
                </a:ln>
                <a:solidFill>
                  <a:schemeClr val="accent6"/>
                </a:solidFill>
              </a:rPr>
              <a:t>=</a:t>
            </a:r>
            <a:r>
              <a:rPr lang="en-US" sz="1600" dirty="0">
                <a:solidFill>
                  <a:schemeClr val="accent6"/>
                </a:solidFill>
              </a:rPr>
              <a:t>"</a:t>
            </a:r>
            <a:r>
              <a:rPr lang="en-US" sz="1600" dirty="0">
                <a:ln>
                  <a:solidFill>
                    <a:srgbClr val="FFFFFF">
                      <a:alpha val="0"/>
                    </a:srgbClr>
                  </a:solidFill>
                </a:ln>
                <a:solidFill>
                  <a:schemeClr val="accent6"/>
                </a:solidFill>
              </a:rPr>
              <a:t>utf-8</a:t>
            </a:r>
            <a:r>
              <a:rPr lang="en-US" sz="1600" dirty="0">
                <a:solidFill>
                  <a:schemeClr val="accent6"/>
                </a:solidFill>
              </a:rPr>
              <a:t>"</a:t>
            </a:r>
            <a:r>
              <a:rPr lang="en-US" sz="1600" dirty="0">
                <a:ln>
                  <a:solidFill>
                    <a:srgbClr val="FFFFFF">
                      <a:alpha val="0"/>
                    </a:srgbClr>
                  </a:solidFill>
                </a:ln>
                <a:solidFill>
                  <a:schemeClr val="accent6"/>
                </a:solidFill>
              </a:rPr>
              <a:t>?&gt;</a:t>
            </a:r>
          </a:p>
          <a:p>
            <a:pPr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ServiceDefinition </a:t>
            </a:r>
            <a:r>
              <a:rPr lang="en-US" sz="1600" dirty="0">
                <a:ln>
                  <a:solidFill>
                    <a:srgbClr val="FFFFFF">
                      <a:alpha val="0"/>
                    </a:srgbClr>
                  </a:solidFill>
                </a:ln>
                <a:solidFill>
                  <a:schemeClr val="accent5"/>
                </a:solidFill>
              </a:rPr>
              <a:t>name</a:t>
            </a:r>
            <a:r>
              <a:rPr lang="en-US" sz="1600" dirty="0">
                <a:ln>
                  <a:solidFill>
                    <a:srgbClr val="FFFFFF">
                      <a:alpha val="0"/>
                    </a:srgbClr>
                  </a:solidFill>
                </a:ln>
                <a:solidFill>
                  <a:schemeClr val="accent6"/>
                </a:solidFill>
              </a:rPr>
              <a:t>=</a:t>
            </a:r>
            <a:r>
              <a:rPr lang="en-US" sz="1600" dirty="0">
                <a:solidFill>
                  <a:schemeClr val="accent6"/>
                </a:solidFill>
              </a:rPr>
              <a:t>"</a:t>
            </a:r>
            <a:r>
              <a:rPr lang="en-US" sz="1600" dirty="0">
                <a:ln>
                  <a:solidFill>
                    <a:srgbClr val="FFFFFF">
                      <a:alpha val="0"/>
                    </a:srgbClr>
                  </a:solidFill>
                </a:ln>
                <a:solidFill>
                  <a:schemeClr val="accent6"/>
                </a:solidFill>
              </a:rPr>
              <a:t>WindowsAzureProject11</a:t>
            </a:r>
            <a:r>
              <a:rPr lang="en-US" sz="1600" dirty="0">
                <a:solidFill>
                  <a:schemeClr val="accent6"/>
                </a:solidFill>
              </a:rPr>
              <a:t>"</a:t>
            </a:r>
            <a:r>
              <a:rPr lang="en-US" sz="1600" dirty="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xmlns</a:t>
            </a:r>
            <a:r>
              <a:rPr lang="en-US" sz="1600" dirty="0">
                <a:ln>
                  <a:solidFill>
                    <a:srgbClr val="FFFFFF">
                      <a:alpha val="0"/>
                    </a:srgbClr>
                  </a:solidFill>
                </a:ln>
                <a:solidFill>
                  <a:schemeClr val="accent6"/>
                </a:solidFill>
              </a:rPr>
              <a:t>=</a:t>
            </a:r>
            <a:r>
              <a:rPr lang="en-US" sz="1600" dirty="0">
                <a:solidFill>
                  <a:schemeClr val="accent6"/>
                </a:solidFill>
              </a:rPr>
              <a:t>"</a:t>
            </a:r>
            <a:r>
              <a:rPr lang="en-US" sz="1600" u="sng" dirty="0">
                <a:ln>
                  <a:solidFill>
                    <a:srgbClr val="FFFFFF">
                      <a:alpha val="0"/>
                    </a:srgbClr>
                  </a:solidFill>
                </a:ln>
                <a:solidFill>
                  <a:schemeClr val="accent6"/>
                </a:solidFill>
              </a:rPr>
              <a:t>http://schemas.microsoft.com/ServiceHosting/2008/10/ServiceDefinition</a:t>
            </a:r>
            <a:r>
              <a:rPr lang="en-US" sz="1600" dirty="0">
                <a:solidFill>
                  <a:schemeClr val="accent6"/>
                </a:solidFill>
              </a:rPr>
              <a:t>"</a:t>
            </a:r>
            <a:r>
              <a:rPr lang="en-US" sz="1600" dirty="0">
                <a:ln>
                  <a:solidFill>
                    <a:srgbClr val="FFFFFF">
                      <a:alpha val="0"/>
                    </a:srgbClr>
                  </a:solidFill>
                </a:ln>
                <a:solidFill>
                  <a:schemeClr val="accent6"/>
                </a:solidFill>
              </a:rPr>
              <a:t>&gt;</a:t>
            </a:r>
          </a:p>
          <a:p>
            <a:pPr marL="22860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WorkerRole </a:t>
            </a:r>
            <a:r>
              <a:rPr lang="en-US" sz="1600" dirty="0">
                <a:ln>
                  <a:solidFill>
                    <a:srgbClr val="FFFFFF">
                      <a:alpha val="0"/>
                    </a:srgbClr>
                  </a:solidFill>
                </a:ln>
                <a:solidFill>
                  <a:schemeClr val="accent5"/>
                </a:solidFill>
              </a:rPr>
              <a:t>name</a:t>
            </a:r>
            <a:r>
              <a:rPr lang="en-US" sz="1600" dirty="0">
                <a:ln>
                  <a:solidFill>
                    <a:srgbClr val="FFFFFF">
                      <a:alpha val="0"/>
                    </a:srgbClr>
                  </a:solidFill>
                </a:ln>
                <a:solidFill>
                  <a:schemeClr val="accent6"/>
                </a:solidFill>
              </a:rPr>
              <a:t>=</a:t>
            </a:r>
            <a:r>
              <a:rPr lang="en-US" sz="1600" dirty="0">
                <a:solidFill>
                  <a:schemeClr val="accent6"/>
                </a:solidFill>
              </a:rPr>
              <a:t>"</a:t>
            </a:r>
            <a:r>
              <a:rPr lang="en-US" sz="1600" dirty="0">
                <a:ln>
                  <a:solidFill>
                    <a:srgbClr val="FFFFFF">
                      <a:alpha val="0"/>
                    </a:srgbClr>
                  </a:solidFill>
                </a:ln>
                <a:solidFill>
                  <a:schemeClr val="accent6"/>
                </a:solidFill>
              </a:rPr>
              <a:t>WorkerRole1</a:t>
            </a:r>
            <a:r>
              <a:rPr lang="en-US" sz="1600" dirty="0">
                <a:solidFill>
                  <a:schemeClr val="accent6"/>
                </a:solidFill>
              </a:rPr>
              <a:t>"</a:t>
            </a:r>
            <a:r>
              <a:rPr lang="en-US" sz="1600" dirty="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vmsize</a:t>
            </a:r>
            <a:r>
              <a:rPr lang="en-US" sz="1600" dirty="0">
                <a:ln>
                  <a:solidFill>
                    <a:srgbClr val="FFFFFF">
                      <a:alpha val="0"/>
                    </a:srgbClr>
                  </a:solidFill>
                </a:ln>
                <a:solidFill>
                  <a:schemeClr val="accent6"/>
                </a:solidFill>
              </a:rPr>
              <a:t>=</a:t>
            </a:r>
            <a:r>
              <a:rPr lang="en-US" sz="1600" dirty="0">
                <a:solidFill>
                  <a:schemeClr val="accent6"/>
                </a:solidFill>
              </a:rPr>
              <a:t>"</a:t>
            </a:r>
            <a:r>
              <a:rPr lang="en-US" sz="1600" dirty="0">
                <a:ln>
                  <a:solidFill>
                    <a:srgbClr val="FFFFFF">
                      <a:alpha val="0"/>
                    </a:srgbClr>
                  </a:solidFill>
                </a:ln>
                <a:solidFill>
                  <a:schemeClr val="accent6"/>
                </a:solidFill>
              </a:rPr>
              <a:t>Small</a:t>
            </a:r>
            <a:r>
              <a:rPr lang="en-US" sz="1600" dirty="0">
                <a:solidFill>
                  <a:schemeClr val="accent6"/>
                </a:solidFill>
              </a:rPr>
              <a:t>"</a:t>
            </a:r>
            <a:r>
              <a:rPr lang="en-US" sz="1600" dirty="0">
                <a:ln>
                  <a:solidFill>
                    <a:srgbClr val="FFFFFF">
                      <a:alpha val="0"/>
                    </a:srgbClr>
                  </a:solidFill>
                </a:ln>
                <a:solidFill>
                  <a:schemeClr val="accent6"/>
                </a:solidFill>
              </a:rPr>
              <a:t>&gt;</a:t>
            </a:r>
          </a:p>
          <a:p>
            <a:pPr marL="63500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Runtime</a:t>
            </a:r>
            <a:r>
              <a:rPr lang="en-US" sz="1600" dirty="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executionContext</a:t>
            </a:r>
            <a:r>
              <a:rPr lang="en-US" sz="1600" dirty="0">
                <a:ln>
                  <a:solidFill>
                    <a:srgbClr val="FFFFFF">
                      <a:alpha val="0"/>
                    </a:srgbClr>
                  </a:solidFill>
                </a:ln>
                <a:solidFill>
                  <a:schemeClr val="accent6"/>
                </a:solidFill>
              </a:rPr>
              <a:t>=</a:t>
            </a:r>
            <a:r>
              <a:rPr lang="en-US" sz="1600" dirty="0">
                <a:solidFill>
                  <a:schemeClr val="accent6"/>
                </a:solidFill>
              </a:rPr>
              <a:t>"</a:t>
            </a:r>
            <a:r>
              <a:rPr lang="en-US" sz="1600" dirty="0">
                <a:ln>
                  <a:solidFill>
                    <a:srgbClr val="FFFFFF">
                      <a:alpha val="0"/>
                    </a:srgbClr>
                  </a:solidFill>
                </a:ln>
                <a:solidFill>
                  <a:schemeClr val="accent6"/>
                </a:solidFill>
              </a:rPr>
              <a:t>limited</a:t>
            </a:r>
            <a:r>
              <a:rPr lang="en-US" sz="1600" dirty="0">
                <a:solidFill>
                  <a:schemeClr val="accent6"/>
                </a:solidFill>
              </a:rPr>
              <a:t>"</a:t>
            </a:r>
            <a:r>
              <a:rPr lang="en-US" sz="1600" dirty="0">
                <a:ln>
                  <a:solidFill>
                    <a:srgbClr val="FFFFFF">
                      <a:alpha val="0"/>
                    </a:srgbClr>
                  </a:solidFill>
                </a:ln>
                <a:solidFill>
                  <a:schemeClr val="accent6"/>
                </a:solidFill>
              </a:rPr>
              <a:t>&gt;</a:t>
            </a:r>
          </a:p>
          <a:p>
            <a:pPr marL="91440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EntryPoint</a:t>
            </a:r>
            <a:r>
              <a:rPr lang="en-US" sz="1600" dirty="0">
                <a:ln>
                  <a:solidFill>
                    <a:srgbClr val="FFFFFF">
                      <a:alpha val="0"/>
                    </a:srgbClr>
                  </a:solidFill>
                </a:ln>
                <a:solidFill>
                  <a:schemeClr val="accent6"/>
                </a:solidFill>
              </a:rPr>
              <a:t>&gt;</a:t>
            </a:r>
          </a:p>
          <a:p>
            <a:pPr marL="137160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ProgramEntryPoint </a:t>
            </a:r>
            <a:r>
              <a:rPr lang="en-US" sz="1600" dirty="0">
                <a:ln>
                  <a:solidFill>
                    <a:srgbClr val="FFFFFF">
                      <a:alpha val="0"/>
                    </a:srgbClr>
                  </a:solidFill>
                </a:ln>
                <a:solidFill>
                  <a:schemeClr val="accent5"/>
                </a:solidFill>
              </a:rPr>
              <a:t>commandLine</a:t>
            </a:r>
            <a:r>
              <a:rPr lang="en-US" sz="1600" dirty="0">
                <a:ln>
                  <a:solidFill>
                    <a:srgbClr val="FFFFFF">
                      <a:alpha val="0"/>
                    </a:srgbClr>
                  </a:solidFill>
                </a:ln>
                <a:solidFill>
                  <a:schemeClr val="accent6"/>
                </a:solidFill>
              </a:rPr>
              <a:t>=</a:t>
            </a:r>
            <a:r>
              <a:rPr lang="en-US" sz="1600" dirty="0">
                <a:solidFill>
                  <a:schemeClr val="accent6"/>
                </a:solidFill>
              </a:rPr>
              <a:t>"</a:t>
            </a:r>
            <a:r>
              <a:rPr lang="en-US" sz="1600" dirty="0">
                <a:ln>
                  <a:solidFill>
                    <a:srgbClr val="FFFFFF">
                      <a:alpha val="0"/>
                    </a:srgbClr>
                  </a:solidFill>
                </a:ln>
                <a:solidFill>
                  <a:schemeClr val="accent6"/>
                </a:solidFill>
              </a:rPr>
              <a:t>myProcess.exe</a:t>
            </a:r>
            <a:r>
              <a:rPr lang="en-US" sz="1600" dirty="0">
                <a:solidFill>
                  <a:schemeClr val="accent6"/>
                </a:solidFill>
              </a:rPr>
              <a:t>"</a:t>
            </a:r>
            <a:r>
              <a:rPr lang="en-US" sz="1600" dirty="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setReadyOnProcessStart</a:t>
            </a:r>
            <a:r>
              <a:rPr lang="en-US" sz="1600" dirty="0">
                <a:ln>
                  <a:solidFill>
                    <a:srgbClr val="FFFFFF">
                      <a:alpha val="0"/>
                    </a:srgbClr>
                  </a:solidFill>
                </a:ln>
                <a:solidFill>
                  <a:schemeClr val="accent6"/>
                </a:solidFill>
              </a:rPr>
              <a:t>=</a:t>
            </a:r>
            <a:r>
              <a:rPr lang="en-US" sz="1600" dirty="0">
                <a:solidFill>
                  <a:schemeClr val="accent6"/>
                </a:solidFill>
              </a:rPr>
              <a:t>"</a:t>
            </a:r>
            <a:r>
              <a:rPr lang="en-US" sz="1600" dirty="0">
                <a:ln>
                  <a:solidFill>
                    <a:srgbClr val="FFFFFF">
                      <a:alpha val="0"/>
                    </a:srgbClr>
                  </a:solidFill>
                </a:ln>
                <a:solidFill>
                  <a:schemeClr val="accent6"/>
                </a:solidFill>
              </a:rPr>
              <a:t>true</a:t>
            </a:r>
            <a:r>
              <a:rPr lang="en-US" sz="1600" dirty="0">
                <a:solidFill>
                  <a:schemeClr val="accent6"/>
                </a:solidFill>
              </a:rPr>
              <a:t>"</a:t>
            </a:r>
            <a:r>
              <a:rPr lang="en-US" sz="1600" dirty="0">
                <a:ln>
                  <a:solidFill>
                    <a:srgbClr val="FFFFFF">
                      <a:alpha val="0"/>
                    </a:srgbClr>
                  </a:solidFill>
                </a:ln>
                <a:solidFill>
                  <a:schemeClr val="accent6"/>
                </a:solidFill>
              </a:rPr>
              <a:t> /&gt;</a:t>
            </a:r>
          </a:p>
          <a:p>
            <a:pPr marL="91440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EntryPoint</a:t>
            </a:r>
            <a:r>
              <a:rPr lang="en-US" sz="1600" dirty="0">
                <a:ln>
                  <a:solidFill>
                    <a:srgbClr val="FFFFFF">
                      <a:alpha val="0"/>
                    </a:srgbClr>
                  </a:solidFill>
                </a:ln>
                <a:solidFill>
                  <a:schemeClr val="accent6"/>
                </a:solidFill>
              </a:rPr>
              <a:t>&gt;</a:t>
            </a:r>
          </a:p>
          <a:p>
            <a:pPr marL="80010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Runtime</a:t>
            </a:r>
            <a:r>
              <a:rPr lang="en-US" sz="1600" dirty="0">
                <a:ln>
                  <a:solidFill>
                    <a:srgbClr val="FFFFFF">
                      <a:alpha val="0"/>
                    </a:srgbClr>
                  </a:solidFill>
                </a:ln>
                <a:solidFill>
                  <a:schemeClr val="accent6"/>
                </a:solidFill>
              </a:rPr>
              <a:t>&gt;</a:t>
            </a:r>
          </a:p>
          <a:p>
            <a:pPr marL="80010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Endpoints</a:t>
            </a:r>
            <a:r>
              <a:rPr lang="en-US" sz="1600" dirty="0">
                <a:ln>
                  <a:solidFill>
                    <a:srgbClr val="FFFFFF">
                      <a:alpha val="0"/>
                    </a:srgbClr>
                  </a:solidFill>
                </a:ln>
                <a:solidFill>
                  <a:schemeClr val="accent6"/>
                </a:solidFill>
              </a:rPr>
              <a:t>&gt;</a:t>
            </a:r>
          </a:p>
          <a:p>
            <a:pPr marL="91440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InputEndpoint </a:t>
            </a:r>
            <a:r>
              <a:rPr lang="en-US" sz="1600" dirty="0">
                <a:ln>
                  <a:solidFill>
                    <a:srgbClr val="FFFFFF">
                      <a:alpha val="0"/>
                    </a:srgbClr>
                  </a:solidFill>
                </a:ln>
                <a:solidFill>
                  <a:schemeClr val="accent5"/>
                </a:solidFill>
              </a:rPr>
              <a:t>name</a:t>
            </a:r>
            <a:r>
              <a:rPr lang="en-US" sz="1600" dirty="0">
                <a:ln>
                  <a:solidFill>
                    <a:srgbClr val="FFFFFF">
                      <a:alpha val="0"/>
                    </a:srgbClr>
                  </a:solidFill>
                </a:ln>
                <a:solidFill>
                  <a:schemeClr val="accent6"/>
                </a:solidFill>
              </a:rPr>
              <a:t>=</a:t>
            </a:r>
            <a:r>
              <a:rPr lang="en-US" sz="1600" dirty="0">
                <a:solidFill>
                  <a:schemeClr val="accent6"/>
                </a:solidFill>
              </a:rPr>
              <a:t>"</a:t>
            </a:r>
            <a:r>
              <a:rPr lang="en-US" sz="1600" dirty="0">
                <a:ln>
                  <a:solidFill>
                    <a:srgbClr val="FFFFFF">
                      <a:alpha val="0"/>
                    </a:srgbClr>
                  </a:solidFill>
                </a:ln>
                <a:solidFill>
                  <a:schemeClr val="accent6"/>
                </a:solidFill>
              </a:rPr>
              <a:t>Endpoint1</a:t>
            </a:r>
            <a:r>
              <a:rPr lang="en-US" sz="1600" dirty="0">
                <a:solidFill>
                  <a:schemeClr val="accent6"/>
                </a:solidFill>
              </a:rPr>
              <a:t>"</a:t>
            </a:r>
            <a:r>
              <a:rPr lang="en-US" sz="1600" dirty="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protocol</a:t>
            </a:r>
            <a:r>
              <a:rPr lang="en-US" sz="1600" dirty="0">
                <a:ln>
                  <a:solidFill>
                    <a:srgbClr val="FFFFFF">
                      <a:alpha val="0"/>
                    </a:srgbClr>
                  </a:solidFill>
                </a:ln>
                <a:solidFill>
                  <a:schemeClr val="accent6"/>
                </a:solidFill>
              </a:rPr>
              <a:t>=</a:t>
            </a:r>
            <a:r>
              <a:rPr lang="en-US" sz="1600" dirty="0">
                <a:solidFill>
                  <a:schemeClr val="accent6"/>
                </a:solidFill>
              </a:rPr>
              <a:t>"</a:t>
            </a:r>
            <a:r>
              <a:rPr lang="en-US" sz="1600" dirty="0">
                <a:ln>
                  <a:solidFill>
                    <a:srgbClr val="FFFFFF">
                      <a:alpha val="0"/>
                    </a:srgbClr>
                  </a:solidFill>
                </a:ln>
                <a:solidFill>
                  <a:schemeClr val="accent6"/>
                </a:solidFill>
              </a:rPr>
              <a:t>tcp</a:t>
            </a:r>
            <a:r>
              <a:rPr lang="en-US" sz="1600" dirty="0">
                <a:solidFill>
                  <a:schemeClr val="accent6"/>
                </a:solidFill>
              </a:rPr>
              <a:t>"</a:t>
            </a:r>
            <a:r>
              <a:rPr lang="en-US" sz="1600" dirty="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port</a:t>
            </a:r>
            <a:r>
              <a:rPr lang="en-US" sz="1600" dirty="0">
                <a:ln>
                  <a:solidFill>
                    <a:srgbClr val="FFFFFF">
                      <a:alpha val="0"/>
                    </a:srgbClr>
                  </a:solidFill>
                </a:ln>
                <a:solidFill>
                  <a:schemeClr val="accent6"/>
                </a:solidFill>
              </a:rPr>
              <a:t>=</a:t>
            </a:r>
            <a:r>
              <a:rPr lang="en-US" sz="1600" dirty="0">
                <a:solidFill>
                  <a:schemeClr val="accent6"/>
                </a:solidFill>
              </a:rPr>
              <a:t>"</a:t>
            </a:r>
            <a:r>
              <a:rPr lang="en-US" sz="1600" dirty="0">
                <a:ln>
                  <a:solidFill>
                    <a:srgbClr val="FFFFFF">
                      <a:alpha val="0"/>
                    </a:srgbClr>
                  </a:solidFill>
                </a:ln>
                <a:solidFill>
                  <a:schemeClr val="accent6"/>
                </a:solidFill>
              </a:rPr>
              <a:t>80</a:t>
            </a:r>
            <a:r>
              <a:rPr lang="en-US" sz="1600" dirty="0">
                <a:solidFill>
                  <a:schemeClr val="accent6"/>
                </a:solidFill>
              </a:rPr>
              <a:t>" </a:t>
            </a:r>
            <a:r>
              <a:rPr lang="en-US" sz="1600" dirty="0">
                <a:ln>
                  <a:solidFill>
                    <a:srgbClr val="FFFFFF">
                      <a:alpha val="0"/>
                    </a:srgbClr>
                  </a:solidFill>
                </a:ln>
                <a:solidFill>
                  <a:schemeClr val="accent6"/>
                </a:solidFill>
              </a:rPr>
              <a:t>/&gt;</a:t>
            </a:r>
          </a:p>
          <a:p>
            <a:pPr marL="63500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Endpoints</a:t>
            </a:r>
            <a:r>
              <a:rPr lang="en-US" sz="1600" dirty="0">
                <a:ln>
                  <a:solidFill>
                    <a:srgbClr val="FFFFFF">
                      <a:alpha val="0"/>
                    </a:srgbClr>
                  </a:solidFill>
                </a:ln>
                <a:solidFill>
                  <a:schemeClr val="accent6"/>
                </a:solidFill>
              </a:rPr>
              <a:t>&gt;</a:t>
            </a:r>
          </a:p>
          <a:p>
            <a:pPr marL="22860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WorkerRole</a:t>
            </a:r>
            <a:r>
              <a:rPr lang="en-US" sz="1600" dirty="0">
                <a:ln>
                  <a:solidFill>
                    <a:srgbClr val="FFFFFF">
                      <a:alpha val="0"/>
                    </a:srgbClr>
                  </a:solidFill>
                </a:ln>
                <a:solidFill>
                  <a:schemeClr val="accent6"/>
                </a:solidFill>
              </a:rPr>
              <a:t>&gt;</a:t>
            </a:r>
          </a:p>
          <a:p>
            <a:pPr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ServiceDefinition</a:t>
            </a:r>
            <a:r>
              <a:rPr lang="en-US" sz="1600" dirty="0">
                <a:ln>
                  <a:solidFill>
                    <a:srgbClr val="FFFFFF">
                      <a:alpha val="0"/>
                    </a:srgbClr>
                  </a:solidFill>
                </a:ln>
                <a:solidFill>
                  <a:schemeClr val="accent6"/>
                </a:solidFill>
              </a:rPr>
              <a:t>&gt;</a:t>
            </a:r>
          </a:p>
        </p:txBody>
      </p:sp>
    </p:spTree>
    <p:extLst>
      <p:ext uri="{BB962C8B-B14F-4D97-AF65-F5344CB8AC3E}">
        <p14:creationId xmlns:p14="http://schemas.microsoft.com/office/powerpoint/2010/main" val="2819964800"/>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5392" y="2742861"/>
            <a:ext cx="6945312" cy="2591479"/>
          </a:xfrm>
        </p:spPr>
        <p:txBody>
          <a:bodyPr/>
          <a:lstStyle/>
          <a:p>
            <a:r>
              <a:rPr lang="en-US" dirty="0" smtClean="0"/>
              <a:t>Windows Azure</a:t>
            </a:r>
          </a:p>
          <a:p>
            <a:r>
              <a:rPr lang="en-US" dirty="0" smtClean="0"/>
              <a:t>Cloud Services</a:t>
            </a:r>
          </a:p>
          <a:p>
            <a:r>
              <a:rPr lang="en-US" dirty="0" smtClean="0"/>
              <a:t>SQL Database</a:t>
            </a:r>
          </a:p>
        </p:txBody>
      </p:sp>
    </p:spTree>
    <p:extLst>
      <p:ext uri="{BB962C8B-B14F-4D97-AF65-F5344CB8AC3E}">
        <p14:creationId xmlns:p14="http://schemas.microsoft.com/office/powerpoint/2010/main" val="639991892"/>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254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Rectangle 4"/>
          <p:cNvSpPr/>
          <p:nvPr/>
        </p:nvSpPr>
        <p:spPr>
          <a:xfrm>
            <a:off x="519114"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5" name="Group 14"/>
          <p:cNvGrpSpPr/>
          <p:nvPr/>
        </p:nvGrpSpPr>
        <p:grpSpPr>
          <a:xfrm>
            <a:off x="668852" y="1858123"/>
            <a:ext cx="10779179" cy="3757547"/>
            <a:chOff x="667263" y="228600"/>
            <a:chExt cx="10779179" cy="5353282"/>
          </a:xfrm>
        </p:grpSpPr>
        <p:sp>
          <p:nvSpPr>
            <p:cNvPr id="6" name="Rectangle 5"/>
            <p:cNvSpPr/>
            <p:nvPr/>
          </p:nvSpPr>
          <p:spPr bwMode="auto">
            <a:xfrm>
              <a:off x="684003" y="2983041"/>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 name="Rectangle 6"/>
            <p:cNvSpPr/>
            <p:nvPr/>
          </p:nvSpPr>
          <p:spPr bwMode="auto">
            <a:xfrm>
              <a:off x="4327863" y="2983041"/>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Rectangle 7"/>
            <p:cNvSpPr/>
            <p:nvPr/>
          </p:nvSpPr>
          <p:spPr bwMode="auto">
            <a:xfrm>
              <a:off x="7971722" y="228600"/>
              <a:ext cx="3474720" cy="535328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Rectangle 11"/>
            <p:cNvSpPr/>
            <p:nvPr/>
          </p:nvSpPr>
          <p:spPr bwMode="auto">
            <a:xfrm>
              <a:off x="667263" y="228600"/>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 name="Rectangle 12"/>
            <p:cNvSpPr/>
            <p:nvPr/>
          </p:nvSpPr>
          <p:spPr bwMode="auto">
            <a:xfrm>
              <a:off x="4311123" y="228600"/>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9" name="TextBox 8"/>
          <p:cNvSpPr txBox="1"/>
          <p:nvPr/>
        </p:nvSpPr>
        <p:spPr>
          <a:xfrm>
            <a:off x="4400688" y="3845200"/>
            <a:ext cx="3474720" cy="1329595"/>
          </a:xfrm>
          <a:prstGeom prst="rect">
            <a:avLst/>
          </a:prstGeom>
          <a:noFill/>
        </p:spPr>
        <p:txBody>
          <a:bodyPr wrap="square" lIns="91440" tIns="0" rIns="0" bIns="0" rtlCol="0">
            <a:spAutoFit/>
          </a:bodyPr>
          <a:lstStyle/>
          <a:p>
            <a:pPr defTabSz="914363">
              <a:lnSpc>
                <a:spcPct val="90000"/>
              </a:lnSpc>
              <a:spcBef>
                <a:spcPct val="20000"/>
              </a:spcBef>
              <a:buSzPct val="80000"/>
            </a:pPr>
            <a:r>
              <a:rPr lang="en-US" sz="3200" dirty="0">
                <a:solidFill>
                  <a:srgbClr val="FFFFFF">
                    <a:alpha val="99000"/>
                  </a:srgbClr>
                </a:solidFill>
                <a:latin typeface="Segoe UI Light" pitchFamily="34" charset="0"/>
              </a:rPr>
              <a:t>More small instances == more redundancy</a:t>
            </a:r>
          </a:p>
        </p:txBody>
      </p:sp>
      <p:sp>
        <p:nvSpPr>
          <p:cNvPr id="10" name="TextBox 9"/>
          <p:cNvSpPr txBox="1"/>
          <p:nvPr/>
        </p:nvSpPr>
        <p:spPr>
          <a:xfrm>
            <a:off x="8109626" y="1974183"/>
            <a:ext cx="3163342" cy="2560701"/>
          </a:xfrm>
          <a:prstGeom prst="rect">
            <a:avLst/>
          </a:prstGeom>
          <a:noFill/>
        </p:spPr>
        <p:txBody>
          <a:bodyPr wrap="square" lIns="91440" tIns="0" rIns="0" bIns="0" rtlCol="0">
            <a:spAutoFit/>
          </a:bodyPr>
          <a:lstStyle/>
          <a:p>
            <a:pPr defTabSz="914363">
              <a:lnSpc>
                <a:spcPct val="90000"/>
              </a:lnSpc>
              <a:spcBef>
                <a:spcPct val="20000"/>
              </a:spcBef>
              <a:buSzPct val="80000"/>
            </a:pPr>
            <a:r>
              <a:rPr lang="en-US" sz="3200" dirty="0">
                <a:solidFill>
                  <a:srgbClr val="FFFFFF">
                    <a:alpha val="99000"/>
                  </a:srgbClr>
                </a:solidFill>
                <a:latin typeface="Segoe UI Light" pitchFamily="34" charset="0"/>
              </a:rPr>
              <a:t>Some scenarios will benefit from more cores</a:t>
            </a:r>
          </a:p>
          <a:p>
            <a:pPr defTabSz="914363">
              <a:lnSpc>
                <a:spcPct val="90000"/>
              </a:lnSpc>
              <a:spcBef>
                <a:spcPct val="20000"/>
              </a:spcBef>
              <a:buSzPct val="80000"/>
            </a:pPr>
            <a:r>
              <a:rPr lang="en-US" sz="2000" dirty="0">
                <a:solidFill>
                  <a:srgbClr val="FFFFFF">
                    <a:alpha val="99000"/>
                  </a:srgbClr>
                </a:solidFill>
              </a:rPr>
              <a:t>Where moving data &gt;$ parallel overhead</a:t>
            </a:r>
          </a:p>
          <a:p>
            <a:pPr defTabSz="914363">
              <a:lnSpc>
                <a:spcPct val="90000"/>
              </a:lnSpc>
              <a:spcBef>
                <a:spcPct val="20000"/>
              </a:spcBef>
              <a:buSzPct val="80000"/>
            </a:pPr>
            <a:r>
              <a:rPr lang="en-US" sz="2000" dirty="0">
                <a:solidFill>
                  <a:srgbClr val="FFFFFF">
                    <a:alpha val="99000"/>
                  </a:srgbClr>
                </a:solidFill>
              </a:rPr>
              <a:t>E.g. Video processing, Stateful services (DBMS)</a:t>
            </a:r>
          </a:p>
        </p:txBody>
      </p:sp>
      <p:sp>
        <p:nvSpPr>
          <p:cNvPr id="2" name="Title 1"/>
          <p:cNvSpPr>
            <a:spLocks noGrp="1"/>
          </p:cNvSpPr>
          <p:nvPr>
            <p:ph type="title"/>
            <p:custDataLst>
              <p:tags r:id="rId3"/>
            </p:custDataLst>
          </p:nvPr>
        </p:nvSpPr>
        <p:spPr/>
        <p:txBody>
          <a:bodyPr/>
          <a:lstStyle/>
          <a:p>
            <a:r>
              <a:rPr lang="en-US" dirty="0" smtClean="0"/>
              <a:t>Choosing Your VM Size</a:t>
            </a:r>
            <a:endParaRPr lang="en-US" dirty="0"/>
          </a:p>
        </p:txBody>
      </p:sp>
      <p:sp>
        <p:nvSpPr>
          <p:cNvPr id="16" name="TextBox 15"/>
          <p:cNvSpPr txBox="1"/>
          <p:nvPr/>
        </p:nvSpPr>
        <p:spPr>
          <a:xfrm>
            <a:off x="717163" y="1974183"/>
            <a:ext cx="3203282" cy="1329595"/>
          </a:xfrm>
          <a:prstGeom prst="rect">
            <a:avLst/>
          </a:prstGeom>
          <a:noFill/>
        </p:spPr>
        <p:txBody>
          <a:bodyPr wrap="square" lIns="91440" tIns="0" rIns="0" bIns="0" rtlCol="0">
            <a:spAutoFit/>
          </a:bodyPr>
          <a:lstStyle/>
          <a:p>
            <a:pPr defTabSz="914363">
              <a:lnSpc>
                <a:spcPct val="90000"/>
              </a:lnSpc>
              <a:spcBef>
                <a:spcPct val="20000"/>
              </a:spcBef>
              <a:buSzPct val="80000"/>
            </a:pPr>
            <a:r>
              <a:rPr lang="en-US" sz="3200" dirty="0">
                <a:solidFill>
                  <a:srgbClr val="FFFFFF">
                    <a:alpha val="99000"/>
                  </a:srgbClr>
                </a:solidFill>
                <a:latin typeface="Segoe UI Light" pitchFamily="34" charset="0"/>
              </a:rPr>
              <a:t>Don’t just throw big VMs at every problem</a:t>
            </a:r>
          </a:p>
        </p:txBody>
      </p:sp>
      <p:sp>
        <p:nvSpPr>
          <p:cNvPr id="17" name="TextBox 16"/>
          <p:cNvSpPr txBox="1"/>
          <p:nvPr/>
        </p:nvSpPr>
        <p:spPr>
          <a:xfrm>
            <a:off x="4361023" y="1974183"/>
            <a:ext cx="3474720" cy="1329595"/>
          </a:xfrm>
          <a:prstGeom prst="rect">
            <a:avLst/>
          </a:prstGeom>
          <a:noFill/>
        </p:spPr>
        <p:txBody>
          <a:bodyPr wrap="square" lIns="91440" tIns="0" rIns="0" bIns="0" rtlCol="0">
            <a:spAutoFit/>
          </a:bodyPr>
          <a:lstStyle/>
          <a:p>
            <a:pPr defTabSz="914363">
              <a:lnSpc>
                <a:spcPct val="90000"/>
              </a:lnSpc>
              <a:spcBef>
                <a:spcPct val="20000"/>
              </a:spcBef>
              <a:buSzPct val="80000"/>
            </a:pPr>
            <a:r>
              <a:rPr lang="en-US" sz="3200" dirty="0">
                <a:solidFill>
                  <a:srgbClr val="FFFFFF">
                    <a:alpha val="99000"/>
                  </a:srgbClr>
                </a:solidFill>
                <a:latin typeface="Segoe UI Light" pitchFamily="34" charset="0"/>
              </a:rPr>
              <a:t>Scale out architectures have natural parallelism</a:t>
            </a:r>
          </a:p>
        </p:txBody>
      </p:sp>
      <p:sp>
        <p:nvSpPr>
          <p:cNvPr id="18" name="TextBox 17"/>
          <p:cNvSpPr txBox="1"/>
          <p:nvPr/>
        </p:nvSpPr>
        <p:spPr>
          <a:xfrm>
            <a:off x="837991" y="3855859"/>
            <a:ext cx="3474720" cy="1329595"/>
          </a:xfrm>
          <a:prstGeom prst="rect">
            <a:avLst/>
          </a:prstGeom>
          <a:noFill/>
        </p:spPr>
        <p:txBody>
          <a:bodyPr wrap="square" lIns="91440" tIns="0" rIns="0" bIns="0" rtlCol="0">
            <a:spAutoFit/>
          </a:bodyPr>
          <a:lstStyle/>
          <a:p>
            <a:pPr defTabSz="914363">
              <a:lnSpc>
                <a:spcPct val="90000"/>
              </a:lnSpc>
              <a:spcBef>
                <a:spcPct val="20000"/>
              </a:spcBef>
              <a:buSzPct val="80000"/>
            </a:pPr>
            <a:r>
              <a:rPr lang="en-US" sz="3200" dirty="0">
                <a:solidFill>
                  <a:srgbClr val="FFFFFF">
                    <a:alpha val="99000"/>
                  </a:srgbClr>
                </a:solidFill>
                <a:latin typeface="Segoe UI Light" pitchFamily="34" charset="0"/>
              </a:rPr>
              <a:t>Test various configurations under load</a:t>
            </a:r>
          </a:p>
        </p:txBody>
      </p:sp>
    </p:spTree>
    <p:extLst>
      <p:ext uri="{BB962C8B-B14F-4D97-AF65-F5344CB8AC3E}">
        <p14:creationId xmlns:p14="http://schemas.microsoft.com/office/powerpoint/2010/main" val="3306961699"/>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custDataLst>
              <p:tags r:id="rId2"/>
            </p:custDataLst>
          </p:nvPr>
        </p:nvSpPr>
        <p:spPr>
          <a:xfrm>
            <a:off x="520701" y="1463676"/>
            <a:ext cx="11155680" cy="5370701"/>
          </a:xfrm>
        </p:spPr>
        <p:txBody>
          <a:bodyPr/>
          <a:lstStyle/>
          <a:p>
            <a:pPr>
              <a:spcBef>
                <a:spcPts val="1000"/>
              </a:spcBef>
            </a:pPr>
            <a:r>
              <a:rPr lang="en-US" sz="3600" dirty="0">
                <a:solidFill>
                  <a:schemeClr val="accent2">
                    <a:alpha val="99000"/>
                  </a:schemeClr>
                </a:solidFill>
                <a:latin typeface="Segoe UI Light" pitchFamily="34" charset="0"/>
              </a:rPr>
              <a:t>Input Endpoint</a:t>
            </a:r>
          </a:p>
          <a:p>
            <a:pPr marL="0" lvl="1"/>
            <a:r>
              <a:rPr lang="en-US" sz="2000" dirty="0"/>
              <a:t>Load-balanced endpoint. Stable  VIP per service.</a:t>
            </a:r>
          </a:p>
          <a:p>
            <a:pPr marL="0" lvl="1"/>
            <a:r>
              <a:rPr lang="en-US" sz="2000" dirty="0"/>
              <a:t>Single port per endpoint.</a:t>
            </a:r>
          </a:p>
          <a:p>
            <a:pPr marL="0" lvl="1"/>
            <a:r>
              <a:rPr lang="en-US" sz="2000" dirty="0"/>
              <a:t>Supported protocols: HTTP, HTTPS, TCP, UDP</a:t>
            </a:r>
            <a:endParaRPr lang="en-US" sz="3600" dirty="0">
              <a:solidFill>
                <a:schemeClr val="accent2">
                  <a:alpha val="99000"/>
                </a:schemeClr>
              </a:solidFill>
              <a:latin typeface="Segoe UI Light" pitchFamily="34" charset="0"/>
            </a:endParaRPr>
          </a:p>
          <a:p>
            <a:pPr>
              <a:spcBef>
                <a:spcPts val="1000"/>
              </a:spcBef>
            </a:pPr>
            <a:r>
              <a:rPr lang="en-US" sz="3600" dirty="0">
                <a:solidFill>
                  <a:schemeClr val="accent2">
                    <a:alpha val="99000"/>
                  </a:schemeClr>
                </a:solidFill>
                <a:latin typeface="Segoe UI Light" pitchFamily="34" charset="0"/>
              </a:rPr>
              <a:t>Internal Endpoint</a:t>
            </a:r>
          </a:p>
          <a:p>
            <a:pPr marL="0" lvl="1"/>
            <a:r>
              <a:rPr lang="en-US" sz="2000" dirty="0"/>
              <a:t>Instance-to-instance communication</a:t>
            </a:r>
          </a:p>
          <a:p>
            <a:pPr marL="0" lvl="1"/>
            <a:r>
              <a:rPr lang="en-US" sz="2000" dirty="0"/>
              <a:t>Supported protocols: HTTP, TCP, UDP</a:t>
            </a:r>
          </a:p>
          <a:p>
            <a:pPr marL="0" lvl="1"/>
            <a:r>
              <a:rPr lang="en-US" sz="2000" dirty="0"/>
              <a:t>Port range supported</a:t>
            </a:r>
            <a:endParaRPr lang="en-US" sz="3600" dirty="0">
              <a:solidFill>
                <a:schemeClr val="accent2">
                  <a:alpha val="99000"/>
                </a:schemeClr>
              </a:solidFill>
              <a:latin typeface="Segoe UI Light" pitchFamily="34" charset="0"/>
            </a:endParaRPr>
          </a:p>
          <a:p>
            <a:pPr>
              <a:spcBef>
                <a:spcPts val="1000"/>
              </a:spcBef>
            </a:pPr>
            <a:r>
              <a:rPr lang="en-US" sz="3600" dirty="0">
                <a:solidFill>
                  <a:schemeClr val="accent2">
                    <a:alpha val="99000"/>
                  </a:schemeClr>
                </a:solidFill>
                <a:latin typeface="Segoe UI Light" pitchFamily="34" charset="0"/>
              </a:rPr>
              <a:t>Instance Input Endpoint</a:t>
            </a:r>
          </a:p>
          <a:p>
            <a:pPr marL="0" lvl="1"/>
            <a:r>
              <a:rPr lang="en-US" sz="2000" dirty="0"/>
              <a:t>Address specific service role instance</a:t>
            </a:r>
          </a:p>
          <a:p>
            <a:pPr marL="0" lvl="1"/>
            <a:r>
              <a:rPr lang="en-US" sz="2000" dirty="0"/>
              <a:t>Supported protocols: TCP, UDP</a:t>
            </a:r>
          </a:p>
          <a:p>
            <a:pPr>
              <a:spcBef>
                <a:spcPts val="1000"/>
              </a:spcBef>
            </a:pPr>
            <a:endParaRPr lang="en-US" sz="3600" dirty="0">
              <a:solidFill>
                <a:schemeClr val="accent2">
                  <a:alpha val="99000"/>
                </a:schemeClr>
              </a:solidFill>
              <a:latin typeface="Segoe UI Light" pitchFamily="34" charset="0"/>
            </a:endParaRPr>
          </a:p>
        </p:txBody>
      </p:sp>
      <p:graphicFrame>
        <p:nvGraphicFramePr>
          <p:cNvPr id="4" name="Object 3" hidden="1"/>
          <p:cNvGraphicFramePr>
            <a:graphicFrameLocks noChangeAspect="1"/>
          </p:cNvGraphicFramePr>
          <p:nvPr>
            <p:custDataLst>
              <p:tags r:id="rId3"/>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357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smtClean="0"/>
              <a:t>Networking in Windows Azure</a:t>
            </a:r>
            <a:endParaRPr lang="en-US" dirty="0"/>
          </a:p>
        </p:txBody>
      </p:sp>
    </p:spTree>
    <p:extLst>
      <p:ext uri="{BB962C8B-B14F-4D97-AF65-F5344CB8AC3E}">
        <p14:creationId xmlns:p14="http://schemas.microsoft.com/office/powerpoint/2010/main" val="176591391"/>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custDataLst>
              <p:tags r:id="rId2"/>
            </p:custDataLst>
          </p:nvPr>
        </p:nvSpPr>
        <p:spPr>
          <a:xfrm>
            <a:off x="520701" y="1463675"/>
            <a:ext cx="11155680" cy="4678204"/>
          </a:xfrm>
        </p:spPr>
        <p:txBody>
          <a:bodyPr/>
          <a:lstStyle/>
          <a:p>
            <a:pPr>
              <a:spcBef>
                <a:spcPts val="1000"/>
              </a:spcBef>
            </a:pPr>
            <a:r>
              <a:rPr lang="en-US" sz="3600" dirty="0">
                <a:solidFill>
                  <a:schemeClr val="accent2">
                    <a:alpha val="99000"/>
                  </a:schemeClr>
                </a:solidFill>
                <a:latin typeface="Segoe UI Light" pitchFamily="34" charset="0"/>
              </a:rPr>
              <a:t>Name Resolution</a:t>
            </a:r>
          </a:p>
          <a:p>
            <a:pPr marL="0" lvl="1"/>
            <a:r>
              <a:rPr lang="en-US" sz="2000" dirty="0"/>
              <a:t>Windows Azure-provided DNS service for service-level name resolution</a:t>
            </a:r>
          </a:p>
          <a:p>
            <a:pPr marL="0" lvl="1"/>
            <a:r>
              <a:rPr lang="en-US" sz="2000" dirty="0"/>
              <a:t>Runtime APIs for instance identification</a:t>
            </a:r>
          </a:p>
          <a:p>
            <a:pPr marL="0" lvl="1"/>
            <a:r>
              <a:rPr lang="en-US" sz="2000" dirty="0"/>
              <a:t>Bring your own DNS server</a:t>
            </a:r>
            <a:endParaRPr lang="en-US" sz="3600" dirty="0">
              <a:solidFill>
                <a:schemeClr val="accent2">
                  <a:alpha val="99000"/>
                </a:schemeClr>
              </a:solidFill>
              <a:latin typeface="Segoe UI Light" pitchFamily="34" charset="0"/>
            </a:endParaRPr>
          </a:p>
          <a:p>
            <a:pPr>
              <a:spcBef>
                <a:spcPts val="1000"/>
              </a:spcBef>
            </a:pPr>
            <a:r>
              <a:rPr lang="en-US" sz="3600" dirty="0">
                <a:solidFill>
                  <a:schemeClr val="accent2">
                    <a:alpha val="99000"/>
                  </a:schemeClr>
                </a:solidFill>
                <a:latin typeface="Segoe UI Light" pitchFamily="34" charset="0"/>
              </a:rPr>
              <a:t>Load balancing behavior</a:t>
            </a:r>
          </a:p>
          <a:p>
            <a:pPr marL="0" lvl="1"/>
            <a:r>
              <a:rPr lang="en-US" sz="2000" dirty="0"/>
              <a:t>Define load balance endpoint sets</a:t>
            </a:r>
          </a:p>
          <a:p>
            <a:pPr marL="0" lvl="1"/>
            <a:r>
              <a:rPr lang="en-US" sz="2000" dirty="0"/>
              <a:t>Define custom load balance probe</a:t>
            </a:r>
            <a:endParaRPr lang="en-US" sz="3600" dirty="0">
              <a:solidFill>
                <a:schemeClr val="accent2">
                  <a:alpha val="99000"/>
                </a:schemeClr>
              </a:solidFill>
              <a:latin typeface="Segoe UI Light" pitchFamily="34" charset="0"/>
            </a:endParaRPr>
          </a:p>
          <a:p>
            <a:pPr>
              <a:spcBef>
                <a:spcPts val="1000"/>
              </a:spcBef>
            </a:pPr>
            <a:r>
              <a:rPr lang="en-US" sz="3600" dirty="0">
                <a:solidFill>
                  <a:schemeClr val="accent2">
                    <a:alpha val="99000"/>
                  </a:schemeClr>
                </a:solidFill>
                <a:latin typeface="Segoe UI Light" pitchFamily="34" charset="0"/>
              </a:rPr>
              <a:t>Traffic manager</a:t>
            </a:r>
          </a:p>
          <a:p>
            <a:pPr marL="0" lvl="1"/>
            <a:r>
              <a:rPr lang="en-US" sz="2000" dirty="0"/>
              <a:t>Load-balancing based on performance, round-robin, or failover</a:t>
            </a:r>
          </a:p>
          <a:p>
            <a:pPr>
              <a:spcBef>
                <a:spcPts val="1000"/>
              </a:spcBef>
            </a:pPr>
            <a:endParaRPr lang="en-US" sz="3600" dirty="0">
              <a:solidFill>
                <a:schemeClr val="accent2">
                  <a:alpha val="99000"/>
                </a:schemeClr>
              </a:solidFill>
              <a:latin typeface="Segoe UI Light" pitchFamily="34" charset="0"/>
            </a:endParaRPr>
          </a:p>
        </p:txBody>
      </p:sp>
      <p:graphicFrame>
        <p:nvGraphicFramePr>
          <p:cNvPr id="4" name="Object 3" hidden="1"/>
          <p:cNvGraphicFramePr>
            <a:graphicFrameLocks noChangeAspect="1"/>
          </p:cNvGraphicFramePr>
          <p:nvPr>
            <p:custDataLst>
              <p:tags r:id="rId3"/>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459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smtClean="0"/>
              <a:t>Networking in Windows Azure (cont.)</a:t>
            </a:r>
            <a:endParaRPr lang="en-US" dirty="0"/>
          </a:p>
        </p:txBody>
      </p:sp>
    </p:spTree>
    <p:extLst>
      <p:ext uri="{BB962C8B-B14F-4D97-AF65-F5344CB8AC3E}">
        <p14:creationId xmlns:p14="http://schemas.microsoft.com/office/powerpoint/2010/main" val="3846865381"/>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561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Local Storage</a:t>
            </a:r>
            <a:endParaRPr lang="en-US" dirty="0"/>
          </a:p>
        </p:txBody>
      </p:sp>
      <p:sp>
        <p:nvSpPr>
          <p:cNvPr id="3" name="Content Placeholder 2"/>
          <p:cNvSpPr>
            <a:spLocks noGrp="1"/>
          </p:cNvSpPr>
          <p:nvPr>
            <p:ph sz="quarter" idx="10"/>
            <p:custDataLst>
              <p:tags r:id="rId4"/>
            </p:custDataLst>
          </p:nvPr>
        </p:nvSpPr>
        <p:spPr>
          <a:xfrm>
            <a:off x="520701" y="1463675"/>
            <a:ext cx="11155680" cy="4844916"/>
          </a:xfrm>
        </p:spPr>
        <p:txBody>
          <a:bodyPr/>
          <a:lstStyle/>
          <a:p>
            <a:r>
              <a:rPr lang="en-US" sz="2800" dirty="0">
                <a:solidFill>
                  <a:schemeClr val="accent2">
                    <a:alpha val="99000"/>
                  </a:schemeClr>
                </a:solidFill>
                <a:latin typeface="Segoe UI Light" pitchFamily="34" charset="0"/>
              </a:rPr>
              <a:t>Role instances have available disk storage</a:t>
            </a:r>
          </a:p>
          <a:p>
            <a:pPr>
              <a:lnSpc>
                <a:spcPts val="3400"/>
              </a:lnSpc>
            </a:pPr>
            <a:r>
              <a:rPr lang="en-US" sz="2800" dirty="0">
                <a:solidFill>
                  <a:schemeClr val="accent2">
                    <a:alpha val="99000"/>
                  </a:schemeClr>
                </a:solidFill>
                <a:latin typeface="Segoe UI Light" pitchFamily="34" charset="0"/>
              </a:rPr>
              <a:t>Use LocalStorage element </a:t>
            </a:r>
            <a:br>
              <a:rPr lang="en-US" sz="2800" dirty="0">
                <a:solidFill>
                  <a:schemeClr val="accent2">
                    <a:alpha val="99000"/>
                  </a:schemeClr>
                </a:solidFill>
                <a:latin typeface="Segoe UI Light" pitchFamily="34" charset="0"/>
              </a:rPr>
            </a:br>
            <a:r>
              <a:rPr lang="en-US" sz="2800" dirty="0">
                <a:solidFill>
                  <a:schemeClr val="accent2">
                    <a:alpha val="99000"/>
                  </a:schemeClr>
                </a:solidFill>
                <a:latin typeface="Segoe UI Light" pitchFamily="34" charset="0"/>
              </a:rPr>
              <a:t>in service definition</a:t>
            </a:r>
          </a:p>
          <a:p>
            <a:pPr marL="0" lvl="1"/>
            <a:r>
              <a:rPr lang="en-US" sz="2000" dirty="0"/>
              <a:t>Name</a:t>
            </a:r>
          </a:p>
          <a:p>
            <a:pPr marL="0" lvl="1"/>
            <a:r>
              <a:rPr lang="en-US" sz="2000" dirty="0"/>
              <a:t>CleanOnRoleRecycle</a:t>
            </a:r>
          </a:p>
          <a:p>
            <a:pPr marL="0" lvl="1"/>
            <a:r>
              <a:rPr lang="en-US" sz="2000" dirty="0"/>
              <a:t>Size</a:t>
            </a:r>
          </a:p>
          <a:p>
            <a:pPr marL="0" lvl="1"/>
            <a:endParaRPr lang="en-US" sz="800" dirty="0"/>
          </a:p>
          <a:p>
            <a:pPr marL="0" lvl="1"/>
            <a:r>
              <a:rPr lang="en-US" dirty="0" smtClean="0">
                <a:solidFill>
                  <a:schemeClr val="accent2">
                    <a:alpha val="99000"/>
                  </a:schemeClr>
                </a:solidFill>
                <a:latin typeface="Segoe UI Light" pitchFamily="34" charset="0"/>
              </a:rPr>
              <a:t>Persistent but not guaranteed durable</a:t>
            </a:r>
          </a:p>
          <a:p>
            <a:pPr marL="0" lvl="1"/>
            <a:r>
              <a:rPr lang="en-US" sz="2000" dirty="0"/>
              <a:t>Good for cached resources or temporary files</a:t>
            </a:r>
          </a:p>
          <a:p>
            <a:pPr marL="0" lvl="1"/>
            <a:endParaRPr lang="en-US" sz="800" dirty="0"/>
          </a:p>
          <a:p>
            <a:pPr>
              <a:lnSpc>
                <a:spcPts val="3400"/>
              </a:lnSpc>
            </a:pPr>
            <a:r>
              <a:rPr lang="en-US" sz="2800" dirty="0">
                <a:solidFill>
                  <a:schemeClr val="accent2">
                    <a:alpha val="99000"/>
                  </a:schemeClr>
                </a:solidFill>
                <a:latin typeface="Segoe UI Light" pitchFamily="34" charset="0"/>
              </a:rPr>
              <a:t>Windows Azure Storage Drives provide </a:t>
            </a:r>
            <a:br>
              <a:rPr lang="en-US" sz="2800" dirty="0">
                <a:solidFill>
                  <a:schemeClr val="accent2">
                    <a:alpha val="99000"/>
                  </a:schemeClr>
                </a:solidFill>
                <a:latin typeface="Segoe UI Light" pitchFamily="34" charset="0"/>
              </a:rPr>
            </a:br>
            <a:r>
              <a:rPr lang="en-US" sz="2800" dirty="0">
                <a:solidFill>
                  <a:schemeClr val="accent2">
                    <a:alpha val="99000"/>
                  </a:schemeClr>
                </a:solidFill>
                <a:latin typeface="Segoe UI Light" pitchFamily="34" charset="0"/>
              </a:rPr>
              <a:t>guaranteed durable storage</a:t>
            </a:r>
          </a:p>
        </p:txBody>
      </p:sp>
      <p:sp>
        <p:nvSpPr>
          <p:cNvPr id="5" name="Freeform 34"/>
          <p:cNvSpPr>
            <a:spLocks noEditPoints="1"/>
          </p:cNvSpPr>
          <p:nvPr/>
        </p:nvSpPr>
        <p:spPr bwMode="auto">
          <a:xfrm>
            <a:off x="8572649" y="2193398"/>
            <a:ext cx="2367308" cy="2323040"/>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rgbClr val="292929">
                  <a:lumMod val="50000"/>
                </a:srgbClr>
              </a:solidFill>
              <a:latin typeface="Segoe Light" pitchFamily="34" charset="0"/>
            </a:endParaRPr>
          </a:p>
        </p:txBody>
      </p:sp>
    </p:spTree>
    <p:extLst>
      <p:ext uri="{BB962C8B-B14F-4D97-AF65-F5344CB8AC3E}">
        <p14:creationId xmlns:p14="http://schemas.microsoft.com/office/powerpoint/2010/main" val="23873989"/>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6643"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Local Storage</a:t>
            </a:r>
          </a:p>
        </p:txBody>
      </p:sp>
      <p:sp>
        <p:nvSpPr>
          <p:cNvPr id="4" name="Rectangle 3"/>
          <p:cNvSpPr/>
          <p:nvPr>
            <p:custDataLst>
              <p:tags r:id="rId4"/>
            </p:custDataLst>
          </p:nvPr>
        </p:nvSpPr>
        <p:spPr bwMode="auto">
          <a:xfrm>
            <a:off x="519112" y="1463675"/>
            <a:ext cx="11150601" cy="240347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685800" rIns="91436" bIns="45718" numCol="1" rtlCol="0" anchor="t" anchorCtr="0" compatLnSpc="1">
            <a:prstTxWarp prst="textNoShape">
              <a:avLst/>
            </a:prstTxWarp>
          </a:bodyPr>
          <a:lstStyle/>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lt;LocalResources&gt;</a:t>
            </a:r>
          </a:p>
          <a:p>
            <a:pPr marL="465138"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lt;LocalStoragename="myLocalDisk" sizeInMB="10"</a:t>
            </a:r>
          </a:p>
          <a:p>
            <a:pPr marL="465138"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   cleanOnRoleRecycle="false" /&gt;</a:t>
            </a:r>
          </a:p>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lt;/LocalResources&gt;</a:t>
            </a:r>
          </a:p>
        </p:txBody>
      </p:sp>
      <p:sp>
        <p:nvSpPr>
          <p:cNvPr id="5" name="Rectangle 4"/>
          <p:cNvSpPr/>
          <p:nvPr>
            <p:custDataLst>
              <p:tags r:id="rId5"/>
            </p:custDataLst>
          </p:nvPr>
        </p:nvSpPr>
        <p:spPr bwMode="auto">
          <a:xfrm>
            <a:off x="519111" y="3867150"/>
            <a:ext cx="11150601" cy="2286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685800" rIns="91436" bIns="45718" numCol="1" rtlCol="0" anchor="t" anchorCtr="0" compatLnSpc="1">
            <a:prstTxWarp prst="textNoShape">
              <a:avLst/>
            </a:prstTxWarp>
          </a:bodyPr>
          <a:lstStyle/>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string rootPath = RoleEnvironment.GetLocalResource["myLocalDisk"].RootPath;</a:t>
            </a:r>
          </a:p>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DirectoryInfo di = new DirectoryInfo(rootPath);</a:t>
            </a:r>
          </a:p>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foreach(di.EnumerateFiles())</a:t>
            </a:r>
          </a:p>
          <a:p>
            <a:pPr defTabSz="914099" fontAlgn="base">
              <a:spcBef>
                <a:spcPts val="600"/>
              </a:spcBef>
              <a:spcAft>
                <a:spcPct val="0"/>
              </a:spcAft>
            </a:pPr>
            <a:r>
              <a:rPr lang="en-US" sz="2400" dirty="0">
                <a:ln>
                  <a:solidFill>
                    <a:srgbClr val="FFFFFF">
                      <a:alpha val="0"/>
                    </a:srgbClr>
                  </a:solidFill>
                </a:ln>
                <a:solidFill>
                  <a:srgbClr val="595959"/>
                </a:solidFill>
              </a:rPr>
              <a:t> ….</a:t>
            </a:r>
          </a:p>
        </p:txBody>
      </p:sp>
      <p:sp>
        <p:nvSpPr>
          <p:cNvPr id="6" name="Rectangle 5"/>
          <p:cNvSpPr/>
          <p:nvPr>
            <p:custDataLst>
              <p:tags r:id="rId6"/>
            </p:custDataLst>
          </p:nvPr>
        </p:nvSpPr>
        <p:spPr>
          <a:xfrm>
            <a:off x="519112" y="1463674"/>
            <a:ext cx="11150601" cy="640080"/>
          </a:xfrm>
          <a:prstGeom prst="rect">
            <a:avLst/>
          </a:prstGeom>
          <a:solidFill>
            <a:schemeClr val="accent2"/>
          </a:solidFill>
        </p:spPr>
        <p:txBody>
          <a:bodyPr wrap="square" anchor="ctr">
            <a:noAutofit/>
          </a:bodyPr>
          <a:lstStyle/>
          <a:p>
            <a:pPr algn="ctr" defTabSz="914363"/>
            <a:r>
              <a:rPr lang="en-US" sz="3200" cap="all" dirty="0">
                <a:ln>
                  <a:solidFill>
                    <a:srgbClr val="FFFFFF">
                      <a:alpha val="0"/>
                    </a:srgbClr>
                  </a:solidFill>
                </a:ln>
                <a:solidFill>
                  <a:srgbClr val="FFFFFF">
                    <a:alpha val="99000"/>
                  </a:srgbClr>
                </a:solidFill>
              </a:rPr>
              <a:t>Define in Config</a:t>
            </a:r>
          </a:p>
        </p:txBody>
      </p:sp>
      <p:sp>
        <p:nvSpPr>
          <p:cNvPr id="7" name="Rectangle 6"/>
          <p:cNvSpPr/>
          <p:nvPr>
            <p:custDataLst>
              <p:tags r:id="rId7"/>
            </p:custDataLst>
          </p:nvPr>
        </p:nvSpPr>
        <p:spPr>
          <a:xfrm>
            <a:off x="519111" y="3867149"/>
            <a:ext cx="11150602" cy="640080"/>
          </a:xfrm>
          <a:prstGeom prst="rect">
            <a:avLst/>
          </a:prstGeom>
          <a:solidFill>
            <a:schemeClr val="accent4"/>
          </a:solidFill>
        </p:spPr>
        <p:txBody>
          <a:bodyPr wrap="square" anchor="ctr">
            <a:noAutofit/>
          </a:bodyPr>
          <a:lstStyle/>
          <a:p>
            <a:pPr algn="ctr" defTabSz="914363"/>
            <a:r>
              <a:rPr lang="en-US" sz="3200" cap="all" dirty="0">
                <a:ln>
                  <a:solidFill>
                    <a:srgbClr val="FFFFFF">
                      <a:alpha val="0"/>
                    </a:srgbClr>
                  </a:solidFill>
                </a:ln>
                <a:solidFill>
                  <a:srgbClr val="FFFFFF">
                    <a:alpha val="99000"/>
                  </a:srgbClr>
                </a:solidFill>
              </a:rPr>
              <a:t>Use in Code</a:t>
            </a:r>
          </a:p>
        </p:txBody>
      </p:sp>
    </p:spTree>
    <p:extLst>
      <p:ext uri="{BB962C8B-B14F-4D97-AF65-F5344CB8AC3E}">
        <p14:creationId xmlns:p14="http://schemas.microsoft.com/office/powerpoint/2010/main" val="2217657285"/>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766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onfiguration Values</a:t>
            </a:r>
            <a:endParaRPr lang="en-US" dirty="0"/>
          </a:p>
        </p:txBody>
      </p:sp>
      <p:sp>
        <p:nvSpPr>
          <p:cNvPr id="3" name="Content Placeholder 2"/>
          <p:cNvSpPr>
            <a:spLocks noGrp="1"/>
          </p:cNvSpPr>
          <p:nvPr>
            <p:ph sz="quarter" idx="10"/>
            <p:custDataLst>
              <p:tags r:id="rId4"/>
            </p:custDataLst>
          </p:nvPr>
        </p:nvSpPr>
        <p:spPr>
          <a:xfrm>
            <a:off x="520701" y="1463676"/>
            <a:ext cx="11155680" cy="4152419"/>
          </a:xfrm>
        </p:spPr>
        <p:txBody>
          <a:bodyPr/>
          <a:lstStyle/>
          <a:p>
            <a:pPr>
              <a:spcBef>
                <a:spcPts val="800"/>
              </a:spcBef>
            </a:pPr>
            <a:r>
              <a:rPr lang="en-US" sz="3600" dirty="0">
                <a:solidFill>
                  <a:schemeClr val="accent2">
                    <a:alpha val="99000"/>
                  </a:schemeClr>
                </a:solidFill>
                <a:latin typeface="Segoe UI Light" pitchFamily="34" charset="0"/>
              </a:rPr>
              <a:t>Store arbitrary configuration string values</a:t>
            </a:r>
          </a:p>
          <a:p>
            <a:pPr marL="0" lvl="1"/>
            <a:r>
              <a:rPr lang="en-US" sz="2000" dirty="0"/>
              <a:t>Define in model</a:t>
            </a:r>
          </a:p>
          <a:p>
            <a:pPr marL="0" lvl="1"/>
            <a:r>
              <a:rPr lang="en-US" sz="2000" dirty="0"/>
              <a:t>Populate in configuration</a:t>
            </a:r>
          </a:p>
          <a:p>
            <a:pPr>
              <a:spcBef>
                <a:spcPts val="800"/>
              </a:spcBef>
            </a:pPr>
            <a:r>
              <a:rPr lang="en-US" sz="3600" dirty="0">
                <a:solidFill>
                  <a:schemeClr val="accent2">
                    <a:alpha val="99000"/>
                  </a:schemeClr>
                </a:solidFill>
                <a:latin typeface="Segoe UI Light" pitchFamily="34" charset="0"/>
              </a:rPr>
              <a:t>RoleEnvironment</a:t>
            </a:r>
          </a:p>
          <a:p>
            <a:pPr marL="0" lvl="1"/>
            <a:r>
              <a:rPr lang="en-US" sz="2000" dirty="0"/>
              <a:t>.GetConfigurationSettingValue()</a:t>
            </a:r>
          </a:p>
          <a:p>
            <a:pPr>
              <a:spcBef>
                <a:spcPts val="800"/>
              </a:spcBef>
            </a:pPr>
            <a:r>
              <a:rPr lang="en-US" sz="3600" dirty="0">
                <a:solidFill>
                  <a:schemeClr val="accent2">
                    <a:alpha val="99000"/>
                  </a:schemeClr>
                </a:solidFill>
                <a:latin typeface="Segoe UI Light" pitchFamily="34" charset="0"/>
              </a:rPr>
              <a:t>Don’t use web.config for values you wish </a:t>
            </a:r>
            <a:br>
              <a:rPr lang="en-US" sz="3600" dirty="0">
                <a:solidFill>
                  <a:schemeClr val="accent2">
                    <a:alpha val="99000"/>
                  </a:schemeClr>
                </a:solidFill>
                <a:latin typeface="Segoe UI Light" pitchFamily="34" charset="0"/>
              </a:rPr>
            </a:br>
            <a:r>
              <a:rPr lang="en-US" sz="3600" dirty="0">
                <a:solidFill>
                  <a:schemeClr val="accent2">
                    <a:alpha val="99000"/>
                  </a:schemeClr>
                </a:solidFill>
                <a:latin typeface="Segoe UI Light" pitchFamily="34" charset="0"/>
              </a:rPr>
              <a:t>to change at runtime</a:t>
            </a:r>
          </a:p>
          <a:p>
            <a:pPr marL="0" lvl="1"/>
            <a:r>
              <a:rPr lang="en-US" sz="2000" dirty="0"/>
              <a:t>App/Web.config is packaged with deployment change requires re-deploy</a:t>
            </a:r>
          </a:p>
          <a:p>
            <a:pPr marL="0" lvl="1"/>
            <a:r>
              <a:rPr lang="en-US" sz="2000" dirty="0"/>
              <a:t>*.cscfg supports change tracking and notification to running role instances</a:t>
            </a:r>
          </a:p>
        </p:txBody>
      </p:sp>
    </p:spTree>
    <p:extLst>
      <p:ext uri="{BB962C8B-B14F-4D97-AF65-F5344CB8AC3E}">
        <p14:creationId xmlns:p14="http://schemas.microsoft.com/office/powerpoint/2010/main" val="2759369464"/>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869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pgrading Your Application</a:t>
            </a:r>
            <a:endParaRPr lang="en-US" dirty="0"/>
          </a:p>
        </p:txBody>
      </p:sp>
      <p:sp>
        <p:nvSpPr>
          <p:cNvPr id="3" name="Content Placeholder 2"/>
          <p:cNvSpPr>
            <a:spLocks noGrp="1"/>
          </p:cNvSpPr>
          <p:nvPr>
            <p:ph sz="quarter" idx="10"/>
            <p:custDataLst>
              <p:tags r:id="rId4"/>
            </p:custDataLst>
          </p:nvPr>
        </p:nvSpPr>
        <p:spPr>
          <a:xfrm>
            <a:off x="520701" y="1463675"/>
            <a:ext cx="11155680" cy="3685624"/>
          </a:xfrm>
        </p:spPr>
        <p:txBody>
          <a:bodyPr/>
          <a:lstStyle/>
          <a:p>
            <a:r>
              <a:rPr lang="en-US" sz="3600" dirty="0">
                <a:solidFill>
                  <a:schemeClr val="accent2">
                    <a:alpha val="99000"/>
                  </a:schemeClr>
                </a:solidFill>
                <a:latin typeface="Segoe UI Light" pitchFamily="34" charset="0"/>
              </a:rPr>
              <a:t>VIP Swap:</a:t>
            </a:r>
          </a:p>
          <a:p>
            <a:pPr marL="0" lvl="1"/>
            <a:r>
              <a:rPr lang="en-US" sz="2000" dirty="0"/>
              <a:t>Uses Staging and Production environments</a:t>
            </a:r>
          </a:p>
          <a:p>
            <a:pPr marL="0" lvl="1"/>
            <a:r>
              <a:rPr lang="en-US" sz="2000" dirty="0"/>
              <a:t>Allows to quickly swap environments</a:t>
            </a:r>
          </a:p>
          <a:p>
            <a:pPr marL="0" lvl="1"/>
            <a:r>
              <a:rPr lang="en-US" sz="2000" dirty="0"/>
              <a:t>Production: v1 </a:t>
            </a:r>
            <a:r>
              <a:rPr lang="en-US" sz="2000" dirty="0">
                <a:sym typeface="Wingdings 3"/>
              </a:rPr>
              <a:t></a:t>
            </a:r>
            <a:r>
              <a:rPr lang="en-US" sz="2000" dirty="0"/>
              <a:t> Staging: v2, after swap then Production: v2 </a:t>
            </a:r>
            <a:r>
              <a:rPr lang="en-US" sz="2000" dirty="0">
                <a:sym typeface="Wingdings 3"/>
              </a:rPr>
              <a:t></a:t>
            </a:r>
            <a:r>
              <a:rPr lang="en-US" sz="2000" dirty="0"/>
              <a:t> Staging: v1</a:t>
            </a:r>
          </a:p>
          <a:p>
            <a:r>
              <a:rPr lang="en-US" sz="3600" dirty="0">
                <a:solidFill>
                  <a:schemeClr val="accent2">
                    <a:alpha val="99000"/>
                  </a:schemeClr>
                </a:solidFill>
                <a:latin typeface="Segoe UI Light" pitchFamily="34" charset="0"/>
              </a:rPr>
              <a:t>In-Place Upgrade</a:t>
            </a:r>
          </a:p>
          <a:p>
            <a:pPr marL="0" lvl="1"/>
            <a:r>
              <a:rPr lang="en-US" sz="2000" dirty="0"/>
              <a:t>Performs a rolling upgrade on live service</a:t>
            </a:r>
          </a:p>
          <a:p>
            <a:pPr marL="0" lvl="1"/>
            <a:r>
              <a:rPr lang="en-US" sz="2000" dirty="0"/>
              <a:t>Entire service or a single role</a:t>
            </a:r>
          </a:p>
          <a:p>
            <a:pPr marL="0" lvl="1"/>
            <a:r>
              <a:rPr lang="en-US" sz="2000" dirty="0"/>
              <a:t>Manual or Automatic across update domains</a:t>
            </a:r>
          </a:p>
          <a:p>
            <a:pPr marL="0" lvl="1"/>
            <a:r>
              <a:rPr lang="en-US" sz="2000" dirty="0"/>
              <a:t>Cannot change Service Model</a:t>
            </a:r>
          </a:p>
        </p:txBody>
      </p:sp>
    </p:spTree>
    <p:extLst>
      <p:ext uri="{BB962C8B-B14F-4D97-AF65-F5344CB8AC3E}">
        <p14:creationId xmlns:p14="http://schemas.microsoft.com/office/powerpoint/2010/main" val="1843368127"/>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9715"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0"/>
                        <a:ext cx="158750" cy="158750"/>
                      </a:xfrm>
                      <a:prstGeom prst="rect">
                        <a:avLst/>
                      </a:prstGeom>
                    </p:spPr>
                  </p:pic>
                </p:oleObj>
              </mc:Fallback>
            </mc:AlternateContent>
          </a:graphicData>
        </a:graphic>
      </p:graphicFrame>
      <p:sp>
        <p:nvSpPr>
          <p:cNvPr id="7" name="Rectangle 6"/>
          <p:cNvSpPr/>
          <p:nvPr>
            <p:custDataLst>
              <p:tags r:id="rId3"/>
            </p:custDataLst>
          </p:nvPr>
        </p:nvSpPr>
        <p:spPr bwMode="auto">
          <a:xfrm>
            <a:off x="2003570" y="2502158"/>
            <a:ext cx="7523389" cy="37478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sz="2400" cap="all" dirty="0">
                <a:ln>
                  <a:solidFill>
                    <a:srgbClr val="FFFFFF">
                      <a:alpha val="0"/>
                    </a:srgbClr>
                  </a:solidFill>
                </a:ln>
                <a:solidFill>
                  <a:srgbClr val="595959">
                    <a:alpha val="99000"/>
                  </a:srgbClr>
                </a:solidFill>
              </a:rPr>
              <a:t>Role</a:t>
            </a:r>
          </a:p>
        </p:txBody>
      </p:sp>
      <p:sp>
        <p:nvSpPr>
          <p:cNvPr id="8" name="Rectangle 7"/>
          <p:cNvSpPr/>
          <p:nvPr>
            <p:custDataLst>
              <p:tags r:id="rId4"/>
            </p:custDataLst>
          </p:nvPr>
        </p:nvSpPr>
        <p:spPr bwMode="auto">
          <a:xfrm>
            <a:off x="2187084"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a:ln>
                  <a:solidFill>
                    <a:srgbClr val="FFFFFF">
                      <a:alpha val="0"/>
                    </a:srgbClr>
                  </a:solidFill>
                </a:ln>
                <a:solidFill>
                  <a:srgbClr val="FFFFFF"/>
                </a:solidFill>
              </a:rPr>
              <a:t>Production</a:t>
            </a:r>
          </a:p>
        </p:txBody>
      </p:sp>
      <p:sp>
        <p:nvSpPr>
          <p:cNvPr id="13" name="Rectangle 12"/>
          <p:cNvSpPr/>
          <p:nvPr>
            <p:custDataLst>
              <p:tags r:id="rId5"/>
            </p:custDataLst>
          </p:nvPr>
        </p:nvSpPr>
        <p:spPr bwMode="auto">
          <a:xfrm>
            <a:off x="5843076" y="3056770"/>
            <a:ext cx="3474720" cy="304196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a:ln>
                  <a:solidFill>
                    <a:srgbClr val="FFFFFF">
                      <a:alpha val="0"/>
                    </a:srgbClr>
                  </a:solidFill>
                </a:ln>
                <a:solidFill>
                  <a:srgbClr val="FFFFFF"/>
                </a:solidFill>
              </a:rPr>
              <a:t>Staging</a:t>
            </a:r>
          </a:p>
        </p:txBody>
      </p:sp>
      <p:sp>
        <p:nvSpPr>
          <p:cNvPr id="2" name="Title 1"/>
          <p:cNvSpPr>
            <a:spLocks noGrp="1"/>
          </p:cNvSpPr>
          <p:nvPr>
            <p:ph type="title"/>
            <p:custDataLst>
              <p:tags r:id="rId6"/>
            </p:custDataLst>
          </p:nvPr>
        </p:nvSpPr>
        <p:spPr/>
        <p:txBody>
          <a:bodyPr/>
          <a:lstStyle/>
          <a:p>
            <a:r>
              <a:rPr lang="en-US" dirty="0">
                <a:cs typeface="Segoe UI"/>
              </a:rPr>
              <a:t>VIP Swap</a:t>
            </a:r>
          </a:p>
        </p:txBody>
      </p:sp>
      <p:sp>
        <p:nvSpPr>
          <p:cNvPr id="39" name="Rectangle 38"/>
          <p:cNvSpPr/>
          <p:nvPr>
            <p:custDataLst>
              <p:tags r:id="rId7"/>
            </p:custDataLst>
          </p:nvPr>
        </p:nvSpPr>
        <p:spPr bwMode="auto">
          <a:xfrm>
            <a:off x="2187084"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a:ln>
                  <a:solidFill>
                    <a:srgbClr val="FFFFFF">
                      <a:alpha val="0"/>
                    </a:srgbClr>
                  </a:solidFill>
                </a:ln>
                <a:solidFill>
                  <a:srgbClr val="FFFFFF">
                    <a:alpha val="99000"/>
                  </a:srgbClr>
                </a:solidFill>
              </a:rPr>
              <a:t>Staging</a:t>
            </a:r>
          </a:p>
        </p:txBody>
      </p:sp>
      <p:sp>
        <p:nvSpPr>
          <p:cNvPr id="36" name="Rectangle 35"/>
          <p:cNvSpPr/>
          <p:nvPr>
            <p:custDataLst>
              <p:tags r:id="rId8"/>
            </p:custDataLst>
          </p:nvPr>
        </p:nvSpPr>
        <p:spPr bwMode="auto">
          <a:xfrm>
            <a:off x="5843076"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a:ln>
                  <a:solidFill>
                    <a:srgbClr val="FFFFFF">
                      <a:alpha val="0"/>
                    </a:srgbClr>
                  </a:solidFill>
                </a:ln>
                <a:solidFill>
                  <a:srgbClr val="FFFFFF">
                    <a:alpha val="99000"/>
                  </a:srgbClr>
                </a:solidFill>
              </a:rPr>
              <a:t>Production</a:t>
            </a:r>
          </a:p>
        </p:txBody>
      </p:sp>
      <p:sp>
        <p:nvSpPr>
          <p:cNvPr id="6" name="Rectangle 5"/>
          <p:cNvSpPr/>
          <p:nvPr>
            <p:custDataLst>
              <p:tags r:id="rId9"/>
            </p:custDataLst>
          </p:nvPr>
        </p:nvSpPr>
        <p:spPr bwMode="auto">
          <a:xfrm>
            <a:off x="2003570" y="1695450"/>
            <a:ext cx="7523389" cy="50419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cap="all" dirty="0">
                <a:ln>
                  <a:solidFill>
                    <a:srgbClr val="FFFFFF">
                      <a:alpha val="0"/>
                    </a:srgbClr>
                  </a:solidFill>
                </a:ln>
                <a:gradFill>
                  <a:gsLst>
                    <a:gs pos="0">
                      <a:srgbClr val="FFFFFF"/>
                    </a:gs>
                    <a:gs pos="100000">
                      <a:srgbClr val="FFFFFF"/>
                    </a:gs>
                  </a:gsLst>
                  <a:lin ang="5400000" scaled="0"/>
                </a:gradFill>
              </a:rPr>
              <a:t>Network Load Balancer</a:t>
            </a:r>
          </a:p>
        </p:txBody>
      </p:sp>
      <p:sp>
        <p:nvSpPr>
          <p:cNvPr id="9" name="Rectangle 8"/>
          <p:cNvSpPr/>
          <p:nvPr>
            <p:custDataLst>
              <p:tags r:id="rId10"/>
            </p:custDataLst>
          </p:nvPr>
        </p:nvSpPr>
        <p:spPr bwMode="auto">
          <a:xfrm>
            <a:off x="2308368" y="3855075"/>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1</a:t>
            </a:r>
          </a:p>
        </p:txBody>
      </p:sp>
      <p:sp>
        <p:nvSpPr>
          <p:cNvPr id="10" name="Rectangle 9"/>
          <p:cNvSpPr/>
          <p:nvPr>
            <p:custDataLst>
              <p:tags r:id="rId11"/>
            </p:custDataLst>
          </p:nvPr>
        </p:nvSpPr>
        <p:spPr bwMode="auto">
          <a:xfrm>
            <a:off x="3989848" y="3855075"/>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2</a:t>
            </a:r>
          </a:p>
        </p:txBody>
      </p:sp>
      <p:sp>
        <p:nvSpPr>
          <p:cNvPr id="11" name="Rectangle 10"/>
          <p:cNvSpPr/>
          <p:nvPr>
            <p:custDataLst>
              <p:tags r:id="rId12"/>
            </p:custDataLst>
          </p:nvPr>
        </p:nvSpPr>
        <p:spPr bwMode="auto">
          <a:xfrm>
            <a:off x="2308368" y="4955895"/>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3</a:t>
            </a:r>
          </a:p>
        </p:txBody>
      </p:sp>
      <p:sp>
        <p:nvSpPr>
          <p:cNvPr id="12" name="Rectangle 11"/>
          <p:cNvSpPr/>
          <p:nvPr>
            <p:custDataLst>
              <p:tags r:id="rId13"/>
            </p:custDataLst>
          </p:nvPr>
        </p:nvSpPr>
        <p:spPr bwMode="auto">
          <a:xfrm>
            <a:off x="3989848" y="4955895"/>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4</a:t>
            </a:r>
          </a:p>
        </p:txBody>
      </p:sp>
      <p:sp>
        <p:nvSpPr>
          <p:cNvPr id="14" name="Rectangle 13"/>
          <p:cNvSpPr/>
          <p:nvPr>
            <p:custDataLst>
              <p:tags r:id="rId14"/>
            </p:custDataLst>
          </p:nvPr>
        </p:nvSpPr>
        <p:spPr bwMode="auto">
          <a:xfrm>
            <a:off x="5964360" y="3855075"/>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1</a:t>
            </a:r>
          </a:p>
        </p:txBody>
      </p:sp>
      <p:sp>
        <p:nvSpPr>
          <p:cNvPr id="15" name="Rectangle 14"/>
          <p:cNvSpPr/>
          <p:nvPr>
            <p:custDataLst>
              <p:tags r:id="rId15"/>
            </p:custDataLst>
          </p:nvPr>
        </p:nvSpPr>
        <p:spPr bwMode="auto">
          <a:xfrm>
            <a:off x="7645840" y="3855075"/>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2</a:t>
            </a:r>
          </a:p>
        </p:txBody>
      </p:sp>
      <p:sp>
        <p:nvSpPr>
          <p:cNvPr id="16" name="Rectangle 15"/>
          <p:cNvSpPr/>
          <p:nvPr>
            <p:custDataLst>
              <p:tags r:id="rId16"/>
            </p:custDataLst>
          </p:nvPr>
        </p:nvSpPr>
        <p:spPr bwMode="auto">
          <a:xfrm>
            <a:off x="5964360" y="4955895"/>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3</a:t>
            </a:r>
          </a:p>
        </p:txBody>
      </p:sp>
      <p:sp>
        <p:nvSpPr>
          <p:cNvPr id="17" name="Rectangle 16"/>
          <p:cNvSpPr/>
          <p:nvPr>
            <p:custDataLst>
              <p:tags r:id="rId17"/>
            </p:custDataLst>
          </p:nvPr>
        </p:nvSpPr>
        <p:spPr bwMode="auto">
          <a:xfrm>
            <a:off x="7645840" y="4955895"/>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4</a:t>
            </a:r>
          </a:p>
        </p:txBody>
      </p:sp>
      <p:cxnSp>
        <p:nvCxnSpPr>
          <p:cNvPr id="18" name="Elbow Connector 17"/>
          <p:cNvCxnSpPr>
            <a:stCxn id="6" idx="2"/>
            <a:endCxn id="8" idx="0"/>
          </p:cNvCxnSpPr>
          <p:nvPr>
            <p:custDataLst>
              <p:tags r:id="rId18"/>
            </p:custDataLst>
          </p:nvPr>
        </p:nvCxnSpPr>
        <p:spPr>
          <a:xfrm rot="5400000">
            <a:off x="4416291" y="1707795"/>
            <a:ext cx="857126" cy="1840820"/>
          </a:xfrm>
          <a:prstGeom prst="bentConnector3">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6" idx="2"/>
            <a:endCxn id="13" idx="0"/>
          </p:cNvCxnSpPr>
          <p:nvPr>
            <p:custDataLst>
              <p:tags r:id="rId19"/>
            </p:custDataLst>
          </p:nvPr>
        </p:nvCxnSpPr>
        <p:spPr>
          <a:xfrm rot="16200000" flipH="1">
            <a:off x="6244287" y="1720620"/>
            <a:ext cx="857127" cy="1815172"/>
          </a:xfrm>
          <a:prstGeom prst="bentConnector3">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32" name="Oval 31"/>
          <p:cNvSpPr/>
          <p:nvPr>
            <p:custDataLst>
              <p:tags r:id="rId20"/>
            </p:custDataLst>
          </p:nvPr>
        </p:nvSpPr>
        <p:spPr bwMode="auto">
          <a:xfrm>
            <a:off x="9871284" y="3507197"/>
            <a:ext cx="1756229" cy="1756229"/>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cap="all" dirty="0">
                <a:ln>
                  <a:solidFill>
                    <a:srgbClr val="FFFFFF">
                      <a:alpha val="0"/>
                    </a:srgbClr>
                  </a:solidFill>
                </a:ln>
                <a:gradFill>
                  <a:gsLst>
                    <a:gs pos="0">
                      <a:srgbClr val="FFFFFF"/>
                    </a:gs>
                    <a:gs pos="100000">
                      <a:srgbClr val="FFFFFF"/>
                    </a:gs>
                  </a:gsLst>
                  <a:lin ang="5400000" scaled="0"/>
                </a:gradFill>
              </a:rPr>
              <a:t>Package</a:t>
            </a:r>
          </a:p>
        </p:txBody>
      </p:sp>
      <p:cxnSp>
        <p:nvCxnSpPr>
          <p:cNvPr id="34" name="Straight Arrow Connector 33"/>
          <p:cNvCxnSpPr/>
          <p:nvPr>
            <p:custDataLst>
              <p:tags r:id="rId21"/>
            </p:custDataLst>
          </p:nvPr>
        </p:nvCxnSpPr>
        <p:spPr>
          <a:xfrm flipH="1">
            <a:off x="9317797" y="4385311"/>
            <a:ext cx="553486" cy="0"/>
          </a:xfrm>
          <a:prstGeom prst="straightConnector1">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57604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xit" presetSubtype="0" fill="hold" nodeType="clickEffect">
                                  <p:stCondLst>
                                    <p:cond delay="0"/>
                                  </p:stCondLst>
                                  <p:childTnLst>
                                    <p:animEffect transition="out" filter="fade">
                                      <p:cBhvr>
                                        <p:cTn id="31" dur="500"/>
                                        <p:tgtEl>
                                          <p:spTgt spid="18"/>
                                        </p:tgtEl>
                                      </p:cBhvr>
                                    </p:animEffect>
                                    <p:set>
                                      <p:cBhvr>
                                        <p:cTn id="32" dur="1" fill="hold">
                                          <p:stCondLst>
                                            <p:cond delay="499"/>
                                          </p:stCondLst>
                                        </p:cTn>
                                        <p:tgtEl>
                                          <p:spTgt spid="18"/>
                                        </p:tgtEl>
                                        <p:attrNameLst>
                                          <p:attrName>style.visibility</p:attrName>
                                        </p:attrNameLst>
                                      </p:cBhvr>
                                      <p:to>
                                        <p:strVal val="hidden"/>
                                      </p:to>
                                    </p:set>
                                  </p:childTnLst>
                                </p:cTn>
                              </p:par>
                              <p:par>
                                <p:cTn id="33" presetID="10" presetClass="entr" presetSubtype="0" fill="hold"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fade">
                                      <p:cBhvr>
                                        <p:cTn id="35" dur="500"/>
                                        <p:tgtEl>
                                          <p:spTgt spid="3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6"/>
                                        </p:tgtEl>
                                        <p:attrNameLst>
                                          <p:attrName>style.visibility</p:attrName>
                                        </p:attrNameLst>
                                      </p:cBhvr>
                                      <p:to>
                                        <p:strVal val="visible"/>
                                      </p:to>
                                    </p:set>
                                    <p:animEffect transition="in" filter="fade">
                                      <p:cBhvr>
                                        <p:cTn id="40" dur="500"/>
                                        <p:tgtEl>
                                          <p:spTgt spid="3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9"/>
                                        </p:tgtEl>
                                        <p:attrNameLst>
                                          <p:attrName>style.visibility</p:attrName>
                                        </p:attrNameLst>
                                      </p:cBhvr>
                                      <p:to>
                                        <p:strVal val="visible"/>
                                      </p:to>
                                    </p:set>
                                    <p:animEffect transition="in" filter="fade">
                                      <p:cBhvr>
                                        <p:cTn id="43" dur="500"/>
                                        <p:tgtEl>
                                          <p:spTgt spid="39"/>
                                        </p:tgtEl>
                                      </p:cBhvr>
                                    </p:animEffect>
                                  </p:childTnLst>
                                </p:cTn>
                              </p:par>
                              <p:par>
                                <p:cTn id="44" presetID="10" presetClass="exit" presetSubtype="0" fill="hold" grpId="0" nodeType="withEffect">
                                  <p:stCondLst>
                                    <p:cond delay="0"/>
                                  </p:stCondLst>
                                  <p:childTnLst>
                                    <p:animEffect transition="out" filter="fade">
                                      <p:cBhvr>
                                        <p:cTn id="45" dur="500"/>
                                        <p:tgtEl>
                                          <p:spTgt spid="8"/>
                                        </p:tgtEl>
                                      </p:cBhvr>
                                    </p:animEffect>
                                    <p:set>
                                      <p:cBhvr>
                                        <p:cTn id="46" dur="1" fill="hold">
                                          <p:stCondLst>
                                            <p:cond delay="499"/>
                                          </p:stCondLst>
                                        </p:cTn>
                                        <p:tgtEl>
                                          <p:spTgt spid="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13"/>
                                        </p:tgtEl>
                                      </p:cBhvr>
                                    </p:animEffect>
                                    <p:set>
                                      <p:cBhvr>
                                        <p:cTn id="49"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3" grpId="0" animBg="1"/>
      <p:bldP spid="39" grpId="0" animBg="1"/>
      <p:bldP spid="36" grpId="0" animBg="1"/>
      <p:bldP spid="14" grpId="0" animBg="1"/>
      <p:bldP spid="15" grpId="0" animBg="1"/>
      <p:bldP spid="16" grpId="0" animBg="1"/>
      <p:bldP spid="17" grpId="0" animBg="1"/>
      <p:bldP spid="32"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7097713" y="1463674"/>
            <a:ext cx="4572000" cy="2560320"/>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t" anchorCtr="0" forceAA="0" compatLnSpc="1">
            <a:prstTxWarp prst="textNoShape">
              <a:avLst/>
            </a:prstTxWarp>
            <a:noAutofit/>
          </a:bodyPr>
          <a:lstStyle/>
          <a:p>
            <a:pPr defTabSz="914099" fontAlgn="base">
              <a:spcBef>
                <a:spcPct val="0"/>
              </a:spcBef>
              <a:spcAft>
                <a:spcPct val="0"/>
              </a:spcAft>
            </a:pPr>
            <a:r>
              <a:rPr lang="en-US" sz="2400" dirty="0">
                <a:ln>
                  <a:solidFill>
                    <a:srgbClr val="FFFFFF">
                      <a:alpha val="0"/>
                    </a:srgbClr>
                  </a:solidFill>
                </a:ln>
                <a:solidFill>
                  <a:srgbClr val="595959"/>
                </a:solidFill>
              </a:rPr>
              <a:t>Role Instance</a:t>
            </a:r>
          </a:p>
        </p:txBody>
      </p:sp>
      <p:sp>
        <p:nvSpPr>
          <p:cNvPr id="2" name="Title 1"/>
          <p:cNvSpPr>
            <a:spLocks noGrp="1"/>
          </p:cNvSpPr>
          <p:nvPr>
            <p:ph type="title"/>
          </p:nvPr>
        </p:nvSpPr>
        <p:spPr>
          <a:xfrm>
            <a:off x="520701" y="228601"/>
            <a:ext cx="11149013" cy="747897"/>
          </a:xfrm>
        </p:spPr>
        <p:txBody>
          <a:bodyPr/>
          <a:lstStyle/>
          <a:p>
            <a:r>
              <a:rPr lang="en-US" dirty="0" smtClean="0"/>
              <a:t>Windows Azure Diagnostics</a:t>
            </a:r>
            <a:endParaRPr lang="en-US" dirty="0"/>
          </a:p>
        </p:txBody>
      </p:sp>
      <p:sp>
        <p:nvSpPr>
          <p:cNvPr id="3" name="Content Placeholder 2"/>
          <p:cNvSpPr>
            <a:spLocks noGrp="1"/>
          </p:cNvSpPr>
          <p:nvPr>
            <p:ph sz="quarter" idx="10"/>
          </p:nvPr>
        </p:nvSpPr>
        <p:spPr>
          <a:xfrm>
            <a:off x="520700" y="1463676"/>
            <a:ext cx="7806022" cy="4662815"/>
          </a:xfrm>
        </p:spPr>
        <p:txBody>
          <a:bodyPr/>
          <a:lstStyle/>
          <a:p>
            <a:r>
              <a:rPr lang="en-US" sz="2800" dirty="0">
                <a:solidFill>
                  <a:schemeClr val="accent2">
                    <a:alpha val="99000"/>
                  </a:schemeClr>
                </a:solidFill>
                <a:latin typeface="Segoe UI Light" pitchFamily="34" charset="0"/>
              </a:rPr>
              <a:t>Role Instance Starts</a:t>
            </a:r>
          </a:p>
          <a:p>
            <a:r>
              <a:rPr lang="en-US" sz="2800" dirty="0">
                <a:solidFill>
                  <a:schemeClr val="accent2">
                    <a:alpha val="99000"/>
                  </a:schemeClr>
                </a:solidFill>
                <a:latin typeface="Segoe UI Light" pitchFamily="34" charset="0"/>
              </a:rPr>
              <a:t>Diagnostic Monitor Starts</a:t>
            </a:r>
          </a:p>
          <a:p>
            <a:r>
              <a:rPr lang="en-US" sz="2800" dirty="0">
                <a:solidFill>
                  <a:schemeClr val="accent2">
                    <a:alpha val="99000"/>
                  </a:schemeClr>
                </a:solidFill>
                <a:latin typeface="Segoe UI Light" pitchFamily="34" charset="0"/>
              </a:rPr>
              <a:t>Monitor is configured</a:t>
            </a:r>
          </a:p>
          <a:p>
            <a:pPr marL="0" lvl="1"/>
            <a:r>
              <a:rPr lang="en-US" sz="1800" dirty="0"/>
              <a:t>Imperatively at Start time</a:t>
            </a:r>
          </a:p>
          <a:p>
            <a:pPr marL="0" lvl="1"/>
            <a:r>
              <a:rPr lang="en-US" sz="1800" dirty="0"/>
              <a:t>Remotely any time</a:t>
            </a:r>
          </a:p>
          <a:p>
            <a:pPr marL="0" lvl="1"/>
            <a:r>
              <a:rPr lang="en-US" sz="1800" dirty="0"/>
              <a:t>Configuration is saved in Storage</a:t>
            </a:r>
          </a:p>
          <a:p>
            <a:r>
              <a:rPr lang="en-US" sz="2800" dirty="0">
                <a:solidFill>
                  <a:schemeClr val="accent2">
                    <a:alpha val="99000"/>
                  </a:schemeClr>
                </a:solidFill>
                <a:latin typeface="Segoe UI Light" pitchFamily="34" charset="0"/>
              </a:rPr>
              <a:t>Monitor buffers data locally</a:t>
            </a:r>
          </a:p>
          <a:p>
            <a:pPr marL="0" lvl="1"/>
            <a:r>
              <a:rPr lang="en-US" sz="1800" dirty="0"/>
              <a:t>User can set a quota (FIFO)</a:t>
            </a:r>
          </a:p>
          <a:p>
            <a:r>
              <a:rPr lang="en-US" sz="2800" dirty="0">
                <a:solidFill>
                  <a:schemeClr val="accent2">
                    <a:alpha val="99000"/>
                  </a:schemeClr>
                </a:solidFill>
                <a:latin typeface="Segoe UI Light" pitchFamily="34" charset="0"/>
              </a:rPr>
              <a:t>User initiates transfer to storage from local buffer</a:t>
            </a:r>
          </a:p>
          <a:p>
            <a:pPr marL="0" lvl="1"/>
            <a:r>
              <a:rPr lang="en-US" sz="1800" dirty="0"/>
              <a:t>Scheduled </a:t>
            </a:r>
          </a:p>
          <a:p>
            <a:pPr marL="0" lvl="1"/>
            <a:r>
              <a:rPr lang="en-US" sz="1800" dirty="0"/>
              <a:t>On Demand</a:t>
            </a:r>
          </a:p>
        </p:txBody>
      </p:sp>
      <p:sp>
        <p:nvSpPr>
          <p:cNvPr id="6" name="Rectangle 5"/>
          <p:cNvSpPr/>
          <p:nvPr/>
        </p:nvSpPr>
        <p:spPr bwMode="auto">
          <a:xfrm>
            <a:off x="7189153" y="1950085"/>
            <a:ext cx="1828800" cy="73152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rgbClr val="FFFFFF">
                      <a:alpha val="0"/>
                    </a:srgbClr>
                  </a:solidFill>
                </a:ln>
                <a:gradFill>
                  <a:gsLst>
                    <a:gs pos="0">
                      <a:srgbClr val="FFFFFF"/>
                    </a:gs>
                    <a:gs pos="100000">
                      <a:srgbClr val="FFFFFF"/>
                    </a:gs>
                  </a:gsLst>
                  <a:lin ang="5400000" scaled="0"/>
                </a:gradFill>
              </a:rPr>
              <a:t>Role</a:t>
            </a:r>
          </a:p>
        </p:txBody>
      </p:sp>
      <p:sp>
        <p:nvSpPr>
          <p:cNvPr id="32" name="Down Arrow 31"/>
          <p:cNvSpPr/>
          <p:nvPr/>
        </p:nvSpPr>
        <p:spPr bwMode="auto">
          <a:xfrm>
            <a:off x="9109393" y="4023994"/>
            <a:ext cx="548640" cy="640080"/>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1" name="Group 10"/>
          <p:cNvGrpSpPr/>
          <p:nvPr/>
        </p:nvGrpSpPr>
        <p:grpSpPr>
          <a:xfrm>
            <a:off x="8001140" y="4751387"/>
            <a:ext cx="2516049" cy="1508559"/>
            <a:chOff x="8793360" y="5181022"/>
            <a:chExt cx="844133" cy="506121"/>
          </a:xfrm>
        </p:grpSpPr>
        <p:sp>
          <p:nvSpPr>
            <p:cNvPr id="34" name="Freeform 6"/>
            <p:cNvSpPr>
              <a:spLocks/>
            </p:cNvSpPr>
            <p:nvPr/>
          </p:nvSpPr>
          <p:spPr bwMode="auto">
            <a:xfrm>
              <a:off x="9034154" y="5181022"/>
              <a:ext cx="603339" cy="323315"/>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2"/>
            </a:solidFill>
            <a:ln w="6350">
              <a:noFill/>
            </a:ln>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sp>
          <p:nvSpPr>
            <p:cNvPr id="35" name="Freeform 7"/>
            <p:cNvSpPr>
              <a:spLocks/>
            </p:cNvSpPr>
            <p:nvPr/>
          </p:nvSpPr>
          <p:spPr bwMode="auto">
            <a:xfrm>
              <a:off x="8793360" y="5321893"/>
              <a:ext cx="684505" cy="36525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2"/>
            </a:solidFill>
            <a:ln w="6350">
              <a:noFill/>
            </a:ln>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grpSp>
      <p:grpSp>
        <p:nvGrpSpPr>
          <p:cNvPr id="41" name="Group 40"/>
          <p:cNvGrpSpPr/>
          <p:nvPr/>
        </p:nvGrpSpPr>
        <p:grpSpPr>
          <a:xfrm>
            <a:off x="9475153" y="1950085"/>
            <a:ext cx="2103120" cy="731520"/>
            <a:chOff x="9473565" y="1950085"/>
            <a:chExt cx="2103120" cy="731520"/>
          </a:xfrm>
        </p:grpSpPr>
        <p:sp>
          <p:nvSpPr>
            <p:cNvPr id="8" name="Rectangle 7"/>
            <p:cNvSpPr/>
            <p:nvPr/>
          </p:nvSpPr>
          <p:spPr bwMode="auto">
            <a:xfrm>
              <a:off x="9747885" y="1950085"/>
              <a:ext cx="1828800" cy="7315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rgbClr val="FFFFFF">
                        <a:alpha val="0"/>
                      </a:srgbClr>
                    </a:solidFill>
                  </a:ln>
                  <a:gradFill>
                    <a:gsLst>
                      <a:gs pos="0">
                        <a:srgbClr val="FFFFFF"/>
                      </a:gs>
                      <a:gs pos="100000">
                        <a:srgbClr val="FFFFFF"/>
                      </a:gs>
                    </a:gsLst>
                    <a:lin ang="5400000" scaled="0"/>
                  </a:gradFill>
                </a:rPr>
                <a:t>Diagnostic</a:t>
              </a:r>
            </a:p>
            <a:p>
              <a:pPr algn="ctr" defTabSz="914099" fontAlgn="base">
                <a:spcBef>
                  <a:spcPct val="0"/>
                </a:spcBef>
                <a:spcAft>
                  <a:spcPct val="0"/>
                </a:spcAft>
              </a:pPr>
              <a:r>
                <a:rPr lang="en-US" sz="2000" dirty="0">
                  <a:ln>
                    <a:solidFill>
                      <a:srgbClr val="FFFFFF">
                        <a:alpha val="0"/>
                      </a:srgbClr>
                    </a:solidFill>
                  </a:ln>
                  <a:gradFill>
                    <a:gsLst>
                      <a:gs pos="0">
                        <a:srgbClr val="FFFFFF"/>
                      </a:gs>
                      <a:gs pos="100000">
                        <a:srgbClr val="FFFFFF"/>
                      </a:gs>
                    </a:gsLst>
                    <a:lin ang="5400000" scaled="0"/>
                  </a:gradFill>
                </a:rPr>
                <a:t>Monitors</a:t>
              </a:r>
            </a:p>
          </p:txBody>
        </p:sp>
        <p:cxnSp>
          <p:nvCxnSpPr>
            <p:cNvPr id="14" name="Straight Arrow Connector 13"/>
            <p:cNvCxnSpPr/>
            <p:nvPr/>
          </p:nvCxnSpPr>
          <p:spPr>
            <a:xfrm flipH="1">
              <a:off x="9473565" y="2315845"/>
              <a:ext cx="274320" cy="0"/>
            </a:xfrm>
            <a:prstGeom prst="straightConnector1">
              <a:avLst/>
            </a:prstGeom>
            <a:ln w="25400">
              <a:solidFill>
                <a:schemeClr val="accent2"/>
              </a:solidFill>
              <a:tailEnd type="oval" w="lg" len="lg"/>
            </a:ln>
          </p:spPr>
          <p:style>
            <a:lnRef idx="1">
              <a:schemeClr val="accent1"/>
            </a:lnRef>
            <a:fillRef idx="0">
              <a:schemeClr val="accent1"/>
            </a:fillRef>
            <a:effectRef idx="0">
              <a:schemeClr val="accent1"/>
            </a:effectRef>
            <a:fontRef idx="minor">
              <a:schemeClr val="tx1"/>
            </a:fontRef>
          </p:style>
        </p:cxnSp>
      </p:grpSp>
      <p:cxnSp>
        <p:nvCxnSpPr>
          <p:cNvPr id="17" name="Straight Arrow Connector 16"/>
          <p:cNvCxnSpPr>
            <a:stCxn id="6" idx="3"/>
          </p:cNvCxnSpPr>
          <p:nvPr/>
        </p:nvCxnSpPr>
        <p:spPr>
          <a:xfrm>
            <a:off x="9017953" y="2315845"/>
            <a:ext cx="640080" cy="0"/>
          </a:xfrm>
          <a:prstGeom prst="straightConnector1">
            <a:avLst/>
          </a:prstGeom>
          <a:ln w="2540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grpSp>
        <p:nvGrpSpPr>
          <p:cNvPr id="42" name="Group 41"/>
          <p:cNvGrpSpPr/>
          <p:nvPr/>
        </p:nvGrpSpPr>
        <p:grpSpPr>
          <a:xfrm>
            <a:off x="7737793" y="2681605"/>
            <a:ext cx="3291840" cy="1221740"/>
            <a:chOff x="7736205" y="2681605"/>
            <a:chExt cx="3291840" cy="1221740"/>
          </a:xfrm>
        </p:grpSpPr>
        <p:sp>
          <p:nvSpPr>
            <p:cNvPr id="7" name="Rectangle 6"/>
            <p:cNvSpPr/>
            <p:nvPr/>
          </p:nvSpPr>
          <p:spPr bwMode="auto">
            <a:xfrm>
              <a:off x="7736205" y="3171825"/>
              <a:ext cx="329184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rgbClr val="FFFFFF">
                        <a:alpha val="0"/>
                      </a:srgbClr>
                    </a:solidFill>
                  </a:ln>
                  <a:solidFill>
                    <a:srgbClr val="FFFFFF">
                      <a:alpha val="99000"/>
                    </a:srgbClr>
                  </a:solidFill>
                </a:rPr>
                <a:t>Local directory storage</a:t>
              </a:r>
            </a:p>
          </p:txBody>
        </p:sp>
        <p:cxnSp>
          <p:nvCxnSpPr>
            <p:cNvPr id="37" name="Straight Arrow Connector 36"/>
            <p:cNvCxnSpPr>
              <a:stCxn id="6" idx="2"/>
            </p:cNvCxnSpPr>
            <p:nvPr/>
          </p:nvCxnSpPr>
          <p:spPr>
            <a:xfrm>
              <a:off x="8101965" y="2681605"/>
              <a:ext cx="0" cy="490220"/>
            </a:xfrm>
            <a:prstGeom prst="straightConnector1">
              <a:avLst/>
            </a:prstGeom>
            <a:ln w="2540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10662285" y="2681605"/>
              <a:ext cx="0" cy="490220"/>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10338435" y="2681605"/>
              <a:ext cx="0" cy="490220"/>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23703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1" end="1"/>
                                            </p:txEl>
                                          </p:spTgt>
                                        </p:tgtEl>
                                        <p:attrNameLst>
                                          <p:attrName>style.visibility</p:attrName>
                                        </p:attrNameLst>
                                      </p:cBhvr>
                                      <p:to>
                                        <p:strVal val="visible"/>
                                      </p:to>
                                    </p:set>
                                    <p:animEffect transition="in" filter="fade">
                                      <p:cBhvr>
                                        <p:cTn id="18" dur="500"/>
                                        <p:tgtEl>
                                          <p:spTgt spid="3">
                                            <p:txEl>
                                              <p:pRg st="1" end="1"/>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5" end="5"/>
                                            </p:txEl>
                                          </p:spTgt>
                                        </p:tgtEl>
                                        <p:attrNameLst>
                                          <p:attrName>style.visibility</p:attrName>
                                        </p:attrNameLst>
                                      </p:cBhvr>
                                      <p:to>
                                        <p:strVal val="visible"/>
                                      </p:to>
                                    </p:set>
                                    <p:animEffect transition="in" filter="fade">
                                      <p:cBhvr>
                                        <p:cTn id="35" dur="500"/>
                                        <p:tgtEl>
                                          <p:spTgt spid="3">
                                            <p:txEl>
                                              <p:pRg st="5" end="5"/>
                                            </p:txEl>
                                          </p:spTgt>
                                        </p:tgtEl>
                                      </p:cBhvr>
                                    </p:animEffect>
                                  </p:childTnLst>
                                </p:cTn>
                              </p:par>
                              <p:par>
                                <p:cTn id="36" presetID="22" presetClass="entr" presetSubtype="8" fill="hold" nodeType="with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wipe(left)">
                                      <p:cBhvr>
                                        <p:cTn id="38" dur="500"/>
                                        <p:tgtEl>
                                          <p:spTgt spid="17"/>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3">
                                            <p:txEl>
                                              <p:pRg st="6" end="6"/>
                                            </p:txEl>
                                          </p:spTgt>
                                        </p:tgtEl>
                                        <p:attrNameLst>
                                          <p:attrName>style.visibility</p:attrName>
                                        </p:attrNameLst>
                                      </p:cBhvr>
                                      <p:to>
                                        <p:strVal val="visible"/>
                                      </p:to>
                                    </p:set>
                                    <p:animEffect transition="in" filter="fade">
                                      <p:cBhvr>
                                        <p:cTn id="43" dur="500"/>
                                        <p:tgtEl>
                                          <p:spTgt spid="3">
                                            <p:txEl>
                                              <p:pRg st="6" end="6"/>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42"/>
                                        </p:tgtEl>
                                        <p:attrNameLst>
                                          <p:attrName>style.visibility</p:attrName>
                                        </p:attrNameLst>
                                      </p:cBhvr>
                                      <p:to>
                                        <p:strVal val="visible"/>
                                      </p:to>
                                    </p:set>
                                    <p:animEffect transition="in" filter="fade">
                                      <p:cBhvr>
                                        <p:cTn id="46" dur="500"/>
                                        <p:tgtEl>
                                          <p:spTgt spid="42"/>
                                        </p:tgtEl>
                                      </p:cBhvr>
                                    </p:animEffect>
                                  </p:childTnLst>
                                </p:cTn>
                              </p:par>
                              <p:par>
                                <p:cTn id="47" presetID="10" presetClass="entr" presetSubtype="0" fill="hold" nodeType="withEffect">
                                  <p:stCondLst>
                                    <p:cond delay="0"/>
                                  </p:stCondLst>
                                  <p:childTnLst>
                                    <p:set>
                                      <p:cBhvr>
                                        <p:cTn id="48" dur="1" fill="hold">
                                          <p:stCondLst>
                                            <p:cond delay="0"/>
                                          </p:stCondLst>
                                        </p:cTn>
                                        <p:tgtEl>
                                          <p:spTgt spid="3">
                                            <p:txEl>
                                              <p:pRg st="7" end="7"/>
                                            </p:txEl>
                                          </p:spTgt>
                                        </p:tgtEl>
                                        <p:attrNameLst>
                                          <p:attrName>style.visibility</p:attrName>
                                        </p:attrNameLst>
                                      </p:cBhvr>
                                      <p:to>
                                        <p:strVal val="visible"/>
                                      </p:to>
                                    </p:set>
                                    <p:animEffect transition="in" filter="fade">
                                      <p:cBhvr>
                                        <p:cTn id="49" dur="500"/>
                                        <p:tgtEl>
                                          <p:spTgt spid="3">
                                            <p:txEl>
                                              <p:pRg st="7" end="7"/>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3">
                                            <p:txEl>
                                              <p:pRg st="8" end="8"/>
                                            </p:txEl>
                                          </p:spTgt>
                                        </p:tgtEl>
                                        <p:attrNameLst>
                                          <p:attrName>style.visibility</p:attrName>
                                        </p:attrNameLst>
                                      </p:cBhvr>
                                      <p:to>
                                        <p:strVal val="visible"/>
                                      </p:to>
                                    </p:set>
                                    <p:animEffect transition="in" filter="fade">
                                      <p:cBhvr>
                                        <p:cTn id="54" dur="500"/>
                                        <p:tgtEl>
                                          <p:spTgt spid="3">
                                            <p:txEl>
                                              <p:pRg st="8" end="8"/>
                                            </p:txEl>
                                          </p:spTgt>
                                        </p:tgtEl>
                                      </p:cBhvr>
                                    </p:animEffect>
                                  </p:childTnLst>
                                </p:cTn>
                              </p:par>
                              <p:par>
                                <p:cTn id="55" presetID="10" presetClass="entr" presetSubtype="0" fill="hold" nodeType="withEffect">
                                  <p:stCondLst>
                                    <p:cond delay="0"/>
                                  </p:stCondLst>
                                  <p:childTnLst>
                                    <p:set>
                                      <p:cBhvr>
                                        <p:cTn id="56" dur="1" fill="hold">
                                          <p:stCondLst>
                                            <p:cond delay="0"/>
                                          </p:stCondLst>
                                        </p:cTn>
                                        <p:tgtEl>
                                          <p:spTgt spid="3">
                                            <p:txEl>
                                              <p:pRg st="9" end="9"/>
                                            </p:txEl>
                                          </p:spTgt>
                                        </p:tgtEl>
                                        <p:attrNameLst>
                                          <p:attrName>style.visibility</p:attrName>
                                        </p:attrNameLst>
                                      </p:cBhvr>
                                      <p:to>
                                        <p:strVal val="visible"/>
                                      </p:to>
                                    </p:set>
                                    <p:animEffect transition="in" filter="fade">
                                      <p:cBhvr>
                                        <p:cTn id="57" dur="500"/>
                                        <p:tgtEl>
                                          <p:spTgt spid="3">
                                            <p:txEl>
                                              <p:pRg st="9" end="9"/>
                                            </p:txEl>
                                          </p:spTgt>
                                        </p:tgtEl>
                                      </p:cBhvr>
                                    </p:animEffect>
                                  </p:childTnLst>
                                </p:cTn>
                              </p:par>
                              <p:par>
                                <p:cTn id="58" presetID="10" presetClass="entr" presetSubtype="0" fill="hold" nodeType="withEffect">
                                  <p:stCondLst>
                                    <p:cond delay="0"/>
                                  </p:stCondLst>
                                  <p:childTnLst>
                                    <p:set>
                                      <p:cBhvr>
                                        <p:cTn id="59" dur="1" fill="hold">
                                          <p:stCondLst>
                                            <p:cond delay="0"/>
                                          </p:stCondLst>
                                        </p:cTn>
                                        <p:tgtEl>
                                          <p:spTgt spid="3">
                                            <p:txEl>
                                              <p:pRg st="10" end="10"/>
                                            </p:txEl>
                                          </p:spTgt>
                                        </p:tgtEl>
                                        <p:attrNameLst>
                                          <p:attrName>style.visibility</p:attrName>
                                        </p:attrNameLst>
                                      </p:cBhvr>
                                      <p:to>
                                        <p:strVal val="visible"/>
                                      </p:to>
                                    </p:set>
                                    <p:animEffect transition="in" filter="fade">
                                      <p:cBhvr>
                                        <p:cTn id="60" dur="500"/>
                                        <p:tgtEl>
                                          <p:spTgt spid="3">
                                            <p:txEl>
                                              <p:pRg st="10" end="10"/>
                                            </p:txEl>
                                          </p:spTgt>
                                        </p:tgtEl>
                                      </p:cBhvr>
                                    </p:animEffect>
                                  </p:childTnLst>
                                </p:cTn>
                              </p:par>
                              <p:par>
                                <p:cTn id="61" presetID="22" presetClass="entr" presetSubtype="1" fill="hold" grpId="0" nodeType="with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wipe(up)">
                                      <p:cBhvr>
                                        <p:cTn id="63" dur="500"/>
                                        <p:tgtEl>
                                          <p:spTgt spid="32"/>
                                        </p:tgtEl>
                                      </p:cBhvr>
                                    </p:animEffect>
                                  </p:childTnLst>
                                </p:cTn>
                              </p:par>
                              <p:par>
                                <p:cTn id="64" presetID="10" presetClass="entr" presetSubtype="0" fill="hold" nodeType="withEffect">
                                  <p:stCondLst>
                                    <p:cond delay="0"/>
                                  </p:stCondLst>
                                  <p:childTnLst>
                                    <p:set>
                                      <p:cBhvr>
                                        <p:cTn id="65" dur="1" fill="hold">
                                          <p:stCondLst>
                                            <p:cond delay="0"/>
                                          </p:stCondLst>
                                        </p:cTn>
                                        <p:tgtEl>
                                          <p:spTgt spid="11"/>
                                        </p:tgtEl>
                                        <p:attrNameLst>
                                          <p:attrName>style.visibility</p:attrName>
                                        </p:attrNameLst>
                                      </p:cBhvr>
                                      <p:to>
                                        <p:strVal val="visible"/>
                                      </p:to>
                                    </p:set>
                                    <p:animEffect transition="in" filter="fade">
                                      <p:cBhvr>
                                        <p:cTn id="6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32"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Object 5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739" name="think-cell Slide" r:id="rId36" imgW="270" imgH="270" progId="TCLayout.ActiveDocument.1">
                  <p:embed/>
                </p:oleObj>
              </mc:Choice>
              <mc:Fallback>
                <p:oleObj name="think-cell Slide" r:id="rId36" imgW="270" imgH="270" progId="TCLayout.ActiveDocument.1">
                  <p:embed/>
                  <p:pic>
                    <p:nvPicPr>
                      <p:cNvPr id="0" name=""/>
                      <p:cNvPicPr/>
                      <p:nvPr/>
                    </p:nvPicPr>
                    <p:blipFill>
                      <a:blip r:embed="rId37"/>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Windows Azure Service Architecture</a:t>
            </a:r>
          </a:p>
        </p:txBody>
      </p:sp>
      <p:sp>
        <p:nvSpPr>
          <p:cNvPr id="3" name="Rectangle 2"/>
          <p:cNvSpPr/>
          <p:nvPr>
            <p:custDataLst>
              <p:tags r:id="rId4"/>
            </p:custDataLst>
          </p:nvPr>
        </p:nvSpPr>
        <p:spPr bwMode="auto">
          <a:xfrm>
            <a:off x="519113" y="1460508"/>
            <a:ext cx="11158538"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cap="all" dirty="0">
                <a:ln>
                  <a:solidFill>
                    <a:srgbClr val="FFFFFF">
                      <a:alpha val="0"/>
                    </a:srgbClr>
                  </a:solidFill>
                </a:ln>
                <a:gradFill>
                  <a:gsLst>
                    <a:gs pos="0">
                      <a:srgbClr val="FFFFFF"/>
                    </a:gs>
                    <a:gs pos="100000">
                      <a:srgbClr val="FFFFFF"/>
                    </a:gs>
                  </a:gsLst>
                  <a:lin ang="5400000" scaled="0"/>
                </a:gradFill>
              </a:rPr>
              <a:t>The Internet via TCP or HTTP</a:t>
            </a:r>
          </a:p>
        </p:txBody>
      </p:sp>
      <p:sp>
        <p:nvSpPr>
          <p:cNvPr id="4" name="Rectangle 3"/>
          <p:cNvSpPr/>
          <p:nvPr>
            <p:custDataLst>
              <p:tags r:id="rId5"/>
            </p:custDataLst>
          </p:nvPr>
        </p:nvSpPr>
        <p:spPr bwMode="auto">
          <a:xfrm>
            <a:off x="516731" y="2009148"/>
            <a:ext cx="11158538" cy="42408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r>
              <a:rPr lang="en-US" dirty="0">
                <a:ln>
                  <a:solidFill>
                    <a:srgbClr val="FFFFFF">
                      <a:alpha val="0"/>
                    </a:srgbClr>
                  </a:solidFill>
                </a:ln>
                <a:solidFill>
                  <a:srgbClr val="595959"/>
                </a:solidFill>
              </a:rPr>
              <a:t>Windows Azure Data Center</a:t>
            </a:r>
          </a:p>
        </p:txBody>
      </p:sp>
      <p:grpSp>
        <p:nvGrpSpPr>
          <p:cNvPr id="14" name="Group 13"/>
          <p:cNvGrpSpPr/>
          <p:nvPr>
            <p:custDataLst>
              <p:tags r:id="rId6"/>
            </p:custDataLst>
          </p:nvPr>
        </p:nvGrpSpPr>
        <p:grpSpPr>
          <a:xfrm>
            <a:off x="1168535" y="3394200"/>
            <a:ext cx="2027916" cy="1343297"/>
            <a:chOff x="1166947" y="3235251"/>
            <a:chExt cx="2027916" cy="1343297"/>
          </a:xfrm>
        </p:grpSpPr>
        <p:sp>
          <p:nvSpPr>
            <p:cNvPr id="5" name="Rectangle 4"/>
            <p:cNvSpPr/>
            <p:nvPr/>
          </p:nvSpPr>
          <p:spPr bwMode="auto">
            <a:xfrm>
              <a:off x="1430323" y="3235251"/>
              <a:ext cx="1764540" cy="1038463"/>
            </a:xfrm>
            <a:prstGeom prst="rect">
              <a:avLst/>
            </a:prstGeom>
            <a:solidFill>
              <a:schemeClr val="accent4"/>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rgbClr val="FFFFFF">
                      <a:alpha val="0"/>
                    </a:srgbClr>
                  </a:solidFill>
                </a:ln>
                <a:gradFill>
                  <a:gsLst>
                    <a:gs pos="0">
                      <a:srgbClr val="FFFFFF"/>
                    </a:gs>
                    <a:gs pos="100000">
                      <a:srgbClr val="FFFFFF"/>
                    </a:gs>
                  </a:gsLst>
                  <a:lin ang="5400000" scaled="0"/>
                </a:gradFill>
              </a:endParaRPr>
            </a:p>
          </p:txBody>
        </p:sp>
        <p:sp>
          <p:nvSpPr>
            <p:cNvPr id="6" name="Rectangle 5"/>
            <p:cNvSpPr/>
            <p:nvPr/>
          </p:nvSpPr>
          <p:spPr bwMode="auto">
            <a:xfrm>
              <a:off x="1309227" y="3381136"/>
              <a:ext cx="1764540" cy="1038463"/>
            </a:xfrm>
            <a:prstGeom prst="rect">
              <a:avLst/>
            </a:prstGeom>
            <a:solidFill>
              <a:schemeClr val="accent4"/>
            </a:solidFill>
            <a:ln w="50800">
              <a:solidFill>
                <a:schemeClr val="bg1">
                  <a:lumMod val="9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rgbClr val="FFFFFF">
                      <a:alpha val="0"/>
                    </a:srgbClr>
                  </a:solidFill>
                </a:ln>
                <a:gradFill>
                  <a:gsLst>
                    <a:gs pos="0">
                      <a:srgbClr val="FFFFFF"/>
                    </a:gs>
                    <a:gs pos="100000">
                      <a:srgbClr val="FFFFFF"/>
                    </a:gs>
                  </a:gsLst>
                  <a:lin ang="5400000" scaled="0"/>
                </a:gradFill>
              </a:endParaRPr>
            </a:p>
          </p:txBody>
        </p:sp>
        <p:sp>
          <p:nvSpPr>
            <p:cNvPr id="7" name="Rectangle 6"/>
            <p:cNvSpPr/>
            <p:nvPr/>
          </p:nvSpPr>
          <p:spPr bwMode="auto">
            <a:xfrm>
              <a:off x="1166947" y="3540085"/>
              <a:ext cx="1764540" cy="1038463"/>
            </a:xfrm>
            <a:prstGeom prst="rect">
              <a:avLst/>
            </a:prstGeom>
            <a:solidFill>
              <a:schemeClr val="accent4"/>
            </a:solidFill>
            <a:ln w="50800">
              <a:solidFill>
                <a:schemeClr val="bg1">
                  <a:lumMod val="95000"/>
                  <a:alpha val="99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b="1" dirty="0">
                  <a:ln>
                    <a:solidFill>
                      <a:srgbClr val="FFFFFF">
                        <a:alpha val="0"/>
                      </a:srgbClr>
                    </a:solidFill>
                  </a:ln>
                  <a:gradFill>
                    <a:gsLst>
                      <a:gs pos="0">
                        <a:srgbClr val="FFFFFF"/>
                      </a:gs>
                      <a:gs pos="100000">
                        <a:srgbClr val="FFFFFF"/>
                      </a:gs>
                    </a:gsLst>
                    <a:lin ang="5400000" scaled="0"/>
                  </a:gradFill>
                </a:rPr>
                <a:t>Web Role</a:t>
              </a:r>
            </a:p>
            <a:p>
              <a:pPr algn="ctr" defTabSz="914099" fontAlgn="base">
                <a:spcBef>
                  <a:spcPct val="0"/>
                </a:spcBef>
                <a:spcAft>
                  <a:spcPct val="0"/>
                </a:spcAft>
              </a:pPr>
              <a:r>
                <a:rPr lang="en-US" dirty="0">
                  <a:ln>
                    <a:solidFill>
                      <a:srgbClr val="FFFFFF">
                        <a:alpha val="0"/>
                      </a:srgbClr>
                    </a:solidFill>
                  </a:ln>
                  <a:gradFill>
                    <a:gsLst>
                      <a:gs pos="0">
                        <a:srgbClr val="FFFFFF"/>
                      </a:gs>
                      <a:gs pos="100000">
                        <a:srgbClr val="FFFFFF"/>
                      </a:gs>
                    </a:gsLst>
                    <a:lin ang="5400000" scaled="0"/>
                  </a:gradFill>
                </a:rPr>
                <a:t>IIS as Host</a:t>
              </a:r>
            </a:p>
          </p:txBody>
        </p:sp>
      </p:grpSp>
      <p:grpSp>
        <p:nvGrpSpPr>
          <p:cNvPr id="15" name="Group 14"/>
          <p:cNvGrpSpPr/>
          <p:nvPr>
            <p:custDataLst>
              <p:tags r:id="rId7"/>
            </p:custDataLst>
          </p:nvPr>
        </p:nvGrpSpPr>
        <p:grpSpPr>
          <a:xfrm>
            <a:off x="9184775" y="3407262"/>
            <a:ext cx="2027916" cy="1330234"/>
            <a:chOff x="1166947" y="3248314"/>
            <a:chExt cx="2027916" cy="1330234"/>
          </a:xfrm>
        </p:grpSpPr>
        <p:sp>
          <p:nvSpPr>
            <p:cNvPr id="16" name="Rectangle 15"/>
            <p:cNvSpPr/>
            <p:nvPr/>
          </p:nvSpPr>
          <p:spPr bwMode="auto">
            <a:xfrm>
              <a:off x="1430323" y="3248314"/>
              <a:ext cx="1764540" cy="1038463"/>
            </a:xfrm>
            <a:prstGeom prst="rect">
              <a:avLst/>
            </a:prstGeom>
            <a:solidFill>
              <a:schemeClr val="accent4"/>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rgbClr val="FFFFFF">
                      <a:alpha val="0"/>
                    </a:srgbClr>
                  </a:solidFill>
                </a:ln>
                <a:gradFill>
                  <a:gsLst>
                    <a:gs pos="0">
                      <a:srgbClr val="FFFFFF"/>
                    </a:gs>
                    <a:gs pos="100000">
                      <a:srgbClr val="FFFFFF"/>
                    </a:gs>
                  </a:gsLst>
                  <a:lin ang="5400000" scaled="0"/>
                </a:gradFill>
              </a:endParaRPr>
            </a:p>
          </p:txBody>
        </p:sp>
        <p:sp>
          <p:nvSpPr>
            <p:cNvPr id="17" name="Rectangle 16"/>
            <p:cNvSpPr/>
            <p:nvPr/>
          </p:nvSpPr>
          <p:spPr bwMode="auto">
            <a:xfrm>
              <a:off x="1309227" y="3381136"/>
              <a:ext cx="1764540" cy="1038463"/>
            </a:xfrm>
            <a:prstGeom prst="rect">
              <a:avLst/>
            </a:prstGeom>
            <a:solidFill>
              <a:schemeClr val="accent4"/>
            </a:solidFill>
            <a:ln w="508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rgbClr val="FFFFFF">
                      <a:alpha val="0"/>
                    </a:srgbClr>
                  </a:solidFill>
                </a:ln>
                <a:gradFill>
                  <a:gsLst>
                    <a:gs pos="0">
                      <a:srgbClr val="FFFFFF"/>
                    </a:gs>
                    <a:gs pos="100000">
                      <a:srgbClr val="FFFFFF"/>
                    </a:gs>
                  </a:gsLst>
                  <a:lin ang="5400000" scaled="0"/>
                </a:gradFill>
              </a:endParaRPr>
            </a:p>
          </p:txBody>
        </p:sp>
        <p:sp>
          <p:nvSpPr>
            <p:cNvPr id="18" name="Rectangle 17"/>
            <p:cNvSpPr/>
            <p:nvPr/>
          </p:nvSpPr>
          <p:spPr bwMode="auto">
            <a:xfrm>
              <a:off x="1166947" y="3540085"/>
              <a:ext cx="1764540" cy="1038463"/>
            </a:xfrm>
            <a:prstGeom prst="rect">
              <a:avLst/>
            </a:prstGeom>
            <a:solidFill>
              <a:schemeClr val="accent4"/>
            </a:solidFill>
            <a:ln w="50800">
              <a:solidFill>
                <a:schemeClr val="bg1">
                  <a:lumMod val="95000"/>
                  <a:alpha val="9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rgbClr val="FFFFFF">
                        <a:alpha val="0"/>
                      </a:srgbClr>
                    </a:solidFill>
                  </a:ln>
                  <a:gradFill>
                    <a:gsLst>
                      <a:gs pos="0">
                        <a:srgbClr val="FFFFFF"/>
                      </a:gs>
                      <a:gs pos="100000">
                        <a:srgbClr val="FFFFFF"/>
                      </a:gs>
                    </a:gsLst>
                    <a:lin ang="5400000" scaled="0"/>
                  </a:gradFill>
                </a:rPr>
                <a:t>Web Role</a:t>
              </a:r>
            </a:p>
            <a:p>
              <a:pPr algn="ctr" defTabSz="914099" fontAlgn="base">
                <a:spcBef>
                  <a:spcPct val="0"/>
                </a:spcBef>
                <a:spcAft>
                  <a:spcPct val="0"/>
                </a:spcAft>
              </a:pPr>
              <a:r>
                <a:rPr lang="en-US" sz="1600" dirty="0">
                  <a:ln>
                    <a:solidFill>
                      <a:srgbClr val="FFFFFF">
                        <a:alpha val="0"/>
                      </a:srgbClr>
                    </a:solidFill>
                  </a:ln>
                  <a:gradFill>
                    <a:gsLst>
                      <a:gs pos="0">
                        <a:srgbClr val="FFFFFF"/>
                      </a:gs>
                      <a:gs pos="100000">
                        <a:srgbClr val="FFFFFF"/>
                      </a:gs>
                    </a:gsLst>
                    <a:lin ang="5400000" scaled="0"/>
                  </a:gradFill>
                </a:rPr>
                <a:t>Managed Interface Call</a:t>
              </a:r>
            </a:p>
          </p:txBody>
        </p:sp>
      </p:grpSp>
      <p:sp>
        <p:nvSpPr>
          <p:cNvPr id="19" name="Rectangle 18"/>
          <p:cNvSpPr/>
          <p:nvPr>
            <p:custDataLst>
              <p:tags r:id="rId8"/>
            </p:custDataLst>
          </p:nvPr>
        </p:nvSpPr>
        <p:spPr bwMode="auto">
          <a:xfrm>
            <a:off x="3916108" y="3465608"/>
            <a:ext cx="4359784" cy="2044304"/>
          </a:xfrm>
          <a:prstGeom prst="rect">
            <a:avLst/>
          </a:prstGeom>
          <a:solidFill>
            <a:schemeClr val="accent4"/>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r>
              <a:rPr lang="en-US" sz="2800" dirty="0">
                <a:ln>
                  <a:solidFill>
                    <a:srgbClr val="FFFFFF">
                      <a:alpha val="0"/>
                    </a:srgbClr>
                  </a:solidFill>
                </a:ln>
                <a:solidFill>
                  <a:srgbClr val="595959">
                    <a:alpha val="99000"/>
                  </a:srgbClr>
                </a:solidFill>
              </a:rPr>
              <a:t>Storage</a:t>
            </a:r>
          </a:p>
        </p:txBody>
      </p:sp>
      <p:sp>
        <p:nvSpPr>
          <p:cNvPr id="20" name="Oval 19"/>
          <p:cNvSpPr/>
          <p:nvPr>
            <p:custDataLst>
              <p:tags r:id="rId9"/>
            </p:custDataLst>
          </p:nvPr>
        </p:nvSpPr>
        <p:spPr bwMode="auto">
          <a:xfrm>
            <a:off x="1889140" y="2453149"/>
            <a:ext cx="607890" cy="6078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rgbClr val="FFFFFF">
                      <a:alpha val="0"/>
                    </a:srgbClr>
                  </a:solidFill>
                </a:ln>
                <a:solidFill>
                  <a:srgbClr val="FFFFFF"/>
                </a:solidFill>
              </a:rPr>
              <a:t>LB</a:t>
            </a:r>
          </a:p>
        </p:txBody>
      </p:sp>
      <p:sp>
        <p:nvSpPr>
          <p:cNvPr id="22" name="Oval 21"/>
          <p:cNvSpPr/>
          <p:nvPr>
            <p:custDataLst>
              <p:tags r:id="rId10"/>
            </p:custDataLst>
          </p:nvPr>
        </p:nvSpPr>
        <p:spPr bwMode="auto">
          <a:xfrm>
            <a:off x="10130980" y="2509755"/>
            <a:ext cx="607890" cy="6078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rgbClr val="FFFFFF">
                      <a:alpha val="0"/>
                    </a:srgbClr>
                  </a:solidFill>
                </a:ln>
                <a:solidFill>
                  <a:srgbClr val="FFFFFF"/>
                </a:solidFill>
              </a:rPr>
              <a:t>LB</a:t>
            </a:r>
          </a:p>
        </p:txBody>
      </p:sp>
      <p:sp>
        <p:nvSpPr>
          <p:cNvPr id="26" name="Rectangle 25"/>
          <p:cNvSpPr/>
          <p:nvPr>
            <p:custDataLst>
              <p:tags r:id="rId11"/>
            </p:custDataLst>
          </p:nvPr>
        </p:nvSpPr>
        <p:spPr>
          <a:xfrm>
            <a:off x="4084320" y="3554301"/>
            <a:ext cx="4023360" cy="548640"/>
          </a:xfrm>
          <a:prstGeom prst="rect">
            <a:avLst/>
          </a:prstGeom>
          <a:solidFill>
            <a:schemeClr val="accent4">
              <a:lumMod val="60000"/>
              <a:lumOff val="40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914363"/>
            <a:endParaRPr lang="en-US" dirty="0">
              <a:ln>
                <a:solidFill>
                  <a:srgbClr val="FFFFFF">
                    <a:alpha val="0"/>
                  </a:srgbClr>
                </a:solidFill>
              </a:ln>
              <a:solidFill>
                <a:srgbClr val="FFFFFF"/>
              </a:solidFill>
              <a:sym typeface="Segoe UI"/>
            </a:endParaRPr>
          </a:p>
        </p:txBody>
      </p:sp>
      <p:sp>
        <p:nvSpPr>
          <p:cNvPr id="27" name="Rectangle 26"/>
          <p:cNvSpPr/>
          <p:nvPr>
            <p:custDataLst>
              <p:tags r:id="rId12"/>
            </p:custDataLst>
          </p:nvPr>
        </p:nvSpPr>
        <p:spPr>
          <a:xfrm>
            <a:off x="4244199"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914363"/>
            <a:endParaRPr lang="en-US" dirty="0">
              <a:ln>
                <a:solidFill>
                  <a:srgbClr val="FFFFFF">
                    <a:alpha val="0"/>
                  </a:srgbClr>
                </a:solidFill>
              </a:ln>
              <a:solidFill>
                <a:srgbClr val="FFFFFF"/>
              </a:solidFill>
              <a:sym typeface="Segoe UI"/>
            </a:endParaRPr>
          </a:p>
        </p:txBody>
      </p:sp>
      <p:sp>
        <p:nvSpPr>
          <p:cNvPr id="28" name="Rectangle 27"/>
          <p:cNvSpPr/>
          <p:nvPr>
            <p:custDataLst>
              <p:tags r:id="rId13"/>
            </p:custDataLst>
          </p:nvPr>
        </p:nvSpPr>
        <p:spPr>
          <a:xfrm>
            <a:off x="4984919"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914363"/>
            <a:endParaRPr lang="en-US" dirty="0">
              <a:ln>
                <a:solidFill>
                  <a:srgbClr val="FFFFFF">
                    <a:alpha val="0"/>
                  </a:srgbClr>
                </a:solidFill>
              </a:ln>
              <a:solidFill>
                <a:srgbClr val="FFFFFF"/>
              </a:solidFill>
              <a:sym typeface="Segoe UI"/>
            </a:endParaRPr>
          </a:p>
        </p:txBody>
      </p:sp>
      <p:sp>
        <p:nvSpPr>
          <p:cNvPr id="29" name="Rectangle 28"/>
          <p:cNvSpPr/>
          <p:nvPr>
            <p:custDataLst>
              <p:tags r:id="rId14"/>
            </p:custDataLst>
          </p:nvPr>
        </p:nvSpPr>
        <p:spPr>
          <a:xfrm>
            <a:off x="6614505"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914363"/>
            <a:endParaRPr lang="en-US" dirty="0">
              <a:ln>
                <a:solidFill>
                  <a:srgbClr val="FFFFFF">
                    <a:alpha val="0"/>
                  </a:srgbClr>
                </a:solidFill>
              </a:ln>
              <a:solidFill>
                <a:srgbClr val="FFFFFF"/>
              </a:solidFill>
              <a:sym typeface="Segoe UI"/>
            </a:endParaRPr>
          </a:p>
        </p:txBody>
      </p:sp>
      <p:sp>
        <p:nvSpPr>
          <p:cNvPr id="30" name="Rectangle 29"/>
          <p:cNvSpPr/>
          <p:nvPr>
            <p:custDataLst>
              <p:tags r:id="rId15"/>
            </p:custDataLst>
          </p:nvPr>
        </p:nvSpPr>
        <p:spPr>
          <a:xfrm>
            <a:off x="7355224"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914363"/>
            <a:endParaRPr lang="en-US" dirty="0">
              <a:ln>
                <a:solidFill>
                  <a:srgbClr val="FFFFFF">
                    <a:alpha val="0"/>
                  </a:srgbClr>
                </a:solidFill>
              </a:ln>
              <a:solidFill>
                <a:srgbClr val="FFFFFF"/>
              </a:solidFill>
              <a:sym typeface="Segoe UI"/>
            </a:endParaRPr>
          </a:p>
        </p:txBody>
      </p:sp>
      <p:grpSp>
        <p:nvGrpSpPr>
          <p:cNvPr id="40" name="Group 39"/>
          <p:cNvGrpSpPr/>
          <p:nvPr/>
        </p:nvGrpSpPr>
        <p:grpSpPr>
          <a:xfrm>
            <a:off x="5689064" y="3777976"/>
            <a:ext cx="813872" cy="72816"/>
            <a:chOff x="5635167" y="3777976"/>
            <a:chExt cx="813872" cy="72816"/>
          </a:xfrm>
        </p:grpSpPr>
        <p:sp>
          <p:nvSpPr>
            <p:cNvPr id="31" name="Oval 30"/>
            <p:cNvSpPr/>
            <p:nvPr>
              <p:custDataLst>
                <p:tags r:id="rId28"/>
              </p:custDataLst>
            </p:nvPr>
          </p:nvSpPr>
          <p:spPr>
            <a:xfrm>
              <a:off x="5635167"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914363"/>
              <a:endParaRPr lang="en-US" dirty="0">
                <a:ln>
                  <a:solidFill>
                    <a:srgbClr val="FFFFFF">
                      <a:alpha val="0"/>
                    </a:srgbClr>
                  </a:solidFill>
                </a:ln>
                <a:solidFill>
                  <a:srgbClr val="FFFFFF"/>
                </a:solidFill>
                <a:sym typeface="Segoe UI"/>
              </a:endParaRPr>
            </a:p>
          </p:txBody>
        </p:sp>
        <p:sp>
          <p:nvSpPr>
            <p:cNvPr id="32" name="Oval 31"/>
            <p:cNvSpPr/>
            <p:nvPr>
              <p:custDataLst>
                <p:tags r:id="rId29"/>
              </p:custDataLst>
            </p:nvPr>
          </p:nvSpPr>
          <p:spPr>
            <a:xfrm>
              <a:off x="5783311"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914363"/>
              <a:endParaRPr lang="en-US" dirty="0">
                <a:ln>
                  <a:solidFill>
                    <a:srgbClr val="FFFFFF">
                      <a:alpha val="0"/>
                    </a:srgbClr>
                  </a:solidFill>
                </a:ln>
                <a:solidFill>
                  <a:srgbClr val="FFFFFF"/>
                </a:solidFill>
                <a:sym typeface="Segoe UI"/>
              </a:endParaRPr>
            </a:p>
          </p:txBody>
        </p:sp>
        <p:sp>
          <p:nvSpPr>
            <p:cNvPr id="33" name="Oval 32"/>
            <p:cNvSpPr/>
            <p:nvPr>
              <p:custDataLst>
                <p:tags r:id="rId30"/>
              </p:custDataLst>
            </p:nvPr>
          </p:nvSpPr>
          <p:spPr>
            <a:xfrm>
              <a:off x="5931455"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914363"/>
              <a:endParaRPr lang="en-US" dirty="0">
                <a:ln>
                  <a:solidFill>
                    <a:srgbClr val="FFFFFF">
                      <a:alpha val="0"/>
                    </a:srgbClr>
                  </a:solidFill>
                </a:ln>
                <a:solidFill>
                  <a:srgbClr val="FFFFFF"/>
                </a:solidFill>
                <a:sym typeface="Segoe UI"/>
              </a:endParaRPr>
            </a:p>
          </p:txBody>
        </p:sp>
        <p:sp>
          <p:nvSpPr>
            <p:cNvPr id="34" name="Oval 33"/>
            <p:cNvSpPr/>
            <p:nvPr>
              <p:custDataLst>
                <p:tags r:id="rId31"/>
              </p:custDataLst>
            </p:nvPr>
          </p:nvSpPr>
          <p:spPr>
            <a:xfrm>
              <a:off x="6079599"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914363"/>
              <a:endParaRPr lang="en-US" dirty="0">
                <a:ln>
                  <a:solidFill>
                    <a:srgbClr val="FFFFFF">
                      <a:alpha val="0"/>
                    </a:srgbClr>
                  </a:solidFill>
                </a:ln>
                <a:solidFill>
                  <a:srgbClr val="FFFFFF"/>
                </a:solidFill>
                <a:sym typeface="Segoe UI"/>
              </a:endParaRPr>
            </a:p>
          </p:txBody>
        </p:sp>
        <p:sp>
          <p:nvSpPr>
            <p:cNvPr id="35" name="Oval 34"/>
            <p:cNvSpPr/>
            <p:nvPr>
              <p:custDataLst>
                <p:tags r:id="rId32"/>
              </p:custDataLst>
            </p:nvPr>
          </p:nvSpPr>
          <p:spPr>
            <a:xfrm>
              <a:off x="6227743"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914363"/>
              <a:endParaRPr lang="en-US" dirty="0">
                <a:ln>
                  <a:solidFill>
                    <a:srgbClr val="FFFFFF">
                      <a:alpha val="0"/>
                    </a:srgbClr>
                  </a:solidFill>
                </a:ln>
                <a:solidFill>
                  <a:srgbClr val="FFFFFF"/>
                </a:solidFill>
                <a:sym typeface="Segoe UI"/>
              </a:endParaRPr>
            </a:p>
          </p:txBody>
        </p:sp>
        <p:sp>
          <p:nvSpPr>
            <p:cNvPr id="36" name="Oval 35"/>
            <p:cNvSpPr/>
            <p:nvPr>
              <p:custDataLst>
                <p:tags r:id="rId33"/>
              </p:custDataLst>
            </p:nvPr>
          </p:nvSpPr>
          <p:spPr>
            <a:xfrm>
              <a:off x="6375887"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914363"/>
              <a:endParaRPr lang="en-US" dirty="0">
                <a:ln>
                  <a:solidFill>
                    <a:srgbClr val="FFFFFF">
                      <a:alpha val="0"/>
                    </a:srgbClr>
                  </a:solidFill>
                </a:ln>
                <a:solidFill>
                  <a:srgbClr val="FFFFFF"/>
                </a:solidFill>
                <a:sym typeface="Segoe UI"/>
              </a:endParaRPr>
            </a:p>
          </p:txBody>
        </p:sp>
      </p:grpSp>
      <p:sp>
        <p:nvSpPr>
          <p:cNvPr id="25" name="TextBox 24"/>
          <p:cNvSpPr txBox="1"/>
          <p:nvPr>
            <p:custDataLst>
              <p:tags r:id="rId16"/>
            </p:custDataLst>
          </p:nvPr>
        </p:nvSpPr>
        <p:spPr>
          <a:xfrm>
            <a:off x="5454873" y="3646578"/>
            <a:ext cx="1287419" cy="364087"/>
          </a:xfrm>
          <a:prstGeom prst="rect">
            <a:avLst/>
          </a:prstGeom>
          <a:solidFill>
            <a:schemeClr val="accent4">
              <a:lumMod val="75000"/>
            </a:schemeClr>
          </a:solidFill>
          <a:ln>
            <a:noFill/>
          </a:ln>
          <a:effectLst/>
        </p:spPr>
        <p:style>
          <a:lnRef idx="1">
            <a:schemeClr val="dk1"/>
          </a:lnRef>
          <a:fillRef idx="2">
            <a:schemeClr val="dk1"/>
          </a:fillRef>
          <a:effectRef idx="1">
            <a:schemeClr val="dk1"/>
          </a:effectRef>
          <a:fontRef idx="minor">
            <a:schemeClr val="dk1"/>
          </a:fontRef>
        </p:style>
        <p:txBody>
          <a:bodyPr wrap="none" rtlCol="0">
            <a:noAutofit/>
          </a:bodyPr>
          <a:lstStyle/>
          <a:p>
            <a:pPr algn="ctr" defTabSz="914363"/>
            <a:r>
              <a:rPr lang="en-US" dirty="0">
                <a:ln>
                  <a:solidFill>
                    <a:srgbClr val="FFFFFF">
                      <a:alpha val="0"/>
                    </a:srgbClr>
                  </a:solidFill>
                </a:ln>
                <a:gradFill>
                  <a:gsLst>
                    <a:gs pos="0">
                      <a:srgbClr val="FFFFFF"/>
                    </a:gs>
                    <a:gs pos="100000">
                      <a:srgbClr val="FFFFFF"/>
                    </a:gs>
                  </a:gsLst>
                  <a:lin ang="5400000" scaled="0"/>
                </a:gradFill>
              </a:rPr>
              <a:t>Queues</a:t>
            </a:r>
          </a:p>
        </p:txBody>
      </p:sp>
      <p:cxnSp>
        <p:nvCxnSpPr>
          <p:cNvPr id="42" name="Elbow Connector 41"/>
          <p:cNvCxnSpPr>
            <a:stCxn id="18" idx="2"/>
          </p:cNvCxnSpPr>
          <p:nvPr>
            <p:custDataLst>
              <p:tags r:id="rId17"/>
            </p:custDataLst>
          </p:nvPr>
        </p:nvCxnSpPr>
        <p:spPr>
          <a:xfrm rot="5400000">
            <a:off x="7588325" y="3221040"/>
            <a:ext cx="962264" cy="3995176"/>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4" name="Elbow Connector 43"/>
          <p:cNvCxnSpPr>
            <a:stCxn id="7" idx="2"/>
          </p:cNvCxnSpPr>
          <p:nvPr>
            <p:custDataLst>
              <p:tags r:id="rId18"/>
            </p:custDataLst>
          </p:nvPr>
        </p:nvCxnSpPr>
        <p:spPr>
          <a:xfrm rot="16200000" flipH="1">
            <a:off x="3470815" y="3317486"/>
            <a:ext cx="962264" cy="3802285"/>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6" name="Elbow Connector 45"/>
          <p:cNvCxnSpPr>
            <a:stCxn id="16" idx="0"/>
          </p:cNvCxnSpPr>
          <p:nvPr>
            <p:custDataLst>
              <p:tags r:id="rId19"/>
            </p:custDataLst>
          </p:nvPr>
        </p:nvCxnSpPr>
        <p:spPr>
          <a:xfrm rot="16200000" flipV="1">
            <a:off x="8004653" y="1198533"/>
            <a:ext cx="302656" cy="4114800"/>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8" name="Elbow Connector 47"/>
          <p:cNvCxnSpPr>
            <a:stCxn id="5" idx="0"/>
          </p:cNvCxnSpPr>
          <p:nvPr>
            <p:custDataLst>
              <p:tags r:id="rId20"/>
            </p:custDataLst>
          </p:nvPr>
        </p:nvCxnSpPr>
        <p:spPr>
          <a:xfrm rot="5400000" flipH="1" flipV="1">
            <a:off x="4055054" y="1350672"/>
            <a:ext cx="302657" cy="3784401"/>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3" idx="2"/>
          </p:cNvCxnSpPr>
          <p:nvPr>
            <p:custDataLst>
              <p:tags r:id="rId21"/>
            </p:custDataLst>
          </p:nvPr>
        </p:nvCxnSpPr>
        <p:spPr>
          <a:xfrm>
            <a:off x="6098382" y="2009148"/>
            <a:ext cx="200" cy="1456460"/>
          </a:xfrm>
          <a:prstGeom prst="line">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sp>
        <p:nvSpPr>
          <p:cNvPr id="21" name="Oval 20"/>
          <p:cNvSpPr/>
          <p:nvPr>
            <p:custDataLst>
              <p:tags r:id="rId22"/>
            </p:custDataLst>
          </p:nvPr>
        </p:nvSpPr>
        <p:spPr bwMode="auto">
          <a:xfrm>
            <a:off x="5794437" y="2265060"/>
            <a:ext cx="607890" cy="6078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rgbClr val="FFFFFF">
                      <a:alpha val="0"/>
                    </a:srgbClr>
                  </a:solidFill>
                </a:ln>
                <a:solidFill>
                  <a:srgbClr val="FFFFFF"/>
                </a:solidFill>
              </a:rPr>
              <a:t>LB</a:t>
            </a:r>
          </a:p>
        </p:txBody>
      </p:sp>
      <p:cxnSp>
        <p:nvCxnSpPr>
          <p:cNvPr id="58" name="Straight Arrow Connector 57"/>
          <p:cNvCxnSpPr>
            <a:stCxn id="22" idx="0"/>
          </p:cNvCxnSpPr>
          <p:nvPr>
            <p:custDataLst>
              <p:tags r:id="rId23"/>
            </p:custDataLst>
          </p:nvPr>
        </p:nvCxnSpPr>
        <p:spPr>
          <a:xfrm flipV="1">
            <a:off x="10434925" y="2009149"/>
            <a:ext cx="0" cy="500607"/>
          </a:xfrm>
          <a:prstGeom prst="straightConnector1">
            <a:avLst/>
          </a:prstGeom>
          <a:ln w="41275">
            <a:solidFill>
              <a:schemeClr val="accent4"/>
            </a:solidFill>
            <a:headEnd type="triangle" w="lg" len="lg"/>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endCxn id="22" idx="4"/>
          </p:cNvCxnSpPr>
          <p:nvPr>
            <p:custDataLst>
              <p:tags r:id="rId24"/>
            </p:custDataLst>
          </p:nvPr>
        </p:nvCxnSpPr>
        <p:spPr>
          <a:xfrm flipV="1">
            <a:off x="10434925" y="3117646"/>
            <a:ext cx="0" cy="276555"/>
          </a:xfrm>
          <a:prstGeom prst="straightConnector1">
            <a:avLst/>
          </a:prstGeom>
          <a:ln w="41275">
            <a:solidFill>
              <a:schemeClr val="accent4"/>
            </a:solidFill>
            <a:headEnd type="triangle" w="lg" len="lg"/>
            <a:tailEnd type="none" w="med" len="med"/>
          </a:ln>
        </p:spPr>
        <p:style>
          <a:lnRef idx="1">
            <a:schemeClr val="accent1"/>
          </a:lnRef>
          <a:fillRef idx="0">
            <a:schemeClr val="accent1"/>
          </a:fillRef>
          <a:effectRef idx="0">
            <a:schemeClr val="accent1"/>
          </a:effectRef>
          <a:fontRef idx="minor">
            <a:schemeClr val="tx1"/>
          </a:fontRef>
        </p:style>
      </p:cxnSp>
      <p:sp>
        <p:nvSpPr>
          <p:cNvPr id="75" name="Flowchart: Multidocument 74"/>
          <p:cNvSpPr/>
          <p:nvPr>
            <p:custDataLst>
              <p:tags r:id="rId25"/>
            </p:custDataLst>
          </p:nvPr>
        </p:nvSpPr>
        <p:spPr>
          <a:xfrm>
            <a:off x="7129443" y="4275241"/>
            <a:ext cx="966502" cy="828432"/>
          </a:xfrm>
          <a:prstGeom prst="flowChartMultidocument">
            <a:avLst/>
          </a:prstGeom>
          <a:solidFill>
            <a:schemeClr val="tx2"/>
          </a:solidFill>
          <a:ln w="25400">
            <a:solidFill>
              <a:schemeClr val="accent4"/>
            </a:solidFill>
          </a:ln>
          <a:effectLst/>
        </p:spPr>
        <p:style>
          <a:lnRef idx="1">
            <a:schemeClr val="dk1"/>
          </a:lnRef>
          <a:fillRef idx="2">
            <a:schemeClr val="dk1"/>
          </a:fillRef>
          <a:effectRef idx="1">
            <a:schemeClr val="dk1"/>
          </a:effectRef>
          <a:fontRef idx="minor">
            <a:schemeClr val="dk1"/>
          </a:fontRef>
        </p:style>
        <p:txBody>
          <a:bodyPr rtlCol="0" anchor="ctr"/>
          <a:lstStyle/>
          <a:p>
            <a:pPr algn="ctr" defTabSz="914363"/>
            <a:endParaRPr lang="en-US" dirty="0">
              <a:ln>
                <a:solidFill>
                  <a:srgbClr val="FFFFFF">
                    <a:alpha val="0"/>
                  </a:srgbClr>
                </a:solidFill>
              </a:ln>
              <a:solidFill>
                <a:srgbClr val="FFFFFF">
                  <a:lumMod val="65000"/>
                </a:srgbClr>
              </a:solidFill>
              <a:sym typeface="Segoe UI"/>
            </a:endParaRPr>
          </a:p>
        </p:txBody>
      </p:sp>
      <p:sp>
        <p:nvSpPr>
          <p:cNvPr id="78" name="Rectangle 77"/>
          <p:cNvSpPr/>
          <p:nvPr>
            <p:custDataLst>
              <p:tags r:id="rId26"/>
            </p:custDataLst>
          </p:nvPr>
        </p:nvSpPr>
        <p:spPr>
          <a:xfrm>
            <a:off x="4106372" y="5092927"/>
            <a:ext cx="738407" cy="338554"/>
          </a:xfrm>
          <a:prstGeom prst="rect">
            <a:avLst/>
          </a:prstGeom>
        </p:spPr>
        <p:txBody>
          <a:bodyPr wrap="none">
            <a:spAutoFit/>
          </a:bodyPr>
          <a:lstStyle/>
          <a:p>
            <a:pPr algn="ctr" defTabSz="914099" fontAlgn="base">
              <a:spcBef>
                <a:spcPct val="0"/>
              </a:spcBef>
              <a:spcAft>
                <a:spcPct val="0"/>
              </a:spcAft>
            </a:pPr>
            <a:r>
              <a:rPr lang="en-US" sz="1600" dirty="0">
                <a:ln>
                  <a:solidFill>
                    <a:srgbClr val="FFFFFF">
                      <a:alpha val="0"/>
                    </a:srgbClr>
                  </a:solidFill>
                </a:ln>
                <a:solidFill>
                  <a:srgbClr val="FFFFFF">
                    <a:alpha val="99000"/>
                  </a:srgbClr>
                </a:solidFill>
              </a:rPr>
              <a:t>Tables</a:t>
            </a:r>
          </a:p>
        </p:txBody>
      </p:sp>
      <p:sp>
        <p:nvSpPr>
          <p:cNvPr id="79" name="Rectangle 78"/>
          <p:cNvSpPr/>
          <p:nvPr>
            <p:custDataLst>
              <p:tags r:id="rId27"/>
            </p:custDataLst>
          </p:nvPr>
        </p:nvSpPr>
        <p:spPr>
          <a:xfrm>
            <a:off x="7189521" y="5092927"/>
            <a:ext cx="678391" cy="338554"/>
          </a:xfrm>
          <a:prstGeom prst="rect">
            <a:avLst/>
          </a:prstGeom>
        </p:spPr>
        <p:txBody>
          <a:bodyPr wrap="none">
            <a:spAutoFit/>
          </a:bodyPr>
          <a:lstStyle/>
          <a:p>
            <a:pPr algn="ctr" defTabSz="914099" fontAlgn="base">
              <a:spcBef>
                <a:spcPct val="0"/>
              </a:spcBef>
              <a:spcAft>
                <a:spcPct val="0"/>
              </a:spcAft>
            </a:pPr>
            <a:r>
              <a:rPr lang="en-US" sz="1600" dirty="0">
                <a:ln>
                  <a:solidFill>
                    <a:srgbClr val="FFFFFF">
                      <a:alpha val="0"/>
                    </a:srgbClr>
                  </a:solidFill>
                </a:ln>
                <a:solidFill>
                  <a:srgbClr val="FFFFFF">
                    <a:alpha val="99000"/>
                  </a:srgbClr>
                </a:solidFill>
              </a:rPr>
              <a:t>Blobs</a:t>
            </a:r>
          </a:p>
        </p:txBody>
      </p:sp>
      <p:grpSp>
        <p:nvGrpSpPr>
          <p:cNvPr id="37" name="Group 36"/>
          <p:cNvGrpSpPr/>
          <p:nvPr/>
        </p:nvGrpSpPr>
        <p:grpSpPr>
          <a:xfrm>
            <a:off x="4096055" y="4275241"/>
            <a:ext cx="925506" cy="777524"/>
            <a:chOff x="4094467" y="4246666"/>
            <a:chExt cx="925506" cy="777524"/>
          </a:xfrm>
        </p:grpSpPr>
        <p:pic>
          <p:nvPicPr>
            <p:cNvPr id="51" name="Picture 88"/>
            <p:cNvPicPr>
              <a:picLocks noChangeAspect="1" noChangeArrowheads="1"/>
            </p:cNvPicPr>
            <p:nvPr/>
          </p:nvPicPr>
          <p:blipFill>
            <a:blip r:embed="rId38" cstate="print">
              <a:duotone>
                <a:prstClr val="black"/>
                <a:schemeClr val="tx2">
                  <a:tint val="45000"/>
                  <a:satMod val="400000"/>
                </a:schemeClr>
              </a:duotone>
              <a:extLst>
                <a:ext uri="{BEBA8EAE-BF5A-486C-A8C5-ECC9F3942E4B}">
                  <a14:imgProps xmlns:a14="http://schemas.microsoft.com/office/drawing/2010/main">
                    <a14:imgLayer r:embed="rId3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094467" y="4246666"/>
              <a:ext cx="462753" cy="39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 name="Picture 88"/>
            <p:cNvPicPr>
              <a:picLocks noChangeAspect="1" noChangeArrowheads="1"/>
            </p:cNvPicPr>
            <p:nvPr/>
          </p:nvPicPr>
          <p:blipFill>
            <a:blip r:embed="rId38" cstate="print">
              <a:duotone>
                <a:prstClr val="black"/>
                <a:schemeClr val="tx2">
                  <a:tint val="45000"/>
                  <a:satMod val="400000"/>
                </a:schemeClr>
              </a:duotone>
              <a:extLst>
                <a:ext uri="{BEBA8EAE-BF5A-486C-A8C5-ECC9F3942E4B}">
                  <a14:imgProps xmlns:a14="http://schemas.microsoft.com/office/drawing/2010/main">
                    <a14:imgLayer r:embed="rId3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557220" y="4316201"/>
              <a:ext cx="462753" cy="39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4" name="Picture 88"/>
            <p:cNvPicPr>
              <a:picLocks noChangeAspect="1" noChangeArrowheads="1"/>
            </p:cNvPicPr>
            <p:nvPr/>
          </p:nvPicPr>
          <p:blipFill>
            <a:blip r:embed="rId38" cstate="print">
              <a:duotone>
                <a:prstClr val="black"/>
                <a:schemeClr val="tx2">
                  <a:tint val="45000"/>
                  <a:satMod val="400000"/>
                </a:schemeClr>
              </a:duotone>
              <a:extLst>
                <a:ext uri="{BEBA8EAE-BF5A-486C-A8C5-ECC9F3942E4B}">
                  <a14:imgProps xmlns:a14="http://schemas.microsoft.com/office/drawing/2010/main">
                    <a14:imgLayer r:embed="rId3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242611" y="4629585"/>
              <a:ext cx="462753" cy="39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612735658"/>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6960" y="89420"/>
            <a:ext cx="3257097" cy="3257097"/>
          </a:xfrm>
          <a:prstGeom prst="rect">
            <a:avLst/>
          </a:prstGeom>
        </p:spPr>
      </p:pic>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l="33655" t="39490" r="33815"/>
          <a:stretch/>
        </p:blipFill>
        <p:spPr>
          <a:xfrm>
            <a:off x="1728788" y="3779520"/>
            <a:ext cx="2214880" cy="2527311"/>
          </a:xfrm>
          <a:prstGeom prst="rect">
            <a:avLst/>
          </a:prstGeom>
        </p:spPr>
      </p:pic>
      <p:sp>
        <p:nvSpPr>
          <p:cNvPr id="4" name="Rectangle 3"/>
          <p:cNvSpPr/>
          <p:nvPr/>
        </p:nvSpPr>
        <p:spPr bwMode="auto">
          <a:xfrm>
            <a:off x="5365436" y="1466706"/>
            <a:ext cx="6156620" cy="817871"/>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1" tIns="0" rIns="121861" bIns="0" numCol="1" rtlCol="0" anchor="ctr" anchorCtr="0" compatLnSpc="1">
            <a:prstTxWarp prst="textNoShape">
              <a:avLst/>
            </a:prstTxWarp>
          </a:bodyPr>
          <a:lstStyle/>
          <a:p>
            <a:pPr defTabSz="1218987" fontAlgn="base">
              <a:spcBef>
                <a:spcPct val="0"/>
              </a:spcBef>
              <a:spcAft>
                <a:spcPct val="0"/>
              </a:spcAft>
              <a:buClr>
                <a:srgbClr val="FFFF99"/>
              </a:buClr>
              <a:buSzPct val="120000"/>
              <a:defRPr/>
            </a:pPr>
            <a:r>
              <a:rPr lang="en-US" sz="5400" spc="-100" dirty="0">
                <a:ln w="3175">
                  <a:noFill/>
                </a:ln>
                <a:gradFill flip="none" rotWithShape="1">
                  <a:gsLst>
                    <a:gs pos="0">
                      <a:srgbClr val="595959"/>
                    </a:gs>
                    <a:gs pos="86000">
                      <a:srgbClr val="595959"/>
                    </a:gs>
                  </a:gsLst>
                  <a:lin ang="5400000" scaled="0"/>
                  <a:tileRect/>
                </a:gradFill>
                <a:latin typeface="Segoe UI Light" pitchFamily="34" charset="0"/>
                <a:cs typeface="Arial" charset="0"/>
              </a:rPr>
              <a:t>What is the cloud?</a:t>
            </a:r>
            <a:endParaRPr lang="en-US" altLang="zh-CN" sz="5400" spc="-100" dirty="0">
              <a:ln w="3175">
                <a:noFill/>
              </a:ln>
              <a:gradFill flip="none" rotWithShape="1">
                <a:gsLst>
                  <a:gs pos="0">
                    <a:srgbClr val="595959"/>
                  </a:gs>
                  <a:gs pos="86000">
                    <a:srgbClr val="595959"/>
                  </a:gs>
                </a:gsLst>
                <a:lin ang="5400000" scaled="0"/>
                <a:tileRect/>
              </a:gradFill>
              <a:latin typeface="Segoe UI Light" pitchFamily="34" charset="0"/>
              <a:cs typeface="Arial" charset="0"/>
            </a:endParaRPr>
          </a:p>
        </p:txBody>
      </p:sp>
      <p:sp>
        <p:nvSpPr>
          <p:cNvPr id="3" name="Text Placeholder 2"/>
          <p:cNvSpPr>
            <a:spLocks noGrp="1"/>
          </p:cNvSpPr>
          <p:nvPr>
            <p:ph idx="4294967295"/>
          </p:nvPr>
        </p:nvSpPr>
        <p:spPr>
          <a:xfrm>
            <a:off x="6034089" y="2590801"/>
            <a:ext cx="6156325" cy="2536825"/>
          </a:xfrm>
          <a:prstGeom prst="rect">
            <a:avLst/>
          </a:prstGeom>
        </p:spPr>
        <p:txBody>
          <a:bodyPr>
            <a:normAutofit/>
          </a:bodyPr>
          <a:lstStyle/>
          <a:p>
            <a:pPr marL="0" indent="0">
              <a:buNone/>
            </a:pPr>
            <a:r>
              <a:rPr lang="en-US" sz="4000" dirty="0">
                <a:solidFill>
                  <a:srgbClr val="00B0F0">
                    <a:alpha val="99000"/>
                  </a:srgbClr>
                </a:solidFill>
                <a:latin typeface="Segoe UI Light" pitchFamily="34" charset="0"/>
              </a:rPr>
              <a:t>An approach to computing that’s about internet scale </a:t>
            </a:r>
            <a:br>
              <a:rPr lang="en-US" sz="4000" dirty="0">
                <a:solidFill>
                  <a:srgbClr val="00B0F0">
                    <a:alpha val="99000"/>
                  </a:srgbClr>
                </a:solidFill>
                <a:latin typeface="Segoe UI Light" pitchFamily="34" charset="0"/>
              </a:rPr>
            </a:br>
            <a:r>
              <a:rPr lang="en-US" sz="4000" dirty="0">
                <a:solidFill>
                  <a:srgbClr val="00B0F0">
                    <a:alpha val="99000"/>
                  </a:srgbClr>
                </a:solidFill>
                <a:latin typeface="Segoe UI Light" pitchFamily="34" charset="0"/>
              </a:rPr>
              <a:t>and connecting to a variety of devices and endpoints</a:t>
            </a:r>
          </a:p>
        </p:txBody>
      </p:sp>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47428" y="1054024"/>
            <a:ext cx="1348677" cy="1333085"/>
          </a:xfrm>
          <a:prstGeom prst="rect">
            <a:avLst/>
          </a:prstGeom>
        </p:spPr>
      </p:pic>
    </p:spTree>
    <p:extLst>
      <p:ext uri="{BB962C8B-B14F-4D97-AF65-F5344CB8AC3E}">
        <p14:creationId xmlns:p14="http://schemas.microsoft.com/office/powerpoint/2010/main" val="845956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par>
                          <p:cTn id="23" fill="hold">
                            <p:stCondLst>
                              <p:cond delay="2000"/>
                            </p:stCondLst>
                            <p:childTnLst>
                              <p:par>
                                <p:cTn id="24" presetID="8" presetClass="emph" presetSubtype="0" repeatCount="indefinite" fill="hold" nodeType="afterEffect">
                                  <p:stCondLst>
                                    <p:cond delay="200"/>
                                  </p:stCondLst>
                                  <p:childTnLst>
                                    <p:animRot by="-21600000">
                                      <p:cBhvr>
                                        <p:cTn id="25" dur="30000" fill="hold"/>
                                        <p:tgtEl>
                                          <p:spTgt spid="1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 grpId="0" build="p"/>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80283" y="2506525"/>
            <a:ext cx="10237787" cy="1994392"/>
          </a:xfrm>
        </p:spPr>
        <p:txBody>
          <a:bodyPr/>
          <a:lstStyle/>
          <a:p>
            <a:r>
              <a:rPr lang="en-US" dirty="0" smtClean="0">
                <a:gradFill>
                  <a:gsLst>
                    <a:gs pos="1250">
                      <a:srgbClr val="FFFFFF"/>
                    </a:gs>
                    <a:gs pos="100000">
                      <a:srgbClr val="FFFFFF"/>
                    </a:gs>
                  </a:gsLst>
                  <a:lin ang="5400000" scaled="0"/>
                </a:gradFill>
              </a:rPr>
              <a:t>Deploying a web application</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38290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SQL Database</a:t>
            </a:r>
            <a:endParaRPr lang="en-US" dirty="0"/>
          </a:p>
        </p:txBody>
      </p:sp>
    </p:spTree>
    <p:extLst>
      <p:ext uri="{BB962C8B-B14F-4D97-AF65-F5344CB8AC3E}">
        <p14:creationId xmlns:p14="http://schemas.microsoft.com/office/powerpoint/2010/main" val="1870196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22"/>
          <p:cNvSpPr>
            <a:spLocks noEditPoints="1"/>
          </p:cNvSpPr>
          <p:nvPr/>
        </p:nvSpPr>
        <p:spPr bwMode="auto">
          <a:xfrm flipH="1">
            <a:off x="1496874" y="2252750"/>
            <a:ext cx="2323116" cy="2716558"/>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182880" rIns="0" bIns="34295" rtlCol="0" anchor="ctr"/>
          <a:lstStyle/>
          <a:p>
            <a:pPr algn="ctr" defTabSz="914363" fontAlgn="base">
              <a:lnSpc>
                <a:spcPct val="90000"/>
              </a:lnSpc>
              <a:spcBef>
                <a:spcPct val="0"/>
              </a:spcBef>
              <a:spcAft>
                <a:spcPct val="0"/>
              </a:spcAft>
              <a:buSzPct val="90000"/>
            </a:pPr>
            <a:r>
              <a:rPr lang="en-US" sz="7200" b="1" kern="0" dirty="0">
                <a:gradFill>
                  <a:gsLst>
                    <a:gs pos="85000">
                      <a:srgbClr val="FFFFFF"/>
                    </a:gs>
                    <a:gs pos="0">
                      <a:srgbClr val="FFFFFF"/>
                    </a:gs>
                  </a:gsLst>
                  <a:lin ang="5400000" scaled="0"/>
                </a:gradFill>
                <a:ea typeface="Segoe UI" pitchFamily="34" charset="0"/>
                <a:cs typeface="Segoe UI" pitchFamily="34" charset="0"/>
              </a:rPr>
              <a:t>DB</a:t>
            </a:r>
          </a:p>
        </p:txBody>
      </p:sp>
      <p:sp>
        <p:nvSpPr>
          <p:cNvPr id="8" name="Title 1"/>
          <p:cNvSpPr txBox="1">
            <a:spLocks/>
          </p:cNvSpPr>
          <p:nvPr/>
        </p:nvSpPr>
        <p:spPr>
          <a:xfrm>
            <a:off x="4665029" y="2487169"/>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a:solidFill>
                  <a:srgbClr val="5F5F5F">
                    <a:alpha val="99000"/>
                  </a:srgbClr>
                </a:solidFill>
              </a:rPr>
              <a:t>SQL database</a:t>
            </a:r>
          </a:p>
        </p:txBody>
      </p:sp>
      <p:sp>
        <p:nvSpPr>
          <p:cNvPr id="9" name="Content Placeholder 2"/>
          <p:cNvSpPr txBox="1">
            <a:spLocks/>
          </p:cNvSpPr>
          <p:nvPr/>
        </p:nvSpPr>
        <p:spPr>
          <a:xfrm>
            <a:off x="4688033" y="3286126"/>
            <a:ext cx="6380162" cy="169892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lnSpc>
                <a:spcPct val="100000"/>
              </a:lnSpc>
              <a:buNone/>
            </a:pPr>
            <a:r>
              <a:rPr lang="en-US" sz="2400" dirty="0">
                <a:solidFill>
                  <a:srgbClr val="5F5F5F">
                    <a:alpha val="99000"/>
                  </a:srgbClr>
                </a:solidFill>
                <a:latin typeface="Segoe UI"/>
              </a:rPr>
              <a:t>Relational SQL Server Engine in the Cloud</a:t>
            </a:r>
          </a:p>
          <a:p>
            <a:pPr marL="3175" indent="0">
              <a:lnSpc>
                <a:spcPct val="100000"/>
              </a:lnSpc>
              <a:buNone/>
            </a:pPr>
            <a:r>
              <a:rPr lang="en-US" sz="2400" dirty="0">
                <a:solidFill>
                  <a:srgbClr val="5F5F5F">
                    <a:alpha val="99000"/>
                  </a:srgbClr>
                </a:solidFill>
                <a:latin typeface="Segoe UI"/>
              </a:rPr>
              <a:t>Clustered for high availability</a:t>
            </a:r>
          </a:p>
          <a:p>
            <a:pPr marL="3175" indent="0">
              <a:lnSpc>
                <a:spcPct val="100000"/>
              </a:lnSpc>
              <a:buNone/>
            </a:pPr>
            <a:r>
              <a:rPr lang="en-US" sz="2400" dirty="0">
                <a:solidFill>
                  <a:srgbClr val="5F5F5F">
                    <a:alpha val="99000"/>
                  </a:srgbClr>
                </a:solidFill>
                <a:latin typeface="Segoe UI"/>
              </a:rPr>
              <a:t>Fully Managed Service</a:t>
            </a:r>
          </a:p>
          <a:p>
            <a:pPr marL="3175" indent="0">
              <a:lnSpc>
                <a:spcPct val="100000"/>
              </a:lnSpc>
              <a:buNone/>
            </a:pPr>
            <a:r>
              <a:rPr lang="en-US" sz="2400" dirty="0">
                <a:solidFill>
                  <a:srgbClr val="5F5F5F">
                    <a:alpha val="99000"/>
                  </a:srgbClr>
                </a:solidFill>
                <a:latin typeface="Segoe UI"/>
              </a:rPr>
              <a:t>SQL Reporting support</a:t>
            </a:r>
          </a:p>
        </p:txBody>
      </p:sp>
    </p:spTree>
    <p:extLst>
      <p:ext uri="{BB962C8B-B14F-4D97-AF65-F5344CB8AC3E}">
        <p14:creationId xmlns:p14="http://schemas.microsoft.com/office/powerpoint/2010/main" val="30010485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250"/>
                                        <p:tgtEl>
                                          <p:spTgt spid="8"/>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9">
                                            <p:txEl>
                                              <p:pRg st="0" end="0"/>
                                            </p:txEl>
                                          </p:spTgt>
                                        </p:tgtEl>
                                        <p:attrNameLst>
                                          <p:attrName>style.visibility</p:attrName>
                                        </p:attrNameLst>
                                      </p:cBhvr>
                                      <p:to>
                                        <p:strVal val="visible"/>
                                      </p:to>
                                    </p:set>
                                    <p:animEffect transition="in" filter="fade">
                                      <p:cBhvr>
                                        <p:cTn id="15" dur="250"/>
                                        <p:tgtEl>
                                          <p:spTgt spid="9">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9">
                                            <p:txEl>
                                              <p:pRg st="1" end="1"/>
                                            </p:txEl>
                                          </p:spTgt>
                                        </p:tgtEl>
                                        <p:attrNameLst>
                                          <p:attrName>style.visibility</p:attrName>
                                        </p:attrNameLst>
                                      </p:cBhvr>
                                      <p:to>
                                        <p:strVal val="visible"/>
                                      </p:to>
                                    </p:set>
                                    <p:animEffect transition="in" filter="fade">
                                      <p:cBhvr>
                                        <p:cTn id="19" dur="250"/>
                                        <p:tgtEl>
                                          <p:spTgt spid="9">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9">
                                            <p:txEl>
                                              <p:pRg st="2" end="2"/>
                                            </p:txEl>
                                          </p:spTgt>
                                        </p:tgtEl>
                                        <p:attrNameLst>
                                          <p:attrName>style.visibility</p:attrName>
                                        </p:attrNameLst>
                                      </p:cBhvr>
                                      <p:to>
                                        <p:strVal val="visible"/>
                                      </p:to>
                                    </p:set>
                                    <p:animEffect transition="in" filter="fade">
                                      <p:cBhvr>
                                        <p:cTn id="23" dur="250"/>
                                        <p:tgtEl>
                                          <p:spTgt spid="9">
                                            <p:txEl>
                                              <p:pRg st="2" end="2"/>
                                            </p:txEl>
                                          </p:spTgt>
                                        </p:tgtEl>
                                      </p:cBhvr>
                                    </p:animEffect>
                                  </p:childTnLst>
                                </p:cTn>
                              </p:par>
                            </p:childTnLst>
                          </p:cTn>
                        </p:par>
                        <p:par>
                          <p:cTn id="24" fill="hold">
                            <p:stCondLst>
                              <p:cond delay="2500"/>
                            </p:stCondLst>
                            <p:childTnLst>
                              <p:par>
                                <p:cTn id="25" presetID="10" presetClass="entr" presetSubtype="0" fill="hold" grpId="0" nodeType="afterEffect">
                                  <p:stCondLst>
                                    <p:cond delay="250"/>
                                  </p:stCondLst>
                                  <p:childTnLst>
                                    <p:set>
                                      <p:cBhvr>
                                        <p:cTn id="26" dur="1" fill="hold">
                                          <p:stCondLst>
                                            <p:cond delay="0"/>
                                          </p:stCondLst>
                                        </p:cTn>
                                        <p:tgtEl>
                                          <p:spTgt spid="9">
                                            <p:txEl>
                                              <p:pRg st="3" end="3"/>
                                            </p:txEl>
                                          </p:spTgt>
                                        </p:tgtEl>
                                        <p:attrNameLst>
                                          <p:attrName>style.visibility</p:attrName>
                                        </p:attrNameLst>
                                      </p:cBhvr>
                                      <p:to>
                                        <p:strVal val="visible"/>
                                      </p:to>
                                    </p:set>
                                    <p:animEffect transition="in" filter="fade">
                                      <p:cBhvr>
                                        <p:cTn id="27" dur="250"/>
                                        <p:tgtEl>
                                          <p:spTgt spid="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9" grpId="0" build="p"/>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hevron 5"/>
          <p:cNvSpPr/>
          <p:nvPr/>
        </p:nvSpPr>
        <p:spPr bwMode="auto">
          <a:xfrm>
            <a:off x="5349286" y="1905000"/>
            <a:ext cx="1441922" cy="1441922"/>
          </a:xfrm>
          <a:prstGeom prst="chevron">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FFFFFF"/>
                  </a:gs>
                  <a:gs pos="100000">
                    <a:srgbClr val="FFFFFF"/>
                  </a:gs>
                </a:gsLst>
                <a:lin ang="5400000" scaled="0"/>
              </a:gradFill>
            </a:endParaRPr>
          </a:p>
        </p:txBody>
      </p:sp>
      <p:sp>
        <p:nvSpPr>
          <p:cNvPr id="10" name="Chevron 9"/>
          <p:cNvSpPr/>
          <p:nvPr/>
        </p:nvSpPr>
        <p:spPr bwMode="auto">
          <a:xfrm>
            <a:off x="5369514" y="3802404"/>
            <a:ext cx="1441922" cy="1441922"/>
          </a:xfrm>
          <a:prstGeom prst="chevron">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dirty="0"/>
              <a:t>A Server </a:t>
            </a:r>
            <a:r>
              <a:rPr lang="en-US" dirty="0" smtClean="0"/>
              <a:t>Is </a:t>
            </a:r>
            <a:r>
              <a:rPr lang="en-US" dirty="0"/>
              <a:t>N</a:t>
            </a:r>
            <a:r>
              <a:rPr lang="en-US" dirty="0" smtClean="0"/>
              <a:t>ot </a:t>
            </a:r>
            <a:r>
              <a:rPr lang="en-US" dirty="0"/>
              <a:t>A</a:t>
            </a:r>
            <a:r>
              <a:rPr lang="en-US" dirty="0" smtClean="0"/>
              <a:t> </a:t>
            </a:r>
            <a:r>
              <a:rPr lang="en-US" dirty="0"/>
              <a:t>Machine</a:t>
            </a:r>
          </a:p>
        </p:txBody>
      </p:sp>
      <p:sp>
        <p:nvSpPr>
          <p:cNvPr id="5" name="Rectangle 4"/>
          <p:cNvSpPr/>
          <p:nvPr/>
        </p:nvSpPr>
        <p:spPr bwMode="auto">
          <a:xfrm>
            <a:off x="3152186" y="1676400"/>
            <a:ext cx="1802402" cy="1802402"/>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400" dirty="0">
                <a:gradFill>
                  <a:gsLst>
                    <a:gs pos="0">
                      <a:srgbClr val="FFFFFF"/>
                    </a:gs>
                    <a:gs pos="100000">
                      <a:srgbClr val="FFFFFF"/>
                    </a:gs>
                  </a:gsLst>
                  <a:lin ang="5400000" scaled="0"/>
                </a:gradFill>
              </a:rPr>
              <a:t>SQL Server</a:t>
            </a:r>
          </a:p>
        </p:txBody>
      </p:sp>
      <p:sp>
        <p:nvSpPr>
          <p:cNvPr id="8" name="Rectangle 7"/>
          <p:cNvSpPr/>
          <p:nvPr/>
        </p:nvSpPr>
        <p:spPr bwMode="auto">
          <a:xfrm>
            <a:off x="7254286" y="1676400"/>
            <a:ext cx="1802402" cy="1802402"/>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400" dirty="0">
                <a:gradFill>
                  <a:gsLst>
                    <a:gs pos="0">
                      <a:srgbClr val="FFFFFF"/>
                    </a:gs>
                    <a:gs pos="100000">
                      <a:srgbClr val="FFFFFF"/>
                    </a:gs>
                  </a:gsLst>
                  <a:lin ang="5400000" scaled="0"/>
                </a:gradFill>
              </a:rPr>
              <a:t>A Machine</a:t>
            </a:r>
          </a:p>
        </p:txBody>
      </p:sp>
      <p:sp>
        <p:nvSpPr>
          <p:cNvPr id="9" name="Rectangle 8"/>
          <p:cNvSpPr/>
          <p:nvPr/>
        </p:nvSpPr>
        <p:spPr bwMode="auto">
          <a:xfrm>
            <a:off x="3139486" y="3688104"/>
            <a:ext cx="1802402" cy="1802402"/>
          </a:xfrm>
          <a:prstGeom prst="rect">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400" dirty="0">
                <a:gradFill>
                  <a:gsLst>
                    <a:gs pos="0">
                      <a:srgbClr val="FFFFFF"/>
                    </a:gs>
                    <a:gs pos="100000">
                      <a:srgbClr val="FFFFFF"/>
                    </a:gs>
                  </a:gsLst>
                  <a:lin ang="5400000" scaled="0"/>
                </a:gradFill>
              </a:rPr>
              <a:t>SQL Database Server</a:t>
            </a:r>
          </a:p>
        </p:txBody>
      </p:sp>
      <p:sp>
        <p:nvSpPr>
          <p:cNvPr id="11" name="Rectangle 10"/>
          <p:cNvSpPr/>
          <p:nvPr/>
        </p:nvSpPr>
        <p:spPr bwMode="auto">
          <a:xfrm>
            <a:off x="7266986" y="3713504"/>
            <a:ext cx="1802402" cy="1802402"/>
          </a:xfrm>
          <a:prstGeom prst="rect">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400" dirty="0">
                <a:gradFill>
                  <a:gsLst>
                    <a:gs pos="0">
                      <a:srgbClr val="FFFFFF"/>
                    </a:gs>
                    <a:gs pos="100000">
                      <a:srgbClr val="FFFFFF"/>
                    </a:gs>
                  </a:gsLst>
                  <a:lin ang="5400000" scaled="0"/>
                </a:gradFill>
              </a:rPr>
              <a:t>A TDS Endpoint</a:t>
            </a:r>
          </a:p>
        </p:txBody>
      </p:sp>
    </p:spTree>
    <p:extLst>
      <p:ext uri="{BB962C8B-B14F-4D97-AF65-F5344CB8AC3E}">
        <p14:creationId xmlns:p14="http://schemas.microsoft.com/office/powerpoint/2010/main" val="36583087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2" presetClass="entr" presetSubtype="8"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p:tgtEl>
                                          <p:spTgt spid="6"/>
                                        </p:tgtEl>
                                        <p:attrNameLst>
                                          <p:attrName>ppt_x</p:attrName>
                                        </p:attrNameLst>
                                      </p:cBhvr>
                                      <p:tavLst>
                                        <p:tav tm="0">
                                          <p:val>
                                            <p:strVal val="#ppt_x-#ppt_w*1.125000"/>
                                          </p:val>
                                        </p:tav>
                                        <p:tav tm="100000">
                                          <p:val>
                                            <p:strVal val="#ppt_x"/>
                                          </p:val>
                                        </p:tav>
                                      </p:tavLst>
                                    </p:anim>
                                    <p:animEffect transition="in" filter="wipe(right)">
                                      <p:cBhvr>
                                        <p:cTn id="12" dur="500"/>
                                        <p:tgtEl>
                                          <p:spTgt spid="6"/>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childTnLst>
                          </p:cTn>
                        </p:par>
                        <p:par>
                          <p:cTn id="22" fill="hold">
                            <p:stCondLst>
                              <p:cond delay="500"/>
                            </p:stCondLst>
                            <p:childTnLst>
                              <p:par>
                                <p:cTn id="23" presetID="12" presetClass="entr" presetSubtype="8" fill="hold" grpId="0" nodeType="afterEffect">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cBhvr additive="base">
                                        <p:cTn id="25" dur="500"/>
                                        <p:tgtEl>
                                          <p:spTgt spid="10"/>
                                        </p:tgtEl>
                                        <p:attrNameLst>
                                          <p:attrName>ppt_x</p:attrName>
                                        </p:attrNameLst>
                                      </p:cBhvr>
                                      <p:tavLst>
                                        <p:tav tm="0">
                                          <p:val>
                                            <p:strVal val="#ppt_x-#ppt_w*1.125000"/>
                                          </p:val>
                                        </p:tav>
                                        <p:tav tm="100000">
                                          <p:val>
                                            <p:strVal val="#ppt_x"/>
                                          </p:val>
                                        </p:tav>
                                      </p:tavLst>
                                    </p:anim>
                                    <p:animEffect transition="in" filter="wipe(right)">
                                      <p:cBhvr>
                                        <p:cTn id="26" dur="500"/>
                                        <p:tgtEl>
                                          <p:spTgt spid="10"/>
                                        </p:tgtEl>
                                      </p:cBhvr>
                                    </p:animEffect>
                                  </p:childTnLst>
                                </p:cTn>
                              </p:par>
                            </p:childTnLst>
                          </p:cTn>
                        </p:par>
                        <p:par>
                          <p:cTn id="27" fill="hold">
                            <p:stCondLst>
                              <p:cond delay="1000"/>
                            </p:stCondLst>
                            <p:childTnLst>
                              <p:par>
                                <p:cTn id="28" presetID="10" presetClass="entr" presetSubtype="0" fill="hold" grpId="0" nodeType="afterEffect">
                                  <p:stCondLst>
                                    <p:cond delay="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0" grpId="0" animBg="1"/>
      <p:bldP spid="5" grpId="0" animBg="1"/>
      <p:bldP spid="8" grpId="0" animBg="1"/>
      <p:bldP spid="9" grpId="0" animBg="1"/>
      <p:bldP spid="11"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a:t>How It Works</a:t>
            </a:r>
          </a:p>
        </p:txBody>
      </p:sp>
      <p:sp>
        <p:nvSpPr>
          <p:cNvPr id="30" name="Content Placeholder 2"/>
          <p:cNvSpPr txBox="1">
            <a:spLocks/>
          </p:cNvSpPr>
          <p:nvPr/>
        </p:nvSpPr>
        <p:spPr>
          <a:xfrm>
            <a:off x="512939" y="1434270"/>
            <a:ext cx="5573712" cy="4459315"/>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z="3600" spc="-100" dirty="0">
                <a:solidFill>
                  <a:srgbClr val="00AEEF">
                    <a:alpha val="99000"/>
                  </a:srgbClr>
                </a:solidFill>
                <a:latin typeface="Segoe UI Light" pitchFamily="34" charset="0"/>
              </a:rPr>
              <a:t>Architecture</a:t>
            </a:r>
          </a:p>
          <a:p>
            <a:pPr marL="3175" lvl="1" indent="0" defTabSz="914325">
              <a:spcBef>
                <a:spcPts val="600"/>
              </a:spcBef>
              <a:buNone/>
            </a:pPr>
            <a:r>
              <a:rPr lang="en-US" sz="1800" spc="-51" dirty="0"/>
              <a:t>Client Layer -  Used by application to communicate directly with SQL Database.</a:t>
            </a:r>
          </a:p>
          <a:p>
            <a:pPr marL="3175" lvl="1" indent="0" defTabSz="914325">
              <a:spcBef>
                <a:spcPts val="600"/>
              </a:spcBef>
              <a:buNone/>
            </a:pPr>
            <a:r>
              <a:rPr lang="en-US" sz="1800" spc="-51" dirty="0"/>
              <a:t>Services Layer – Gateway between Client layer and Platform layer.</a:t>
            </a:r>
          </a:p>
          <a:p>
            <a:pPr marL="3175" lvl="1" indent="0" defTabSz="914325">
              <a:spcBef>
                <a:spcPts val="600"/>
              </a:spcBef>
              <a:buNone/>
            </a:pPr>
            <a:r>
              <a:rPr lang="en-US" sz="1800" spc="-51" dirty="0"/>
              <a:t>Platform Layer – Includes physical servicers and services that support the Services layer.</a:t>
            </a:r>
          </a:p>
          <a:p>
            <a:pPr marL="3175" lvl="1" indent="0" defTabSz="914325">
              <a:spcBef>
                <a:spcPts val="600"/>
              </a:spcBef>
              <a:buNone/>
            </a:pPr>
            <a:r>
              <a:rPr lang="en-US" sz="1800" spc="-51" dirty="0"/>
              <a:t>Infrastructure Layer – IT administration of the physical HW and OS.</a:t>
            </a:r>
            <a:br>
              <a:rPr lang="en-US" sz="1800" spc="-51" dirty="0"/>
            </a:br>
            <a:endParaRPr lang="en-US" sz="2400" dirty="0"/>
          </a:p>
        </p:txBody>
      </p:sp>
      <p:sp>
        <p:nvSpPr>
          <p:cNvPr id="79" name="Rectangle 78"/>
          <p:cNvSpPr/>
          <p:nvPr/>
        </p:nvSpPr>
        <p:spPr bwMode="auto">
          <a:xfrm>
            <a:off x="7518833" y="6336917"/>
            <a:ext cx="3976070" cy="235894"/>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Infrastructure Layer</a:t>
            </a:r>
          </a:p>
        </p:txBody>
      </p:sp>
      <p:grpSp>
        <p:nvGrpSpPr>
          <p:cNvPr id="80" name="Group 79"/>
          <p:cNvGrpSpPr/>
          <p:nvPr/>
        </p:nvGrpSpPr>
        <p:grpSpPr>
          <a:xfrm>
            <a:off x="7567284" y="711292"/>
            <a:ext cx="3976070" cy="1445954"/>
            <a:chOff x="7517245" y="738821"/>
            <a:chExt cx="3976070" cy="1445954"/>
          </a:xfrm>
        </p:grpSpPr>
        <p:sp>
          <p:nvSpPr>
            <p:cNvPr id="3" name="Rectangle 2"/>
            <p:cNvSpPr/>
            <p:nvPr/>
          </p:nvSpPr>
          <p:spPr bwMode="auto">
            <a:xfrm>
              <a:off x="7517245" y="914037"/>
              <a:ext cx="932688" cy="685800"/>
            </a:xfrm>
            <a:prstGeom prst="rect">
              <a:avLst/>
            </a:prstGeom>
            <a:solidFill>
              <a:schemeClr val="accent2">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292929"/>
                      </a:gs>
                      <a:gs pos="100000">
                        <a:srgbClr val="292929"/>
                      </a:gs>
                    </a:gsLst>
                    <a:lin ang="5400000" scaled="0"/>
                  </a:gradFill>
                </a:rPr>
                <a:t>PHP</a:t>
              </a:r>
            </a:p>
          </p:txBody>
        </p:sp>
        <p:sp>
          <p:nvSpPr>
            <p:cNvPr id="39" name="Rectangle 38"/>
            <p:cNvSpPr/>
            <p:nvPr/>
          </p:nvSpPr>
          <p:spPr bwMode="auto">
            <a:xfrm>
              <a:off x="10270836" y="914037"/>
              <a:ext cx="1222479" cy="685800"/>
            </a:xfrm>
            <a:prstGeom prst="rect">
              <a:avLst/>
            </a:prstGeom>
            <a:solidFill>
              <a:schemeClr val="accent2">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292929"/>
                      </a:gs>
                      <a:gs pos="100000">
                        <a:srgbClr val="292929"/>
                      </a:gs>
                    </a:gsLst>
                    <a:lin ang="5400000" scaled="0"/>
                  </a:gradFill>
                </a:rPr>
                <a:t>WCF Data Services</a:t>
              </a:r>
            </a:p>
          </p:txBody>
        </p:sp>
        <p:sp>
          <p:nvSpPr>
            <p:cNvPr id="40" name="Rectangle 39"/>
            <p:cNvSpPr/>
            <p:nvPr/>
          </p:nvSpPr>
          <p:spPr bwMode="auto">
            <a:xfrm>
              <a:off x="8556153" y="914037"/>
              <a:ext cx="1631556" cy="685800"/>
            </a:xfrm>
            <a:prstGeom prst="rect">
              <a:avLst/>
            </a:prstGeom>
            <a:solidFill>
              <a:schemeClr val="accent2">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292929"/>
                      </a:gs>
                      <a:gs pos="100000">
                        <a:srgbClr val="292929"/>
                      </a:gs>
                    </a:gsLst>
                    <a:lin ang="5400000" scaled="0"/>
                  </a:gradFill>
                </a:rPr>
                <a:t>SQL Server</a:t>
              </a:r>
            </a:p>
            <a:p>
              <a:pPr algn="ctr" defTabSz="914099" fontAlgn="base">
                <a:spcBef>
                  <a:spcPct val="0"/>
                </a:spcBef>
                <a:spcAft>
                  <a:spcPct val="0"/>
                </a:spcAft>
              </a:pPr>
              <a:r>
                <a:rPr lang="en-US" sz="1200" dirty="0">
                  <a:gradFill>
                    <a:gsLst>
                      <a:gs pos="0">
                        <a:srgbClr val="292929"/>
                      </a:gs>
                      <a:gs pos="100000">
                        <a:srgbClr val="292929"/>
                      </a:gs>
                    </a:gsLst>
                    <a:lin ang="5400000" scaled="0"/>
                  </a:gradFill>
                </a:rPr>
                <a:t>Applications</a:t>
              </a:r>
            </a:p>
            <a:p>
              <a:pPr algn="ctr" defTabSz="914099" fontAlgn="base">
                <a:spcBef>
                  <a:spcPct val="0"/>
                </a:spcBef>
                <a:spcAft>
                  <a:spcPct val="0"/>
                </a:spcAft>
              </a:pPr>
              <a:r>
                <a:rPr lang="en-US" sz="1200" dirty="0">
                  <a:gradFill>
                    <a:gsLst>
                      <a:gs pos="0">
                        <a:srgbClr val="292929"/>
                      </a:gs>
                      <a:gs pos="100000">
                        <a:srgbClr val="292929"/>
                      </a:gs>
                    </a:gsLst>
                    <a:lin ang="5400000" scaled="0"/>
                  </a:gradFill>
                </a:rPr>
                <a:t>and Tools</a:t>
              </a:r>
            </a:p>
          </p:txBody>
        </p:sp>
        <p:sp>
          <p:nvSpPr>
            <p:cNvPr id="41" name="Rectangle 40"/>
            <p:cNvSpPr/>
            <p:nvPr/>
          </p:nvSpPr>
          <p:spPr bwMode="auto">
            <a:xfrm>
              <a:off x="7517245" y="1657566"/>
              <a:ext cx="2005446" cy="235894"/>
            </a:xfrm>
            <a:prstGeom prst="rect">
              <a:avLst/>
            </a:prstGeom>
            <a:solidFill>
              <a:schemeClr val="accent2">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292929"/>
                      </a:gs>
                      <a:gs pos="100000">
                        <a:srgbClr val="292929"/>
                      </a:gs>
                    </a:gsLst>
                    <a:lin ang="5400000" scaled="0"/>
                  </a:gradFill>
                </a:rPr>
                <a:t>ODBC</a:t>
              </a:r>
            </a:p>
          </p:txBody>
        </p:sp>
        <p:sp>
          <p:nvSpPr>
            <p:cNvPr id="42" name="Rectangle 41"/>
            <p:cNvSpPr/>
            <p:nvPr/>
          </p:nvSpPr>
          <p:spPr bwMode="auto">
            <a:xfrm>
              <a:off x="9642764" y="1657566"/>
              <a:ext cx="1850551" cy="235894"/>
            </a:xfrm>
            <a:prstGeom prst="rect">
              <a:avLst/>
            </a:prstGeom>
            <a:solidFill>
              <a:schemeClr val="accent2">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292929"/>
                      </a:gs>
                      <a:gs pos="100000">
                        <a:srgbClr val="292929"/>
                      </a:gs>
                    </a:gsLst>
                    <a:lin ang="5400000" scaled="0"/>
                  </a:gradFill>
                </a:rPr>
                <a:t>ADO.NET</a:t>
              </a:r>
            </a:p>
          </p:txBody>
        </p:sp>
        <p:sp>
          <p:nvSpPr>
            <p:cNvPr id="43" name="Rectangle 42"/>
            <p:cNvSpPr/>
            <p:nvPr/>
          </p:nvSpPr>
          <p:spPr bwMode="auto">
            <a:xfrm>
              <a:off x="7517245" y="1948881"/>
              <a:ext cx="3976070" cy="235894"/>
            </a:xfrm>
            <a:prstGeom prst="rect">
              <a:avLst/>
            </a:prstGeom>
            <a:solidFill>
              <a:schemeClr val="accent2">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292929"/>
                      </a:gs>
                      <a:gs pos="100000">
                        <a:srgbClr val="292929"/>
                      </a:gs>
                    </a:gsLst>
                    <a:lin ang="5400000" scaled="0"/>
                  </a:gradFill>
                </a:rPr>
                <a:t>Tabular Data Stream (TDS)</a:t>
              </a:r>
            </a:p>
          </p:txBody>
        </p:sp>
        <p:sp>
          <p:nvSpPr>
            <p:cNvPr id="83" name="TextBox 82"/>
            <p:cNvSpPr txBox="1"/>
            <p:nvPr/>
          </p:nvSpPr>
          <p:spPr>
            <a:xfrm>
              <a:off x="9144049" y="738821"/>
              <a:ext cx="708527" cy="138499"/>
            </a:xfrm>
            <a:prstGeom prst="rect">
              <a:avLst/>
            </a:prstGeom>
            <a:noFill/>
          </p:spPr>
          <p:txBody>
            <a:bodyPr wrap="none" lIns="0" tIns="0" rIns="0" bIns="0" rtlCol="0">
              <a:spAutoFit/>
            </a:bodyPr>
            <a:lstStyle/>
            <a:p>
              <a:pPr defTabSz="914363">
                <a:lnSpc>
                  <a:spcPct val="90000"/>
                </a:lnSpc>
                <a:spcBef>
                  <a:spcPct val="20000"/>
                </a:spcBef>
                <a:buSzPct val="80000"/>
              </a:pPr>
              <a:r>
                <a:rPr lang="en-US" sz="1000" b="1" dirty="0">
                  <a:gradFill>
                    <a:gsLst>
                      <a:gs pos="0">
                        <a:srgbClr val="292929"/>
                      </a:gs>
                      <a:gs pos="100000">
                        <a:srgbClr val="292929"/>
                      </a:gs>
                    </a:gsLst>
                    <a:lin ang="5400000" scaled="0"/>
                  </a:gradFill>
                </a:rPr>
                <a:t>Client Layer</a:t>
              </a:r>
              <a:endParaRPr lang="en-US" sz="1200" b="1" dirty="0">
                <a:gradFill>
                  <a:gsLst>
                    <a:gs pos="0">
                      <a:srgbClr val="292929"/>
                    </a:gs>
                    <a:gs pos="100000">
                      <a:srgbClr val="292929"/>
                    </a:gs>
                  </a:gsLst>
                  <a:lin ang="5400000" scaled="0"/>
                </a:gradFill>
              </a:endParaRPr>
            </a:p>
          </p:txBody>
        </p:sp>
      </p:grpSp>
      <p:grpSp>
        <p:nvGrpSpPr>
          <p:cNvPr id="91" name="Group 90"/>
          <p:cNvGrpSpPr/>
          <p:nvPr/>
        </p:nvGrpSpPr>
        <p:grpSpPr>
          <a:xfrm>
            <a:off x="7518833" y="2203204"/>
            <a:ext cx="3976070" cy="2084188"/>
            <a:chOff x="7517245" y="2203204"/>
            <a:chExt cx="3976070" cy="2084188"/>
          </a:xfrm>
        </p:grpSpPr>
        <p:cxnSp>
          <p:nvCxnSpPr>
            <p:cNvPr id="13" name="Straight Connector 12"/>
            <p:cNvCxnSpPr/>
            <p:nvPr/>
          </p:nvCxnSpPr>
          <p:spPr>
            <a:xfrm>
              <a:off x="7517245" y="2382991"/>
              <a:ext cx="397607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bwMode="auto">
            <a:xfrm>
              <a:off x="7517245" y="2486300"/>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rgbClr val="FFFFFF"/>
                      </a:gs>
                      <a:gs pos="100000">
                        <a:srgbClr val="FFFFFF"/>
                      </a:gs>
                    </a:gsLst>
                    <a:lin ang="5400000" scaled="0"/>
                  </a:gradFill>
                </a:rPr>
                <a:t>Services Layer</a:t>
              </a:r>
            </a:p>
          </p:txBody>
        </p:sp>
        <p:sp>
          <p:nvSpPr>
            <p:cNvPr id="46" name="Rectangle 45"/>
            <p:cNvSpPr/>
            <p:nvPr/>
          </p:nvSpPr>
          <p:spPr bwMode="auto">
            <a:xfrm>
              <a:off x="8959585" y="2802550"/>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292929"/>
                    </a:gs>
                    <a:gs pos="100000">
                      <a:srgbClr val="292929"/>
                    </a:gs>
                  </a:gsLst>
                  <a:lin ang="5400000" scaled="0"/>
                </a:gradFill>
              </a:endParaRPr>
            </a:p>
          </p:txBody>
        </p:sp>
        <p:sp>
          <p:nvSpPr>
            <p:cNvPr id="50" name="Rectangle 49"/>
            <p:cNvSpPr/>
            <p:nvPr/>
          </p:nvSpPr>
          <p:spPr bwMode="auto">
            <a:xfrm>
              <a:off x="9048079" y="289832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rgbClr val="292929"/>
                      </a:gs>
                      <a:gs pos="100000">
                        <a:srgbClr val="292929"/>
                      </a:gs>
                    </a:gsLst>
                    <a:lin ang="5400000" scaled="0"/>
                  </a:gradFill>
                </a:rPr>
                <a:t>Provisioning</a:t>
              </a:r>
            </a:p>
          </p:txBody>
        </p:sp>
        <p:sp>
          <p:nvSpPr>
            <p:cNvPr id="51" name="Rectangle 50"/>
            <p:cNvSpPr/>
            <p:nvPr/>
          </p:nvSpPr>
          <p:spPr bwMode="auto">
            <a:xfrm>
              <a:off x="9048079" y="333087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rgbClr val="292929"/>
                      </a:gs>
                      <a:gs pos="100000">
                        <a:srgbClr val="292929"/>
                      </a:gs>
                    </a:gsLst>
                    <a:lin ang="5400000" scaled="0"/>
                  </a:gradFill>
                </a:rPr>
                <a:t>Billing and Metering</a:t>
              </a:r>
            </a:p>
          </p:txBody>
        </p:sp>
        <p:sp>
          <p:nvSpPr>
            <p:cNvPr id="52" name="Rectangle 51"/>
            <p:cNvSpPr/>
            <p:nvPr/>
          </p:nvSpPr>
          <p:spPr bwMode="auto">
            <a:xfrm>
              <a:off x="9048079" y="3760362"/>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rgbClr val="292929"/>
                      </a:gs>
                      <a:gs pos="100000">
                        <a:srgbClr val="292929"/>
                      </a:gs>
                    </a:gsLst>
                    <a:lin ang="5400000" scaled="0"/>
                  </a:gradFill>
                </a:rPr>
                <a:t>Connection Routing</a:t>
              </a:r>
            </a:p>
          </p:txBody>
        </p:sp>
        <p:sp>
          <p:nvSpPr>
            <p:cNvPr id="53" name="Rectangle 52"/>
            <p:cNvSpPr/>
            <p:nvPr/>
          </p:nvSpPr>
          <p:spPr bwMode="auto">
            <a:xfrm>
              <a:off x="10150997" y="2802550"/>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292929"/>
                    </a:gs>
                    <a:gs pos="100000">
                      <a:srgbClr val="292929"/>
                    </a:gs>
                  </a:gsLst>
                  <a:lin ang="5400000" scaled="0"/>
                </a:gradFill>
              </a:endParaRPr>
            </a:p>
          </p:txBody>
        </p:sp>
        <p:sp>
          <p:nvSpPr>
            <p:cNvPr id="54" name="Rectangle 53"/>
            <p:cNvSpPr/>
            <p:nvPr/>
          </p:nvSpPr>
          <p:spPr bwMode="auto">
            <a:xfrm>
              <a:off x="10239491" y="289832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rgbClr val="292929"/>
                      </a:gs>
                      <a:gs pos="100000">
                        <a:srgbClr val="292929"/>
                      </a:gs>
                    </a:gsLst>
                    <a:lin ang="5400000" scaled="0"/>
                  </a:gradFill>
                </a:rPr>
                <a:t>Provisioning</a:t>
              </a:r>
            </a:p>
          </p:txBody>
        </p:sp>
        <p:sp>
          <p:nvSpPr>
            <p:cNvPr id="55" name="Rectangle 54"/>
            <p:cNvSpPr/>
            <p:nvPr/>
          </p:nvSpPr>
          <p:spPr bwMode="auto">
            <a:xfrm>
              <a:off x="10239491" y="333087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rgbClr val="292929"/>
                      </a:gs>
                      <a:gs pos="100000">
                        <a:srgbClr val="292929"/>
                      </a:gs>
                    </a:gsLst>
                    <a:lin ang="5400000" scaled="0"/>
                  </a:gradFill>
                </a:rPr>
                <a:t>Billing and Metering</a:t>
              </a:r>
            </a:p>
          </p:txBody>
        </p:sp>
        <p:sp>
          <p:nvSpPr>
            <p:cNvPr id="56" name="Rectangle 55"/>
            <p:cNvSpPr/>
            <p:nvPr/>
          </p:nvSpPr>
          <p:spPr bwMode="auto">
            <a:xfrm>
              <a:off x="10239491" y="3760362"/>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rgbClr val="292929"/>
                      </a:gs>
                      <a:gs pos="100000">
                        <a:srgbClr val="292929"/>
                      </a:gs>
                    </a:gsLst>
                    <a:lin ang="5400000" scaled="0"/>
                  </a:gradFill>
                </a:rPr>
                <a:t>Connection Routing</a:t>
              </a:r>
            </a:p>
          </p:txBody>
        </p:sp>
        <p:sp>
          <p:nvSpPr>
            <p:cNvPr id="57" name="Rectangle 56"/>
            <p:cNvSpPr/>
            <p:nvPr/>
          </p:nvSpPr>
          <p:spPr bwMode="auto">
            <a:xfrm>
              <a:off x="7754240" y="2802550"/>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292929"/>
                    </a:gs>
                    <a:gs pos="100000">
                      <a:srgbClr val="292929"/>
                    </a:gs>
                  </a:gsLst>
                  <a:lin ang="5400000" scaled="0"/>
                </a:gradFill>
              </a:endParaRPr>
            </a:p>
          </p:txBody>
        </p:sp>
        <p:sp>
          <p:nvSpPr>
            <p:cNvPr id="58" name="Rectangle 57"/>
            <p:cNvSpPr/>
            <p:nvPr/>
          </p:nvSpPr>
          <p:spPr bwMode="auto">
            <a:xfrm>
              <a:off x="7842734" y="289832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rgbClr val="292929"/>
                      </a:gs>
                      <a:gs pos="100000">
                        <a:srgbClr val="292929"/>
                      </a:gs>
                    </a:gsLst>
                    <a:lin ang="5400000" scaled="0"/>
                  </a:gradFill>
                </a:rPr>
                <a:t>Provisioning</a:t>
              </a:r>
            </a:p>
          </p:txBody>
        </p:sp>
        <p:sp>
          <p:nvSpPr>
            <p:cNvPr id="59" name="Rectangle 58"/>
            <p:cNvSpPr/>
            <p:nvPr/>
          </p:nvSpPr>
          <p:spPr bwMode="auto">
            <a:xfrm>
              <a:off x="7842734" y="333087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rgbClr val="292929"/>
                      </a:gs>
                      <a:gs pos="100000">
                        <a:srgbClr val="292929"/>
                      </a:gs>
                    </a:gsLst>
                    <a:lin ang="5400000" scaled="0"/>
                  </a:gradFill>
                </a:rPr>
                <a:t>Billing and Metering</a:t>
              </a:r>
            </a:p>
          </p:txBody>
        </p:sp>
        <p:sp>
          <p:nvSpPr>
            <p:cNvPr id="60" name="Rectangle 59"/>
            <p:cNvSpPr/>
            <p:nvPr/>
          </p:nvSpPr>
          <p:spPr bwMode="auto">
            <a:xfrm>
              <a:off x="7842734" y="3760362"/>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rgbClr val="292929"/>
                      </a:gs>
                      <a:gs pos="100000">
                        <a:srgbClr val="292929"/>
                      </a:gs>
                    </a:gsLst>
                    <a:lin ang="5400000" scaled="0"/>
                  </a:gradFill>
                </a:rPr>
                <a:t>Connection Routing</a:t>
              </a:r>
            </a:p>
          </p:txBody>
        </p:sp>
        <p:sp>
          <p:nvSpPr>
            <p:cNvPr id="17" name="TextBox 16"/>
            <p:cNvSpPr txBox="1"/>
            <p:nvPr/>
          </p:nvSpPr>
          <p:spPr>
            <a:xfrm>
              <a:off x="11286837" y="2992518"/>
              <a:ext cx="141064" cy="166199"/>
            </a:xfrm>
            <a:prstGeom prst="rect">
              <a:avLst/>
            </a:prstGeom>
            <a:noFill/>
          </p:spPr>
          <p:txBody>
            <a:bodyPr wrap="none" lIns="0" tIns="0" rIns="0" bIns="0" rtlCol="0">
              <a:spAutoFit/>
            </a:bodyPr>
            <a:lstStyle/>
            <a:p>
              <a:pPr defTabSz="914363">
                <a:lnSpc>
                  <a:spcPct val="90000"/>
                </a:lnSpc>
                <a:spcBef>
                  <a:spcPct val="20000"/>
                </a:spcBef>
                <a:buSzPct val="80000"/>
              </a:pPr>
              <a:r>
                <a:rPr lang="en-US" sz="1200" b="1" dirty="0">
                  <a:gradFill>
                    <a:gsLst>
                      <a:gs pos="0">
                        <a:srgbClr val="FFFFFF"/>
                      </a:gs>
                      <a:gs pos="100000">
                        <a:srgbClr val="FFFFFF"/>
                      </a:gs>
                    </a:gsLst>
                    <a:lin ang="5400000" scaled="0"/>
                  </a:gradFill>
                </a:rPr>
                <a:t>…</a:t>
              </a:r>
            </a:p>
          </p:txBody>
        </p:sp>
        <p:sp>
          <p:nvSpPr>
            <p:cNvPr id="61" name="TextBox 60"/>
            <p:cNvSpPr txBox="1"/>
            <p:nvPr/>
          </p:nvSpPr>
          <p:spPr>
            <a:xfrm>
              <a:off x="11286837" y="3425068"/>
              <a:ext cx="141064" cy="166199"/>
            </a:xfrm>
            <a:prstGeom prst="rect">
              <a:avLst/>
            </a:prstGeom>
            <a:noFill/>
          </p:spPr>
          <p:txBody>
            <a:bodyPr wrap="none" lIns="0" tIns="0" rIns="0" bIns="0" rtlCol="0">
              <a:spAutoFit/>
            </a:bodyPr>
            <a:lstStyle/>
            <a:p>
              <a:pPr defTabSz="914363">
                <a:lnSpc>
                  <a:spcPct val="90000"/>
                </a:lnSpc>
                <a:spcBef>
                  <a:spcPct val="20000"/>
                </a:spcBef>
                <a:buSzPct val="80000"/>
              </a:pPr>
              <a:r>
                <a:rPr lang="en-US" sz="1200" b="1" dirty="0">
                  <a:gradFill>
                    <a:gsLst>
                      <a:gs pos="0">
                        <a:srgbClr val="FFFFFF"/>
                      </a:gs>
                      <a:gs pos="100000">
                        <a:srgbClr val="FFFFFF"/>
                      </a:gs>
                    </a:gsLst>
                    <a:lin ang="5400000" scaled="0"/>
                  </a:gradFill>
                </a:rPr>
                <a:t>…</a:t>
              </a:r>
            </a:p>
          </p:txBody>
        </p:sp>
        <p:sp>
          <p:nvSpPr>
            <p:cNvPr id="62" name="TextBox 61"/>
            <p:cNvSpPr txBox="1"/>
            <p:nvPr/>
          </p:nvSpPr>
          <p:spPr>
            <a:xfrm>
              <a:off x="11286837" y="3854559"/>
              <a:ext cx="141064" cy="166199"/>
            </a:xfrm>
            <a:prstGeom prst="rect">
              <a:avLst/>
            </a:prstGeom>
            <a:noFill/>
          </p:spPr>
          <p:txBody>
            <a:bodyPr wrap="none" lIns="0" tIns="0" rIns="0" bIns="0" rtlCol="0">
              <a:spAutoFit/>
            </a:bodyPr>
            <a:lstStyle/>
            <a:p>
              <a:pPr defTabSz="914363">
                <a:lnSpc>
                  <a:spcPct val="90000"/>
                </a:lnSpc>
                <a:spcBef>
                  <a:spcPct val="20000"/>
                </a:spcBef>
                <a:buSzPct val="80000"/>
              </a:pPr>
              <a:r>
                <a:rPr lang="en-US" sz="1200" b="1" dirty="0">
                  <a:gradFill>
                    <a:gsLst>
                      <a:gs pos="0">
                        <a:srgbClr val="FFFFFF"/>
                      </a:gs>
                      <a:gs pos="100000">
                        <a:srgbClr val="FFFFFF"/>
                      </a:gs>
                    </a:gsLst>
                    <a:lin ang="5400000" scaled="0"/>
                  </a:gradFill>
                </a:rPr>
                <a:t>…</a:t>
              </a:r>
            </a:p>
          </p:txBody>
        </p:sp>
        <p:cxnSp>
          <p:nvCxnSpPr>
            <p:cNvPr id="82" name="Straight Arrow Connector 81"/>
            <p:cNvCxnSpPr/>
            <p:nvPr/>
          </p:nvCxnSpPr>
          <p:spPr>
            <a:xfrm flipV="1">
              <a:off x="9534277" y="2243104"/>
              <a:ext cx="0" cy="243196"/>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9610327" y="2203204"/>
              <a:ext cx="512961" cy="138499"/>
            </a:xfrm>
            <a:prstGeom prst="rect">
              <a:avLst/>
            </a:prstGeom>
            <a:noFill/>
          </p:spPr>
          <p:txBody>
            <a:bodyPr wrap="none" lIns="0" tIns="0" rIns="0" bIns="0" rtlCol="0">
              <a:spAutoFit/>
            </a:bodyPr>
            <a:lstStyle/>
            <a:p>
              <a:pPr defTabSz="914363">
                <a:lnSpc>
                  <a:spcPct val="90000"/>
                </a:lnSpc>
                <a:spcBef>
                  <a:spcPct val="20000"/>
                </a:spcBef>
                <a:buSzPct val="80000"/>
              </a:pPr>
              <a:r>
                <a:rPr lang="en-US" sz="1000" dirty="0">
                  <a:gradFill>
                    <a:gsLst>
                      <a:gs pos="0">
                        <a:srgbClr val="292929"/>
                      </a:gs>
                      <a:gs pos="100000">
                        <a:srgbClr val="292929"/>
                      </a:gs>
                    </a:gsLst>
                    <a:lin ang="5400000" scaled="0"/>
                  </a:gradFill>
                </a:rPr>
                <a:t>TDS+SSL</a:t>
              </a:r>
            </a:p>
          </p:txBody>
        </p:sp>
      </p:grpSp>
      <p:grpSp>
        <p:nvGrpSpPr>
          <p:cNvPr id="3072" name="Group 3071"/>
          <p:cNvGrpSpPr/>
          <p:nvPr/>
        </p:nvGrpSpPr>
        <p:grpSpPr>
          <a:xfrm>
            <a:off x="7518832" y="4348917"/>
            <a:ext cx="3976070" cy="1931810"/>
            <a:chOff x="7517244" y="4348917"/>
            <a:chExt cx="3976070" cy="1931810"/>
          </a:xfrm>
        </p:grpSpPr>
        <p:sp>
          <p:nvSpPr>
            <p:cNvPr id="63" name="Rectangle 62"/>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rgbClr val="FFFFFF"/>
                      </a:gs>
                      <a:gs pos="100000">
                        <a:srgbClr val="FFFFFF"/>
                      </a:gs>
                    </a:gsLst>
                    <a:lin ang="5400000" scaled="0"/>
                  </a:gradFill>
                </a:rPr>
                <a:t>Platform Layer</a:t>
              </a:r>
            </a:p>
          </p:txBody>
        </p:sp>
        <p:sp>
          <p:nvSpPr>
            <p:cNvPr id="64" name="Rectangle 63"/>
            <p:cNvSpPr/>
            <p:nvPr/>
          </p:nvSpPr>
          <p:spPr bwMode="auto">
            <a:xfrm>
              <a:off x="8959584" y="464513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292929"/>
                    </a:gs>
                    <a:gs pos="100000">
                      <a:srgbClr val="292929"/>
                    </a:gs>
                  </a:gsLst>
                  <a:lin ang="5400000" scaled="0"/>
                </a:gradFill>
              </a:endParaRPr>
            </a:p>
          </p:txBody>
        </p:sp>
        <p:sp>
          <p:nvSpPr>
            <p:cNvPr id="65" name="Rectangle 64"/>
            <p:cNvSpPr/>
            <p:nvPr/>
          </p:nvSpPr>
          <p:spPr bwMode="auto">
            <a:xfrm>
              <a:off x="9048078" y="474091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rgbClr val="292929"/>
                      </a:gs>
                      <a:gs pos="100000">
                        <a:srgbClr val="292929"/>
                      </a:gs>
                    </a:gsLst>
                    <a:lin ang="5400000" scaled="0"/>
                  </a:gradFill>
                </a:rPr>
                <a:t>SQL Server</a:t>
              </a:r>
            </a:p>
          </p:txBody>
        </p:sp>
        <p:sp>
          <p:nvSpPr>
            <p:cNvPr id="66" name="Rectangle 65"/>
            <p:cNvSpPr/>
            <p:nvPr/>
          </p:nvSpPr>
          <p:spPr bwMode="auto">
            <a:xfrm>
              <a:off x="9048078" y="517346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rgbClr val="292929"/>
                      </a:gs>
                      <a:gs pos="100000">
                        <a:srgbClr val="292929"/>
                      </a:gs>
                    </a:gsLst>
                    <a:lin ang="5400000" scaled="0"/>
                  </a:gradFill>
                </a:rPr>
                <a:t>SQL Database Fabric</a:t>
              </a:r>
            </a:p>
          </p:txBody>
        </p:sp>
        <p:sp>
          <p:nvSpPr>
            <p:cNvPr id="67" name="Rectangle 66"/>
            <p:cNvSpPr/>
            <p:nvPr/>
          </p:nvSpPr>
          <p:spPr bwMode="auto">
            <a:xfrm>
              <a:off x="9048078" y="560295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rgbClr val="292929"/>
                      </a:gs>
                      <a:gs pos="100000">
                        <a:srgbClr val="292929"/>
                      </a:gs>
                    </a:gsLst>
                    <a:lin ang="5400000" scaled="0"/>
                  </a:gradFill>
                </a:rPr>
                <a:t>Management Services</a:t>
              </a:r>
            </a:p>
          </p:txBody>
        </p:sp>
        <p:sp>
          <p:nvSpPr>
            <p:cNvPr id="68" name="Rectangle 67"/>
            <p:cNvSpPr/>
            <p:nvPr/>
          </p:nvSpPr>
          <p:spPr bwMode="auto">
            <a:xfrm>
              <a:off x="10150996" y="463618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292929"/>
                    </a:gs>
                    <a:gs pos="100000">
                      <a:srgbClr val="292929"/>
                    </a:gs>
                  </a:gsLst>
                  <a:lin ang="5400000" scaled="0"/>
                </a:gradFill>
              </a:endParaRPr>
            </a:p>
          </p:txBody>
        </p:sp>
        <p:sp>
          <p:nvSpPr>
            <p:cNvPr id="69" name="Rectangle 68"/>
            <p:cNvSpPr/>
            <p:nvPr/>
          </p:nvSpPr>
          <p:spPr bwMode="auto">
            <a:xfrm>
              <a:off x="10239490" y="473196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rgbClr val="292929"/>
                      </a:gs>
                      <a:gs pos="100000">
                        <a:srgbClr val="292929"/>
                      </a:gs>
                    </a:gsLst>
                    <a:lin ang="5400000" scaled="0"/>
                  </a:gradFill>
                </a:rPr>
                <a:t>SQL Server</a:t>
              </a:r>
            </a:p>
          </p:txBody>
        </p:sp>
        <p:sp>
          <p:nvSpPr>
            <p:cNvPr id="70" name="Rectangle 69"/>
            <p:cNvSpPr/>
            <p:nvPr/>
          </p:nvSpPr>
          <p:spPr bwMode="auto">
            <a:xfrm>
              <a:off x="10239490" y="516451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rgbClr val="292929"/>
                      </a:gs>
                      <a:gs pos="100000">
                        <a:srgbClr val="292929"/>
                      </a:gs>
                    </a:gsLst>
                    <a:lin ang="5400000" scaled="0"/>
                  </a:gradFill>
                </a:rPr>
                <a:t>SQL Database Fabric</a:t>
              </a:r>
            </a:p>
          </p:txBody>
        </p:sp>
        <p:sp>
          <p:nvSpPr>
            <p:cNvPr id="71" name="Rectangle 70"/>
            <p:cNvSpPr/>
            <p:nvPr/>
          </p:nvSpPr>
          <p:spPr bwMode="auto">
            <a:xfrm>
              <a:off x="10239490" y="559400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rgbClr val="292929"/>
                      </a:gs>
                      <a:gs pos="100000">
                        <a:srgbClr val="292929"/>
                      </a:gs>
                    </a:gsLst>
                    <a:lin ang="5400000" scaled="0"/>
                  </a:gradFill>
                </a:rPr>
                <a:t>Management Services</a:t>
              </a:r>
            </a:p>
          </p:txBody>
        </p:sp>
        <p:sp>
          <p:nvSpPr>
            <p:cNvPr id="72" name="Rectangle 71"/>
            <p:cNvSpPr/>
            <p:nvPr/>
          </p:nvSpPr>
          <p:spPr bwMode="auto">
            <a:xfrm>
              <a:off x="7754240" y="464513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292929"/>
                    </a:gs>
                    <a:gs pos="100000">
                      <a:srgbClr val="292929"/>
                    </a:gs>
                  </a:gsLst>
                  <a:lin ang="5400000" scaled="0"/>
                </a:gradFill>
              </a:endParaRPr>
            </a:p>
          </p:txBody>
        </p:sp>
        <p:sp>
          <p:nvSpPr>
            <p:cNvPr id="73" name="Rectangle 72"/>
            <p:cNvSpPr/>
            <p:nvPr/>
          </p:nvSpPr>
          <p:spPr bwMode="auto">
            <a:xfrm>
              <a:off x="7842734" y="474091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rgbClr val="292929"/>
                      </a:gs>
                      <a:gs pos="100000">
                        <a:srgbClr val="292929"/>
                      </a:gs>
                    </a:gsLst>
                    <a:lin ang="5400000" scaled="0"/>
                  </a:gradFill>
                </a:rPr>
                <a:t>SQL Server</a:t>
              </a:r>
            </a:p>
          </p:txBody>
        </p:sp>
        <p:sp>
          <p:nvSpPr>
            <p:cNvPr id="74" name="Rectangle 73"/>
            <p:cNvSpPr/>
            <p:nvPr/>
          </p:nvSpPr>
          <p:spPr bwMode="auto">
            <a:xfrm>
              <a:off x="7842734" y="517346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rgbClr val="292929"/>
                      </a:gs>
                      <a:gs pos="100000">
                        <a:srgbClr val="292929"/>
                      </a:gs>
                    </a:gsLst>
                    <a:lin ang="5400000" scaled="0"/>
                  </a:gradFill>
                </a:rPr>
                <a:t>SQL Database Fabric</a:t>
              </a:r>
            </a:p>
          </p:txBody>
        </p:sp>
        <p:sp>
          <p:nvSpPr>
            <p:cNvPr id="75" name="Rectangle 74"/>
            <p:cNvSpPr/>
            <p:nvPr/>
          </p:nvSpPr>
          <p:spPr bwMode="auto">
            <a:xfrm>
              <a:off x="7842734" y="560295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rgbClr val="292929"/>
                      </a:gs>
                      <a:gs pos="100000">
                        <a:srgbClr val="292929"/>
                      </a:gs>
                    </a:gsLst>
                    <a:lin ang="5400000" scaled="0"/>
                  </a:gradFill>
                </a:rPr>
                <a:t>Management Services</a:t>
              </a:r>
            </a:p>
          </p:txBody>
        </p:sp>
        <p:sp>
          <p:nvSpPr>
            <p:cNvPr id="76" name="TextBox 75"/>
            <p:cNvSpPr txBox="1"/>
            <p:nvPr/>
          </p:nvSpPr>
          <p:spPr>
            <a:xfrm>
              <a:off x="11286837" y="4826157"/>
              <a:ext cx="141064" cy="166199"/>
            </a:xfrm>
            <a:prstGeom prst="rect">
              <a:avLst/>
            </a:prstGeom>
            <a:noFill/>
          </p:spPr>
          <p:txBody>
            <a:bodyPr wrap="none" lIns="0" tIns="0" rIns="0" bIns="0" rtlCol="0">
              <a:spAutoFit/>
            </a:bodyPr>
            <a:lstStyle/>
            <a:p>
              <a:pPr defTabSz="914363">
                <a:lnSpc>
                  <a:spcPct val="90000"/>
                </a:lnSpc>
                <a:spcBef>
                  <a:spcPct val="20000"/>
                </a:spcBef>
                <a:buSzPct val="80000"/>
              </a:pPr>
              <a:r>
                <a:rPr lang="en-US" sz="1200" b="1" dirty="0">
                  <a:gradFill>
                    <a:gsLst>
                      <a:gs pos="0">
                        <a:srgbClr val="FFFFFF"/>
                      </a:gs>
                      <a:gs pos="100000">
                        <a:srgbClr val="FFFFFF"/>
                      </a:gs>
                    </a:gsLst>
                    <a:lin ang="5400000" scaled="0"/>
                  </a:gradFill>
                </a:rPr>
                <a:t>…</a:t>
              </a:r>
            </a:p>
          </p:txBody>
        </p:sp>
        <p:sp>
          <p:nvSpPr>
            <p:cNvPr id="77" name="TextBox 76"/>
            <p:cNvSpPr txBox="1"/>
            <p:nvPr/>
          </p:nvSpPr>
          <p:spPr>
            <a:xfrm>
              <a:off x="11286837" y="5272131"/>
              <a:ext cx="141064" cy="166199"/>
            </a:xfrm>
            <a:prstGeom prst="rect">
              <a:avLst/>
            </a:prstGeom>
            <a:noFill/>
          </p:spPr>
          <p:txBody>
            <a:bodyPr wrap="none" lIns="0" tIns="0" rIns="0" bIns="0" rtlCol="0">
              <a:spAutoFit/>
            </a:bodyPr>
            <a:lstStyle/>
            <a:p>
              <a:pPr defTabSz="914363">
                <a:lnSpc>
                  <a:spcPct val="90000"/>
                </a:lnSpc>
                <a:spcBef>
                  <a:spcPct val="20000"/>
                </a:spcBef>
                <a:buSzPct val="80000"/>
              </a:pPr>
              <a:r>
                <a:rPr lang="en-US" sz="1200" b="1" dirty="0">
                  <a:gradFill>
                    <a:gsLst>
                      <a:gs pos="0">
                        <a:srgbClr val="FFFFFF"/>
                      </a:gs>
                      <a:gs pos="100000">
                        <a:srgbClr val="FFFFFF"/>
                      </a:gs>
                    </a:gsLst>
                    <a:lin ang="5400000" scaled="0"/>
                  </a:gradFill>
                </a:rPr>
                <a:t>…</a:t>
              </a:r>
            </a:p>
          </p:txBody>
        </p:sp>
        <p:sp>
          <p:nvSpPr>
            <p:cNvPr id="78" name="TextBox 77"/>
            <p:cNvSpPr txBox="1"/>
            <p:nvPr/>
          </p:nvSpPr>
          <p:spPr>
            <a:xfrm>
              <a:off x="11298173" y="5697148"/>
              <a:ext cx="141064" cy="166199"/>
            </a:xfrm>
            <a:prstGeom prst="rect">
              <a:avLst/>
            </a:prstGeom>
            <a:noFill/>
          </p:spPr>
          <p:txBody>
            <a:bodyPr wrap="none" lIns="0" tIns="0" rIns="0" bIns="0" rtlCol="0">
              <a:spAutoFit/>
            </a:bodyPr>
            <a:lstStyle/>
            <a:p>
              <a:pPr defTabSz="914363">
                <a:lnSpc>
                  <a:spcPct val="90000"/>
                </a:lnSpc>
                <a:spcBef>
                  <a:spcPct val="20000"/>
                </a:spcBef>
                <a:buSzPct val="80000"/>
              </a:pPr>
              <a:r>
                <a:rPr lang="en-US" sz="1200" b="1" dirty="0">
                  <a:gradFill>
                    <a:gsLst>
                      <a:gs pos="0">
                        <a:srgbClr val="FFFFFF"/>
                      </a:gs>
                      <a:gs pos="100000">
                        <a:srgbClr val="FFFFFF"/>
                      </a:gs>
                    </a:gsLst>
                    <a:lin ang="5400000" scaled="0"/>
                  </a:gradFill>
                </a:rPr>
                <a:t>…</a:t>
              </a:r>
            </a:p>
          </p:txBody>
        </p:sp>
        <p:cxnSp>
          <p:nvCxnSpPr>
            <p:cNvPr id="20" name="Elbow Connector 19"/>
            <p:cNvCxnSpPr/>
            <p:nvPr/>
          </p:nvCxnSpPr>
          <p:spPr>
            <a:xfrm rot="5400000" flipH="1" flipV="1">
              <a:off x="9493838" y="4862471"/>
              <a:ext cx="8950" cy="2396756"/>
            </a:xfrm>
            <a:prstGeom prst="bentConnector3">
              <a:avLst>
                <a:gd name="adj1" fmla="val -1728592"/>
              </a:avLst>
            </a:prstGeom>
            <a:ln w="158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V="1">
              <a:off x="9505279" y="6065324"/>
              <a:ext cx="0" cy="141516"/>
            </a:xfrm>
            <a:prstGeom prst="straightConnector1">
              <a:avLst/>
            </a:prstGeom>
            <a:ln w="158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65740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0">
                                            <p:txEl>
                                              <p:pRg st="1" end="1"/>
                                            </p:txEl>
                                          </p:spTgt>
                                        </p:tgtEl>
                                        <p:attrNameLst>
                                          <p:attrName>style.visibility</p:attrName>
                                        </p:attrNameLst>
                                      </p:cBhvr>
                                      <p:to>
                                        <p:strVal val="visible"/>
                                      </p:to>
                                    </p:set>
                                    <p:animEffect transition="in" filter="fade">
                                      <p:cBhvr>
                                        <p:cTn id="7" dur="1000"/>
                                        <p:tgtEl>
                                          <p:spTgt spid="30">
                                            <p:txEl>
                                              <p:pRg st="1" end="1"/>
                                            </p:txEl>
                                          </p:spTgt>
                                        </p:tgtEl>
                                      </p:cBhvr>
                                    </p:animEffect>
                                    <p:anim calcmode="lin" valueType="num">
                                      <p:cBhvr>
                                        <p:cTn id="8" dur="1000" fill="hold"/>
                                        <p:tgtEl>
                                          <p:spTgt spid="30">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30">
                                            <p:txEl>
                                              <p:pRg st="1" end="1"/>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80"/>
                                        </p:tgtEl>
                                        <p:attrNameLst>
                                          <p:attrName>style.visibility</p:attrName>
                                        </p:attrNameLst>
                                      </p:cBhvr>
                                      <p:to>
                                        <p:strVal val="visible"/>
                                      </p:to>
                                    </p:set>
                                    <p:animEffect transition="in" filter="fade">
                                      <p:cBhvr>
                                        <p:cTn id="12" dur="1000"/>
                                        <p:tgtEl>
                                          <p:spTgt spid="80"/>
                                        </p:tgtEl>
                                      </p:cBhvr>
                                    </p:animEffect>
                                    <p:anim calcmode="lin" valueType="num">
                                      <p:cBhvr>
                                        <p:cTn id="13" dur="1000" fill="hold"/>
                                        <p:tgtEl>
                                          <p:spTgt spid="80"/>
                                        </p:tgtEl>
                                        <p:attrNameLst>
                                          <p:attrName>ppt_x</p:attrName>
                                        </p:attrNameLst>
                                      </p:cBhvr>
                                      <p:tavLst>
                                        <p:tav tm="0">
                                          <p:val>
                                            <p:strVal val="#ppt_x"/>
                                          </p:val>
                                        </p:tav>
                                        <p:tav tm="100000">
                                          <p:val>
                                            <p:strVal val="#ppt_x"/>
                                          </p:val>
                                        </p:tav>
                                      </p:tavLst>
                                    </p:anim>
                                    <p:anim calcmode="lin" valueType="num">
                                      <p:cBhvr>
                                        <p:cTn id="14" dur="1000" fill="hold"/>
                                        <p:tgtEl>
                                          <p:spTgt spid="80"/>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30">
                                            <p:txEl>
                                              <p:pRg st="2" end="2"/>
                                            </p:txEl>
                                          </p:spTgt>
                                        </p:tgtEl>
                                        <p:attrNameLst>
                                          <p:attrName>style.visibility</p:attrName>
                                        </p:attrNameLst>
                                      </p:cBhvr>
                                      <p:to>
                                        <p:strVal val="visible"/>
                                      </p:to>
                                    </p:set>
                                    <p:animEffect transition="in" filter="fade">
                                      <p:cBhvr>
                                        <p:cTn id="19" dur="1000"/>
                                        <p:tgtEl>
                                          <p:spTgt spid="30">
                                            <p:txEl>
                                              <p:pRg st="2" end="2"/>
                                            </p:txEl>
                                          </p:spTgt>
                                        </p:tgtEl>
                                      </p:cBhvr>
                                    </p:animEffect>
                                    <p:anim calcmode="lin" valueType="num">
                                      <p:cBhvr>
                                        <p:cTn id="20" dur="1000" fill="hold"/>
                                        <p:tgtEl>
                                          <p:spTgt spid="30">
                                            <p:txEl>
                                              <p:pRg st="2" end="2"/>
                                            </p:txEl>
                                          </p:spTgt>
                                        </p:tgtEl>
                                        <p:attrNameLst>
                                          <p:attrName>ppt_x</p:attrName>
                                        </p:attrNameLst>
                                      </p:cBhvr>
                                      <p:tavLst>
                                        <p:tav tm="0">
                                          <p:val>
                                            <p:strVal val="#ppt_x"/>
                                          </p:val>
                                        </p:tav>
                                        <p:tav tm="100000">
                                          <p:val>
                                            <p:strVal val="#ppt_x"/>
                                          </p:val>
                                        </p:tav>
                                      </p:tavLst>
                                    </p:anim>
                                    <p:anim calcmode="lin" valueType="num">
                                      <p:cBhvr>
                                        <p:cTn id="21" dur="1000" fill="hold"/>
                                        <p:tgtEl>
                                          <p:spTgt spid="30">
                                            <p:txEl>
                                              <p:pRg st="2" end="2"/>
                                            </p:txEl>
                                          </p:spTgt>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1000"/>
                                        <p:tgtEl>
                                          <p:spTgt spid="91"/>
                                        </p:tgtEl>
                                      </p:cBhvr>
                                    </p:animEffect>
                                    <p:anim calcmode="lin" valueType="num">
                                      <p:cBhvr>
                                        <p:cTn id="25" dur="1000" fill="hold"/>
                                        <p:tgtEl>
                                          <p:spTgt spid="91"/>
                                        </p:tgtEl>
                                        <p:attrNameLst>
                                          <p:attrName>ppt_x</p:attrName>
                                        </p:attrNameLst>
                                      </p:cBhvr>
                                      <p:tavLst>
                                        <p:tav tm="0">
                                          <p:val>
                                            <p:strVal val="#ppt_x"/>
                                          </p:val>
                                        </p:tav>
                                        <p:tav tm="100000">
                                          <p:val>
                                            <p:strVal val="#ppt_x"/>
                                          </p:val>
                                        </p:tav>
                                      </p:tavLst>
                                    </p:anim>
                                    <p:anim calcmode="lin" valueType="num">
                                      <p:cBhvr>
                                        <p:cTn id="26" dur="1000" fill="hold"/>
                                        <p:tgtEl>
                                          <p:spTgt spid="91"/>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30">
                                            <p:txEl>
                                              <p:pRg st="3" end="3"/>
                                            </p:txEl>
                                          </p:spTgt>
                                        </p:tgtEl>
                                        <p:attrNameLst>
                                          <p:attrName>style.visibility</p:attrName>
                                        </p:attrNameLst>
                                      </p:cBhvr>
                                      <p:to>
                                        <p:strVal val="visible"/>
                                      </p:to>
                                    </p:set>
                                    <p:animEffect transition="in" filter="fade">
                                      <p:cBhvr>
                                        <p:cTn id="31" dur="1000"/>
                                        <p:tgtEl>
                                          <p:spTgt spid="30">
                                            <p:txEl>
                                              <p:pRg st="3" end="3"/>
                                            </p:txEl>
                                          </p:spTgt>
                                        </p:tgtEl>
                                      </p:cBhvr>
                                    </p:animEffect>
                                    <p:anim calcmode="lin" valueType="num">
                                      <p:cBhvr>
                                        <p:cTn id="32" dur="1000" fill="hold"/>
                                        <p:tgtEl>
                                          <p:spTgt spid="30">
                                            <p:txEl>
                                              <p:pRg st="3" end="3"/>
                                            </p:txEl>
                                          </p:spTgt>
                                        </p:tgtEl>
                                        <p:attrNameLst>
                                          <p:attrName>ppt_x</p:attrName>
                                        </p:attrNameLst>
                                      </p:cBhvr>
                                      <p:tavLst>
                                        <p:tav tm="0">
                                          <p:val>
                                            <p:strVal val="#ppt_x"/>
                                          </p:val>
                                        </p:tav>
                                        <p:tav tm="100000">
                                          <p:val>
                                            <p:strVal val="#ppt_x"/>
                                          </p:val>
                                        </p:tav>
                                      </p:tavLst>
                                    </p:anim>
                                    <p:anim calcmode="lin" valueType="num">
                                      <p:cBhvr>
                                        <p:cTn id="33" dur="1000" fill="hold"/>
                                        <p:tgtEl>
                                          <p:spTgt spid="30">
                                            <p:txEl>
                                              <p:pRg st="3" end="3"/>
                                            </p:txEl>
                                          </p:spTgt>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3072"/>
                                        </p:tgtEl>
                                        <p:attrNameLst>
                                          <p:attrName>style.visibility</p:attrName>
                                        </p:attrNameLst>
                                      </p:cBhvr>
                                      <p:to>
                                        <p:strVal val="visible"/>
                                      </p:to>
                                    </p:set>
                                    <p:animEffect transition="in" filter="fade">
                                      <p:cBhvr>
                                        <p:cTn id="36" dur="1000"/>
                                        <p:tgtEl>
                                          <p:spTgt spid="3072"/>
                                        </p:tgtEl>
                                      </p:cBhvr>
                                    </p:animEffect>
                                    <p:anim calcmode="lin" valueType="num">
                                      <p:cBhvr>
                                        <p:cTn id="37" dur="1000" fill="hold"/>
                                        <p:tgtEl>
                                          <p:spTgt spid="3072"/>
                                        </p:tgtEl>
                                        <p:attrNameLst>
                                          <p:attrName>ppt_x</p:attrName>
                                        </p:attrNameLst>
                                      </p:cBhvr>
                                      <p:tavLst>
                                        <p:tav tm="0">
                                          <p:val>
                                            <p:strVal val="#ppt_x"/>
                                          </p:val>
                                        </p:tav>
                                        <p:tav tm="100000">
                                          <p:val>
                                            <p:strVal val="#ppt_x"/>
                                          </p:val>
                                        </p:tav>
                                      </p:tavLst>
                                    </p:anim>
                                    <p:anim calcmode="lin" valueType="num">
                                      <p:cBhvr>
                                        <p:cTn id="38" dur="1000" fill="hold"/>
                                        <p:tgtEl>
                                          <p:spTgt spid="3072"/>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nodeType="clickEffect">
                                  <p:stCondLst>
                                    <p:cond delay="0"/>
                                  </p:stCondLst>
                                  <p:childTnLst>
                                    <p:set>
                                      <p:cBhvr>
                                        <p:cTn id="42" dur="1" fill="hold">
                                          <p:stCondLst>
                                            <p:cond delay="0"/>
                                          </p:stCondLst>
                                        </p:cTn>
                                        <p:tgtEl>
                                          <p:spTgt spid="30">
                                            <p:txEl>
                                              <p:pRg st="4" end="4"/>
                                            </p:txEl>
                                          </p:spTgt>
                                        </p:tgtEl>
                                        <p:attrNameLst>
                                          <p:attrName>style.visibility</p:attrName>
                                        </p:attrNameLst>
                                      </p:cBhvr>
                                      <p:to>
                                        <p:strVal val="visible"/>
                                      </p:to>
                                    </p:set>
                                    <p:animEffect transition="in" filter="fade">
                                      <p:cBhvr>
                                        <p:cTn id="43" dur="1000"/>
                                        <p:tgtEl>
                                          <p:spTgt spid="30">
                                            <p:txEl>
                                              <p:pRg st="4" end="4"/>
                                            </p:txEl>
                                          </p:spTgt>
                                        </p:tgtEl>
                                      </p:cBhvr>
                                    </p:animEffect>
                                    <p:anim calcmode="lin" valueType="num">
                                      <p:cBhvr>
                                        <p:cTn id="44" dur="1000" fill="hold"/>
                                        <p:tgtEl>
                                          <p:spTgt spid="30">
                                            <p:txEl>
                                              <p:pRg st="4" end="4"/>
                                            </p:txEl>
                                          </p:spTgt>
                                        </p:tgtEl>
                                        <p:attrNameLst>
                                          <p:attrName>ppt_x</p:attrName>
                                        </p:attrNameLst>
                                      </p:cBhvr>
                                      <p:tavLst>
                                        <p:tav tm="0">
                                          <p:val>
                                            <p:strVal val="#ppt_x"/>
                                          </p:val>
                                        </p:tav>
                                        <p:tav tm="100000">
                                          <p:val>
                                            <p:strVal val="#ppt_x"/>
                                          </p:val>
                                        </p:tav>
                                      </p:tavLst>
                                    </p:anim>
                                    <p:anim calcmode="lin" valueType="num">
                                      <p:cBhvr>
                                        <p:cTn id="45" dur="1000" fill="hold"/>
                                        <p:tgtEl>
                                          <p:spTgt spid="30">
                                            <p:txEl>
                                              <p:pRg st="4" end="4"/>
                                            </p:txEl>
                                          </p:spTgt>
                                        </p:tgtEl>
                                        <p:attrNameLst>
                                          <p:attrName>ppt_y</p:attrName>
                                        </p:attrNameLst>
                                      </p:cBhvr>
                                      <p:tavLst>
                                        <p:tav tm="0">
                                          <p:val>
                                            <p:strVal val="#ppt_y+.1"/>
                                          </p:val>
                                        </p:tav>
                                        <p:tav tm="100000">
                                          <p:val>
                                            <p:strVal val="#ppt_y"/>
                                          </p:val>
                                        </p:tav>
                                      </p:tavLst>
                                    </p:anim>
                                  </p:childTnLst>
                                </p:cTn>
                              </p:par>
                              <p:par>
                                <p:cTn id="46" presetID="42" presetClass="entr" presetSubtype="0" fill="hold" grpId="0" nodeType="withEffect">
                                  <p:stCondLst>
                                    <p:cond delay="0"/>
                                  </p:stCondLst>
                                  <p:childTnLst>
                                    <p:set>
                                      <p:cBhvr>
                                        <p:cTn id="47" dur="1" fill="hold">
                                          <p:stCondLst>
                                            <p:cond delay="0"/>
                                          </p:stCondLst>
                                        </p:cTn>
                                        <p:tgtEl>
                                          <p:spTgt spid="79"/>
                                        </p:tgtEl>
                                        <p:attrNameLst>
                                          <p:attrName>style.visibility</p:attrName>
                                        </p:attrNameLst>
                                      </p:cBhvr>
                                      <p:to>
                                        <p:strVal val="visible"/>
                                      </p:to>
                                    </p:set>
                                    <p:animEffect transition="in" filter="fade">
                                      <p:cBhvr>
                                        <p:cTn id="48" dur="1000"/>
                                        <p:tgtEl>
                                          <p:spTgt spid="79"/>
                                        </p:tgtEl>
                                      </p:cBhvr>
                                    </p:animEffect>
                                    <p:anim calcmode="lin" valueType="num">
                                      <p:cBhvr>
                                        <p:cTn id="49" dur="1000" fill="hold"/>
                                        <p:tgtEl>
                                          <p:spTgt spid="79"/>
                                        </p:tgtEl>
                                        <p:attrNameLst>
                                          <p:attrName>ppt_x</p:attrName>
                                        </p:attrNameLst>
                                      </p:cBhvr>
                                      <p:tavLst>
                                        <p:tav tm="0">
                                          <p:val>
                                            <p:strVal val="#ppt_x"/>
                                          </p:val>
                                        </p:tav>
                                        <p:tav tm="100000">
                                          <p:val>
                                            <p:strVal val="#ppt_x"/>
                                          </p:val>
                                        </p:tav>
                                      </p:tavLst>
                                    </p:anim>
                                    <p:anim calcmode="lin" valueType="num">
                                      <p:cBhvr>
                                        <p:cTn id="50" dur="1000" fill="hold"/>
                                        <p:tgtEl>
                                          <p:spTgt spid="7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Basics</a:t>
            </a:r>
            <a:endParaRPr lang="en-US" dirty="0"/>
          </a:p>
        </p:txBody>
      </p:sp>
      <p:pic>
        <p:nvPicPr>
          <p:cNvPr id="14" name="Content Placeholder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8529" y="1600764"/>
            <a:ext cx="4990505" cy="3743854"/>
          </a:xfrm>
          <a:prstGeom prst="rect">
            <a:avLst/>
          </a:prstGeom>
        </p:spPr>
      </p:pic>
      <p:sp>
        <p:nvSpPr>
          <p:cNvPr id="6" name="Content Placeholder 2"/>
          <p:cNvSpPr txBox="1">
            <a:spLocks/>
          </p:cNvSpPr>
          <p:nvPr/>
        </p:nvSpPr>
        <p:spPr>
          <a:xfrm>
            <a:off x="6028268" y="1614463"/>
            <a:ext cx="5573712" cy="237985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z="3600" spc="-100" dirty="0">
                <a:solidFill>
                  <a:srgbClr val="00AEEF">
                    <a:alpha val="99000"/>
                  </a:srgbClr>
                </a:solidFill>
                <a:latin typeface="Segoe UI Light" pitchFamily="34" charset="0"/>
              </a:rPr>
              <a:t>SQL Database</a:t>
            </a:r>
          </a:p>
          <a:p>
            <a:pPr marL="3175" lvl="1" indent="0" defTabSz="914325">
              <a:spcBef>
                <a:spcPts val="600"/>
              </a:spcBef>
              <a:buNone/>
            </a:pPr>
            <a:r>
              <a:rPr lang="en-US" sz="1800" spc="-51" dirty="0"/>
              <a:t>SQL Server database technology as a service </a:t>
            </a:r>
          </a:p>
          <a:p>
            <a:pPr marL="3175" lvl="1" indent="0" defTabSz="914325">
              <a:spcBef>
                <a:spcPts val="600"/>
              </a:spcBef>
              <a:buNone/>
            </a:pPr>
            <a:r>
              <a:rPr lang="en-US" sz="1800" spc="-51" dirty="0"/>
              <a:t>Fully Managed</a:t>
            </a:r>
          </a:p>
          <a:p>
            <a:pPr marL="3175" lvl="1" indent="0" defTabSz="914325">
              <a:spcBef>
                <a:spcPts val="600"/>
              </a:spcBef>
              <a:buNone/>
            </a:pPr>
            <a:r>
              <a:rPr lang="en-US" sz="1800" spc="-51" dirty="0"/>
              <a:t>Enterprise-ready with automatic support for HA</a:t>
            </a:r>
          </a:p>
          <a:p>
            <a:pPr marL="3175" lvl="1" indent="0" defTabSz="914325">
              <a:spcBef>
                <a:spcPts val="600"/>
              </a:spcBef>
              <a:buNone/>
            </a:pPr>
            <a:r>
              <a:rPr lang="en-US" sz="1800" spc="-51" dirty="0"/>
              <a:t>Designed to scale out elastically with demand</a:t>
            </a:r>
          </a:p>
          <a:p>
            <a:pPr marL="3175" lvl="1" indent="0" defTabSz="914325">
              <a:spcBef>
                <a:spcPts val="600"/>
              </a:spcBef>
              <a:buNone/>
            </a:pPr>
            <a:r>
              <a:rPr lang="en-US" sz="1800" spc="-51" dirty="0"/>
              <a:t>Ideal for simple and complex applications</a:t>
            </a:r>
          </a:p>
        </p:txBody>
      </p:sp>
    </p:spTree>
    <p:extLst>
      <p:ext uri="{BB962C8B-B14F-4D97-AF65-F5344CB8AC3E}">
        <p14:creationId xmlns:p14="http://schemas.microsoft.com/office/powerpoint/2010/main" val="4812303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animEffect transition="in" filter="fade">
                                      <p:cBhvr>
                                        <p:cTn id="16" dur="500"/>
                                        <p:tgtEl>
                                          <p:spTgt spid="6">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animEffect transition="in" filter="fade">
                                      <p:cBhvr>
                                        <p:cTn id="19" dur="500"/>
                                        <p:tgtEl>
                                          <p:spTgt spid="6">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
                                            <p:txEl>
                                              <p:pRg st="5" end="5"/>
                                            </p:txEl>
                                          </p:spTgt>
                                        </p:tgtEl>
                                        <p:attrNameLst>
                                          <p:attrName>style.visibility</p:attrName>
                                        </p:attrNameLst>
                                      </p:cBhvr>
                                      <p:to>
                                        <p:strVal val="visible"/>
                                      </p:to>
                                    </p:set>
                                    <p:animEffect transition="in" filter="fade">
                                      <p:cBhvr>
                                        <p:cTn id="22" dur="5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erver Provisioning</a:t>
            </a:r>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13554" y="4413738"/>
            <a:ext cx="5066198" cy="2139462"/>
          </a:xfrm>
          <a:prstGeom prst="rect">
            <a:avLst/>
          </a:prstGeom>
          <a:noFill/>
          <a:ln w="9525">
            <a:noFill/>
            <a:miter lim="800000"/>
            <a:headEnd/>
            <a:tailEnd/>
          </a:ln>
          <a:effectLst>
            <a:outerShdw blurRad="50800" dist="25400" dir="2700000" algn="tl" rotWithShape="0">
              <a:prstClr val="black">
                <a:alpha val="20000"/>
              </a:prstClr>
            </a:outerShdw>
          </a:effectLst>
        </p:spPr>
      </p:pic>
      <p:sp>
        <p:nvSpPr>
          <p:cNvPr id="9" name="Content Placeholder 2"/>
          <p:cNvSpPr txBox="1">
            <a:spLocks/>
          </p:cNvSpPr>
          <p:nvPr/>
        </p:nvSpPr>
        <p:spPr>
          <a:xfrm>
            <a:off x="520701" y="1316823"/>
            <a:ext cx="5573712" cy="505523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z="2800" spc="-100" dirty="0">
                <a:solidFill>
                  <a:srgbClr val="00AEEF">
                    <a:alpha val="99000"/>
                  </a:srgbClr>
                </a:solidFill>
                <a:latin typeface="Segoe UI Light" pitchFamily="34" charset="0"/>
              </a:rPr>
              <a:t>Server Defined</a:t>
            </a:r>
          </a:p>
          <a:p>
            <a:pPr marL="3175" lvl="1" indent="0" defTabSz="914325">
              <a:spcBef>
                <a:spcPts val="600"/>
              </a:spcBef>
              <a:buNone/>
            </a:pPr>
            <a:r>
              <a:rPr lang="en-US" sz="1400" spc="-51" dirty="0"/>
              <a:t>Service head that contains databases</a:t>
            </a:r>
          </a:p>
          <a:p>
            <a:pPr marL="3175" lvl="1" indent="0" defTabSz="914325">
              <a:spcBef>
                <a:spcPts val="600"/>
              </a:spcBef>
              <a:buNone/>
            </a:pPr>
            <a:r>
              <a:rPr lang="en-US" sz="1400" spc="-51" dirty="0"/>
              <a:t>Connect via automatically generated FQDN (xxx.database.windows.net)</a:t>
            </a:r>
          </a:p>
          <a:p>
            <a:pPr marL="3175" lvl="1" indent="0" defTabSz="914325">
              <a:spcBef>
                <a:spcPts val="600"/>
              </a:spcBef>
              <a:buNone/>
            </a:pPr>
            <a:r>
              <a:rPr lang="en-US" sz="1400" spc="-51" dirty="0"/>
              <a:t>Initially contains only a </a:t>
            </a:r>
            <a:r>
              <a:rPr lang="en-US" sz="1400" b="1" spc="-51" dirty="0"/>
              <a:t>master</a:t>
            </a:r>
            <a:r>
              <a:rPr lang="en-US" sz="1400" spc="-51" dirty="0"/>
              <a:t> database</a:t>
            </a:r>
            <a:br>
              <a:rPr lang="en-US" sz="1400" spc="-51" dirty="0"/>
            </a:br>
            <a:endParaRPr lang="en-US" sz="1800" dirty="0"/>
          </a:p>
          <a:p>
            <a:pPr marL="3175" indent="0" defTabSz="914325">
              <a:spcBef>
                <a:spcPts val="0"/>
              </a:spcBef>
              <a:spcAft>
                <a:spcPts val="300"/>
              </a:spcAft>
              <a:buNone/>
            </a:pPr>
            <a:r>
              <a:rPr lang="en-US" sz="2800" spc="-100" dirty="0">
                <a:solidFill>
                  <a:srgbClr val="00AEEF">
                    <a:alpha val="99000"/>
                  </a:srgbClr>
                </a:solidFill>
                <a:latin typeface="Segoe UI Light" pitchFamily="34" charset="0"/>
              </a:rPr>
              <a:t>Provision Servers Interactively</a:t>
            </a:r>
          </a:p>
          <a:p>
            <a:pPr marL="3175" lvl="1" indent="0" defTabSz="914325">
              <a:spcBef>
                <a:spcPts val="600"/>
              </a:spcBef>
              <a:buNone/>
            </a:pPr>
            <a:r>
              <a:rPr lang="en-US" sz="1400" spc="-51" dirty="0"/>
              <a:t>Log on to Windows Azure Management Portal</a:t>
            </a:r>
          </a:p>
          <a:p>
            <a:pPr marL="3175" lvl="1" indent="0" defTabSz="914325">
              <a:spcBef>
                <a:spcPts val="600"/>
              </a:spcBef>
              <a:buNone/>
            </a:pPr>
            <a:r>
              <a:rPr lang="en-US" sz="1400" spc="-51" dirty="0"/>
              <a:t>Create a SQL Database server</a:t>
            </a:r>
          </a:p>
          <a:p>
            <a:pPr marL="3175" lvl="1" indent="0" defTabSz="914325">
              <a:spcBef>
                <a:spcPts val="600"/>
              </a:spcBef>
              <a:buNone/>
            </a:pPr>
            <a:r>
              <a:rPr lang="en-US" sz="1400" spc="-51" dirty="0"/>
              <a:t>Specify admin login credentials</a:t>
            </a:r>
          </a:p>
          <a:p>
            <a:pPr marL="3175" lvl="1" indent="0" defTabSz="914325">
              <a:spcBef>
                <a:spcPts val="600"/>
              </a:spcBef>
              <a:buNone/>
            </a:pPr>
            <a:r>
              <a:rPr lang="en-US" sz="1400" spc="-51" dirty="0"/>
              <a:t>Add firewall rules and enable service access</a:t>
            </a:r>
            <a:br>
              <a:rPr lang="en-US" sz="1400" spc="-51" dirty="0"/>
            </a:br>
            <a:endParaRPr lang="en-US" sz="1400" spc="-51" dirty="0"/>
          </a:p>
          <a:p>
            <a:pPr marL="3175" indent="0" defTabSz="914325">
              <a:spcBef>
                <a:spcPts val="0"/>
              </a:spcBef>
              <a:spcAft>
                <a:spcPts val="300"/>
              </a:spcAft>
              <a:buNone/>
            </a:pPr>
            <a:r>
              <a:rPr lang="en-US" sz="2800" spc="-100" dirty="0">
                <a:solidFill>
                  <a:srgbClr val="00AEEF">
                    <a:alpha val="99000"/>
                  </a:srgbClr>
                </a:solidFill>
                <a:latin typeface="Segoe UI Light" pitchFamily="34" charset="0"/>
              </a:rPr>
              <a:t>Automate Server Provisioning</a:t>
            </a:r>
          </a:p>
          <a:p>
            <a:pPr marL="3175" lvl="1" indent="0" defTabSz="914325">
              <a:spcBef>
                <a:spcPts val="600"/>
              </a:spcBef>
              <a:buNone/>
            </a:pPr>
            <a:r>
              <a:rPr lang="en-US" sz="1400" spc="-51" dirty="0"/>
              <a:t>Use Windows Azure Platform PowerShell cmdlets </a:t>
            </a:r>
            <a:br>
              <a:rPr lang="en-US" sz="1400" spc="-51" dirty="0"/>
            </a:br>
            <a:r>
              <a:rPr lang="en-US" sz="1400" spc="-51" dirty="0"/>
              <a:t>(or use REST API directly</a:t>
            </a:r>
            <a:r>
              <a:rPr lang="en-US" sz="1400" spc="-51" dirty="0" smtClean="0"/>
              <a:t>)</a:t>
            </a:r>
            <a:endParaRPr lang="en-US" sz="1400" spc="-51" dirty="0"/>
          </a:p>
        </p:txBody>
      </p:sp>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22413" y="1495123"/>
            <a:ext cx="3103263" cy="27072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513015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xEl>
                                              <p:pRg st="3" end="3"/>
                                            </p:txEl>
                                          </p:spTgt>
                                        </p:tgtEl>
                                        <p:attrNameLst>
                                          <p:attrName>style.visibility</p:attrName>
                                        </p:attrNameLst>
                                      </p:cBhvr>
                                      <p:to>
                                        <p:strVal val="visible"/>
                                      </p:to>
                                    </p:set>
                                    <p:animEffect transition="in" filter="fade">
                                      <p:cBhvr>
                                        <p:cTn id="16" dur="500"/>
                                        <p:tgtEl>
                                          <p:spTgt spid="9">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9">
                                            <p:txEl>
                                              <p:pRg st="4" end="4"/>
                                            </p:txEl>
                                          </p:spTgt>
                                        </p:tgtEl>
                                        <p:attrNameLst>
                                          <p:attrName>style.visibility</p:attrName>
                                        </p:attrNameLst>
                                      </p:cBhvr>
                                      <p:to>
                                        <p:strVal val="visible"/>
                                      </p:to>
                                    </p:set>
                                    <p:animEffect transition="in" filter="fade">
                                      <p:cBhvr>
                                        <p:cTn id="21" dur="500"/>
                                        <p:tgtEl>
                                          <p:spTgt spid="9">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
                                            <p:txEl>
                                              <p:pRg st="5" end="5"/>
                                            </p:txEl>
                                          </p:spTgt>
                                        </p:tgtEl>
                                        <p:attrNameLst>
                                          <p:attrName>style.visibility</p:attrName>
                                        </p:attrNameLst>
                                      </p:cBhvr>
                                      <p:to>
                                        <p:strVal val="visible"/>
                                      </p:to>
                                    </p:set>
                                    <p:animEffect transition="in" filter="fade">
                                      <p:cBhvr>
                                        <p:cTn id="24" dur="500"/>
                                        <p:tgtEl>
                                          <p:spTgt spid="9">
                                            <p:txEl>
                                              <p:pRg st="5" end="5"/>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9">
                                            <p:txEl>
                                              <p:pRg st="6" end="6"/>
                                            </p:txEl>
                                          </p:spTgt>
                                        </p:tgtEl>
                                        <p:attrNameLst>
                                          <p:attrName>style.visibility</p:attrName>
                                        </p:attrNameLst>
                                      </p:cBhvr>
                                      <p:to>
                                        <p:strVal val="visible"/>
                                      </p:to>
                                    </p:set>
                                    <p:animEffect transition="in" filter="fade">
                                      <p:cBhvr>
                                        <p:cTn id="27" dur="500"/>
                                        <p:tgtEl>
                                          <p:spTgt spid="9">
                                            <p:txEl>
                                              <p:pRg st="6" end="6"/>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9">
                                            <p:txEl>
                                              <p:pRg st="7" end="7"/>
                                            </p:txEl>
                                          </p:spTgt>
                                        </p:tgtEl>
                                        <p:attrNameLst>
                                          <p:attrName>style.visibility</p:attrName>
                                        </p:attrNameLst>
                                      </p:cBhvr>
                                      <p:to>
                                        <p:strVal val="visible"/>
                                      </p:to>
                                    </p:set>
                                    <p:animEffect transition="in" filter="fade">
                                      <p:cBhvr>
                                        <p:cTn id="30" dur="500"/>
                                        <p:tgtEl>
                                          <p:spTgt spid="9">
                                            <p:txEl>
                                              <p:pRg st="7" end="7"/>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
                                            <p:txEl>
                                              <p:pRg st="8" end="8"/>
                                            </p:txEl>
                                          </p:spTgt>
                                        </p:tgtEl>
                                        <p:attrNameLst>
                                          <p:attrName>style.visibility</p:attrName>
                                        </p:attrNameLst>
                                      </p:cBhvr>
                                      <p:to>
                                        <p:strVal val="visible"/>
                                      </p:to>
                                    </p:set>
                                    <p:animEffect transition="in" filter="fade">
                                      <p:cBhvr>
                                        <p:cTn id="33" dur="500"/>
                                        <p:tgtEl>
                                          <p:spTgt spid="9">
                                            <p:txEl>
                                              <p:pRg st="8" end="8"/>
                                            </p:txEl>
                                          </p:spTgt>
                                        </p:tgtEl>
                                      </p:cBhvr>
                                    </p:animEffect>
                                  </p:childTnLst>
                                </p:cTn>
                              </p:par>
                              <p:par>
                                <p:cTn id="34" presetID="1" presetClass="entr" presetSubtype="0" fill="hold" nodeType="withEffect">
                                  <p:stCondLst>
                                    <p:cond delay="0"/>
                                  </p:stCondLst>
                                  <p:childTnLst>
                                    <p:set>
                                      <p:cBhvr>
                                        <p:cTn id="35" dur="1" fill="hold">
                                          <p:stCondLst>
                                            <p:cond delay="0"/>
                                          </p:stCondLst>
                                        </p:cTn>
                                        <p:tgtEl>
                                          <p:spTgt spid="1026"/>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9">
                                            <p:txEl>
                                              <p:pRg st="9" end="9"/>
                                            </p:txEl>
                                          </p:spTgt>
                                        </p:tgtEl>
                                        <p:attrNameLst>
                                          <p:attrName>style.visibility</p:attrName>
                                        </p:attrNameLst>
                                      </p:cBhvr>
                                      <p:to>
                                        <p:strVal val="visible"/>
                                      </p:to>
                                    </p:set>
                                    <p:animEffect transition="in" filter="fade">
                                      <p:cBhvr>
                                        <p:cTn id="40" dur="500"/>
                                        <p:tgtEl>
                                          <p:spTgt spid="9">
                                            <p:txEl>
                                              <p:pRg st="9" end="9"/>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9">
                                            <p:txEl>
                                              <p:pRg st="10" end="10"/>
                                            </p:txEl>
                                          </p:spTgt>
                                        </p:tgtEl>
                                        <p:attrNameLst>
                                          <p:attrName>style.visibility</p:attrName>
                                        </p:attrNameLst>
                                      </p:cBhvr>
                                      <p:to>
                                        <p:strVal val="visible"/>
                                      </p:to>
                                    </p:set>
                                    <p:animEffect transition="in" filter="fade">
                                      <p:cBhvr>
                                        <p:cTn id="43" dur="500"/>
                                        <p:tgtEl>
                                          <p:spTgt spid="9">
                                            <p:txEl>
                                              <p:pRg st="10" end="10"/>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20701" y="1447801"/>
            <a:ext cx="5803901" cy="2243691"/>
          </a:xfrm>
        </p:spPr>
        <p:txBody>
          <a:bodyPr/>
          <a:lstStyle/>
          <a:p>
            <a:r>
              <a:rPr lang="en-US" dirty="0"/>
              <a:t>There </a:t>
            </a:r>
            <a:r>
              <a:rPr lang="en-US" dirty="0" smtClean="0"/>
              <a:t>Are </a:t>
            </a:r>
            <a:r>
              <a:rPr lang="en-US" dirty="0"/>
              <a:t>T</a:t>
            </a:r>
            <a:r>
              <a:rPr lang="en-US" dirty="0" smtClean="0"/>
              <a:t>wo </a:t>
            </a:r>
            <a:br>
              <a:rPr lang="en-US" dirty="0" smtClean="0"/>
            </a:br>
            <a:r>
              <a:rPr lang="en-US" dirty="0" smtClean="0"/>
              <a:t>Ways </a:t>
            </a:r>
            <a:r>
              <a:rPr lang="en-US" dirty="0"/>
              <a:t>T</a:t>
            </a:r>
            <a:r>
              <a:rPr lang="en-US" dirty="0" smtClean="0"/>
              <a:t>o </a:t>
            </a:r>
            <a:r>
              <a:rPr lang="en-US" dirty="0"/>
              <a:t>S</a:t>
            </a:r>
            <a:r>
              <a:rPr lang="en-US" dirty="0" smtClean="0"/>
              <a:t>ecure </a:t>
            </a:r>
            <a:br>
              <a:rPr lang="en-US" dirty="0" smtClean="0"/>
            </a:br>
            <a:r>
              <a:rPr lang="en-US" dirty="0"/>
              <a:t>A</a:t>
            </a:r>
            <a:r>
              <a:rPr lang="en-US" dirty="0" smtClean="0"/>
              <a:t> Database:</a:t>
            </a:r>
            <a:endParaRPr lang="en-US" dirty="0"/>
          </a:p>
        </p:txBody>
      </p:sp>
      <p:sp>
        <p:nvSpPr>
          <p:cNvPr id="5" name="Rounded Rectangle 4"/>
          <p:cNvSpPr/>
          <p:nvPr/>
        </p:nvSpPr>
        <p:spPr bwMode="auto">
          <a:xfrm>
            <a:off x="5867401" y="3198720"/>
            <a:ext cx="5802312" cy="1639914"/>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rgbClr val="FFFFFF">
                    <a:alpha val="99000"/>
                  </a:srgbClr>
                </a:solidFill>
                <a:ea typeface="Segoe UI" pitchFamily="34" charset="0"/>
                <a:cs typeface="Segoe UI" pitchFamily="34" charset="0"/>
              </a:rPr>
              <a:t> </a:t>
            </a:r>
          </a:p>
        </p:txBody>
      </p:sp>
      <p:sp>
        <p:nvSpPr>
          <p:cNvPr id="7" name="TextBox 6"/>
          <p:cNvSpPr txBox="1"/>
          <p:nvPr/>
        </p:nvSpPr>
        <p:spPr>
          <a:xfrm>
            <a:off x="7416165" y="3480068"/>
            <a:ext cx="3368278" cy="1077218"/>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3200" dirty="0"/>
              <a:t>Within The Database</a:t>
            </a:r>
          </a:p>
        </p:txBody>
      </p:sp>
      <p:sp>
        <p:nvSpPr>
          <p:cNvPr id="9" name="Rounded Rectangle 8"/>
          <p:cNvSpPr/>
          <p:nvPr/>
        </p:nvSpPr>
        <p:spPr bwMode="auto">
          <a:xfrm>
            <a:off x="5867401" y="1447800"/>
            <a:ext cx="5802312" cy="1639914"/>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rgbClr val="FFFFFF">
                    <a:alpha val="99000"/>
                  </a:srgbClr>
                </a:solidFill>
                <a:ea typeface="Segoe UI" pitchFamily="34" charset="0"/>
                <a:cs typeface="Segoe UI" pitchFamily="34" charset="0"/>
              </a:rPr>
              <a:t> </a:t>
            </a:r>
          </a:p>
        </p:txBody>
      </p:sp>
      <p:sp>
        <p:nvSpPr>
          <p:cNvPr id="10" name="TextBox 9"/>
          <p:cNvSpPr txBox="1"/>
          <p:nvPr/>
        </p:nvSpPr>
        <p:spPr>
          <a:xfrm>
            <a:off x="7416165" y="1975371"/>
            <a:ext cx="3368278" cy="584775"/>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3200" dirty="0"/>
              <a:t>On The Server</a:t>
            </a:r>
          </a:p>
        </p:txBody>
      </p:sp>
      <p:sp>
        <p:nvSpPr>
          <p:cNvPr id="12" name="Freeform 58"/>
          <p:cNvSpPr>
            <a:spLocks noEditPoints="1"/>
          </p:cNvSpPr>
          <p:nvPr/>
        </p:nvSpPr>
        <p:spPr bwMode="black">
          <a:xfrm>
            <a:off x="6033884" y="1705536"/>
            <a:ext cx="1024996" cy="109861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
        <p:nvSpPr>
          <p:cNvPr id="13" name="Freeform 83"/>
          <p:cNvSpPr>
            <a:spLocks noEditPoints="1"/>
          </p:cNvSpPr>
          <p:nvPr/>
        </p:nvSpPr>
        <p:spPr bwMode="black">
          <a:xfrm>
            <a:off x="6037386" y="3465419"/>
            <a:ext cx="1027116" cy="1084254"/>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4070347089"/>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atabase Benefits</a:t>
            </a:r>
            <a:endParaRPr lang="en-US" dirty="0"/>
          </a:p>
        </p:txBody>
      </p:sp>
      <p:sp>
        <p:nvSpPr>
          <p:cNvPr id="7" name="Content Placeholder 2"/>
          <p:cNvSpPr txBox="1">
            <a:spLocks/>
          </p:cNvSpPr>
          <p:nvPr/>
        </p:nvSpPr>
        <p:spPr>
          <a:xfrm>
            <a:off x="522289" y="1566077"/>
            <a:ext cx="5345112" cy="2409890"/>
          </a:xfrm>
          <a:prstGeom prst="rect">
            <a:avLst/>
          </a:prstGeom>
        </p:spPr>
        <p:txBody>
          <a:bodyPr wrap="square" lIns="0" tIns="0" rIns="0" bIns="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buNone/>
            </a:pPr>
            <a:r>
              <a:rPr lang="en-US" sz="2800" spc="-100" dirty="0">
                <a:solidFill>
                  <a:srgbClr val="00AEEF">
                    <a:alpha val="99000"/>
                  </a:srgbClr>
                </a:solidFill>
                <a:latin typeface="Segoe UI Light" pitchFamily="34" charset="0"/>
              </a:rPr>
              <a:t>Database identity and access control</a:t>
            </a:r>
          </a:p>
          <a:p>
            <a:pPr marL="3175" lvl="1" indent="0" defTabSz="914325">
              <a:spcBef>
                <a:spcPts val="900"/>
              </a:spcBef>
              <a:buNone/>
            </a:pPr>
            <a:r>
              <a:rPr lang="en-US" sz="1600" spc="-51" dirty="0"/>
              <a:t>Logins require an associated user account</a:t>
            </a:r>
          </a:p>
          <a:p>
            <a:pPr marL="3175" lvl="1" indent="0" defTabSz="914325">
              <a:spcBef>
                <a:spcPts val="900"/>
              </a:spcBef>
              <a:buNone/>
            </a:pPr>
            <a:r>
              <a:rPr lang="en-US" sz="1600" spc="-51" dirty="0"/>
              <a:t>The Admin login is automatically associated with </a:t>
            </a:r>
            <a:r>
              <a:rPr lang="en-US" sz="1600" b="1" spc="-51" dirty="0" err="1"/>
              <a:t>dbo</a:t>
            </a:r>
            <a:endParaRPr lang="en-US" sz="1600" spc="-51" dirty="0"/>
          </a:p>
          <a:p>
            <a:pPr marL="3175" lvl="1" indent="0" defTabSz="914325">
              <a:spcBef>
                <a:spcPts val="900"/>
              </a:spcBef>
              <a:buNone/>
            </a:pPr>
            <a:r>
              <a:rPr lang="en-US" sz="1600" spc="-51" dirty="0"/>
              <a:t>The dbo has full rights in the database</a:t>
            </a:r>
          </a:p>
          <a:p>
            <a:pPr marL="3175" lvl="1" indent="0" defTabSz="914325">
              <a:spcBef>
                <a:spcPts val="900"/>
              </a:spcBef>
              <a:buNone/>
            </a:pPr>
            <a:r>
              <a:rPr lang="en-US" sz="1600" spc="-51" dirty="0"/>
              <a:t>Manage users with CREATE / ALTER / DROP USER commands</a:t>
            </a:r>
          </a:p>
          <a:p>
            <a:pPr marL="3175" lvl="1" indent="0" defTabSz="914325">
              <a:spcBef>
                <a:spcPts val="900"/>
              </a:spcBef>
              <a:buNone/>
            </a:pPr>
            <a:r>
              <a:rPr lang="en-US" sz="1600" spc="-51" dirty="0"/>
              <a:t>Add users to roles via </a:t>
            </a:r>
            <a:r>
              <a:rPr lang="en-US" sz="1600" spc="-51" dirty="0" err="1"/>
              <a:t>sp_add_rolemember</a:t>
            </a:r>
            <a:r>
              <a:rPr lang="en-US" sz="1600" spc="-51" dirty="0"/>
              <a:t> to grant privileges</a:t>
            </a:r>
          </a:p>
          <a:p>
            <a:pPr marL="3175" lvl="1" indent="0" defTabSz="914325">
              <a:spcBef>
                <a:spcPts val="900"/>
              </a:spcBef>
              <a:buNone/>
            </a:pPr>
            <a:r>
              <a:rPr lang="en-US" sz="1600" spc="-51" dirty="0"/>
              <a:t>Utilize schemas where appropriate</a:t>
            </a:r>
          </a:p>
        </p:txBody>
      </p:sp>
      <p:sp>
        <p:nvSpPr>
          <p:cNvPr id="8" name="Freeform 83"/>
          <p:cNvSpPr>
            <a:spLocks noEditPoints="1"/>
          </p:cNvSpPr>
          <p:nvPr/>
        </p:nvSpPr>
        <p:spPr bwMode="black">
          <a:xfrm>
            <a:off x="7217176" y="1566077"/>
            <a:ext cx="3638120" cy="3840506"/>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29365201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Group 71"/>
          <p:cNvGrpSpPr/>
          <p:nvPr/>
        </p:nvGrpSpPr>
        <p:grpSpPr>
          <a:xfrm>
            <a:off x="794048" y="1468877"/>
            <a:ext cx="3851488" cy="4238502"/>
            <a:chOff x="5104512" y="1101224"/>
            <a:chExt cx="3851488" cy="4238502"/>
          </a:xfrm>
        </p:grpSpPr>
        <p:sp>
          <p:nvSpPr>
            <p:cNvPr id="6" name="Rectangle 5"/>
            <p:cNvSpPr/>
            <p:nvPr/>
          </p:nvSpPr>
          <p:spPr bwMode="auto">
            <a:xfrm>
              <a:off x="5104512" y="2743185"/>
              <a:ext cx="3851488" cy="2596541"/>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9144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Services Layer</a:t>
              </a:r>
            </a:p>
          </p:txBody>
        </p:sp>
        <p:sp>
          <p:nvSpPr>
            <p:cNvPr id="7" name="Rectangle 6"/>
            <p:cNvSpPr/>
            <p:nvPr/>
          </p:nvSpPr>
          <p:spPr bwMode="auto">
            <a:xfrm>
              <a:off x="5487100" y="4333973"/>
              <a:ext cx="3086312" cy="500745"/>
            </a:xfrm>
            <a:prstGeom prst="rect">
              <a:avLst/>
            </a:prstGeom>
            <a:solidFill>
              <a:schemeClr val="accent6">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292929"/>
                      </a:gs>
                      <a:gs pos="100000">
                        <a:srgbClr val="292929"/>
                      </a:gs>
                    </a:gsLst>
                    <a:lin ang="5400000" scaled="0"/>
                  </a:gradFill>
                </a:rPr>
                <a:t>Services Layer</a:t>
              </a:r>
            </a:p>
          </p:txBody>
        </p:sp>
        <p:grpSp>
          <p:nvGrpSpPr>
            <p:cNvPr id="2" name="Group 1"/>
            <p:cNvGrpSpPr/>
            <p:nvPr/>
          </p:nvGrpSpPr>
          <p:grpSpPr>
            <a:xfrm>
              <a:off x="5487100" y="3931202"/>
              <a:ext cx="3086312" cy="275844"/>
              <a:chOff x="5522700" y="3940629"/>
              <a:chExt cx="3086312" cy="275844"/>
            </a:xfrm>
          </p:grpSpPr>
          <p:sp>
            <p:nvSpPr>
              <p:cNvPr id="8" name="Rectangle 7"/>
              <p:cNvSpPr/>
              <p:nvPr/>
            </p:nvSpPr>
            <p:spPr bwMode="auto">
              <a:xfrm>
                <a:off x="5522700" y="3940629"/>
                <a:ext cx="3086312" cy="27214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9" name="Rectangle 8"/>
              <p:cNvSpPr/>
              <p:nvPr/>
            </p:nvSpPr>
            <p:spPr bwMode="auto">
              <a:xfrm>
                <a:off x="5522700" y="3940629"/>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10" name="Rectangle 9"/>
              <p:cNvSpPr/>
              <p:nvPr/>
            </p:nvSpPr>
            <p:spPr bwMode="auto">
              <a:xfrm>
                <a:off x="5700279" y="3940629"/>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11" name="Rectangle 10"/>
              <p:cNvSpPr/>
              <p:nvPr/>
            </p:nvSpPr>
            <p:spPr bwMode="auto">
              <a:xfrm>
                <a:off x="5877858" y="3940629"/>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12" name="Rectangle 11"/>
              <p:cNvSpPr/>
              <p:nvPr/>
            </p:nvSpPr>
            <p:spPr bwMode="auto">
              <a:xfrm>
                <a:off x="6055436" y="3940629"/>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13" name="Rectangle 12"/>
              <p:cNvSpPr/>
              <p:nvPr/>
            </p:nvSpPr>
            <p:spPr bwMode="auto">
              <a:xfrm>
                <a:off x="6230749" y="3940629"/>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14" name="Rectangle 13"/>
              <p:cNvSpPr/>
              <p:nvPr/>
            </p:nvSpPr>
            <p:spPr bwMode="auto">
              <a:xfrm>
                <a:off x="6408328" y="3940629"/>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15" name="Rectangle 14"/>
              <p:cNvSpPr/>
              <p:nvPr/>
            </p:nvSpPr>
            <p:spPr bwMode="auto">
              <a:xfrm>
                <a:off x="6585907" y="3940629"/>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16" name="Rectangle 15"/>
              <p:cNvSpPr/>
              <p:nvPr/>
            </p:nvSpPr>
            <p:spPr bwMode="auto">
              <a:xfrm>
                <a:off x="6763485" y="3940629"/>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17" name="Rectangle 16"/>
              <p:cNvSpPr/>
              <p:nvPr/>
            </p:nvSpPr>
            <p:spPr bwMode="auto">
              <a:xfrm>
                <a:off x="6940806" y="3940629"/>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18" name="Rectangle 17"/>
              <p:cNvSpPr/>
              <p:nvPr/>
            </p:nvSpPr>
            <p:spPr bwMode="auto">
              <a:xfrm>
                <a:off x="7118385" y="3940629"/>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19" name="Rectangle 18"/>
              <p:cNvSpPr/>
              <p:nvPr/>
            </p:nvSpPr>
            <p:spPr bwMode="auto">
              <a:xfrm>
                <a:off x="7295964" y="3940629"/>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20" name="Rectangle 19"/>
              <p:cNvSpPr/>
              <p:nvPr/>
            </p:nvSpPr>
            <p:spPr bwMode="auto">
              <a:xfrm>
                <a:off x="7473542" y="3940629"/>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21" name="Rectangle 20"/>
              <p:cNvSpPr/>
              <p:nvPr/>
            </p:nvSpPr>
            <p:spPr bwMode="auto">
              <a:xfrm>
                <a:off x="7648855" y="3940629"/>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22" name="Rectangle 21"/>
              <p:cNvSpPr/>
              <p:nvPr/>
            </p:nvSpPr>
            <p:spPr bwMode="auto">
              <a:xfrm>
                <a:off x="7826434" y="3940629"/>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23" name="Rectangle 22"/>
              <p:cNvSpPr/>
              <p:nvPr/>
            </p:nvSpPr>
            <p:spPr bwMode="auto">
              <a:xfrm>
                <a:off x="8004013" y="3940629"/>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24" name="Rectangle 23"/>
              <p:cNvSpPr/>
              <p:nvPr/>
            </p:nvSpPr>
            <p:spPr bwMode="auto">
              <a:xfrm>
                <a:off x="8181591" y="3940629"/>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25" name="Rectangle 24"/>
              <p:cNvSpPr/>
              <p:nvPr/>
            </p:nvSpPr>
            <p:spPr bwMode="auto">
              <a:xfrm>
                <a:off x="8360719" y="3940629"/>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26" name="Rectangle 25"/>
              <p:cNvSpPr/>
              <p:nvPr/>
            </p:nvSpPr>
            <p:spPr bwMode="auto">
              <a:xfrm>
                <a:off x="8538297" y="3940629"/>
                <a:ext cx="70715"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27" name="Rectangle 26"/>
              <p:cNvSpPr/>
              <p:nvPr/>
            </p:nvSpPr>
            <p:spPr bwMode="auto">
              <a:xfrm>
                <a:off x="5612150" y="4035553"/>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28" name="Rectangle 27"/>
              <p:cNvSpPr/>
              <p:nvPr/>
            </p:nvSpPr>
            <p:spPr bwMode="auto">
              <a:xfrm>
                <a:off x="5789729" y="4035553"/>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29" name="Rectangle 28"/>
              <p:cNvSpPr/>
              <p:nvPr/>
            </p:nvSpPr>
            <p:spPr bwMode="auto">
              <a:xfrm>
                <a:off x="5967308" y="4035553"/>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30" name="Rectangle 29"/>
              <p:cNvSpPr/>
              <p:nvPr/>
            </p:nvSpPr>
            <p:spPr bwMode="auto">
              <a:xfrm>
                <a:off x="6144886" y="4035553"/>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31" name="Rectangle 30"/>
              <p:cNvSpPr/>
              <p:nvPr/>
            </p:nvSpPr>
            <p:spPr bwMode="auto">
              <a:xfrm>
                <a:off x="6320199" y="4035553"/>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32" name="Rectangle 31"/>
              <p:cNvSpPr/>
              <p:nvPr/>
            </p:nvSpPr>
            <p:spPr bwMode="auto">
              <a:xfrm>
                <a:off x="6497778" y="4035553"/>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33" name="Rectangle 32"/>
              <p:cNvSpPr/>
              <p:nvPr/>
            </p:nvSpPr>
            <p:spPr bwMode="auto">
              <a:xfrm>
                <a:off x="6675357" y="4035553"/>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34" name="Rectangle 33"/>
              <p:cNvSpPr/>
              <p:nvPr/>
            </p:nvSpPr>
            <p:spPr bwMode="auto">
              <a:xfrm>
                <a:off x="6852935" y="4035553"/>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35" name="Rectangle 34"/>
              <p:cNvSpPr/>
              <p:nvPr/>
            </p:nvSpPr>
            <p:spPr bwMode="auto">
              <a:xfrm>
                <a:off x="7030256" y="4035553"/>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36" name="Rectangle 35"/>
              <p:cNvSpPr/>
              <p:nvPr/>
            </p:nvSpPr>
            <p:spPr bwMode="auto">
              <a:xfrm>
                <a:off x="7207835" y="4035553"/>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37" name="Rectangle 36"/>
              <p:cNvSpPr/>
              <p:nvPr/>
            </p:nvSpPr>
            <p:spPr bwMode="auto">
              <a:xfrm>
                <a:off x="7385414" y="4035553"/>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38" name="Rectangle 37"/>
              <p:cNvSpPr/>
              <p:nvPr/>
            </p:nvSpPr>
            <p:spPr bwMode="auto">
              <a:xfrm>
                <a:off x="7562992" y="4035553"/>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39" name="Rectangle 38"/>
              <p:cNvSpPr/>
              <p:nvPr/>
            </p:nvSpPr>
            <p:spPr bwMode="auto">
              <a:xfrm>
                <a:off x="7738305" y="4035553"/>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40" name="Rectangle 39"/>
              <p:cNvSpPr/>
              <p:nvPr/>
            </p:nvSpPr>
            <p:spPr bwMode="auto">
              <a:xfrm>
                <a:off x="7915884" y="4035553"/>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41" name="Rectangle 40"/>
              <p:cNvSpPr/>
              <p:nvPr/>
            </p:nvSpPr>
            <p:spPr bwMode="auto">
              <a:xfrm>
                <a:off x="8093463" y="4035553"/>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42" name="Rectangle 41"/>
              <p:cNvSpPr/>
              <p:nvPr/>
            </p:nvSpPr>
            <p:spPr bwMode="auto">
              <a:xfrm>
                <a:off x="8271041" y="4035553"/>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43" name="Rectangle 42"/>
              <p:cNvSpPr/>
              <p:nvPr/>
            </p:nvSpPr>
            <p:spPr bwMode="auto">
              <a:xfrm>
                <a:off x="8450169" y="4035553"/>
                <a:ext cx="158843"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45" name="Rectangle 44"/>
              <p:cNvSpPr/>
              <p:nvPr/>
            </p:nvSpPr>
            <p:spPr bwMode="auto">
              <a:xfrm>
                <a:off x="5522700" y="4134177"/>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46" name="Rectangle 45"/>
              <p:cNvSpPr/>
              <p:nvPr/>
            </p:nvSpPr>
            <p:spPr bwMode="auto">
              <a:xfrm>
                <a:off x="5700279" y="4134177"/>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47" name="Rectangle 46"/>
              <p:cNvSpPr/>
              <p:nvPr/>
            </p:nvSpPr>
            <p:spPr bwMode="auto">
              <a:xfrm>
                <a:off x="5877858" y="4134177"/>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48" name="Rectangle 47"/>
              <p:cNvSpPr/>
              <p:nvPr/>
            </p:nvSpPr>
            <p:spPr bwMode="auto">
              <a:xfrm>
                <a:off x="6055436" y="4134177"/>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49" name="Rectangle 48"/>
              <p:cNvSpPr/>
              <p:nvPr/>
            </p:nvSpPr>
            <p:spPr bwMode="auto">
              <a:xfrm>
                <a:off x="6230749" y="4134177"/>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50" name="Rectangle 49"/>
              <p:cNvSpPr/>
              <p:nvPr/>
            </p:nvSpPr>
            <p:spPr bwMode="auto">
              <a:xfrm>
                <a:off x="6408328" y="4134177"/>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51" name="Rectangle 50"/>
              <p:cNvSpPr/>
              <p:nvPr/>
            </p:nvSpPr>
            <p:spPr bwMode="auto">
              <a:xfrm>
                <a:off x="6585907" y="4134177"/>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52" name="Rectangle 51"/>
              <p:cNvSpPr/>
              <p:nvPr/>
            </p:nvSpPr>
            <p:spPr bwMode="auto">
              <a:xfrm>
                <a:off x="6763485" y="4134177"/>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53" name="Rectangle 52"/>
              <p:cNvSpPr/>
              <p:nvPr/>
            </p:nvSpPr>
            <p:spPr bwMode="auto">
              <a:xfrm>
                <a:off x="6940806" y="4134177"/>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54" name="Rectangle 53"/>
              <p:cNvSpPr/>
              <p:nvPr/>
            </p:nvSpPr>
            <p:spPr bwMode="auto">
              <a:xfrm>
                <a:off x="7118385" y="4134177"/>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55" name="Rectangle 54"/>
              <p:cNvSpPr/>
              <p:nvPr/>
            </p:nvSpPr>
            <p:spPr bwMode="auto">
              <a:xfrm>
                <a:off x="7295964" y="4134177"/>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56" name="Rectangle 55"/>
              <p:cNvSpPr/>
              <p:nvPr/>
            </p:nvSpPr>
            <p:spPr bwMode="auto">
              <a:xfrm>
                <a:off x="7473542" y="4134177"/>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57" name="Rectangle 56"/>
              <p:cNvSpPr/>
              <p:nvPr/>
            </p:nvSpPr>
            <p:spPr bwMode="auto">
              <a:xfrm>
                <a:off x="7648855" y="4134177"/>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58" name="Rectangle 57"/>
              <p:cNvSpPr/>
              <p:nvPr/>
            </p:nvSpPr>
            <p:spPr bwMode="auto">
              <a:xfrm>
                <a:off x="7826434" y="4134177"/>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59" name="Rectangle 58"/>
              <p:cNvSpPr/>
              <p:nvPr/>
            </p:nvSpPr>
            <p:spPr bwMode="auto">
              <a:xfrm>
                <a:off x="8004013" y="4134177"/>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60" name="Rectangle 59"/>
              <p:cNvSpPr/>
              <p:nvPr/>
            </p:nvSpPr>
            <p:spPr bwMode="auto">
              <a:xfrm>
                <a:off x="8181591" y="4134177"/>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61" name="Rectangle 60"/>
              <p:cNvSpPr/>
              <p:nvPr/>
            </p:nvSpPr>
            <p:spPr bwMode="auto">
              <a:xfrm>
                <a:off x="8360719" y="4134177"/>
                <a:ext cx="164592"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62" name="Rectangle 61"/>
              <p:cNvSpPr/>
              <p:nvPr/>
            </p:nvSpPr>
            <p:spPr bwMode="auto">
              <a:xfrm>
                <a:off x="8538297" y="4134177"/>
                <a:ext cx="70715"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sp>
            <p:nvSpPr>
              <p:cNvPr id="63" name="Rectangle 62"/>
              <p:cNvSpPr/>
              <p:nvPr/>
            </p:nvSpPr>
            <p:spPr bwMode="auto">
              <a:xfrm>
                <a:off x="5522700" y="4036318"/>
                <a:ext cx="76990" cy="82296"/>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grpSp>
        <p:sp>
          <p:nvSpPr>
            <p:cNvPr id="64" name="Rectangle 63"/>
            <p:cNvSpPr/>
            <p:nvPr/>
          </p:nvSpPr>
          <p:spPr bwMode="auto">
            <a:xfrm>
              <a:off x="6639756" y="2986047"/>
              <a:ext cx="1942995" cy="500745"/>
            </a:xfrm>
            <a:prstGeom prst="rect">
              <a:avLst/>
            </a:prstGeom>
            <a:solidFill>
              <a:schemeClr val="accent6">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292929"/>
                    </a:gs>
                    <a:gs pos="100000">
                      <a:srgbClr val="292929"/>
                    </a:gs>
                  </a:gsLst>
                  <a:lin ang="5400000" scaled="0"/>
                </a:gradFill>
              </a:endParaRPr>
            </a:p>
          </p:txBody>
        </p:sp>
        <p:pic>
          <p:nvPicPr>
            <p:cNvPr id="3" name="Picture 2" descr="C:\Users\ADI\Pictures\Logos\Windows azur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08523" y="3098296"/>
              <a:ext cx="1805461" cy="276246"/>
            </a:xfrm>
            <a:prstGeom prst="rect">
              <a:avLst/>
            </a:prstGeom>
            <a:noFill/>
            <a:extLst>
              <a:ext uri="{909E8E84-426E-40DD-AFC4-6F175D3DCCD1}">
                <a14:hiddenFill xmlns:a14="http://schemas.microsoft.com/office/drawing/2010/main">
                  <a:solidFill>
                    <a:srgbClr val="FFFFFF"/>
                  </a:solidFill>
                </a14:hiddenFill>
              </a:ext>
            </a:extLst>
          </p:spPr>
        </p:pic>
        <p:cxnSp>
          <p:nvCxnSpPr>
            <p:cNvPr id="66" name="Straight Arrow Connector 65"/>
            <p:cNvCxnSpPr/>
            <p:nvPr/>
          </p:nvCxnSpPr>
          <p:spPr>
            <a:xfrm>
              <a:off x="7613255" y="3486792"/>
              <a:ext cx="0" cy="44441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6096300" y="2743185"/>
              <a:ext cx="0" cy="1188017"/>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6096300" y="2265688"/>
              <a:ext cx="0" cy="471447"/>
            </a:xfrm>
            <a:prstGeom prst="straightConnector1">
              <a:avLst/>
            </a:prstGeom>
            <a:ln w="3810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73" name="Freeform 10"/>
            <p:cNvSpPr>
              <a:spLocks noEditPoints="1"/>
            </p:cNvSpPr>
            <p:nvPr/>
          </p:nvSpPr>
          <p:spPr bwMode="black">
            <a:xfrm>
              <a:off x="5112078" y="1101224"/>
              <a:ext cx="1945266" cy="1164463"/>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6"/>
            </a:solidFill>
            <a:ln>
              <a:noFill/>
            </a:ln>
            <a:extLst/>
          </p:spPr>
          <p:txBody>
            <a:bodyPr vert="horz" wrap="square" lIns="91440" tIns="45720" rIns="640080" bIns="91440" numCol="1" anchor="b" anchorCtr="0" compatLnSpc="1">
              <a:prstTxWarp prst="textNoShape">
                <a:avLst/>
              </a:prstTxWarp>
            </a:bodyPr>
            <a:lstStyle/>
            <a:p>
              <a:pPr algn="ctr" defTabSz="914363"/>
              <a:r>
                <a:rPr lang="en-US" sz="2400" dirty="0">
                  <a:gradFill>
                    <a:gsLst>
                      <a:gs pos="0">
                        <a:srgbClr val="FFFFFF"/>
                      </a:gs>
                      <a:gs pos="100000">
                        <a:srgbClr val="FFFFFF"/>
                      </a:gs>
                    </a:gsLst>
                    <a:lin ang="5400000" scaled="0"/>
                  </a:gradFill>
                </a:rPr>
                <a:t>Internet</a:t>
              </a:r>
            </a:p>
          </p:txBody>
        </p:sp>
        <p:sp>
          <p:nvSpPr>
            <p:cNvPr id="74" name="Rectangle 73"/>
            <p:cNvSpPr/>
            <p:nvPr/>
          </p:nvSpPr>
          <p:spPr bwMode="auto">
            <a:xfrm>
              <a:off x="5482388" y="3915525"/>
              <a:ext cx="3086312" cy="29152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600" b="1" dirty="0">
                  <a:gradFill>
                    <a:gsLst>
                      <a:gs pos="0">
                        <a:srgbClr val="292929"/>
                      </a:gs>
                      <a:gs pos="100000">
                        <a:srgbClr val="292929"/>
                      </a:gs>
                    </a:gsLst>
                    <a:lin ang="5400000" scaled="0"/>
                  </a:gradFill>
                </a:rPr>
                <a:t>SQL Database Firewall</a:t>
              </a:r>
            </a:p>
          </p:txBody>
        </p:sp>
      </p:grpSp>
      <p:sp>
        <p:nvSpPr>
          <p:cNvPr id="4" name="Title 3"/>
          <p:cNvSpPr>
            <a:spLocks noGrp="1"/>
          </p:cNvSpPr>
          <p:nvPr>
            <p:ph type="title"/>
          </p:nvPr>
        </p:nvSpPr>
        <p:spPr/>
        <p:txBody>
          <a:bodyPr/>
          <a:lstStyle/>
          <a:p>
            <a:r>
              <a:rPr lang="en-US" dirty="0" smtClean="0"/>
              <a:t>SQL Database Firewall</a:t>
            </a:r>
            <a:endParaRPr lang="en-US" dirty="0"/>
          </a:p>
        </p:txBody>
      </p:sp>
      <p:sp>
        <p:nvSpPr>
          <p:cNvPr id="5" name="Content Placeholder 4"/>
          <p:cNvSpPr>
            <a:spLocks noGrp="1"/>
          </p:cNvSpPr>
          <p:nvPr>
            <p:ph type="body" sz="quarter" idx="10"/>
          </p:nvPr>
        </p:nvSpPr>
        <p:spPr>
          <a:xfrm>
            <a:off x="6351510" y="1619882"/>
            <a:ext cx="5258936" cy="2294474"/>
          </a:xfrm>
        </p:spPr>
        <p:txBody>
          <a:bodyPr/>
          <a:lstStyle/>
          <a:p>
            <a:r>
              <a:rPr lang="en-US" sz="2800" dirty="0">
                <a:solidFill>
                  <a:schemeClr val="accent2">
                    <a:alpha val="99000"/>
                  </a:schemeClr>
                </a:solidFill>
              </a:rPr>
              <a:t>Securing your data</a:t>
            </a:r>
            <a:endParaRPr lang="en-US" sz="2800" dirty="0"/>
          </a:p>
          <a:p>
            <a:r>
              <a:rPr lang="en-US" sz="1600" dirty="0">
                <a:latin typeface="+mn-lt"/>
              </a:rPr>
              <a:t>IP Address-based access control for SQL Database</a:t>
            </a:r>
          </a:p>
          <a:p>
            <a:r>
              <a:rPr lang="en-US" sz="1600" dirty="0">
                <a:latin typeface="+mn-lt"/>
              </a:rPr>
              <a:t>Rules can be defined at the </a:t>
            </a:r>
            <a:r>
              <a:rPr lang="en-US" sz="1600" i="1" dirty="0">
                <a:latin typeface="+mn-lt"/>
              </a:rPr>
              <a:t>server </a:t>
            </a:r>
            <a:r>
              <a:rPr lang="en-US" sz="1600" dirty="0">
                <a:latin typeface="+mn-lt"/>
              </a:rPr>
              <a:t>and </a:t>
            </a:r>
            <a:r>
              <a:rPr lang="en-US" sz="1600" i="1" dirty="0">
                <a:latin typeface="+mn-lt"/>
              </a:rPr>
              <a:t>database</a:t>
            </a:r>
          </a:p>
          <a:p>
            <a:r>
              <a:rPr lang="en-US" sz="1600" dirty="0">
                <a:latin typeface="+mn-lt"/>
              </a:rPr>
              <a:t>No IP authorized by default</a:t>
            </a:r>
          </a:p>
          <a:p>
            <a:r>
              <a:rPr lang="en-US" sz="1600" dirty="0">
                <a:latin typeface="+mn-lt"/>
              </a:rPr>
              <a:t>Configurable using the SQL Database Portal and REST API</a:t>
            </a:r>
          </a:p>
          <a:p>
            <a:r>
              <a:rPr lang="en-US" sz="1600" dirty="0">
                <a:latin typeface="+mn-lt"/>
              </a:rPr>
              <a:t>Option to disable/enable access from applications hosted in Windows Azure</a:t>
            </a:r>
          </a:p>
        </p:txBody>
      </p:sp>
    </p:spTree>
    <p:extLst>
      <p:ext uri="{BB962C8B-B14F-4D97-AF65-F5344CB8AC3E}">
        <p14:creationId xmlns:p14="http://schemas.microsoft.com/office/powerpoint/2010/main" val="1464414279"/>
      </p:ext>
    </p:extLst>
  </p:cSld>
  <p:clrMapOvr>
    <a:masterClrMapping/>
  </p:clrMapOvr>
  <mc:AlternateContent xmlns:mc="http://schemas.openxmlformats.org/markup-compatibility/2006" xmlns:p14="http://schemas.microsoft.com/office/powerpoint/2010/main">
    <mc:Choice Requires="p14">
      <p:transition spd="med" p14:dur="700" advTm="4078">
        <p:fade/>
      </p:transition>
    </mc:Choice>
    <mc:Fallback xmlns="">
      <p:transition spd="med" advTm="4078">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day’s Transformation – Cloud</a:t>
            </a:r>
            <a:endParaRPr lang="en-US" dirty="0"/>
          </a:p>
        </p:txBody>
      </p:sp>
      <p:grpSp>
        <p:nvGrpSpPr>
          <p:cNvPr id="7" name="Group 6"/>
          <p:cNvGrpSpPr/>
          <p:nvPr/>
        </p:nvGrpSpPr>
        <p:grpSpPr>
          <a:xfrm>
            <a:off x="8266254" y="2394143"/>
            <a:ext cx="2004144" cy="2003622"/>
            <a:chOff x="8987331" y="1422949"/>
            <a:chExt cx="2671496" cy="2671496"/>
          </a:xfrm>
        </p:grpSpPr>
        <p:sp>
          <p:nvSpPr>
            <p:cNvPr id="15" name="Rectangle 14"/>
            <p:cNvSpPr/>
            <p:nvPr/>
          </p:nvSpPr>
          <p:spPr bwMode="auto">
            <a:xfrm>
              <a:off x="8987331" y="1422949"/>
              <a:ext cx="2671496" cy="2671496"/>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57148" tIns="28574" rIns="57148" bIns="28574" numCol="1" rtlCol="0" anchor="b" anchorCtr="0" compatLnSpc="1">
              <a:prstTxWarp prst="textNoShape">
                <a:avLst/>
              </a:prstTxWarp>
            </a:bodyPr>
            <a:lstStyle/>
            <a:p>
              <a:pPr defTabSz="685378" fontAlgn="base">
                <a:spcBef>
                  <a:spcPct val="0"/>
                </a:spcBef>
                <a:spcAft>
                  <a:spcPct val="0"/>
                </a:spcAft>
              </a:pPr>
              <a:r>
                <a:rPr lang="en-US" sz="1813" dirty="0">
                  <a:gradFill>
                    <a:gsLst>
                      <a:gs pos="0">
                        <a:srgbClr val="FFFFFF"/>
                      </a:gs>
                      <a:gs pos="100000">
                        <a:srgbClr val="FFFFFF"/>
                      </a:gs>
                    </a:gsLst>
                    <a:lin ang="5400000" scaled="0"/>
                  </a:gradFill>
                </a:rPr>
                <a:t>Usage Based</a:t>
              </a:r>
            </a:p>
          </p:txBody>
        </p:sp>
        <p:pic>
          <p:nvPicPr>
            <p:cNvPr id="47" name="Picture 4" descr="\\MAGNUM\Projects\Microsoft\Cloud Power FY12\Design\Icons\PNGs\Scalable_Elastic_4.png"/>
            <p:cNvPicPr>
              <a:picLocks noChangeAspect="1" noChangeArrowheads="1"/>
            </p:cNvPicPr>
            <p:nvPr/>
          </p:nvPicPr>
          <p:blipFill>
            <a:blip r:embed="rId3" cstate="print">
              <a:biLevel thresh="50000"/>
            </a:blip>
            <a:stretch>
              <a:fillRect/>
            </a:stretch>
          </p:blipFill>
          <p:spPr bwMode="auto">
            <a:xfrm>
              <a:off x="9503874" y="1891814"/>
              <a:ext cx="1638410" cy="1493123"/>
            </a:xfrm>
            <a:prstGeom prst="rect">
              <a:avLst/>
            </a:prstGeom>
            <a:noFill/>
          </p:spPr>
        </p:pic>
      </p:grpSp>
      <p:grpSp>
        <p:nvGrpSpPr>
          <p:cNvPr id="6" name="Group 5"/>
          <p:cNvGrpSpPr/>
          <p:nvPr/>
        </p:nvGrpSpPr>
        <p:grpSpPr>
          <a:xfrm>
            <a:off x="6149782" y="2394143"/>
            <a:ext cx="2004144" cy="2003622"/>
            <a:chOff x="6166103" y="1422949"/>
            <a:chExt cx="2671496" cy="2671496"/>
          </a:xfrm>
        </p:grpSpPr>
        <p:sp>
          <p:nvSpPr>
            <p:cNvPr id="14" name="Rectangle 13"/>
            <p:cNvSpPr/>
            <p:nvPr/>
          </p:nvSpPr>
          <p:spPr bwMode="auto">
            <a:xfrm>
              <a:off x="6166103" y="1422949"/>
              <a:ext cx="2671496" cy="2671496"/>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57148" tIns="28574" rIns="57148" bIns="28574" numCol="1" rtlCol="0" anchor="b" anchorCtr="0" compatLnSpc="1">
              <a:prstTxWarp prst="textNoShape">
                <a:avLst/>
              </a:prstTxWarp>
            </a:bodyPr>
            <a:lstStyle/>
            <a:p>
              <a:pPr defTabSz="685378" fontAlgn="base">
                <a:spcBef>
                  <a:spcPct val="0"/>
                </a:spcBef>
                <a:spcAft>
                  <a:spcPct val="0"/>
                </a:spcAft>
              </a:pPr>
              <a:r>
                <a:rPr lang="en-US" sz="1813" dirty="0">
                  <a:gradFill>
                    <a:gsLst>
                      <a:gs pos="0">
                        <a:srgbClr val="FFFFFF"/>
                      </a:gs>
                      <a:gs pos="100000">
                        <a:srgbClr val="FFFFFF"/>
                      </a:gs>
                    </a:gsLst>
                    <a:lin ang="5400000" scaled="0"/>
                  </a:gradFill>
                </a:rPr>
                <a:t>Elastic</a:t>
              </a:r>
            </a:p>
          </p:txBody>
        </p:sp>
        <p:sp>
          <p:nvSpPr>
            <p:cNvPr id="48" name="Left-Right Arrow 47"/>
            <p:cNvSpPr/>
            <p:nvPr/>
          </p:nvSpPr>
          <p:spPr>
            <a:xfrm>
              <a:off x="6848477" y="2441862"/>
              <a:ext cx="1306748" cy="393026"/>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75"/>
              <a:endParaRPr lang="en-US" sz="1375" dirty="0">
                <a:solidFill>
                  <a:srgbClr val="FFFFFF"/>
                </a:solidFill>
              </a:endParaRPr>
            </a:p>
          </p:txBody>
        </p:sp>
      </p:grpSp>
      <p:grpSp>
        <p:nvGrpSpPr>
          <p:cNvPr id="5" name="Group 4"/>
          <p:cNvGrpSpPr/>
          <p:nvPr/>
        </p:nvGrpSpPr>
        <p:grpSpPr>
          <a:xfrm>
            <a:off x="4033311" y="2389530"/>
            <a:ext cx="2004144" cy="2003622"/>
            <a:chOff x="3344876" y="1416799"/>
            <a:chExt cx="2671496" cy="2671496"/>
          </a:xfrm>
        </p:grpSpPr>
        <p:sp>
          <p:nvSpPr>
            <p:cNvPr id="13" name="Rectangle 12"/>
            <p:cNvSpPr/>
            <p:nvPr/>
          </p:nvSpPr>
          <p:spPr bwMode="auto">
            <a:xfrm>
              <a:off x="3344876" y="1416799"/>
              <a:ext cx="2671496" cy="2671496"/>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57148" tIns="28574" rIns="57148" bIns="28574" numCol="1" rtlCol="0" anchor="b" anchorCtr="0" compatLnSpc="1">
              <a:prstTxWarp prst="textNoShape">
                <a:avLst/>
              </a:prstTxWarp>
            </a:bodyPr>
            <a:lstStyle/>
            <a:p>
              <a:pPr defTabSz="685378" fontAlgn="base">
                <a:spcBef>
                  <a:spcPct val="0"/>
                </a:spcBef>
                <a:spcAft>
                  <a:spcPct val="0"/>
                </a:spcAft>
              </a:pPr>
              <a:r>
                <a:rPr lang="en-US" sz="1813" dirty="0">
                  <a:gradFill>
                    <a:gsLst>
                      <a:gs pos="0">
                        <a:srgbClr val="FFFFFF"/>
                      </a:gs>
                      <a:gs pos="100000">
                        <a:srgbClr val="FFFFFF"/>
                      </a:gs>
                    </a:gsLst>
                    <a:lin ang="5400000" scaled="0"/>
                  </a:gradFill>
                </a:rPr>
                <a:t>Self-Service</a:t>
              </a:r>
            </a:p>
          </p:txBody>
        </p:sp>
        <p:pic>
          <p:nvPicPr>
            <p:cNvPr id="49" name="Picture 5" descr="\\MAGNUM\Projects\Microsoft\Cloud Power FY12\Design\Icons\PNGs\Self_Service.png"/>
            <p:cNvPicPr>
              <a:picLocks noChangeAspect="1" noChangeArrowheads="1"/>
            </p:cNvPicPr>
            <p:nvPr/>
          </p:nvPicPr>
          <p:blipFill>
            <a:blip r:embed="rId4" cstate="print">
              <a:biLevel thresh="50000"/>
            </a:blip>
            <a:srcRect/>
            <a:stretch>
              <a:fillRect/>
            </a:stretch>
          </p:blipFill>
          <p:spPr bwMode="auto">
            <a:xfrm>
              <a:off x="3833712" y="1866563"/>
              <a:ext cx="1693824" cy="1543625"/>
            </a:xfrm>
            <a:prstGeom prst="rect">
              <a:avLst/>
            </a:prstGeom>
            <a:noFill/>
          </p:spPr>
        </p:pic>
      </p:grpSp>
      <p:grpSp>
        <p:nvGrpSpPr>
          <p:cNvPr id="3" name="Group 2"/>
          <p:cNvGrpSpPr/>
          <p:nvPr/>
        </p:nvGrpSpPr>
        <p:grpSpPr>
          <a:xfrm>
            <a:off x="1916839" y="2389530"/>
            <a:ext cx="2004144" cy="2003622"/>
            <a:chOff x="523649" y="1416799"/>
            <a:chExt cx="2671496" cy="2671496"/>
          </a:xfrm>
        </p:grpSpPr>
        <p:sp>
          <p:nvSpPr>
            <p:cNvPr id="12" name="Rectangle 11"/>
            <p:cNvSpPr/>
            <p:nvPr/>
          </p:nvSpPr>
          <p:spPr bwMode="auto">
            <a:xfrm>
              <a:off x="523649" y="1416799"/>
              <a:ext cx="2671496" cy="2671496"/>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57148" tIns="28574" rIns="57148" bIns="28574" numCol="1" rtlCol="0" anchor="b" anchorCtr="0" compatLnSpc="1">
              <a:prstTxWarp prst="textNoShape">
                <a:avLst/>
              </a:prstTxWarp>
            </a:bodyPr>
            <a:lstStyle/>
            <a:p>
              <a:pPr defTabSz="685378" fontAlgn="base">
                <a:spcBef>
                  <a:spcPct val="0"/>
                </a:spcBef>
                <a:spcAft>
                  <a:spcPct val="0"/>
                </a:spcAft>
              </a:pPr>
              <a:r>
                <a:rPr lang="en-US" sz="1813" dirty="0">
                  <a:gradFill>
                    <a:gsLst>
                      <a:gs pos="0">
                        <a:srgbClr val="FFFFFF"/>
                      </a:gs>
                      <a:gs pos="100000">
                        <a:srgbClr val="FFFFFF"/>
                      </a:gs>
                    </a:gsLst>
                    <a:lin ang="5400000" scaled="0"/>
                  </a:gradFill>
                </a:rPr>
                <a:t>Pooled Resources</a:t>
              </a:r>
            </a:p>
          </p:txBody>
        </p:sp>
        <p:pic>
          <p:nvPicPr>
            <p:cNvPr id="51" name="Picture 7" descr="\\MAGNUM\Projects\Microsoft\Cloud Power FY12\Design\Icons\PNGs\Metering.png"/>
            <p:cNvPicPr>
              <a:picLocks noChangeAspect="1" noChangeArrowheads="1"/>
            </p:cNvPicPr>
            <p:nvPr/>
          </p:nvPicPr>
          <p:blipFill>
            <a:blip r:embed="rId5" cstate="print">
              <a:biLevel thresh="50000"/>
            </a:blip>
            <a:stretch>
              <a:fillRect/>
            </a:stretch>
          </p:blipFill>
          <p:spPr bwMode="auto">
            <a:xfrm>
              <a:off x="952460" y="1811860"/>
              <a:ext cx="1813875" cy="1653031"/>
            </a:xfrm>
            <a:prstGeom prst="rect">
              <a:avLst/>
            </a:prstGeom>
            <a:noFill/>
          </p:spPr>
        </p:pic>
      </p:grpSp>
      <p:sp>
        <p:nvSpPr>
          <p:cNvPr id="16" name="TextBox 15"/>
          <p:cNvSpPr txBox="1"/>
          <p:nvPr/>
        </p:nvSpPr>
        <p:spPr>
          <a:xfrm>
            <a:off x="3727552" y="4921441"/>
            <a:ext cx="4706417" cy="413639"/>
          </a:xfrm>
          <a:prstGeom prst="rect">
            <a:avLst/>
          </a:prstGeom>
          <a:noFill/>
        </p:spPr>
        <p:txBody>
          <a:bodyPr wrap="none" lIns="0" tIns="0" rIns="0" bIns="0" rtlCol="0">
            <a:spAutoFit/>
          </a:bodyPr>
          <a:lstStyle/>
          <a:p>
            <a:pPr marL="0" lvl="1" defTabSz="685575"/>
            <a:r>
              <a:rPr lang="en-US" sz="2688" spc="-75" dirty="0">
                <a:solidFill>
                  <a:schemeClr val="tx1">
                    <a:alpha val="99000"/>
                  </a:schemeClr>
                </a:solidFill>
                <a:latin typeface="Segoe UI Light" pitchFamily="34" charset="0"/>
              </a:rPr>
              <a:t>Economics    ▪    Agility    ▪     Focus</a:t>
            </a:r>
          </a:p>
        </p:txBody>
      </p:sp>
    </p:spTree>
    <p:extLst>
      <p:ext uri="{BB962C8B-B14F-4D97-AF65-F5344CB8AC3E}">
        <p14:creationId xmlns:p14="http://schemas.microsoft.com/office/powerpoint/2010/main" val="21102295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lication Connectivity</a:t>
            </a:r>
            <a:endParaRPr lang="en-US" dirty="0">
              <a:solidFill>
                <a:srgbClr val="92D050"/>
              </a:solidFill>
            </a:endParaRPr>
          </a:p>
        </p:txBody>
      </p:sp>
      <p:sp>
        <p:nvSpPr>
          <p:cNvPr id="8" name="Content Placeholder 2"/>
          <p:cNvSpPr txBox="1">
            <a:spLocks/>
          </p:cNvSpPr>
          <p:nvPr/>
        </p:nvSpPr>
        <p:spPr>
          <a:xfrm>
            <a:off x="522289" y="1434269"/>
            <a:ext cx="5573712" cy="505523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z="2800" spc="-100" dirty="0">
                <a:solidFill>
                  <a:srgbClr val="00AEEF">
                    <a:alpha val="99000"/>
                  </a:srgbClr>
                </a:solidFill>
                <a:latin typeface="Segoe UI Light" pitchFamily="34" charset="0"/>
              </a:rPr>
              <a:t>Connecting To SQL Database</a:t>
            </a:r>
          </a:p>
          <a:p>
            <a:pPr marL="234950" lvl="1" indent="-231775" defTabSz="914325">
              <a:spcBef>
                <a:spcPts val="900"/>
              </a:spcBef>
              <a:buClr>
                <a:srgbClr val="0071BC"/>
              </a:buClr>
              <a:buFont typeface="+mj-lt"/>
              <a:buAutoNum type="arabicPeriod"/>
            </a:pPr>
            <a:r>
              <a:rPr lang="en-US" sz="1600" spc="-51" dirty="0"/>
              <a:t>TDS (Tabular Data Stream) protocol over TCP/IP supported</a:t>
            </a:r>
          </a:p>
          <a:p>
            <a:pPr marL="234950" lvl="1" indent="-231775" defTabSz="914325">
              <a:spcBef>
                <a:spcPts val="900"/>
              </a:spcBef>
              <a:buClr>
                <a:srgbClr val="0071BC"/>
              </a:buClr>
              <a:buFont typeface="+mj-lt"/>
              <a:buAutoNum type="arabicPeriod"/>
            </a:pPr>
            <a:r>
              <a:rPr lang="en-US" sz="1600" spc="-51" dirty="0"/>
              <a:t>SSL required</a:t>
            </a:r>
          </a:p>
          <a:p>
            <a:pPr marL="234950" lvl="1" indent="-231775" defTabSz="914325">
              <a:spcBef>
                <a:spcPts val="900"/>
              </a:spcBef>
              <a:buClr>
                <a:srgbClr val="0071BC"/>
              </a:buClr>
              <a:buFont typeface="+mj-lt"/>
              <a:buAutoNum type="arabicPeriod"/>
            </a:pPr>
            <a:r>
              <a:rPr lang="en-US" sz="1600" spc="-51" dirty="0"/>
              <a:t>Use firewall rules to connect from outside Microsoft data center</a:t>
            </a:r>
          </a:p>
          <a:p>
            <a:pPr marL="3175" lvl="1" indent="0" defTabSz="914325">
              <a:spcBef>
                <a:spcPts val="900"/>
              </a:spcBef>
              <a:buNone/>
            </a:pPr>
            <a:r>
              <a:rPr lang="en-US" sz="1600" b="1" spc="-51" dirty="0"/>
              <a:t>ASP.NET EXAMPLE:</a:t>
            </a:r>
          </a:p>
        </p:txBody>
      </p:sp>
      <p:sp>
        <p:nvSpPr>
          <p:cNvPr id="9" name="Content Placeholder 2"/>
          <p:cNvSpPr txBox="1">
            <a:spLocks/>
          </p:cNvSpPr>
          <p:nvPr/>
        </p:nvSpPr>
        <p:spPr>
          <a:xfrm>
            <a:off x="6559063" y="1434269"/>
            <a:ext cx="5345112" cy="3420936"/>
          </a:xfrm>
          <a:prstGeom prst="rect">
            <a:avLst/>
          </a:prstGeom>
        </p:spPr>
        <p:txBody>
          <a:bodyPr wrap="square" lIns="0" tIns="0" rIns="0" bIns="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buNone/>
            </a:pPr>
            <a:r>
              <a:rPr lang="en-US" sz="2800" spc="-100" dirty="0">
                <a:solidFill>
                  <a:srgbClr val="00AEEF">
                    <a:alpha val="99000"/>
                  </a:srgbClr>
                </a:solidFill>
                <a:latin typeface="Segoe UI Light" pitchFamily="34" charset="0"/>
              </a:rPr>
              <a:t>Considerations And Best Practices</a:t>
            </a:r>
          </a:p>
          <a:p>
            <a:pPr marL="234950" lvl="1" indent="-231775" defTabSz="914325">
              <a:spcBef>
                <a:spcPts val="900"/>
              </a:spcBef>
              <a:buClr>
                <a:srgbClr val="00AEEF"/>
              </a:buClr>
              <a:buFont typeface="+mj-lt"/>
              <a:buAutoNum type="arabicPeriod"/>
            </a:pPr>
            <a:r>
              <a:rPr lang="en-US" sz="1600" spc="-51" dirty="0"/>
              <a:t>login: </a:t>
            </a:r>
            <a:r>
              <a:rPr lang="en-US" sz="1600" b="1" spc="-51" dirty="0"/>
              <a:t>[login]@[server]</a:t>
            </a:r>
          </a:p>
          <a:p>
            <a:pPr marL="234950" lvl="1" indent="-231775" defTabSz="914325">
              <a:spcBef>
                <a:spcPts val="900"/>
              </a:spcBef>
              <a:buClr>
                <a:srgbClr val="00AEEF"/>
              </a:buClr>
              <a:buFont typeface="+mj-lt"/>
              <a:buAutoNum type="arabicPeriod"/>
            </a:pPr>
            <a:r>
              <a:rPr lang="en-US" sz="1600" spc="-51" dirty="0"/>
              <a:t>Idle connections</a:t>
            </a:r>
          </a:p>
          <a:p>
            <a:pPr marL="234950" lvl="1" indent="-231775" defTabSz="914325">
              <a:spcBef>
                <a:spcPts val="900"/>
              </a:spcBef>
              <a:buClr>
                <a:srgbClr val="00AEEF"/>
              </a:buClr>
              <a:buFont typeface="+mj-lt"/>
              <a:buAutoNum type="arabicPeriod"/>
            </a:pPr>
            <a:r>
              <a:rPr lang="en-US" sz="1600" spc="-51" dirty="0"/>
              <a:t>Long running transactions</a:t>
            </a:r>
          </a:p>
          <a:p>
            <a:pPr marL="234950" lvl="1" indent="-231775" defTabSz="914325">
              <a:spcBef>
                <a:spcPts val="900"/>
              </a:spcBef>
              <a:buClr>
                <a:srgbClr val="00AEEF"/>
              </a:buClr>
              <a:buFont typeface="+mj-lt"/>
              <a:buAutoNum type="arabicPeriod"/>
            </a:pPr>
            <a:r>
              <a:rPr lang="en-US" sz="1600" spc="-51" dirty="0" err="1"/>
              <a:t>DoS</a:t>
            </a:r>
            <a:r>
              <a:rPr lang="en-US" sz="1600" spc="-51" dirty="0"/>
              <a:t> guard</a:t>
            </a:r>
          </a:p>
          <a:p>
            <a:pPr marL="234950" lvl="1" indent="-231775" defTabSz="914325">
              <a:spcBef>
                <a:spcPts val="900"/>
              </a:spcBef>
              <a:buClr>
                <a:srgbClr val="00AEEF"/>
              </a:buClr>
              <a:buFont typeface="+mj-lt"/>
              <a:buAutoNum type="arabicPeriod"/>
            </a:pPr>
            <a:r>
              <a:rPr lang="en-US" sz="1600" spc="-51" dirty="0"/>
              <a:t>Failover events</a:t>
            </a:r>
          </a:p>
          <a:p>
            <a:pPr marL="234950" lvl="1" indent="-231775" defTabSz="914325">
              <a:spcBef>
                <a:spcPts val="900"/>
              </a:spcBef>
              <a:buClr>
                <a:srgbClr val="00AEEF"/>
              </a:buClr>
              <a:buFont typeface="+mj-lt"/>
              <a:buAutoNum type="arabicPeriod"/>
            </a:pPr>
            <a:r>
              <a:rPr lang="en-US" sz="1600" spc="-51" dirty="0"/>
              <a:t>Throttling</a:t>
            </a:r>
          </a:p>
          <a:p>
            <a:pPr marL="234950" lvl="1" indent="-231775" defTabSz="914325">
              <a:spcBef>
                <a:spcPts val="900"/>
              </a:spcBef>
              <a:buClr>
                <a:srgbClr val="00AEEF"/>
              </a:buClr>
              <a:buFont typeface="+mj-lt"/>
              <a:buAutoNum type="arabicPeriod"/>
            </a:pPr>
            <a:r>
              <a:rPr lang="en-US" sz="1600" spc="-51" dirty="0"/>
              <a:t>Connection pooling and Retry logic</a:t>
            </a:r>
          </a:p>
          <a:p>
            <a:pPr marL="234950" lvl="1" indent="-231775" defTabSz="914325">
              <a:spcBef>
                <a:spcPts val="900"/>
              </a:spcBef>
              <a:buClr>
                <a:srgbClr val="00AEEF"/>
              </a:buClr>
              <a:buFont typeface="+mj-lt"/>
              <a:buAutoNum type="arabicPeriod"/>
            </a:pPr>
            <a:r>
              <a:rPr lang="en-US" sz="1600" spc="-51" dirty="0"/>
              <a:t>Latency introduced for updates</a:t>
            </a:r>
          </a:p>
          <a:p>
            <a:pPr marL="234950" lvl="1" indent="-231775" defTabSz="914325">
              <a:spcBef>
                <a:spcPts val="900"/>
              </a:spcBef>
              <a:buClr>
                <a:srgbClr val="00AEEF"/>
              </a:buClr>
              <a:buFont typeface="+mj-lt"/>
              <a:buAutoNum type="arabicPeriod"/>
            </a:pPr>
            <a:r>
              <a:rPr lang="en-US" sz="1600" spc="-51" dirty="0"/>
              <a:t>No cross-database dependencies</a:t>
            </a:r>
          </a:p>
        </p:txBody>
      </p:sp>
      <p:sp>
        <p:nvSpPr>
          <p:cNvPr id="10" name="TextBox 9"/>
          <p:cNvSpPr txBox="1"/>
          <p:nvPr/>
        </p:nvSpPr>
        <p:spPr>
          <a:xfrm>
            <a:off x="520703" y="3269155"/>
            <a:ext cx="5153553" cy="3000821"/>
          </a:xfrm>
          <a:prstGeom prst="rect">
            <a:avLst/>
          </a:prstGeom>
          <a:noFill/>
          <a:ln>
            <a:solidFill>
              <a:schemeClr val="accent2"/>
            </a:solidFill>
          </a:ln>
        </p:spPr>
        <p:txBody>
          <a:bodyPr wrap="square" lIns="91440" tIns="0" rIns="0" bIns="0" rtlCol="0">
            <a:spAutoFit/>
          </a:bodyPr>
          <a:lstStyle/>
          <a:p>
            <a:pPr defTabSz="914363"/>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800" dirty="0">
              <a:solidFill>
                <a:srgbClr val="292929"/>
              </a:solidFill>
              <a:ea typeface="Segoe UI" pitchFamily="34" charset="0"/>
            </a:endParaRPr>
          </a:p>
          <a:p>
            <a:pPr defTabSz="914363"/>
            <a:r>
              <a:rPr lang="en-US" sz="1600" dirty="0">
                <a:solidFill>
                  <a:srgbClr val="0000FF"/>
                </a:solidFill>
                <a:latin typeface="Consolas"/>
              </a:rPr>
              <a:t>&lt;</a:t>
            </a:r>
            <a:r>
              <a:rPr lang="en-US" sz="1600" dirty="0">
                <a:solidFill>
                  <a:srgbClr val="A31515"/>
                </a:solidFill>
                <a:latin typeface="Consolas"/>
              </a:rPr>
              <a:t>add</a:t>
            </a:r>
            <a:r>
              <a:rPr lang="en-US" sz="1600" dirty="0">
                <a:solidFill>
                  <a:srgbClr val="FF0000"/>
                </a:solidFill>
                <a:latin typeface="Consolas"/>
              </a:rPr>
              <a:t>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AdventureWorks</a:t>
            </a:r>
            <a:r>
              <a:rPr lang="en-US" sz="1600" dirty="0">
                <a:solidFill>
                  <a:srgbClr val="000000"/>
                </a:solidFill>
                <a:latin typeface="Consolas"/>
              </a:rPr>
              <a:t>"</a:t>
            </a:r>
            <a:r>
              <a:rPr lang="en-US" sz="1600" dirty="0">
                <a:solidFill>
                  <a:srgbClr val="FF0000"/>
                </a:solidFill>
                <a:latin typeface="Consolas"/>
              </a:rPr>
              <a:t>connectionString</a:t>
            </a:r>
            <a:r>
              <a:rPr lang="en-US" sz="1600" dirty="0">
                <a:solidFill>
                  <a:srgbClr val="0000FF"/>
                </a:solidFill>
                <a:latin typeface="Consolas"/>
              </a:rPr>
              <a:t>=</a:t>
            </a:r>
            <a:endParaRPr lang="en-US" sz="800" dirty="0">
              <a:solidFill>
                <a:srgbClr val="292929"/>
              </a:solidFill>
              <a:ea typeface="Segoe UI" pitchFamily="34" charset="0"/>
            </a:endParaRPr>
          </a:p>
          <a:p>
            <a:pPr marL="457120" defTabSz="914363"/>
            <a:r>
              <a:rPr lang="en-US" sz="1600" dirty="0">
                <a:solidFill>
                  <a:srgbClr val="000000"/>
                </a:solidFill>
                <a:latin typeface="Consolas"/>
              </a:rPr>
              <a:t>"</a:t>
            </a:r>
            <a:r>
              <a:rPr lang="en-US" sz="1600" dirty="0">
                <a:solidFill>
                  <a:srgbClr val="0000FF"/>
                </a:solidFill>
                <a:latin typeface="Consolas"/>
              </a:rPr>
              <a:t>Data Source=</a:t>
            </a:r>
            <a:r>
              <a:rPr lang="en-US" sz="1600" dirty="0">
                <a:solidFill>
                  <a:srgbClr val="0000FF"/>
                </a:solidFill>
                <a:highlight>
                  <a:srgbClr val="FFFF00"/>
                </a:highlight>
                <a:latin typeface="Consolas"/>
              </a:rPr>
              <a:t>[server].database.windows.net</a:t>
            </a:r>
            <a:r>
              <a:rPr lang="en-US" sz="1600" dirty="0">
                <a:solidFill>
                  <a:srgbClr val="0000FF"/>
                </a:solidFill>
                <a:latin typeface="Consolas"/>
              </a:rPr>
              <a:t>;</a:t>
            </a:r>
            <a:endParaRPr lang="en-US" sz="800" dirty="0">
              <a:solidFill>
                <a:srgbClr val="292929"/>
              </a:solidFill>
              <a:ea typeface="Segoe UI" pitchFamily="34" charset="0"/>
            </a:endParaRPr>
          </a:p>
          <a:p>
            <a:pPr marL="457120" defTabSz="914363"/>
            <a:r>
              <a:rPr lang="en-US" sz="1600" dirty="0">
                <a:solidFill>
                  <a:srgbClr val="0000FF"/>
                </a:solidFill>
                <a:latin typeface="Consolas"/>
              </a:rPr>
              <a:t>Integrated Security=False;</a:t>
            </a:r>
            <a:endParaRPr lang="en-US" sz="800" dirty="0">
              <a:solidFill>
                <a:srgbClr val="292929"/>
              </a:solidFill>
              <a:ea typeface="Segoe UI" pitchFamily="34" charset="0"/>
            </a:endParaRPr>
          </a:p>
          <a:p>
            <a:pPr marL="457120" defTabSz="914363"/>
            <a:r>
              <a:rPr lang="en-US" sz="1600" dirty="0">
                <a:solidFill>
                  <a:srgbClr val="0000FF"/>
                </a:solidFill>
                <a:latin typeface="Consolas"/>
              </a:rPr>
              <a:t>Initial Catalog=ProductsDb;</a:t>
            </a:r>
            <a:endParaRPr lang="en-US" sz="800" dirty="0">
              <a:solidFill>
                <a:srgbClr val="292929"/>
              </a:solidFill>
              <a:ea typeface="Segoe UI" pitchFamily="34" charset="0"/>
            </a:endParaRPr>
          </a:p>
          <a:p>
            <a:pPr marL="457120" defTabSz="914363"/>
            <a:r>
              <a:rPr lang="en-US" sz="1600" dirty="0">
                <a:solidFill>
                  <a:srgbClr val="0000FF"/>
                </a:solidFill>
                <a:latin typeface="Consolas"/>
              </a:rPr>
              <a:t>User Id=[login];</a:t>
            </a:r>
            <a:endParaRPr lang="en-US" sz="800" dirty="0">
              <a:solidFill>
                <a:srgbClr val="292929"/>
              </a:solidFill>
              <a:ea typeface="Segoe UI" pitchFamily="34" charset="0"/>
            </a:endParaRPr>
          </a:p>
          <a:p>
            <a:pPr marL="457120" defTabSz="914363"/>
            <a:r>
              <a:rPr lang="en-US" sz="1600" dirty="0">
                <a:solidFill>
                  <a:srgbClr val="0000FF"/>
                </a:solidFill>
                <a:latin typeface="Consolas"/>
              </a:rPr>
              <a:t>Password=[password];</a:t>
            </a:r>
          </a:p>
          <a:p>
            <a:pPr marL="457120" defTabSz="914363"/>
            <a:r>
              <a:rPr lang="en-US" sz="1600" dirty="0" err="1">
                <a:solidFill>
                  <a:srgbClr val="0000FF"/>
                </a:solidFill>
                <a:latin typeface="Consolas"/>
                <a:ea typeface="Segoe UI" pitchFamily="34" charset="0"/>
              </a:rPr>
              <a:t>Trusted_Connection</a:t>
            </a:r>
            <a:r>
              <a:rPr lang="en-US" sz="1600" dirty="0">
                <a:solidFill>
                  <a:srgbClr val="0000FF"/>
                </a:solidFill>
                <a:latin typeface="Consolas"/>
                <a:ea typeface="Segoe UI" pitchFamily="34" charset="0"/>
              </a:rPr>
              <a:t>=False;</a:t>
            </a:r>
            <a:endParaRPr lang="en-US" sz="800" dirty="0">
              <a:solidFill>
                <a:srgbClr val="292929"/>
              </a:solidFill>
              <a:ea typeface="Segoe UI" pitchFamily="34" charset="0"/>
            </a:endParaRPr>
          </a:p>
          <a:p>
            <a:pPr marL="457120" defTabSz="914363"/>
            <a:r>
              <a:rPr lang="en-US" sz="1600" dirty="0">
                <a:solidFill>
                  <a:srgbClr val="0000FF"/>
                </a:solidFill>
                <a:highlight>
                  <a:srgbClr val="FFFF00"/>
                </a:highlight>
                <a:latin typeface="Consolas"/>
              </a:rPr>
              <a:t>Encrypt=true</a:t>
            </a:r>
            <a:r>
              <a:rPr lang="en-US" sz="1600" dirty="0">
                <a:solidFill>
                  <a:srgbClr val="0000FF"/>
                </a:solidFill>
                <a:latin typeface="Consolas"/>
              </a:rPr>
              <a:t>;</a:t>
            </a:r>
            <a:r>
              <a:rPr lang="en-US" sz="1600" dirty="0">
                <a:solidFill>
                  <a:srgbClr val="000000"/>
                </a:solidFill>
                <a:latin typeface="Consolas"/>
              </a:rPr>
              <a:t>"</a:t>
            </a:r>
            <a:endParaRPr lang="en-US" sz="800" dirty="0">
              <a:solidFill>
                <a:srgbClr val="292929"/>
              </a:solidFill>
              <a:ea typeface="Segoe UI" pitchFamily="34" charset="0"/>
            </a:endParaRPr>
          </a:p>
          <a:p>
            <a:pPr defTabSz="914363"/>
            <a:r>
              <a:rPr lang="en-US" sz="1600" dirty="0">
                <a:solidFill>
                  <a:srgbClr val="FF0000"/>
                </a:solidFill>
                <a:latin typeface="Consolas"/>
              </a:rPr>
              <a:t>provider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System.Data.SqlClient</a:t>
            </a:r>
            <a:r>
              <a:rPr lang="en-US" sz="1600" dirty="0">
                <a:solidFill>
                  <a:srgbClr val="000000"/>
                </a:solidFill>
                <a:latin typeface="Consolas"/>
              </a:rPr>
              <a:t>"</a:t>
            </a:r>
            <a:r>
              <a:rPr lang="en-US" sz="1600" dirty="0">
                <a:solidFill>
                  <a:srgbClr val="0000FF"/>
                </a:solidFill>
                <a:latin typeface="Consolas"/>
              </a:rPr>
              <a:t>/&gt;</a:t>
            </a:r>
            <a:endParaRPr lang="en-US" sz="800" dirty="0">
              <a:solidFill>
                <a:srgbClr val="292929"/>
              </a:solidFill>
              <a:ea typeface="Segoe UI" pitchFamily="34" charset="0"/>
            </a:endParaRPr>
          </a:p>
          <a:p>
            <a:pPr defTabSz="914363"/>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1600" dirty="0">
              <a:solidFill>
                <a:prstClr val="black"/>
              </a:solidFill>
              <a:latin typeface="Consolas"/>
            </a:endParaRPr>
          </a:p>
        </p:txBody>
      </p:sp>
    </p:spTree>
    <p:extLst>
      <p:ext uri="{BB962C8B-B14F-4D97-AF65-F5344CB8AC3E}">
        <p14:creationId xmlns:p14="http://schemas.microsoft.com/office/powerpoint/2010/main" val="3205787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20702" y="1447800"/>
            <a:ext cx="5346700" cy="464518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 name="Title 4"/>
          <p:cNvSpPr>
            <a:spLocks noGrp="1"/>
          </p:cNvSpPr>
          <p:nvPr>
            <p:ph type="title"/>
          </p:nvPr>
        </p:nvSpPr>
        <p:spPr/>
        <p:txBody>
          <a:bodyPr/>
          <a:lstStyle/>
          <a:p>
            <a:r>
              <a:rPr lang="en-US" dirty="0" smtClean="0"/>
              <a:t>SQL Reporting</a:t>
            </a:r>
            <a:endParaRPr lang="en-US" dirty="0"/>
          </a:p>
        </p:txBody>
      </p:sp>
      <p:pic>
        <p:nvPicPr>
          <p:cNvPr id="6" name="Content Placeholder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3029" y="1714500"/>
            <a:ext cx="3131630" cy="1431777"/>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p:spPr>
      </p:pic>
      <p:pic>
        <p:nvPicPr>
          <p:cNvPr id="7" name="Picture 6"/>
          <p:cNvPicPr>
            <a:picLocks noChangeAspect="1"/>
          </p:cNvPicPr>
          <p:nvPr/>
        </p:nvPicPr>
        <p:blipFill rotWithShape="1">
          <a:blip r:embed="rId4" cstate="print">
            <a:extLst>
              <a:ext uri="{28A0092B-C50C-407E-A947-70E740481C1C}">
                <a14:useLocalDpi xmlns:a14="http://schemas.microsoft.com/office/drawing/2010/main" val="0"/>
              </a:ext>
            </a:extLst>
          </a:blip>
          <a:srcRect l="1264" t="4910" r="1012" b="1533"/>
          <a:stretch/>
        </p:blipFill>
        <p:spPr>
          <a:xfrm>
            <a:off x="661988" y="3860800"/>
            <a:ext cx="3067050" cy="2089151"/>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p:spPr>
      </p:pic>
      <p:pic>
        <p:nvPicPr>
          <p:cNvPr id="8" name="Picture 7"/>
          <p:cNvPicPr>
            <a:picLocks noChangeAspect="1"/>
          </p:cNvPicPr>
          <p:nvPr/>
        </p:nvPicPr>
        <p:blipFill rotWithShape="1">
          <a:blip r:embed="rId5" cstate="print">
            <a:extLst>
              <a:ext uri="{28A0092B-C50C-407E-A947-70E740481C1C}">
                <a14:useLocalDpi xmlns:a14="http://schemas.microsoft.com/office/drawing/2010/main" val="0"/>
              </a:ext>
            </a:extLst>
          </a:blip>
          <a:srcRect l="1517" t="13756" b="1412"/>
          <a:stretch/>
        </p:blipFill>
        <p:spPr>
          <a:xfrm>
            <a:off x="2674938" y="2540001"/>
            <a:ext cx="3090863" cy="2565401"/>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p:spPr>
      </p:pic>
      <p:sp>
        <p:nvSpPr>
          <p:cNvPr id="9" name="Content Placeholder 2"/>
          <p:cNvSpPr txBox="1">
            <a:spLocks/>
          </p:cNvSpPr>
          <p:nvPr/>
        </p:nvSpPr>
        <p:spPr>
          <a:xfrm>
            <a:off x="6324601" y="1706123"/>
            <a:ext cx="5573712" cy="242653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z="3600" spc="-100" dirty="0">
                <a:solidFill>
                  <a:srgbClr val="00AEEF">
                    <a:alpha val="99000"/>
                  </a:srgbClr>
                </a:solidFill>
                <a:latin typeface="Segoe UI Light" pitchFamily="34" charset="0"/>
              </a:rPr>
              <a:t>Visualize your data</a:t>
            </a:r>
          </a:p>
          <a:p>
            <a:pPr marL="3175" lvl="1" indent="0" defTabSz="914325">
              <a:spcBef>
                <a:spcPts val="600"/>
              </a:spcBef>
              <a:buNone/>
            </a:pPr>
            <a:r>
              <a:rPr lang="en-US" sz="1800" spc="-51" dirty="0"/>
              <a:t>SQL Server Reporting Services technology as a service</a:t>
            </a:r>
          </a:p>
          <a:p>
            <a:pPr marL="3175" lvl="1" indent="0" defTabSz="914325">
              <a:spcBef>
                <a:spcPts val="600"/>
              </a:spcBef>
              <a:buNone/>
            </a:pPr>
            <a:r>
              <a:rPr lang="en-US" sz="1800" spc="-51" dirty="0"/>
              <a:t>Ideal for operational reporting against SQL Database data</a:t>
            </a:r>
          </a:p>
          <a:p>
            <a:pPr marL="3175" lvl="1" indent="0" defTabSz="914325">
              <a:spcBef>
                <a:spcPts val="600"/>
              </a:spcBef>
              <a:buNone/>
            </a:pPr>
            <a:r>
              <a:rPr lang="en-US" sz="1800" spc="-51" dirty="0"/>
              <a:t>Enterprise-ready with automatic support for HA</a:t>
            </a:r>
          </a:p>
          <a:p>
            <a:pPr marL="3175" lvl="1" indent="0" defTabSz="914325">
              <a:spcBef>
                <a:spcPts val="600"/>
              </a:spcBef>
              <a:buNone/>
            </a:pPr>
            <a:r>
              <a:rPr lang="en-US" sz="1800" spc="-51" dirty="0"/>
              <a:t>Designed to scale elastically with demand</a:t>
            </a:r>
          </a:p>
          <a:p>
            <a:pPr marL="3175" lvl="1" indent="0" defTabSz="914325">
              <a:spcBef>
                <a:spcPts val="600"/>
              </a:spcBef>
              <a:buNone/>
            </a:pPr>
            <a:r>
              <a:rPr lang="en-US" sz="1800" spc="-51" dirty="0"/>
              <a:t>Rapid Provisioning </a:t>
            </a:r>
            <a:endParaRPr lang="en-US" sz="2400" dirty="0"/>
          </a:p>
        </p:txBody>
      </p:sp>
    </p:spTree>
    <p:extLst>
      <p:ext uri="{BB962C8B-B14F-4D97-AF65-F5344CB8AC3E}">
        <p14:creationId xmlns:p14="http://schemas.microsoft.com/office/powerpoint/2010/main" val="27864988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xEl>
                                              <p:pRg st="3" end="3"/>
                                            </p:txEl>
                                          </p:spTgt>
                                        </p:tgtEl>
                                        <p:attrNameLst>
                                          <p:attrName>style.visibility</p:attrName>
                                        </p:attrNameLst>
                                      </p:cBhvr>
                                      <p:to>
                                        <p:strVal val="visible"/>
                                      </p:to>
                                    </p:set>
                                    <p:animEffect transition="in" filter="fade">
                                      <p:cBhvr>
                                        <p:cTn id="16" dur="500"/>
                                        <p:tgtEl>
                                          <p:spTgt spid="9">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
                                            <p:txEl>
                                              <p:pRg st="4" end="4"/>
                                            </p:txEl>
                                          </p:spTgt>
                                        </p:tgtEl>
                                        <p:attrNameLst>
                                          <p:attrName>style.visibility</p:attrName>
                                        </p:attrNameLst>
                                      </p:cBhvr>
                                      <p:to>
                                        <p:strVal val="visible"/>
                                      </p:to>
                                    </p:set>
                                    <p:animEffect transition="in" filter="fade">
                                      <p:cBhvr>
                                        <p:cTn id="19" dur="500"/>
                                        <p:tgtEl>
                                          <p:spTgt spid="9">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
                                            <p:txEl>
                                              <p:pRg st="5" end="5"/>
                                            </p:txEl>
                                          </p:spTgt>
                                        </p:tgtEl>
                                        <p:attrNameLst>
                                          <p:attrName>style.visibility</p:attrName>
                                        </p:attrNameLst>
                                      </p:cBhvr>
                                      <p:to>
                                        <p:strVal val="visible"/>
                                      </p:to>
                                    </p:set>
                                    <p:animEffect transition="in" filter="fade">
                                      <p:cBhvr>
                                        <p:cTn id="22" dur="500"/>
                                        <p:tgtEl>
                                          <p:spTgt spid="9">
                                            <p:txEl>
                                              <p:pRg st="5" end="5"/>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par>
                                <p:cTn id="26" presetID="10" presetClass="entr" presetSubtype="0" fill="hold" nodeType="with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500"/>
                                        <p:tgtEl>
                                          <p:spTgt spid="7"/>
                                        </p:tgtEl>
                                      </p:cBhvr>
                                    </p:animEffect>
                                  </p:childTnLst>
                                </p:cTn>
                              </p:par>
                              <p:par>
                                <p:cTn id="29" presetID="10" presetClass="entr" presetSubtype="0" fill="hold" nodeType="with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QL Data Sync</a:t>
            </a:r>
            <a:endParaRPr lang="en-US" dirty="0">
              <a:solidFill>
                <a:srgbClr val="92D050"/>
              </a:solidFill>
            </a:endParaRPr>
          </a:p>
        </p:txBody>
      </p:sp>
      <p:sp>
        <p:nvSpPr>
          <p:cNvPr id="7" name="Content Placeholder 2"/>
          <p:cNvSpPr txBox="1">
            <a:spLocks/>
          </p:cNvSpPr>
          <p:nvPr/>
        </p:nvSpPr>
        <p:spPr>
          <a:xfrm>
            <a:off x="6186619" y="1813218"/>
            <a:ext cx="5446798" cy="2532497"/>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z="3600" spc="-100" dirty="0">
                <a:solidFill>
                  <a:srgbClr val="00AEEF">
                    <a:alpha val="99000"/>
                  </a:srgbClr>
                </a:solidFill>
                <a:latin typeface="Segoe UI Light" pitchFamily="34" charset="0"/>
              </a:rPr>
              <a:t>Data Synchronization</a:t>
            </a:r>
          </a:p>
          <a:p>
            <a:pPr marL="3175" lvl="1" indent="0" defTabSz="914325">
              <a:spcBef>
                <a:spcPts val="600"/>
              </a:spcBef>
              <a:buNone/>
            </a:pPr>
            <a:r>
              <a:rPr lang="en-US" sz="1800" spc="-51" dirty="0"/>
              <a:t>Microsoft Sync Framework technology as a service </a:t>
            </a:r>
          </a:p>
          <a:p>
            <a:pPr marL="3175" lvl="1" indent="0" defTabSz="914325">
              <a:spcBef>
                <a:spcPts val="600"/>
              </a:spcBef>
              <a:buNone/>
            </a:pPr>
            <a:r>
              <a:rPr lang="en-US" sz="1800" spc="-51" dirty="0"/>
              <a:t>Ideal for scheduling synchronization between data sets hosted </a:t>
            </a:r>
            <a:br>
              <a:rPr lang="en-US" sz="1800" spc="-51" dirty="0"/>
            </a:br>
            <a:r>
              <a:rPr lang="en-US" sz="1800" spc="-51" dirty="0"/>
              <a:t>in SQL Database or SQL Server</a:t>
            </a:r>
          </a:p>
          <a:p>
            <a:pPr marL="3175" lvl="1" indent="0" defTabSz="914325">
              <a:spcBef>
                <a:spcPts val="600"/>
              </a:spcBef>
              <a:buNone/>
            </a:pPr>
            <a:r>
              <a:rPr lang="en-US" sz="1800" spc="-51" dirty="0"/>
              <a:t>Uses a hub and spoke topology</a:t>
            </a:r>
          </a:p>
          <a:p>
            <a:pPr marL="3175" lvl="1" indent="0" defTabSz="914325">
              <a:spcBef>
                <a:spcPts val="600"/>
              </a:spcBef>
              <a:buNone/>
            </a:pPr>
            <a:r>
              <a:rPr lang="en-US" sz="1800" spc="-51" dirty="0"/>
              <a:t>No Coding required</a:t>
            </a:r>
          </a:p>
        </p:txBody>
      </p:sp>
      <p:sp>
        <p:nvSpPr>
          <p:cNvPr id="26" name="Rectangle 25"/>
          <p:cNvSpPr/>
          <p:nvPr/>
        </p:nvSpPr>
        <p:spPr>
          <a:xfrm>
            <a:off x="2190075" y="3219485"/>
            <a:ext cx="1483401" cy="1483401"/>
          </a:xfrm>
          <a:prstGeom prst="rect">
            <a:avLst/>
          </a:prstGeom>
          <a:solidFill>
            <a:schemeClr val="accent6"/>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defTabSz="914363"/>
            <a:r>
              <a:rPr lang="en-US" sz="2000" dirty="0">
                <a:gradFill>
                  <a:gsLst>
                    <a:gs pos="0">
                      <a:srgbClr val="FFFFFF"/>
                    </a:gs>
                    <a:gs pos="100000">
                      <a:srgbClr val="FFFFFF"/>
                    </a:gs>
                  </a:gsLst>
                  <a:lin ang="5400000" scaled="0"/>
                </a:gradFill>
              </a:rPr>
              <a:t>SQL Database (Hub)</a:t>
            </a:r>
          </a:p>
        </p:txBody>
      </p:sp>
      <p:sp>
        <p:nvSpPr>
          <p:cNvPr id="24" name="Straight Connector 5"/>
          <p:cNvSpPr/>
          <p:nvPr/>
        </p:nvSpPr>
        <p:spPr>
          <a:xfrm rot="16200000">
            <a:off x="2707506" y="3130681"/>
            <a:ext cx="448541" cy="49584"/>
          </a:xfrm>
          <a:custGeom>
            <a:avLst/>
            <a:gdLst/>
            <a:ahLst/>
            <a:cxnLst/>
            <a:rect l="0" t="0" r="0" b="0"/>
            <a:pathLst>
              <a:path>
                <a:moveTo>
                  <a:pt x="0" y="27207"/>
                </a:moveTo>
                <a:lnTo>
                  <a:pt x="492245" y="27207"/>
                </a:lnTo>
              </a:path>
            </a:pathLst>
          </a:custGeom>
          <a:noFill/>
          <a:ln>
            <a:solidFill>
              <a:schemeClr val="accent6"/>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5" name="Straight Connector 6"/>
          <p:cNvSpPr/>
          <p:nvPr/>
        </p:nvSpPr>
        <p:spPr>
          <a:xfrm rot="16200000">
            <a:off x="2920563" y="3144260"/>
            <a:ext cx="22427" cy="2242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700" tIns="0" rIns="12700" bIns="0" numCol="1" spcCol="1270" anchor="ctr" anchorCtr="0">
            <a:noAutofit/>
          </a:bodyPr>
          <a:lstStyle/>
          <a:p>
            <a:pPr algn="ctr" defTabSz="222250">
              <a:lnSpc>
                <a:spcPct val="90000"/>
              </a:lnSpc>
              <a:spcBef>
                <a:spcPct val="0"/>
              </a:spcBef>
              <a:spcAft>
                <a:spcPct val="35000"/>
              </a:spcAft>
            </a:pPr>
            <a:endParaRPr lang="en-US" sz="500">
              <a:solidFill>
                <a:srgbClr val="292929">
                  <a:hueOff val="0"/>
                  <a:satOff val="0"/>
                  <a:lumOff val="0"/>
                  <a:alphaOff val="0"/>
                </a:srgbClr>
              </a:solidFill>
            </a:endParaRPr>
          </a:p>
        </p:txBody>
      </p:sp>
      <p:sp>
        <p:nvSpPr>
          <p:cNvPr id="22" name="Rectangle 21"/>
          <p:cNvSpPr/>
          <p:nvPr/>
        </p:nvSpPr>
        <p:spPr>
          <a:xfrm>
            <a:off x="2190075" y="1447801"/>
            <a:ext cx="1483401" cy="1483401"/>
          </a:xfrm>
          <a:prstGeom prst="rect">
            <a:avLst/>
          </a:prstGeom>
          <a:solidFill>
            <a:schemeClr val="accent6"/>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defTabSz="914363"/>
            <a:r>
              <a:rPr lang="en-US" sz="2000" dirty="0">
                <a:gradFill>
                  <a:gsLst>
                    <a:gs pos="0">
                      <a:srgbClr val="FFFFFF"/>
                    </a:gs>
                    <a:gs pos="100000">
                      <a:srgbClr val="FFFFFF"/>
                    </a:gs>
                  </a:gsLst>
                  <a:lin ang="5400000" scaled="0"/>
                </a:gradFill>
              </a:rPr>
              <a:t>SQL Database (US)</a:t>
            </a:r>
          </a:p>
        </p:txBody>
      </p:sp>
      <p:sp>
        <p:nvSpPr>
          <p:cNvPr id="20" name="Straight Connector 9"/>
          <p:cNvSpPr/>
          <p:nvPr/>
        </p:nvSpPr>
        <p:spPr>
          <a:xfrm rot="1800000">
            <a:off x="3544061" y="4579638"/>
            <a:ext cx="448541" cy="49584"/>
          </a:xfrm>
          <a:custGeom>
            <a:avLst/>
            <a:gdLst/>
            <a:ahLst/>
            <a:cxnLst/>
            <a:rect l="0" t="0" r="0" b="0"/>
            <a:pathLst>
              <a:path>
                <a:moveTo>
                  <a:pt x="0" y="27207"/>
                </a:moveTo>
                <a:lnTo>
                  <a:pt x="492245" y="27207"/>
                </a:lnTo>
              </a:path>
            </a:pathLst>
          </a:custGeom>
          <a:noFill/>
          <a:ln>
            <a:solidFill>
              <a:schemeClr val="accent6"/>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8" name="Rectangle 17"/>
          <p:cNvSpPr/>
          <p:nvPr/>
        </p:nvSpPr>
        <p:spPr>
          <a:xfrm>
            <a:off x="3863187" y="4345715"/>
            <a:ext cx="1483401" cy="1483401"/>
          </a:xfrm>
          <a:prstGeom prst="rect">
            <a:avLst/>
          </a:prstGeom>
          <a:solidFill>
            <a:schemeClr val="accent6"/>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defTabSz="914363"/>
            <a:r>
              <a:rPr lang="en-US" sz="2000" dirty="0">
                <a:gradFill>
                  <a:gsLst>
                    <a:gs pos="0">
                      <a:srgbClr val="FFFFFF"/>
                    </a:gs>
                    <a:gs pos="100000">
                      <a:srgbClr val="FFFFFF"/>
                    </a:gs>
                  </a:gsLst>
                  <a:lin ang="5400000" scaled="0"/>
                </a:gradFill>
              </a:rPr>
              <a:t>SQL Database (WE)</a:t>
            </a:r>
          </a:p>
        </p:txBody>
      </p:sp>
      <p:sp>
        <p:nvSpPr>
          <p:cNvPr id="15" name="Straight Connector 13"/>
          <p:cNvSpPr/>
          <p:nvPr/>
        </p:nvSpPr>
        <p:spPr>
          <a:xfrm rot="9000000">
            <a:off x="1870950" y="4579638"/>
            <a:ext cx="448541" cy="49584"/>
          </a:xfrm>
          <a:custGeom>
            <a:avLst/>
            <a:gdLst/>
            <a:ahLst/>
            <a:cxnLst/>
            <a:rect l="0" t="0" r="0" b="0"/>
            <a:pathLst>
              <a:path>
                <a:moveTo>
                  <a:pt x="0" y="27207"/>
                </a:moveTo>
                <a:lnTo>
                  <a:pt x="492245" y="27207"/>
                </a:lnTo>
              </a:path>
            </a:pathLst>
          </a:custGeom>
          <a:noFill/>
          <a:ln>
            <a:solidFill>
              <a:schemeClr val="accent6"/>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7" name="Straight Connector 14"/>
          <p:cNvSpPr/>
          <p:nvPr/>
        </p:nvSpPr>
        <p:spPr>
          <a:xfrm rot="19800000">
            <a:off x="2084008" y="4593217"/>
            <a:ext cx="22427" cy="2242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700" tIns="0" rIns="12700" bIns="0" numCol="1" spcCol="1270" anchor="ctr" anchorCtr="0">
            <a:noAutofit/>
          </a:bodyPr>
          <a:lstStyle/>
          <a:p>
            <a:pPr algn="ctr" defTabSz="222250">
              <a:lnSpc>
                <a:spcPct val="90000"/>
              </a:lnSpc>
              <a:spcBef>
                <a:spcPct val="0"/>
              </a:spcBef>
              <a:spcAft>
                <a:spcPct val="35000"/>
              </a:spcAft>
            </a:pPr>
            <a:endParaRPr lang="en-US" sz="500">
              <a:solidFill>
                <a:srgbClr val="292929">
                  <a:hueOff val="0"/>
                  <a:satOff val="0"/>
                  <a:lumOff val="0"/>
                  <a:alphaOff val="0"/>
                </a:srgbClr>
              </a:solidFill>
            </a:endParaRPr>
          </a:p>
        </p:txBody>
      </p:sp>
      <p:sp>
        <p:nvSpPr>
          <p:cNvPr id="13" name="Rectangle 12"/>
          <p:cNvSpPr/>
          <p:nvPr/>
        </p:nvSpPr>
        <p:spPr>
          <a:xfrm>
            <a:off x="516964" y="4345715"/>
            <a:ext cx="1483401" cy="1483401"/>
          </a:xfrm>
          <a:prstGeom prst="rect">
            <a:avLst/>
          </a:prstGeom>
          <a:solidFill>
            <a:schemeClr val="accent6"/>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defTabSz="914363"/>
            <a:r>
              <a:rPr lang="en-US" sz="2000" dirty="0">
                <a:gradFill>
                  <a:gsLst>
                    <a:gs pos="0">
                      <a:srgbClr val="FFFFFF"/>
                    </a:gs>
                    <a:gs pos="100000">
                      <a:srgbClr val="FFFFFF"/>
                    </a:gs>
                  </a:gsLst>
                  <a:lin ang="5400000" scaled="0"/>
                </a:gradFill>
              </a:rPr>
              <a:t>SQL Server (</a:t>
            </a:r>
            <a:r>
              <a:rPr lang="en-US" sz="2000" dirty="0" err="1">
                <a:gradFill>
                  <a:gsLst>
                    <a:gs pos="0">
                      <a:srgbClr val="FFFFFF"/>
                    </a:gs>
                    <a:gs pos="100000">
                      <a:srgbClr val="FFFFFF"/>
                    </a:gs>
                  </a:gsLst>
                  <a:lin ang="5400000" scaled="0"/>
                </a:gradFill>
              </a:rPr>
              <a:t>OnPrem</a:t>
            </a:r>
            <a:r>
              <a:rPr lang="en-US" sz="2000" dirty="0">
                <a:gradFill>
                  <a:gsLst>
                    <a:gs pos="0">
                      <a:srgbClr val="FFFFFF"/>
                    </a:gs>
                    <a:gs pos="100000">
                      <a:srgbClr val="FFFFFF"/>
                    </a:gs>
                  </a:gsLst>
                  <a:lin ang="5400000" scaled="0"/>
                </a:gradFill>
              </a:rPr>
              <a:t>)</a:t>
            </a:r>
          </a:p>
        </p:txBody>
      </p:sp>
    </p:spTree>
    <p:extLst>
      <p:ext uri="{BB962C8B-B14F-4D97-AF65-F5344CB8AC3E}">
        <p14:creationId xmlns:p14="http://schemas.microsoft.com/office/powerpoint/2010/main" val="11816505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500"/>
                                        <p:tgtEl>
                                          <p:spTgt spid="7">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500"/>
                                        <p:tgtEl>
                                          <p:spTgt spid="7">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Effect transition="in" filter="fade">
                                      <p:cBhvr>
                                        <p:cTn id="19"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QL Federation</a:t>
            </a:r>
            <a:endParaRPr lang="en-US" dirty="0">
              <a:solidFill>
                <a:srgbClr val="92D050"/>
              </a:solidFill>
            </a:endParaRPr>
          </a:p>
        </p:txBody>
      </p:sp>
      <p:sp>
        <p:nvSpPr>
          <p:cNvPr id="7" name="Content Placeholder 2"/>
          <p:cNvSpPr txBox="1">
            <a:spLocks/>
          </p:cNvSpPr>
          <p:nvPr/>
        </p:nvSpPr>
        <p:spPr>
          <a:xfrm>
            <a:off x="6194857" y="1640220"/>
            <a:ext cx="5573712" cy="2610509"/>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z="3600" spc="-100" dirty="0">
                <a:solidFill>
                  <a:srgbClr val="00AEEF">
                    <a:alpha val="99000"/>
                  </a:srgbClr>
                </a:solidFill>
                <a:latin typeface="Segoe UI Light" pitchFamily="34" charset="0"/>
              </a:rPr>
              <a:t>Database Scalability</a:t>
            </a:r>
          </a:p>
          <a:p>
            <a:pPr marL="3175" lvl="1" indent="0" defTabSz="914325">
              <a:spcBef>
                <a:spcPts val="600"/>
              </a:spcBef>
              <a:buNone/>
            </a:pPr>
            <a:r>
              <a:rPr lang="en-US" sz="2000" spc="-51" dirty="0"/>
              <a:t>Scale to hundreds of nodes via database </a:t>
            </a:r>
            <a:r>
              <a:rPr lang="en-US" sz="2000" spc="-51" dirty="0" err="1"/>
              <a:t>sharding</a:t>
            </a:r>
            <a:endParaRPr lang="en-US" sz="2000" spc="-51" dirty="0"/>
          </a:p>
          <a:p>
            <a:pPr marL="3175" lvl="1" indent="0" defTabSz="914325">
              <a:spcBef>
                <a:spcPts val="600"/>
              </a:spcBef>
              <a:buNone/>
            </a:pPr>
            <a:r>
              <a:rPr lang="en-US" sz="2000" spc="-51" dirty="0"/>
              <a:t>Multi-tenancy via flexible repartitioning</a:t>
            </a:r>
          </a:p>
          <a:p>
            <a:pPr marL="3175" lvl="1" indent="0" defTabSz="914325">
              <a:spcBef>
                <a:spcPts val="600"/>
              </a:spcBef>
              <a:buNone/>
            </a:pPr>
            <a:r>
              <a:rPr lang="en-US" sz="2000" spc="-51" dirty="0"/>
              <a:t>Online split operations to minimize downtime</a:t>
            </a:r>
          </a:p>
          <a:p>
            <a:pPr marL="3175" lvl="1" indent="0" defTabSz="914325">
              <a:spcBef>
                <a:spcPts val="600"/>
              </a:spcBef>
              <a:buNone/>
            </a:pPr>
            <a:r>
              <a:rPr lang="en-US" sz="2000" spc="-51" dirty="0"/>
              <a:t>Automatic data discovery regardless of changes in how data is partitioned</a:t>
            </a:r>
            <a:r>
              <a:rPr lang="en-US" sz="1800" spc="-51" dirty="0"/>
              <a:t/>
            </a:r>
            <a:br>
              <a:rPr lang="en-US" sz="1800" spc="-51" dirty="0"/>
            </a:br>
            <a:endParaRPr lang="en-US" sz="2400" dirty="0"/>
          </a:p>
        </p:txBody>
      </p:sp>
      <p:sp>
        <p:nvSpPr>
          <p:cNvPr id="12" name="Freeform 11"/>
          <p:cNvSpPr>
            <a:spLocks noEditPoints="1"/>
          </p:cNvSpPr>
          <p:nvPr/>
        </p:nvSpPr>
        <p:spPr bwMode="auto">
          <a:xfrm>
            <a:off x="2471386" y="1460205"/>
            <a:ext cx="723354" cy="975846"/>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accent2"/>
          </a:solidFill>
          <a:ln w="19050">
            <a:noFill/>
          </a:ln>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sp>
        <p:nvSpPr>
          <p:cNvPr id="13" name="Freeform 12"/>
          <p:cNvSpPr>
            <a:spLocks noEditPoints="1"/>
          </p:cNvSpPr>
          <p:nvPr/>
        </p:nvSpPr>
        <p:spPr bwMode="auto">
          <a:xfrm>
            <a:off x="2464298" y="1463749"/>
            <a:ext cx="723354" cy="975846"/>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accent2"/>
          </a:solidFill>
          <a:ln w="19050">
            <a:noFill/>
          </a:ln>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sp>
        <p:nvSpPr>
          <p:cNvPr id="14" name="Freeform 13"/>
          <p:cNvSpPr>
            <a:spLocks noEditPoints="1"/>
          </p:cNvSpPr>
          <p:nvPr/>
        </p:nvSpPr>
        <p:spPr bwMode="auto">
          <a:xfrm>
            <a:off x="2474931" y="1463749"/>
            <a:ext cx="723354" cy="975846"/>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accent2"/>
          </a:solidFill>
          <a:ln w="19050">
            <a:noFill/>
          </a:ln>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sp>
        <p:nvSpPr>
          <p:cNvPr id="16" name="Freeform 15"/>
          <p:cNvSpPr>
            <a:spLocks noEditPoints="1"/>
          </p:cNvSpPr>
          <p:nvPr/>
        </p:nvSpPr>
        <p:spPr bwMode="auto">
          <a:xfrm>
            <a:off x="2474931" y="1463750"/>
            <a:ext cx="723354" cy="975846"/>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accent2"/>
          </a:solidFill>
          <a:ln w="19050">
            <a:noFill/>
          </a:ln>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sp>
        <p:nvSpPr>
          <p:cNvPr id="18" name="Freeform 17"/>
          <p:cNvSpPr>
            <a:spLocks noEditPoints="1"/>
          </p:cNvSpPr>
          <p:nvPr/>
        </p:nvSpPr>
        <p:spPr bwMode="auto">
          <a:xfrm>
            <a:off x="2464297" y="1463750"/>
            <a:ext cx="723354" cy="975846"/>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accent2"/>
          </a:solidFill>
          <a:ln w="19050">
            <a:noFill/>
          </a:ln>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spTree>
    <p:extLst>
      <p:ext uri="{BB962C8B-B14F-4D97-AF65-F5344CB8AC3E}">
        <p14:creationId xmlns:p14="http://schemas.microsoft.com/office/powerpoint/2010/main" val="31221704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500"/>
                                        <p:tgtEl>
                                          <p:spTgt spid="7">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500"/>
                                        <p:tgtEl>
                                          <p:spTgt spid="7">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Effect transition="in" filter="fade">
                                      <p:cBhvr>
                                        <p:cTn id="19" dur="500"/>
                                        <p:tgtEl>
                                          <p:spTgt spid="7">
                                            <p:txEl>
                                              <p:pRg st="4" end="4"/>
                                            </p:txEl>
                                          </p:spTgt>
                                        </p:tgtEl>
                                      </p:cBhvr>
                                    </p:animEffect>
                                  </p:childTnLst>
                                </p:cTn>
                              </p:par>
                            </p:childTnLst>
                          </p:cTn>
                        </p:par>
                        <p:par>
                          <p:cTn id="20" fill="hold">
                            <p:stCondLst>
                              <p:cond delay="500"/>
                            </p:stCondLst>
                            <p:childTnLst>
                              <p:par>
                                <p:cTn id="21" presetID="42" presetClass="path" presetSubtype="0" accel="50000" decel="50000" fill="hold" grpId="0" nodeType="afterEffect">
                                  <p:stCondLst>
                                    <p:cond delay="2000"/>
                                  </p:stCondLst>
                                  <p:childTnLst>
                                    <p:animMotion origin="layout" path="M -6.25E-7 -7.40741E-7 L -0.12487 0.16505 " pathEditMode="relative" rAng="0" ptsTypes="AA">
                                      <p:cBhvr>
                                        <p:cTn id="22" dur="1000" fill="hold"/>
                                        <p:tgtEl>
                                          <p:spTgt spid="18"/>
                                        </p:tgtEl>
                                        <p:attrNameLst>
                                          <p:attrName>ppt_x</p:attrName>
                                          <p:attrName>ppt_y</p:attrName>
                                        </p:attrNameLst>
                                      </p:cBhvr>
                                      <p:rCtr x="-6250" y="8241"/>
                                    </p:animMotion>
                                  </p:childTnLst>
                                </p:cTn>
                              </p:par>
                              <p:par>
                                <p:cTn id="23" presetID="42" presetClass="path" presetSubtype="0" accel="50000" decel="50000" fill="hold" grpId="0" nodeType="withEffect">
                                  <p:stCondLst>
                                    <p:cond delay="2000"/>
                                  </p:stCondLst>
                                  <p:childTnLst>
                                    <p:animMotion origin="layout" path="M -2.08333E-6 -7.40741E-7 L -0.04192 0.16551 " pathEditMode="relative" rAng="0" ptsTypes="AA">
                                      <p:cBhvr>
                                        <p:cTn id="24" dur="1000" fill="hold"/>
                                        <p:tgtEl>
                                          <p:spTgt spid="16"/>
                                        </p:tgtEl>
                                        <p:attrNameLst>
                                          <p:attrName>ppt_x</p:attrName>
                                          <p:attrName>ppt_y</p:attrName>
                                        </p:attrNameLst>
                                      </p:cBhvr>
                                      <p:rCtr x="-2096" y="8264"/>
                                    </p:animMotion>
                                  </p:childTnLst>
                                </p:cTn>
                              </p:par>
                              <p:par>
                                <p:cTn id="25" presetID="42" presetClass="path" presetSubtype="0" accel="50000" decel="50000" fill="hold" grpId="0" nodeType="withEffect">
                                  <p:stCondLst>
                                    <p:cond delay="2000"/>
                                  </p:stCondLst>
                                  <p:childTnLst>
                                    <p:animMotion origin="layout" path="M -2.08333E-6 -7.40741E-7 L 0.03946 0.15903 " pathEditMode="relative" rAng="0" ptsTypes="AA">
                                      <p:cBhvr>
                                        <p:cTn id="26" dur="1000" fill="hold"/>
                                        <p:tgtEl>
                                          <p:spTgt spid="14"/>
                                        </p:tgtEl>
                                        <p:attrNameLst>
                                          <p:attrName>ppt_x</p:attrName>
                                          <p:attrName>ppt_y</p:attrName>
                                        </p:attrNameLst>
                                      </p:cBhvr>
                                      <p:rCtr x="1966" y="7940"/>
                                    </p:animMotion>
                                  </p:childTnLst>
                                </p:cTn>
                              </p:par>
                              <p:par>
                                <p:cTn id="27" presetID="42" presetClass="path" presetSubtype="0" accel="50000" decel="50000" fill="hold" grpId="0" nodeType="withEffect">
                                  <p:stCondLst>
                                    <p:cond delay="2000"/>
                                  </p:stCondLst>
                                  <p:childTnLst>
                                    <p:animMotion origin="layout" path="M -6.25E-7 -7.40741E-7 L 0.12253 0.15995 " pathEditMode="relative" rAng="0" ptsTypes="AA">
                                      <p:cBhvr>
                                        <p:cTn id="28" dur="1000" fill="hold"/>
                                        <p:tgtEl>
                                          <p:spTgt spid="13"/>
                                        </p:tgtEl>
                                        <p:attrNameLst>
                                          <p:attrName>ppt_x</p:attrName>
                                          <p:attrName>ppt_y</p:attrName>
                                        </p:attrNameLst>
                                      </p:cBhvr>
                                      <p:rCtr x="6120" y="7986"/>
                                    </p:animMotion>
                                  </p:childTnLst>
                                </p:cTn>
                              </p:par>
                              <p:par>
                                <p:cTn id="29" presetID="10" presetClass="exit" presetSubtype="0" fill="hold" grpId="0" nodeType="withEffect">
                                  <p:stCondLst>
                                    <p:cond delay="0"/>
                                  </p:stCondLst>
                                  <p:childTnLst>
                                    <p:animEffect transition="out" filter="fade">
                                      <p:cBhvr>
                                        <p:cTn id="30" dur="500"/>
                                        <p:tgtEl>
                                          <p:spTgt spid="12"/>
                                        </p:tgtEl>
                                      </p:cBhvr>
                                    </p:animEffect>
                                    <p:set>
                                      <p:cBhvr>
                                        <p:cTn id="31"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12" grpId="0" animBg="1"/>
      <p:bldP spid="13" grpId="0" animBg="1"/>
      <p:bldP spid="14" grpId="0" animBg="1"/>
      <p:bldP spid="16" grpId="0" animBg="1"/>
      <p:bldP spid="18"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0701" y="228600"/>
            <a:ext cx="11149013" cy="553998"/>
          </a:xfrm>
        </p:spPr>
        <p:txBody>
          <a:bodyPr/>
          <a:lstStyle/>
          <a:p>
            <a:r>
              <a:rPr lang="en-US" sz="4000" dirty="0"/>
              <a:t>SQL Database Architecture</a:t>
            </a:r>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491" b="1379"/>
          <a:stretch/>
        </p:blipFill>
        <p:spPr bwMode="auto">
          <a:xfrm>
            <a:off x="2833903" y="1447800"/>
            <a:ext cx="6524194" cy="5181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344782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937640" y="2180069"/>
            <a:ext cx="3212327" cy="2909990"/>
          </a:xfrm>
          <a:prstGeom prst="rect">
            <a:avLst/>
          </a:prstGeom>
        </p:spPr>
      </p:pic>
      <p:sp>
        <p:nvSpPr>
          <p:cNvPr id="5" name="Title 1"/>
          <p:cNvSpPr txBox="1">
            <a:spLocks/>
          </p:cNvSpPr>
          <p:nvPr/>
        </p:nvSpPr>
        <p:spPr>
          <a:xfrm>
            <a:off x="4665029" y="2487169"/>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a:solidFill>
                  <a:srgbClr val="5F5F5F">
                    <a:alpha val="99000"/>
                  </a:srgbClr>
                </a:solidFill>
              </a:rPr>
              <a:t>Blob storage</a:t>
            </a:r>
          </a:p>
        </p:txBody>
      </p:sp>
      <p:sp>
        <p:nvSpPr>
          <p:cNvPr id="7" name="Content Placeholder 2"/>
          <p:cNvSpPr txBox="1">
            <a:spLocks/>
          </p:cNvSpPr>
          <p:nvPr/>
        </p:nvSpPr>
        <p:spPr>
          <a:xfrm>
            <a:off x="4688033" y="3286125"/>
            <a:ext cx="6380162" cy="125572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lnSpc>
                <a:spcPct val="100000"/>
              </a:lnSpc>
              <a:buNone/>
            </a:pPr>
            <a:r>
              <a:rPr lang="en-US" sz="2400" dirty="0">
                <a:solidFill>
                  <a:srgbClr val="5F5F5F">
                    <a:alpha val="99000"/>
                  </a:srgbClr>
                </a:solidFill>
                <a:latin typeface="Segoe UI"/>
              </a:rPr>
              <a:t>Highly available, scalable and secure file system</a:t>
            </a:r>
          </a:p>
          <a:p>
            <a:pPr marL="3175" indent="0">
              <a:lnSpc>
                <a:spcPct val="100000"/>
              </a:lnSpc>
              <a:buNone/>
            </a:pPr>
            <a:r>
              <a:rPr lang="en-US" sz="2400" dirty="0">
                <a:solidFill>
                  <a:srgbClr val="5F5F5F">
                    <a:alpha val="99000"/>
                  </a:srgbClr>
                </a:solidFill>
                <a:latin typeface="Segoe UI"/>
              </a:rPr>
              <a:t>Blobs can be exposed publically over http</a:t>
            </a:r>
          </a:p>
          <a:p>
            <a:pPr marL="3175" indent="0">
              <a:lnSpc>
                <a:spcPct val="100000"/>
              </a:lnSpc>
              <a:buNone/>
            </a:pPr>
            <a:r>
              <a:rPr lang="en-US" sz="2400" dirty="0">
                <a:solidFill>
                  <a:srgbClr val="5F5F5F">
                    <a:alpha val="99000"/>
                  </a:srgbClr>
                </a:solidFill>
                <a:latin typeface="Segoe UI"/>
              </a:rPr>
              <a:t>Continuous geo-replication across datacenters</a:t>
            </a:r>
          </a:p>
        </p:txBody>
      </p:sp>
    </p:spTree>
    <p:extLst>
      <p:ext uri="{BB962C8B-B14F-4D97-AF65-F5344CB8AC3E}">
        <p14:creationId xmlns:p14="http://schemas.microsoft.com/office/powerpoint/2010/main" val="22973546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7">
                                            <p:txEl>
                                              <p:pRg st="0" end="0"/>
                                            </p:txEl>
                                          </p:spTgt>
                                        </p:tgtEl>
                                        <p:attrNameLst>
                                          <p:attrName>style.visibility</p:attrName>
                                        </p:attrNameLst>
                                      </p:cBhvr>
                                      <p:to>
                                        <p:strVal val="visible"/>
                                      </p:to>
                                    </p:set>
                                    <p:animEffect transition="in" filter="fade">
                                      <p:cBhvr>
                                        <p:cTn id="15" dur="250"/>
                                        <p:tgtEl>
                                          <p:spTgt spid="7">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7">
                                            <p:txEl>
                                              <p:pRg st="1" end="1"/>
                                            </p:txEl>
                                          </p:spTgt>
                                        </p:tgtEl>
                                        <p:attrNameLst>
                                          <p:attrName>style.visibility</p:attrName>
                                        </p:attrNameLst>
                                      </p:cBhvr>
                                      <p:to>
                                        <p:strVal val="visible"/>
                                      </p:to>
                                    </p:set>
                                    <p:animEffect transition="in" filter="fade">
                                      <p:cBhvr>
                                        <p:cTn id="19" dur="250"/>
                                        <p:tgtEl>
                                          <p:spTgt spid="7">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7">
                                            <p:txEl>
                                              <p:pRg st="2" end="2"/>
                                            </p:txEl>
                                          </p:spTgt>
                                        </p:tgtEl>
                                        <p:attrNameLst>
                                          <p:attrName>style.visibility</p:attrName>
                                        </p:attrNameLst>
                                      </p:cBhvr>
                                      <p:to>
                                        <p:strVal val="visible"/>
                                      </p:to>
                                    </p:set>
                                    <p:animEffect transition="in" filter="fade">
                                      <p:cBhvr>
                                        <p:cTn id="23" dur="25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build="p"/>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80283" y="2506525"/>
            <a:ext cx="10237787" cy="1994392"/>
          </a:xfrm>
        </p:spPr>
        <p:txBody>
          <a:bodyPr/>
          <a:lstStyle/>
          <a:p>
            <a:r>
              <a:rPr lang="en-US" dirty="0" smtClean="0">
                <a:gradFill>
                  <a:gsLst>
                    <a:gs pos="1250">
                      <a:srgbClr val="FFFFFF"/>
                    </a:gs>
                    <a:gs pos="100000">
                      <a:srgbClr val="FFFFFF"/>
                    </a:gs>
                  </a:gsLst>
                  <a:lin ang="5400000" scaled="0"/>
                </a:gradFill>
              </a:rPr>
              <a:t>Deploying a </a:t>
            </a:r>
            <a:r>
              <a:rPr lang="en-US" dirty="0" err="1" smtClean="0">
                <a:gradFill>
                  <a:gsLst>
                    <a:gs pos="1250">
                      <a:srgbClr val="FFFFFF"/>
                    </a:gs>
                    <a:gs pos="100000">
                      <a:srgbClr val="FFFFFF"/>
                    </a:gs>
                  </a:gsLst>
                  <a:lin ang="5400000" scaled="0"/>
                </a:gradFill>
              </a:rPr>
              <a:t>Sql</a:t>
            </a:r>
            <a:r>
              <a:rPr lang="en-US" dirty="0" smtClean="0">
                <a:gradFill>
                  <a:gsLst>
                    <a:gs pos="1250">
                      <a:srgbClr val="FFFFFF"/>
                    </a:gs>
                    <a:gs pos="100000">
                      <a:srgbClr val="FFFFFF"/>
                    </a:gs>
                  </a:gsLst>
                  <a:lin ang="5400000" scaled="0"/>
                </a:gradFill>
              </a:rPr>
              <a:t> </a:t>
            </a:r>
            <a:br>
              <a:rPr lang="en-US" dirty="0" smtClean="0">
                <a:gradFill>
                  <a:gsLst>
                    <a:gs pos="1250">
                      <a:srgbClr val="FFFFFF"/>
                    </a:gs>
                    <a:gs pos="100000">
                      <a:srgbClr val="FFFFFF"/>
                    </a:gs>
                  </a:gsLst>
                  <a:lin ang="5400000" scaled="0"/>
                </a:gradFill>
              </a:rPr>
            </a:br>
            <a:r>
              <a:rPr lang="en-US" dirty="0" smtClean="0">
                <a:gradFill>
                  <a:gsLst>
                    <a:gs pos="1250">
                      <a:srgbClr val="FFFFFF"/>
                    </a:gs>
                    <a:gs pos="100000">
                      <a:srgbClr val="FFFFFF"/>
                    </a:gs>
                  </a:gsLst>
                  <a:lin ang="5400000" scaled="0"/>
                </a:gradFill>
              </a:rPr>
              <a:t>Database</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33936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Cache</a:t>
            </a:r>
            <a:endParaRPr lang="en-US" dirty="0"/>
          </a:p>
        </p:txBody>
      </p:sp>
    </p:spTree>
    <p:extLst>
      <p:ext uri="{BB962C8B-B14F-4D97-AF65-F5344CB8AC3E}">
        <p14:creationId xmlns:p14="http://schemas.microsoft.com/office/powerpoint/2010/main" val="1359768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190309" y="2334640"/>
            <a:ext cx="3055556" cy="3055556"/>
          </a:xfrm>
          <a:prstGeom prst="rect">
            <a:avLst/>
          </a:prstGeom>
        </p:spPr>
      </p:pic>
      <p:sp>
        <p:nvSpPr>
          <p:cNvPr id="5" name="Title 1"/>
          <p:cNvSpPr txBox="1">
            <a:spLocks/>
          </p:cNvSpPr>
          <p:nvPr/>
        </p:nvSpPr>
        <p:spPr>
          <a:xfrm>
            <a:off x="4665029" y="2487169"/>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a:solidFill>
                  <a:srgbClr val="5F5F5F">
                    <a:alpha val="99000"/>
                  </a:srgbClr>
                </a:solidFill>
              </a:rPr>
              <a:t>Cache</a:t>
            </a:r>
          </a:p>
        </p:txBody>
      </p:sp>
      <p:sp>
        <p:nvSpPr>
          <p:cNvPr id="6" name="Content Placeholder 2"/>
          <p:cNvSpPr txBox="1">
            <a:spLocks/>
          </p:cNvSpPr>
          <p:nvPr/>
        </p:nvSpPr>
        <p:spPr>
          <a:xfrm>
            <a:off x="4688033" y="3286126"/>
            <a:ext cx="6380162" cy="169892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lnSpc>
                <a:spcPct val="100000"/>
              </a:lnSpc>
              <a:buNone/>
            </a:pPr>
            <a:r>
              <a:rPr lang="en-US" sz="2400" dirty="0">
                <a:solidFill>
                  <a:srgbClr val="5F5F5F">
                    <a:alpha val="99000"/>
                  </a:srgbClr>
                </a:solidFill>
                <a:latin typeface="Segoe UI"/>
              </a:rPr>
              <a:t>Low latency, in-memory distributed cache</a:t>
            </a:r>
          </a:p>
          <a:p>
            <a:pPr marL="3175" indent="0">
              <a:lnSpc>
                <a:spcPct val="100000"/>
              </a:lnSpc>
              <a:buNone/>
            </a:pPr>
            <a:r>
              <a:rPr lang="en-US" sz="2400" dirty="0">
                <a:solidFill>
                  <a:srgbClr val="5F5F5F">
                    <a:alpha val="99000"/>
                  </a:srgbClr>
                </a:solidFill>
                <a:latin typeface="Segoe UI"/>
              </a:rPr>
              <a:t>Dynamically grow and shrink cache size</a:t>
            </a:r>
          </a:p>
          <a:p>
            <a:pPr marL="3175" indent="0">
              <a:lnSpc>
                <a:spcPct val="100000"/>
              </a:lnSpc>
              <a:buNone/>
            </a:pPr>
            <a:r>
              <a:rPr lang="en-US" sz="2400" dirty="0">
                <a:solidFill>
                  <a:srgbClr val="5F5F5F">
                    <a:alpha val="99000"/>
                  </a:srgbClr>
                </a:solidFill>
                <a:latin typeface="Segoe UI"/>
              </a:rPr>
              <a:t>High availability support</a:t>
            </a:r>
          </a:p>
          <a:p>
            <a:pPr marL="3175" indent="0">
              <a:lnSpc>
                <a:spcPct val="100000"/>
              </a:lnSpc>
              <a:buNone/>
            </a:pPr>
            <a:r>
              <a:rPr lang="en-US" sz="2400" dirty="0" err="1">
                <a:solidFill>
                  <a:srgbClr val="5F5F5F">
                    <a:alpha val="99000"/>
                  </a:srgbClr>
                </a:solidFill>
                <a:latin typeface="Segoe UI"/>
              </a:rPr>
              <a:t>Memcached</a:t>
            </a:r>
            <a:r>
              <a:rPr lang="en-US" sz="2400" dirty="0">
                <a:solidFill>
                  <a:srgbClr val="5F5F5F">
                    <a:alpha val="99000"/>
                  </a:srgbClr>
                </a:solidFill>
                <a:latin typeface="Segoe UI"/>
              </a:rPr>
              <a:t> protocol support</a:t>
            </a:r>
          </a:p>
        </p:txBody>
      </p:sp>
    </p:spTree>
    <p:extLst>
      <p:ext uri="{BB962C8B-B14F-4D97-AF65-F5344CB8AC3E}">
        <p14:creationId xmlns:p14="http://schemas.microsoft.com/office/powerpoint/2010/main" val="42805880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250"/>
                                        <p:tgtEl>
                                          <p:spTgt spid="6">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6">
                                            <p:txEl>
                                              <p:pRg st="1" end="1"/>
                                            </p:txEl>
                                          </p:spTgt>
                                        </p:tgtEl>
                                        <p:attrNameLst>
                                          <p:attrName>style.visibility</p:attrName>
                                        </p:attrNameLst>
                                      </p:cBhvr>
                                      <p:to>
                                        <p:strVal val="visible"/>
                                      </p:to>
                                    </p:set>
                                    <p:animEffect transition="in" filter="fade">
                                      <p:cBhvr>
                                        <p:cTn id="19" dur="250"/>
                                        <p:tgtEl>
                                          <p:spTgt spid="6">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6">
                                            <p:txEl>
                                              <p:pRg st="2" end="2"/>
                                            </p:txEl>
                                          </p:spTgt>
                                        </p:tgtEl>
                                        <p:attrNameLst>
                                          <p:attrName>style.visibility</p:attrName>
                                        </p:attrNameLst>
                                      </p:cBhvr>
                                      <p:to>
                                        <p:strVal val="visible"/>
                                      </p:to>
                                    </p:set>
                                    <p:animEffect transition="in" filter="fade">
                                      <p:cBhvr>
                                        <p:cTn id="23" dur="250"/>
                                        <p:tgtEl>
                                          <p:spTgt spid="6">
                                            <p:txEl>
                                              <p:pRg st="2" end="2"/>
                                            </p:txEl>
                                          </p:spTgt>
                                        </p:tgtEl>
                                      </p:cBhvr>
                                    </p:animEffect>
                                  </p:childTnLst>
                                </p:cTn>
                              </p:par>
                            </p:childTnLst>
                          </p:cTn>
                        </p:par>
                        <p:par>
                          <p:cTn id="24" fill="hold">
                            <p:stCondLst>
                              <p:cond delay="2500"/>
                            </p:stCondLst>
                            <p:childTnLst>
                              <p:par>
                                <p:cTn id="25" presetID="10" presetClass="entr" presetSubtype="0" fill="hold" grpId="0" nodeType="afterEffect">
                                  <p:stCondLst>
                                    <p:cond delay="250"/>
                                  </p:stCondLst>
                                  <p:childTnLst>
                                    <p:set>
                                      <p:cBhvr>
                                        <p:cTn id="26" dur="1" fill="hold">
                                          <p:stCondLst>
                                            <p:cond delay="0"/>
                                          </p:stCondLst>
                                        </p:cTn>
                                        <p:tgtEl>
                                          <p:spTgt spid="6">
                                            <p:txEl>
                                              <p:pRg st="3" end="3"/>
                                            </p:txEl>
                                          </p:spTgt>
                                        </p:tgtEl>
                                        <p:attrNameLst>
                                          <p:attrName>style.visibility</p:attrName>
                                        </p:attrNameLst>
                                      </p:cBhvr>
                                      <p:to>
                                        <p:strVal val="visible"/>
                                      </p:to>
                                    </p:set>
                                    <p:animEffect transition="in" filter="fade">
                                      <p:cBhvr>
                                        <p:cTn id="27" dur="25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uild="p"/>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TextBox 112"/>
          <p:cNvSpPr txBox="1"/>
          <p:nvPr/>
        </p:nvSpPr>
        <p:spPr>
          <a:xfrm>
            <a:off x="1459730" y="2463806"/>
            <a:ext cx="3635453" cy="295466"/>
          </a:xfrm>
          <a:prstGeom prst="rect">
            <a:avLst/>
          </a:prstGeom>
          <a:noFill/>
        </p:spPr>
        <p:txBody>
          <a:bodyPr wrap="square" lIns="0" tIns="0" rIns="0" bIns="0" rtlCol="0">
            <a:spAutoFit/>
          </a:bodyPr>
          <a:lstStyle/>
          <a:p>
            <a:pPr defTabSz="1218987">
              <a:lnSpc>
                <a:spcPct val="80000"/>
              </a:lnSpc>
              <a:buSzPct val="80000"/>
            </a:pPr>
            <a:r>
              <a:rPr lang="en-US" sz="2400" dirty="0">
                <a:solidFill>
                  <a:srgbClr val="5F5F5F">
                    <a:alpha val="99000"/>
                  </a:srgbClr>
                </a:solidFill>
              </a:rPr>
              <a:t>Web Roles</a:t>
            </a:r>
          </a:p>
        </p:txBody>
      </p:sp>
      <p:grpSp>
        <p:nvGrpSpPr>
          <p:cNvPr id="24" name="Group 23"/>
          <p:cNvGrpSpPr/>
          <p:nvPr/>
        </p:nvGrpSpPr>
        <p:grpSpPr>
          <a:xfrm>
            <a:off x="1447801" y="2840257"/>
            <a:ext cx="2211227" cy="1486146"/>
            <a:chOff x="1446212" y="3738997"/>
            <a:chExt cx="2211227" cy="1486146"/>
          </a:xfrm>
        </p:grpSpPr>
        <p:sp>
          <p:nvSpPr>
            <p:cNvPr id="71" name="Rounded Rectangle 70"/>
            <p:cNvSpPr/>
            <p:nvPr/>
          </p:nvSpPr>
          <p:spPr bwMode="auto">
            <a:xfrm>
              <a:off x="1446212" y="3738997"/>
              <a:ext cx="2211227" cy="1486146"/>
            </a:xfrm>
            <a:prstGeom prst="roundRect">
              <a:avLst>
                <a:gd name="adj" fmla="val 568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74" name="Picture 7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03038" y="3864023"/>
              <a:ext cx="692412" cy="626332"/>
            </a:xfrm>
            <a:prstGeom prst="rect">
              <a:avLst/>
            </a:prstGeom>
          </p:spPr>
        </p:pic>
      </p:grpSp>
      <p:grpSp>
        <p:nvGrpSpPr>
          <p:cNvPr id="25" name="Group 24"/>
          <p:cNvGrpSpPr/>
          <p:nvPr/>
        </p:nvGrpSpPr>
        <p:grpSpPr>
          <a:xfrm>
            <a:off x="3810001" y="2840257"/>
            <a:ext cx="2211227" cy="1486146"/>
            <a:chOff x="3808412" y="3738997"/>
            <a:chExt cx="2211227" cy="1486146"/>
          </a:xfrm>
        </p:grpSpPr>
        <p:sp>
          <p:nvSpPr>
            <p:cNvPr id="75" name="Rounded Rectangle 74"/>
            <p:cNvSpPr/>
            <p:nvPr/>
          </p:nvSpPr>
          <p:spPr bwMode="auto">
            <a:xfrm>
              <a:off x="3808412" y="3738997"/>
              <a:ext cx="2211227" cy="1486146"/>
            </a:xfrm>
            <a:prstGeom prst="roundRect">
              <a:avLst>
                <a:gd name="adj" fmla="val 568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76" name="Picture 7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65238" y="3864023"/>
              <a:ext cx="692412" cy="626332"/>
            </a:xfrm>
            <a:prstGeom prst="rect">
              <a:avLst/>
            </a:prstGeom>
          </p:spPr>
        </p:pic>
      </p:grpSp>
      <p:grpSp>
        <p:nvGrpSpPr>
          <p:cNvPr id="26" name="Group 25"/>
          <p:cNvGrpSpPr/>
          <p:nvPr/>
        </p:nvGrpSpPr>
        <p:grpSpPr>
          <a:xfrm>
            <a:off x="6167775" y="2840257"/>
            <a:ext cx="2211227" cy="1486146"/>
            <a:chOff x="6166186" y="3738997"/>
            <a:chExt cx="2211227" cy="1486146"/>
          </a:xfrm>
        </p:grpSpPr>
        <p:sp>
          <p:nvSpPr>
            <p:cNvPr id="77" name="Rounded Rectangle 76"/>
            <p:cNvSpPr/>
            <p:nvPr/>
          </p:nvSpPr>
          <p:spPr bwMode="auto">
            <a:xfrm>
              <a:off x="6166186" y="3738997"/>
              <a:ext cx="2211227" cy="1486146"/>
            </a:xfrm>
            <a:prstGeom prst="roundRect">
              <a:avLst>
                <a:gd name="adj" fmla="val 568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05" name="Picture 10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23012" y="3864023"/>
              <a:ext cx="692412" cy="626332"/>
            </a:xfrm>
            <a:prstGeom prst="rect">
              <a:avLst/>
            </a:prstGeom>
          </p:spPr>
        </p:pic>
      </p:grpSp>
      <p:grpSp>
        <p:nvGrpSpPr>
          <p:cNvPr id="27" name="Group 26"/>
          <p:cNvGrpSpPr/>
          <p:nvPr/>
        </p:nvGrpSpPr>
        <p:grpSpPr>
          <a:xfrm>
            <a:off x="8529975" y="2840257"/>
            <a:ext cx="2211227" cy="1486146"/>
            <a:chOff x="8528386" y="3738997"/>
            <a:chExt cx="2211227" cy="1486146"/>
          </a:xfrm>
        </p:grpSpPr>
        <p:sp>
          <p:nvSpPr>
            <p:cNvPr id="106" name="Rounded Rectangle 105"/>
            <p:cNvSpPr/>
            <p:nvPr/>
          </p:nvSpPr>
          <p:spPr bwMode="auto">
            <a:xfrm>
              <a:off x="8528386" y="3738997"/>
              <a:ext cx="2211227" cy="1486146"/>
            </a:xfrm>
            <a:prstGeom prst="roundRect">
              <a:avLst>
                <a:gd name="adj" fmla="val 568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07" name="Picture 10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85212" y="3864023"/>
              <a:ext cx="692412" cy="626332"/>
            </a:xfrm>
            <a:prstGeom prst="rect">
              <a:avLst/>
            </a:prstGeom>
          </p:spPr>
        </p:pic>
      </p:grpSp>
      <p:grpSp>
        <p:nvGrpSpPr>
          <p:cNvPr id="28" name="Group 27"/>
          <p:cNvGrpSpPr/>
          <p:nvPr/>
        </p:nvGrpSpPr>
        <p:grpSpPr>
          <a:xfrm>
            <a:off x="1447801" y="3591615"/>
            <a:ext cx="9293401" cy="734788"/>
            <a:chOff x="1446212" y="4490355"/>
            <a:chExt cx="9293401" cy="734788"/>
          </a:xfrm>
        </p:grpSpPr>
        <p:sp>
          <p:nvSpPr>
            <p:cNvPr id="21" name="Round Same Side Corner Rectangle 20"/>
            <p:cNvSpPr/>
            <p:nvPr/>
          </p:nvSpPr>
          <p:spPr bwMode="auto">
            <a:xfrm rot="10800000" flipV="1">
              <a:off x="1446212" y="4490355"/>
              <a:ext cx="2211227" cy="734788"/>
            </a:xfrm>
            <a:prstGeom prst="round2SameRect">
              <a:avLst>
                <a:gd name="adj1" fmla="val 0"/>
                <a:gd name="adj2" fmla="val 13333"/>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118" name="Round Same Side Corner Rectangle 117"/>
            <p:cNvSpPr/>
            <p:nvPr/>
          </p:nvSpPr>
          <p:spPr bwMode="auto">
            <a:xfrm rot="10800000" flipV="1">
              <a:off x="3803986" y="4490355"/>
              <a:ext cx="2211227" cy="734788"/>
            </a:xfrm>
            <a:prstGeom prst="round2SameRect">
              <a:avLst>
                <a:gd name="adj1" fmla="val 0"/>
                <a:gd name="adj2" fmla="val 13333"/>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120" name="Round Same Side Corner Rectangle 119"/>
            <p:cNvSpPr/>
            <p:nvPr/>
          </p:nvSpPr>
          <p:spPr bwMode="auto">
            <a:xfrm rot="10800000" flipV="1">
              <a:off x="6161760" y="4490355"/>
              <a:ext cx="2211227" cy="734788"/>
            </a:xfrm>
            <a:prstGeom prst="round2SameRect">
              <a:avLst>
                <a:gd name="adj1" fmla="val 0"/>
                <a:gd name="adj2" fmla="val 13333"/>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122" name="Round Same Side Corner Rectangle 121"/>
            <p:cNvSpPr/>
            <p:nvPr/>
          </p:nvSpPr>
          <p:spPr bwMode="auto">
            <a:xfrm rot="10800000" flipV="1">
              <a:off x="8528386" y="4490355"/>
              <a:ext cx="2211227" cy="734788"/>
            </a:xfrm>
            <a:prstGeom prst="round2SameRect">
              <a:avLst>
                <a:gd name="adj1" fmla="val 0"/>
                <a:gd name="adj2" fmla="val 13333"/>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endParaRPr lang="en-US" sz="2400" dirty="0">
                <a:gradFill>
                  <a:gsLst>
                    <a:gs pos="0">
                      <a:srgbClr val="FFFFFF"/>
                    </a:gs>
                    <a:gs pos="100000">
                      <a:srgbClr val="FFFFFF"/>
                    </a:gs>
                  </a:gsLst>
                  <a:lin ang="5400000" scaled="0"/>
                </a:gradFill>
              </a:endParaRPr>
            </a:p>
          </p:txBody>
        </p:sp>
      </p:grpSp>
      <p:grpSp>
        <p:nvGrpSpPr>
          <p:cNvPr id="29" name="Group 28"/>
          <p:cNvGrpSpPr/>
          <p:nvPr/>
        </p:nvGrpSpPr>
        <p:grpSpPr>
          <a:xfrm>
            <a:off x="1604626" y="3737410"/>
            <a:ext cx="9136575" cy="443198"/>
            <a:chOff x="1603037" y="4636150"/>
            <a:chExt cx="9136575" cy="443198"/>
          </a:xfrm>
        </p:grpSpPr>
        <p:sp>
          <p:nvSpPr>
            <p:cNvPr id="22" name="TextBox 21"/>
            <p:cNvSpPr txBox="1"/>
            <p:nvPr/>
          </p:nvSpPr>
          <p:spPr>
            <a:xfrm>
              <a:off x="1603037" y="4636150"/>
              <a:ext cx="2054401" cy="443198"/>
            </a:xfrm>
            <a:prstGeom prst="rect">
              <a:avLst/>
            </a:prstGeom>
            <a:noFill/>
          </p:spPr>
          <p:txBody>
            <a:bodyPr wrap="square" lIns="0" tIns="0" rIns="0" bIns="0" rtlCol="0">
              <a:spAutoFit/>
            </a:bodyPr>
            <a:lstStyle/>
            <a:p>
              <a:pPr defTabSz="1218987">
                <a:lnSpc>
                  <a:spcPct val="90000"/>
                </a:lnSpc>
                <a:spcBef>
                  <a:spcPct val="20000"/>
                </a:spcBef>
                <a:buSzPct val="80000"/>
              </a:pPr>
              <a:r>
                <a:rPr lang="en-US" sz="3200" dirty="0">
                  <a:solidFill>
                    <a:srgbClr val="FFFFFF">
                      <a:alpha val="99000"/>
                    </a:srgbClr>
                  </a:solidFill>
                  <a:latin typeface="Segoe UI Light"/>
                </a:rPr>
                <a:t>300MB</a:t>
              </a:r>
            </a:p>
          </p:txBody>
        </p:sp>
        <p:sp>
          <p:nvSpPr>
            <p:cNvPr id="119" name="TextBox 118"/>
            <p:cNvSpPr txBox="1"/>
            <p:nvPr/>
          </p:nvSpPr>
          <p:spPr>
            <a:xfrm>
              <a:off x="3960811" y="4636150"/>
              <a:ext cx="2058827" cy="443198"/>
            </a:xfrm>
            <a:prstGeom prst="rect">
              <a:avLst/>
            </a:prstGeom>
            <a:noFill/>
          </p:spPr>
          <p:txBody>
            <a:bodyPr wrap="square" lIns="0" tIns="0" rIns="0" bIns="0" rtlCol="0">
              <a:spAutoFit/>
            </a:bodyPr>
            <a:lstStyle/>
            <a:p>
              <a:pPr defTabSz="1218987">
                <a:lnSpc>
                  <a:spcPct val="90000"/>
                </a:lnSpc>
                <a:spcBef>
                  <a:spcPct val="20000"/>
                </a:spcBef>
                <a:buSzPct val="80000"/>
              </a:pPr>
              <a:r>
                <a:rPr lang="en-US" sz="3200" dirty="0">
                  <a:solidFill>
                    <a:srgbClr val="FFFFFF">
                      <a:alpha val="99000"/>
                    </a:srgbClr>
                  </a:solidFill>
                  <a:latin typeface="Segoe UI Light"/>
                </a:rPr>
                <a:t>300MB</a:t>
              </a:r>
            </a:p>
          </p:txBody>
        </p:sp>
        <p:sp>
          <p:nvSpPr>
            <p:cNvPr id="121" name="TextBox 120"/>
            <p:cNvSpPr txBox="1"/>
            <p:nvPr/>
          </p:nvSpPr>
          <p:spPr>
            <a:xfrm>
              <a:off x="6318585" y="4636150"/>
              <a:ext cx="2054401" cy="443198"/>
            </a:xfrm>
            <a:prstGeom prst="rect">
              <a:avLst/>
            </a:prstGeom>
            <a:noFill/>
          </p:spPr>
          <p:txBody>
            <a:bodyPr wrap="square" lIns="0" tIns="0" rIns="0" bIns="0" rtlCol="0">
              <a:spAutoFit/>
            </a:bodyPr>
            <a:lstStyle/>
            <a:p>
              <a:pPr defTabSz="1218987">
                <a:lnSpc>
                  <a:spcPct val="90000"/>
                </a:lnSpc>
                <a:spcBef>
                  <a:spcPct val="20000"/>
                </a:spcBef>
                <a:buSzPct val="80000"/>
              </a:pPr>
              <a:r>
                <a:rPr lang="en-US" sz="3200" dirty="0">
                  <a:solidFill>
                    <a:srgbClr val="FFFFFF">
                      <a:alpha val="99000"/>
                    </a:srgbClr>
                  </a:solidFill>
                  <a:latin typeface="Segoe UI Light"/>
                </a:rPr>
                <a:t>300MB</a:t>
              </a:r>
            </a:p>
          </p:txBody>
        </p:sp>
        <p:sp>
          <p:nvSpPr>
            <p:cNvPr id="123" name="TextBox 122"/>
            <p:cNvSpPr txBox="1"/>
            <p:nvPr/>
          </p:nvSpPr>
          <p:spPr>
            <a:xfrm>
              <a:off x="8676359" y="4636150"/>
              <a:ext cx="2063253" cy="443198"/>
            </a:xfrm>
            <a:prstGeom prst="rect">
              <a:avLst/>
            </a:prstGeom>
            <a:noFill/>
          </p:spPr>
          <p:txBody>
            <a:bodyPr wrap="square" lIns="0" tIns="0" rIns="0" bIns="0" rtlCol="0">
              <a:spAutoFit/>
            </a:bodyPr>
            <a:lstStyle/>
            <a:p>
              <a:pPr defTabSz="1218987">
                <a:lnSpc>
                  <a:spcPct val="90000"/>
                </a:lnSpc>
                <a:spcBef>
                  <a:spcPct val="20000"/>
                </a:spcBef>
                <a:buSzPct val="80000"/>
              </a:pPr>
              <a:r>
                <a:rPr lang="en-US" sz="3200" dirty="0">
                  <a:solidFill>
                    <a:srgbClr val="FFFFFF">
                      <a:alpha val="99000"/>
                    </a:srgbClr>
                  </a:solidFill>
                  <a:latin typeface="Segoe UI Light"/>
                </a:rPr>
                <a:t>300MB</a:t>
              </a:r>
            </a:p>
          </p:txBody>
        </p:sp>
      </p:grpSp>
      <p:sp>
        <p:nvSpPr>
          <p:cNvPr id="30" name="Rounded Rectangle 29"/>
          <p:cNvSpPr/>
          <p:nvPr/>
        </p:nvSpPr>
        <p:spPr bwMode="auto">
          <a:xfrm>
            <a:off x="1095604" y="3623108"/>
            <a:ext cx="9927771" cy="1519721"/>
          </a:xfrm>
          <a:prstGeom prst="roundRect">
            <a:avLst>
              <a:gd name="adj" fmla="val 12627"/>
            </a:avLst>
          </a:prstGeom>
          <a:noFill/>
          <a:ln w="57150">
            <a:solidFill>
              <a:srgbClr val="00AEEF"/>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5" name="TextBox 124"/>
          <p:cNvSpPr txBox="1"/>
          <p:nvPr/>
        </p:nvSpPr>
        <p:spPr>
          <a:xfrm>
            <a:off x="1459729" y="4561094"/>
            <a:ext cx="5340302" cy="393954"/>
          </a:xfrm>
          <a:prstGeom prst="rect">
            <a:avLst/>
          </a:prstGeom>
          <a:noFill/>
        </p:spPr>
        <p:txBody>
          <a:bodyPr wrap="square" lIns="0" tIns="0" rIns="0" bIns="0" rtlCol="0">
            <a:spAutoFit/>
          </a:bodyPr>
          <a:lstStyle/>
          <a:p>
            <a:pPr defTabSz="1218987">
              <a:lnSpc>
                <a:spcPct val="80000"/>
              </a:lnSpc>
              <a:buSzPct val="80000"/>
            </a:pPr>
            <a:r>
              <a:rPr lang="en-US" sz="3200" dirty="0">
                <a:solidFill>
                  <a:srgbClr val="5F5F5F">
                    <a:alpha val="99000"/>
                  </a:srgbClr>
                </a:solidFill>
                <a:latin typeface="Segoe UI Light"/>
              </a:rPr>
              <a:t>1.2GB Distributed Cache</a:t>
            </a:r>
          </a:p>
        </p:txBody>
      </p:sp>
      <p:sp>
        <p:nvSpPr>
          <p:cNvPr id="31" name="Title 3"/>
          <p:cNvSpPr txBox="1">
            <a:spLocks/>
          </p:cNvSpPr>
          <p:nvPr/>
        </p:nvSpPr>
        <p:spPr>
          <a:xfrm>
            <a:off x="520701" y="402777"/>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dirty="0">
                <a:solidFill>
                  <a:srgbClr val="FFFFFF"/>
                </a:solidFill>
              </a:rPr>
              <a:t>distributed cache</a:t>
            </a:r>
          </a:p>
        </p:txBody>
      </p:sp>
    </p:spTree>
    <p:extLst>
      <p:ext uri="{BB962C8B-B14F-4D97-AF65-F5344CB8AC3E}">
        <p14:creationId xmlns:p14="http://schemas.microsoft.com/office/powerpoint/2010/main" val="750153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250"/>
                                        <p:tgtEl>
                                          <p:spTgt spid="24"/>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250"/>
                                        <p:tgtEl>
                                          <p:spTgt spid="25"/>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250"/>
                                        <p:tgtEl>
                                          <p:spTgt spid="26"/>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250"/>
                                        <p:tgtEl>
                                          <p:spTgt spid="27"/>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113"/>
                                        </p:tgtEl>
                                        <p:attrNameLst>
                                          <p:attrName>style.visibility</p:attrName>
                                        </p:attrNameLst>
                                      </p:cBhvr>
                                      <p:to>
                                        <p:strVal val="visible"/>
                                      </p:to>
                                    </p:set>
                                    <p:animEffect transition="in" filter="fade">
                                      <p:cBhvr>
                                        <p:cTn id="23" dur="500"/>
                                        <p:tgtEl>
                                          <p:spTgt spid="113"/>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4" fill="hold" nodeType="clickEffect">
                                  <p:stCondLst>
                                    <p:cond delay="0"/>
                                  </p:stCondLst>
                                  <p:childTnLst>
                                    <p:set>
                                      <p:cBhvr>
                                        <p:cTn id="27" dur="1" fill="hold">
                                          <p:stCondLst>
                                            <p:cond delay="0"/>
                                          </p:stCondLst>
                                        </p:cTn>
                                        <p:tgtEl>
                                          <p:spTgt spid="28"/>
                                        </p:tgtEl>
                                        <p:attrNameLst>
                                          <p:attrName>style.visibility</p:attrName>
                                        </p:attrNameLst>
                                      </p:cBhvr>
                                      <p:to>
                                        <p:strVal val="visible"/>
                                      </p:to>
                                    </p:set>
                                    <p:animEffect transition="in" filter="wipe(down)">
                                      <p:cBhvr>
                                        <p:cTn id="28" dur="500"/>
                                        <p:tgtEl>
                                          <p:spTgt spid="28"/>
                                        </p:tgtEl>
                                      </p:cBhvr>
                                    </p:animEffect>
                                  </p:childTnLst>
                                </p:cTn>
                              </p:par>
                            </p:childTnLst>
                          </p:cTn>
                        </p:par>
                        <p:par>
                          <p:cTn id="29" fill="hold">
                            <p:stCondLst>
                              <p:cond delay="500"/>
                            </p:stCondLst>
                            <p:childTnLst>
                              <p:par>
                                <p:cTn id="30" presetID="10" presetClass="entr" presetSubtype="0" fill="hold" nodeType="afterEffect">
                                  <p:stCondLst>
                                    <p:cond delay="250"/>
                                  </p:stCondLst>
                                  <p:childTnLst>
                                    <p:set>
                                      <p:cBhvr>
                                        <p:cTn id="31" dur="1" fill="hold">
                                          <p:stCondLst>
                                            <p:cond delay="0"/>
                                          </p:stCondLst>
                                        </p:cTn>
                                        <p:tgtEl>
                                          <p:spTgt spid="29"/>
                                        </p:tgtEl>
                                        <p:attrNameLst>
                                          <p:attrName>style.visibility</p:attrName>
                                        </p:attrNameLst>
                                      </p:cBhvr>
                                      <p:to>
                                        <p:strVal val="visible"/>
                                      </p:to>
                                    </p:set>
                                    <p:animEffect transition="in" filter="fade">
                                      <p:cBhvr>
                                        <p:cTn id="32" dur="500"/>
                                        <p:tgtEl>
                                          <p:spTgt spid="29"/>
                                        </p:tgtEl>
                                      </p:cBhvr>
                                    </p:animEffect>
                                  </p:childTnLst>
                                </p:cTn>
                              </p:par>
                            </p:childTnLst>
                          </p:cTn>
                        </p:par>
                      </p:childTnLst>
                    </p:cTn>
                  </p:par>
                  <p:par>
                    <p:cTn id="33" fill="hold">
                      <p:stCondLst>
                        <p:cond delay="indefinite"/>
                      </p:stCondLst>
                      <p:childTnLst>
                        <p:par>
                          <p:cTn id="34" fill="hold">
                            <p:stCondLst>
                              <p:cond delay="0"/>
                            </p:stCondLst>
                            <p:childTnLst>
                              <p:par>
                                <p:cTn id="35" presetID="21" presetClass="entr" presetSubtype="1" fill="hold" grpId="0" nodeType="clickEffect">
                                  <p:stCondLst>
                                    <p:cond delay="0"/>
                                  </p:stCondLst>
                                  <p:childTnLst>
                                    <p:set>
                                      <p:cBhvr>
                                        <p:cTn id="36" dur="1" fill="hold">
                                          <p:stCondLst>
                                            <p:cond delay="0"/>
                                          </p:stCondLst>
                                        </p:cTn>
                                        <p:tgtEl>
                                          <p:spTgt spid="30"/>
                                        </p:tgtEl>
                                        <p:attrNameLst>
                                          <p:attrName>style.visibility</p:attrName>
                                        </p:attrNameLst>
                                      </p:cBhvr>
                                      <p:to>
                                        <p:strVal val="visible"/>
                                      </p:to>
                                    </p:set>
                                    <p:animEffect transition="in" filter="wheel(1)">
                                      <p:cBhvr>
                                        <p:cTn id="37" dur="2000"/>
                                        <p:tgtEl>
                                          <p:spTgt spid="30"/>
                                        </p:tgtEl>
                                      </p:cBhvr>
                                    </p:animEffect>
                                  </p:childTnLst>
                                </p:cTn>
                              </p:par>
                            </p:childTnLst>
                          </p:cTn>
                        </p:par>
                        <p:par>
                          <p:cTn id="38" fill="hold">
                            <p:stCondLst>
                              <p:cond delay="2000"/>
                            </p:stCondLst>
                            <p:childTnLst>
                              <p:par>
                                <p:cTn id="39" presetID="10" presetClass="entr" presetSubtype="0" fill="hold" grpId="0" nodeType="afterEffect">
                                  <p:stCondLst>
                                    <p:cond delay="0"/>
                                  </p:stCondLst>
                                  <p:childTnLst>
                                    <p:set>
                                      <p:cBhvr>
                                        <p:cTn id="40" dur="1" fill="hold">
                                          <p:stCondLst>
                                            <p:cond delay="0"/>
                                          </p:stCondLst>
                                        </p:cTn>
                                        <p:tgtEl>
                                          <p:spTgt spid="125"/>
                                        </p:tgtEl>
                                        <p:attrNameLst>
                                          <p:attrName>style.visibility</p:attrName>
                                        </p:attrNameLst>
                                      </p:cBhvr>
                                      <p:to>
                                        <p:strVal val="visible"/>
                                      </p:to>
                                    </p:set>
                                    <p:animEffect transition="in" filter="fade">
                                      <p:cBhvr>
                                        <p:cTn id="41"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3" grpId="0"/>
      <p:bldP spid="30" grpId="0" animBg="1"/>
      <p:bldP spid="12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p:cNvSpPr/>
          <p:nvPr/>
        </p:nvSpPr>
        <p:spPr bwMode="auto">
          <a:xfrm>
            <a:off x="7023998" y="4814619"/>
            <a:ext cx="1766454" cy="591443"/>
          </a:xfrm>
          <a:prstGeom prst="rect">
            <a:avLst/>
          </a:prstGeom>
          <a:solidFill>
            <a:srgbClr val="9B07B9"/>
          </a:solidFill>
          <a:ln w="9525" cap="flat" cmpd="sng" algn="ctr">
            <a:noFill/>
            <a:prstDash val="solid"/>
            <a:headEnd type="none" w="med" len="med"/>
            <a:tailEnd type="none" w="med" len="med"/>
          </a:ln>
          <a:effectLst/>
        </p:spPr>
        <p:txBody>
          <a:bodyPr vert="horz" wrap="square" lIns="114234" tIns="114234" rIns="57118" bIns="28556" numCol="1" rtlCol="0" anchor="ctr" anchorCtr="1" compatLnSpc="1">
            <a:prstTxWarp prst="textNoShape">
              <a:avLst/>
            </a:prstTxWarp>
          </a:bodyPr>
          <a:lstStyle/>
          <a:p>
            <a:pPr defTabSz="685575">
              <a:lnSpc>
                <a:spcPct val="90000"/>
              </a:lnSpc>
              <a:buSzPct val="90000"/>
            </a:pPr>
            <a:r>
              <a:rPr lang="en-US" sz="1813" dirty="0" err="1">
                <a:gradFill>
                  <a:gsLst>
                    <a:gs pos="85000">
                      <a:srgbClr val="FFFFFF"/>
                    </a:gs>
                    <a:gs pos="0">
                      <a:srgbClr val="FFFFFF"/>
                    </a:gs>
                  </a:gsLst>
                  <a:lin ang="5400000" scaled="0"/>
                </a:gradFill>
              </a:rPr>
              <a:t>PaaS</a:t>
            </a:r>
            <a:endParaRPr lang="en-US" sz="1813" dirty="0">
              <a:gradFill>
                <a:gsLst>
                  <a:gs pos="85000">
                    <a:srgbClr val="FFFFFF"/>
                  </a:gs>
                  <a:gs pos="0">
                    <a:srgbClr val="FFFFFF"/>
                  </a:gs>
                </a:gsLst>
                <a:lin ang="5400000" scaled="0"/>
              </a:gradFill>
            </a:endParaRPr>
          </a:p>
        </p:txBody>
      </p:sp>
      <p:sp>
        <p:nvSpPr>
          <p:cNvPr id="85" name="Rectangle 84"/>
          <p:cNvSpPr/>
          <p:nvPr/>
        </p:nvSpPr>
        <p:spPr bwMode="auto">
          <a:xfrm>
            <a:off x="8840941" y="4814619"/>
            <a:ext cx="1766454" cy="591443"/>
          </a:xfrm>
          <a:prstGeom prst="rect">
            <a:avLst/>
          </a:prstGeom>
          <a:solidFill>
            <a:srgbClr val="8CC600"/>
          </a:solidFill>
          <a:ln w="9525" cap="flat" cmpd="sng" algn="ctr">
            <a:noFill/>
            <a:prstDash val="solid"/>
            <a:headEnd type="none" w="med" len="med"/>
            <a:tailEnd type="none" w="med" len="med"/>
          </a:ln>
          <a:effectLst/>
        </p:spPr>
        <p:txBody>
          <a:bodyPr vert="horz" wrap="square" lIns="114234" tIns="114234" rIns="57118" bIns="28556" numCol="1" rtlCol="0" anchor="ctr" anchorCtr="1" compatLnSpc="1">
            <a:prstTxWarp prst="textNoShape">
              <a:avLst/>
            </a:prstTxWarp>
          </a:bodyPr>
          <a:lstStyle/>
          <a:p>
            <a:pPr defTabSz="685575">
              <a:lnSpc>
                <a:spcPct val="90000"/>
              </a:lnSpc>
              <a:buSzPct val="90000"/>
            </a:pPr>
            <a:r>
              <a:rPr lang="en-US" sz="1813" dirty="0" err="1">
                <a:gradFill>
                  <a:gsLst>
                    <a:gs pos="85000">
                      <a:srgbClr val="FFFFFF"/>
                    </a:gs>
                    <a:gs pos="0">
                      <a:srgbClr val="FFFFFF"/>
                    </a:gs>
                  </a:gsLst>
                  <a:lin ang="5400000" scaled="0"/>
                </a:gradFill>
              </a:rPr>
              <a:t>SaaS</a:t>
            </a:r>
            <a:endParaRPr lang="en-US" sz="1813" dirty="0">
              <a:gradFill>
                <a:gsLst>
                  <a:gs pos="85000">
                    <a:srgbClr val="FFFFFF"/>
                  </a:gs>
                  <a:gs pos="0">
                    <a:srgbClr val="FFFFFF"/>
                  </a:gs>
                </a:gsLst>
                <a:lin ang="5400000" scaled="0"/>
              </a:gradFill>
            </a:endParaRPr>
          </a:p>
        </p:txBody>
      </p:sp>
      <p:sp>
        <p:nvSpPr>
          <p:cNvPr id="78" name="Rectangle 77"/>
          <p:cNvSpPr/>
          <p:nvPr/>
        </p:nvSpPr>
        <p:spPr bwMode="auto">
          <a:xfrm>
            <a:off x="7022264" y="2584837"/>
            <a:ext cx="1766454" cy="2175271"/>
          </a:xfrm>
          <a:prstGeom prst="rect">
            <a:avLst/>
          </a:prstGeom>
          <a:solidFill>
            <a:srgbClr val="9B07B9"/>
          </a:solidFill>
          <a:ln w="9525" cap="flat" cmpd="sng" algn="ctr">
            <a:noFill/>
            <a:prstDash val="solid"/>
            <a:headEnd type="none" w="med" len="med"/>
            <a:tailEnd type="none" w="med" len="med"/>
          </a:ln>
          <a:effectLst/>
        </p:spPr>
        <p:txBody>
          <a:bodyPr vert="horz" wrap="square" lIns="114234" tIns="114234" rIns="57118" bIns="28556" numCol="1" rtlCol="0" anchor="t" anchorCtr="0" compatLnSpc="1">
            <a:prstTxWarp prst="textNoShape">
              <a:avLst/>
            </a:prstTxWarp>
          </a:bodyPr>
          <a:lstStyle/>
          <a:p>
            <a:pPr defTabSz="685575">
              <a:lnSpc>
                <a:spcPct val="90000"/>
              </a:lnSpc>
              <a:buSzPct val="90000"/>
            </a:pPr>
            <a:endParaRPr lang="en-US" sz="1813" dirty="0">
              <a:gradFill>
                <a:gsLst>
                  <a:gs pos="85000">
                    <a:srgbClr val="FFFFFF"/>
                  </a:gs>
                  <a:gs pos="0">
                    <a:srgbClr val="FFFFFF"/>
                  </a:gs>
                </a:gsLst>
                <a:lin ang="5400000" scaled="0"/>
              </a:gradFill>
            </a:endParaRPr>
          </a:p>
        </p:txBody>
      </p:sp>
      <p:sp>
        <p:nvSpPr>
          <p:cNvPr id="79" name="Rectangle 78"/>
          <p:cNvSpPr/>
          <p:nvPr/>
        </p:nvSpPr>
        <p:spPr bwMode="auto">
          <a:xfrm>
            <a:off x="8839206" y="2584837"/>
            <a:ext cx="1766454" cy="2175271"/>
          </a:xfrm>
          <a:prstGeom prst="rect">
            <a:avLst/>
          </a:prstGeom>
          <a:solidFill>
            <a:srgbClr val="8CC600"/>
          </a:solidFill>
          <a:ln w="9525" cap="flat" cmpd="sng" algn="ctr">
            <a:noFill/>
            <a:prstDash val="solid"/>
            <a:headEnd type="none" w="med" len="med"/>
            <a:tailEnd type="none" w="med" len="med"/>
          </a:ln>
          <a:effectLst/>
        </p:spPr>
        <p:txBody>
          <a:bodyPr vert="horz" wrap="square" lIns="114234" tIns="114234" rIns="57118" bIns="28556" numCol="1" rtlCol="0" anchor="t" anchorCtr="0" compatLnSpc="1">
            <a:prstTxWarp prst="textNoShape">
              <a:avLst/>
            </a:prstTxWarp>
          </a:bodyPr>
          <a:lstStyle/>
          <a:p>
            <a:pPr defTabSz="685575">
              <a:lnSpc>
                <a:spcPct val="90000"/>
              </a:lnSpc>
              <a:buSzPct val="90000"/>
            </a:pPr>
            <a:endParaRPr lang="en-US" sz="1813" dirty="0">
              <a:gradFill>
                <a:gsLst>
                  <a:gs pos="85000">
                    <a:srgbClr val="FFFFFF"/>
                  </a:gs>
                  <a:gs pos="0">
                    <a:srgbClr val="FFFFFF"/>
                  </a:gs>
                </a:gsLst>
                <a:lin ang="5400000" scaled="0"/>
              </a:gradFill>
            </a:endParaRPr>
          </a:p>
        </p:txBody>
      </p:sp>
      <p:sp>
        <p:nvSpPr>
          <p:cNvPr id="2" name="Title 1"/>
          <p:cNvSpPr>
            <a:spLocks noGrp="1"/>
          </p:cNvSpPr>
          <p:nvPr>
            <p:ph type="title"/>
          </p:nvPr>
        </p:nvSpPr>
        <p:spPr/>
        <p:txBody>
          <a:bodyPr/>
          <a:lstStyle/>
          <a:p>
            <a:r>
              <a:rPr lang="en-US" dirty="0" smtClean="0"/>
              <a:t>IT Continuum</a:t>
            </a:r>
            <a:endParaRPr lang="en-US" dirty="0">
              <a:solidFill>
                <a:schemeClr val="tx1"/>
              </a:solidFill>
            </a:endParaRPr>
          </a:p>
        </p:txBody>
      </p:sp>
      <p:sp>
        <p:nvSpPr>
          <p:cNvPr id="25" name="Rectangle 24"/>
          <p:cNvSpPr/>
          <p:nvPr/>
        </p:nvSpPr>
        <p:spPr>
          <a:xfrm>
            <a:off x="1524002" y="2049283"/>
            <a:ext cx="9144000" cy="4280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53" tIns="34277" rIns="68553" bIns="34277" anchor="ctr"/>
          <a:lstStyle/>
          <a:p>
            <a:pPr algn="ctr" defTabSz="685575"/>
            <a:r>
              <a:rPr lang="en-US" sz="2125" dirty="0">
                <a:solidFill>
                  <a:schemeClr val="tx1">
                    <a:alpha val="99000"/>
                  </a:schemeClr>
                </a:solidFill>
                <a:latin typeface="Segoe UI Light"/>
                <a:cs typeface="Arial" charset="0"/>
              </a:rPr>
              <a:t>Evolution toward highly-virtual and beyond to cloud</a:t>
            </a:r>
          </a:p>
        </p:txBody>
      </p:sp>
      <p:grpSp>
        <p:nvGrpSpPr>
          <p:cNvPr id="17" name="Group 16"/>
          <p:cNvGrpSpPr/>
          <p:nvPr/>
        </p:nvGrpSpPr>
        <p:grpSpPr>
          <a:xfrm>
            <a:off x="1571435" y="2584832"/>
            <a:ext cx="1768189" cy="2821224"/>
            <a:chOff x="75894" y="2764132"/>
            <a:chExt cx="2829102" cy="4513958"/>
          </a:xfrm>
        </p:grpSpPr>
        <p:sp>
          <p:nvSpPr>
            <p:cNvPr id="81" name="Rectangle 80"/>
            <p:cNvSpPr/>
            <p:nvPr/>
          </p:nvSpPr>
          <p:spPr bwMode="auto">
            <a:xfrm>
              <a:off x="78669" y="6331781"/>
              <a:ext cx="2826327" cy="946309"/>
            </a:xfrm>
            <a:prstGeom prst="rect">
              <a:avLst/>
            </a:prstGeom>
            <a:solidFill>
              <a:srgbClr val="0070C0"/>
            </a:solidFill>
            <a:ln w="9525" cap="flat" cmpd="sng" algn="ctr">
              <a:noFill/>
              <a:prstDash val="solid"/>
              <a:headEnd type="none" w="med" len="med"/>
              <a:tailEnd type="none" w="med" len="med"/>
            </a:ln>
            <a:effectLst/>
          </p:spPr>
          <p:txBody>
            <a:bodyPr vert="horz" wrap="square" lIns="114300" tIns="114300" rIns="57150" bIns="28574" numCol="1" rtlCol="0" anchor="ctr" anchorCtr="0" compatLnSpc="1">
              <a:prstTxWarp prst="textNoShape">
                <a:avLst/>
              </a:prstTxWarp>
            </a:bodyPr>
            <a:lstStyle/>
            <a:p>
              <a:pPr algn="ctr" defTabSz="685575">
                <a:lnSpc>
                  <a:spcPct val="90000"/>
                </a:lnSpc>
                <a:buSzPct val="90000"/>
              </a:pPr>
              <a:r>
                <a:rPr lang="en-US" sz="1813" dirty="0">
                  <a:gradFill>
                    <a:gsLst>
                      <a:gs pos="85000">
                        <a:srgbClr val="FFFFFF"/>
                      </a:gs>
                      <a:gs pos="0">
                        <a:srgbClr val="FFFFFF"/>
                      </a:gs>
                    </a:gsLst>
                    <a:lin ang="5400000" scaled="0"/>
                  </a:gradFill>
                </a:rPr>
                <a:t>Physical</a:t>
              </a:r>
            </a:p>
          </p:txBody>
        </p:sp>
        <p:sp>
          <p:nvSpPr>
            <p:cNvPr id="4" name="Rectangle 3"/>
            <p:cNvSpPr/>
            <p:nvPr/>
          </p:nvSpPr>
          <p:spPr bwMode="auto">
            <a:xfrm>
              <a:off x="75894" y="2764132"/>
              <a:ext cx="2826327" cy="3480433"/>
            </a:xfrm>
            <a:prstGeom prst="rect">
              <a:avLst/>
            </a:prstGeom>
            <a:solidFill>
              <a:schemeClr val="accent5"/>
            </a:solidFill>
            <a:ln w="9525" cap="flat" cmpd="sng" algn="ctr">
              <a:noFill/>
              <a:prstDash val="solid"/>
              <a:headEnd type="none" w="med" len="med"/>
              <a:tailEnd type="none" w="med" len="med"/>
            </a:ln>
            <a:effectLst/>
          </p:spPr>
          <p:txBody>
            <a:bodyPr vert="horz" wrap="square" lIns="114300" tIns="114300" rIns="57150" bIns="28574" numCol="1" rtlCol="0" anchor="t" anchorCtr="0" compatLnSpc="1">
              <a:prstTxWarp prst="textNoShape">
                <a:avLst/>
              </a:prstTxWarp>
            </a:bodyPr>
            <a:lstStyle/>
            <a:p>
              <a:pPr defTabSz="685575">
                <a:lnSpc>
                  <a:spcPct val="90000"/>
                </a:lnSpc>
                <a:buSzPct val="90000"/>
              </a:pPr>
              <a:endParaRPr lang="en-US" sz="1813" dirty="0">
                <a:gradFill>
                  <a:gsLst>
                    <a:gs pos="85000">
                      <a:srgbClr val="FFFFFF"/>
                    </a:gs>
                    <a:gs pos="0">
                      <a:srgbClr val="FFFFFF"/>
                    </a:gs>
                  </a:gsLst>
                  <a:lin ang="5400000" scaled="0"/>
                </a:gradFill>
              </a:endParaRPr>
            </a:p>
          </p:txBody>
        </p:sp>
        <p:pic>
          <p:nvPicPr>
            <p:cNvPr id="43"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493954" y="3506736"/>
              <a:ext cx="2019217" cy="2019214"/>
            </a:xfrm>
            <a:prstGeom prst="rect">
              <a:avLst/>
            </a:prstGeom>
            <a:noFill/>
          </p:spPr>
        </p:pic>
      </p:grpSp>
      <p:grpSp>
        <p:nvGrpSpPr>
          <p:cNvPr id="13" name="Group 12"/>
          <p:cNvGrpSpPr/>
          <p:nvPr/>
        </p:nvGrpSpPr>
        <p:grpSpPr>
          <a:xfrm>
            <a:off x="7281003" y="2564333"/>
            <a:ext cx="1321193" cy="2082921"/>
            <a:chOff x="8104633" y="2874661"/>
            <a:chExt cx="2113909" cy="3332674"/>
          </a:xfrm>
        </p:grpSpPr>
        <p:sp>
          <p:nvSpPr>
            <p:cNvPr id="59" name="Isosceles Triangle 58"/>
            <p:cNvSpPr/>
            <p:nvPr/>
          </p:nvSpPr>
          <p:spPr bwMode="auto">
            <a:xfrm rot="10800000">
              <a:off x="8355713" y="4165941"/>
              <a:ext cx="1061647" cy="1329862"/>
            </a:xfrm>
            <a:prstGeom prst="triangle">
              <a:avLst>
                <a:gd name="adj" fmla="val 0"/>
              </a:avLst>
            </a:prstGeom>
            <a:solidFill>
              <a:schemeClr val="accent6">
                <a:lumMod val="75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57148" tIns="28574" rIns="57148" bIns="28574" numCol="1" rtlCol="0" anchor="ctr" anchorCtr="0" compatLnSpc="1">
              <a:prstTxWarp prst="textNoShape">
                <a:avLst/>
              </a:prstTxWarp>
            </a:bodyPr>
            <a:lstStyle/>
            <a:p>
              <a:pPr algn="ctr" defTabSz="570988"/>
              <a:endParaRPr lang="en-US" sz="1125" dirty="0">
                <a:gradFill>
                  <a:gsLst>
                    <a:gs pos="0">
                      <a:srgbClr val="FFFFFF"/>
                    </a:gs>
                    <a:gs pos="100000">
                      <a:srgbClr val="FFFFFF"/>
                    </a:gs>
                  </a:gsLst>
                  <a:lin ang="5400000" scaled="0"/>
                </a:gradFill>
              </a:endParaRPr>
            </a:p>
          </p:txBody>
        </p:sp>
        <p:pic>
          <p:nvPicPr>
            <p:cNvPr id="67" name="Picture 66"/>
            <p:cNvPicPr>
              <a:picLocks noChangeAspect="1"/>
            </p:cNvPicPr>
            <p:nvPr/>
          </p:nvPicPr>
          <p:blipFill>
            <a:blip r:embed="rId4" cstate="print">
              <a:lum bright="100000" contrast="100000"/>
            </a:blip>
            <a:stretch>
              <a:fillRect/>
            </a:stretch>
          </p:blipFill>
          <p:spPr>
            <a:xfrm>
              <a:off x="8104633" y="4947463"/>
              <a:ext cx="2113909" cy="1259872"/>
            </a:xfrm>
            <a:prstGeom prst="rect">
              <a:avLst/>
            </a:prstGeom>
            <a:noFill/>
            <a:ln>
              <a:noFill/>
            </a:ln>
            <a:effectLst/>
          </p:spPr>
        </p:pic>
        <p:pic>
          <p:nvPicPr>
            <p:cNvPr id="56" name="Picture 55"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8104633" y="2874661"/>
              <a:ext cx="1563808" cy="1563400"/>
            </a:xfrm>
            <a:prstGeom prst="rect">
              <a:avLst/>
            </a:prstGeom>
            <a:noFill/>
          </p:spPr>
        </p:pic>
      </p:grpSp>
      <p:grpSp>
        <p:nvGrpSpPr>
          <p:cNvPr id="12" name="Group 11"/>
          <p:cNvGrpSpPr/>
          <p:nvPr/>
        </p:nvGrpSpPr>
        <p:grpSpPr>
          <a:xfrm>
            <a:off x="9073553" y="2685309"/>
            <a:ext cx="1321193" cy="1961948"/>
            <a:chOff x="10948236" y="3048621"/>
            <a:chExt cx="2113909" cy="3139117"/>
          </a:xfrm>
        </p:grpSpPr>
        <p:pic>
          <p:nvPicPr>
            <p:cNvPr id="48"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0" name="Isosceles Triangle 69"/>
            <p:cNvSpPr/>
            <p:nvPr/>
          </p:nvSpPr>
          <p:spPr bwMode="auto">
            <a:xfrm rot="10800000">
              <a:off x="11199316" y="4146344"/>
              <a:ext cx="1061647" cy="1329862"/>
            </a:xfrm>
            <a:prstGeom prst="triangle">
              <a:avLst>
                <a:gd name="adj" fmla="val 0"/>
              </a:avLst>
            </a:prstGeom>
            <a:solidFill>
              <a:schemeClr val="accent2">
                <a:lumMod val="75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57148" tIns="28574" rIns="57148" bIns="28574" numCol="1" rtlCol="0" anchor="ctr" anchorCtr="0" compatLnSpc="1">
              <a:prstTxWarp prst="textNoShape">
                <a:avLst/>
              </a:prstTxWarp>
            </a:bodyPr>
            <a:lstStyle/>
            <a:p>
              <a:pPr algn="ctr" defTabSz="570988"/>
              <a:endParaRPr lang="en-US" sz="1125" dirty="0">
                <a:gradFill>
                  <a:gsLst>
                    <a:gs pos="0">
                      <a:srgbClr val="FFFFFF"/>
                    </a:gs>
                    <a:gs pos="100000">
                      <a:srgbClr val="FFFFFF"/>
                    </a:gs>
                  </a:gsLst>
                  <a:lin ang="5400000" scaled="0"/>
                </a:gradFill>
              </a:endParaRPr>
            </a:p>
          </p:txBody>
        </p:sp>
        <p:pic>
          <p:nvPicPr>
            <p:cNvPr id="71" name="Picture 70"/>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16" name="Group 15"/>
          <p:cNvGrpSpPr/>
          <p:nvPr/>
        </p:nvGrpSpPr>
        <p:grpSpPr>
          <a:xfrm>
            <a:off x="3388378" y="2584832"/>
            <a:ext cx="1768189" cy="2821224"/>
            <a:chOff x="2983001" y="2764132"/>
            <a:chExt cx="2829102" cy="4513958"/>
          </a:xfrm>
        </p:grpSpPr>
        <p:sp>
          <p:nvSpPr>
            <p:cNvPr id="82" name="Rectangle 81"/>
            <p:cNvSpPr/>
            <p:nvPr/>
          </p:nvSpPr>
          <p:spPr bwMode="auto">
            <a:xfrm>
              <a:off x="2985776" y="6331781"/>
              <a:ext cx="2826327" cy="946309"/>
            </a:xfrm>
            <a:prstGeom prst="rect">
              <a:avLst/>
            </a:prstGeom>
            <a:solidFill>
              <a:srgbClr val="FF6600"/>
            </a:solidFill>
            <a:ln w="9525" cap="flat" cmpd="sng" algn="ctr">
              <a:noFill/>
              <a:prstDash val="solid"/>
              <a:headEnd type="none" w="med" len="med"/>
              <a:tailEnd type="none" w="med" len="med"/>
            </a:ln>
            <a:effectLst/>
          </p:spPr>
          <p:txBody>
            <a:bodyPr vert="horz" wrap="square" lIns="114300" tIns="114300" rIns="57150" bIns="28574" numCol="1" rtlCol="0" anchor="ctr" anchorCtr="1" compatLnSpc="1">
              <a:prstTxWarp prst="textNoShape">
                <a:avLst/>
              </a:prstTxWarp>
            </a:bodyPr>
            <a:lstStyle/>
            <a:p>
              <a:pPr defTabSz="685575">
                <a:lnSpc>
                  <a:spcPct val="90000"/>
                </a:lnSpc>
                <a:buSzPct val="90000"/>
              </a:pPr>
              <a:r>
                <a:rPr lang="en-US" sz="1813" dirty="0">
                  <a:gradFill>
                    <a:gsLst>
                      <a:gs pos="85000">
                        <a:srgbClr val="FFFFFF"/>
                      </a:gs>
                      <a:gs pos="0">
                        <a:srgbClr val="FFFFFF"/>
                      </a:gs>
                    </a:gsLst>
                    <a:lin ang="5400000" scaled="0"/>
                  </a:gradFill>
                </a:rPr>
                <a:t>Virtual / Private</a:t>
              </a:r>
            </a:p>
          </p:txBody>
        </p:sp>
        <p:sp>
          <p:nvSpPr>
            <p:cNvPr id="76" name="Rectangle 75"/>
            <p:cNvSpPr/>
            <p:nvPr/>
          </p:nvSpPr>
          <p:spPr bwMode="auto">
            <a:xfrm>
              <a:off x="2983001" y="2764132"/>
              <a:ext cx="2826327" cy="3480433"/>
            </a:xfrm>
            <a:prstGeom prst="rect">
              <a:avLst/>
            </a:prstGeom>
            <a:solidFill>
              <a:srgbClr val="FF6600"/>
            </a:solidFill>
            <a:ln w="9525" cap="flat" cmpd="sng" algn="ctr">
              <a:noFill/>
              <a:prstDash val="solid"/>
              <a:headEnd type="none" w="med" len="med"/>
              <a:tailEnd type="none" w="med" len="med"/>
            </a:ln>
            <a:effectLst/>
          </p:spPr>
          <p:txBody>
            <a:bodyPr vert="horz" wrap="square" lIns="114300" tIns="114300" rIns="57150" bIns="28574" numCol="1" rtlCol="0" anchor="t" anchorCtr="0" compatLnSpc="1">
              <a:prstTxWarp prst="textNoShape">
                <a:avLst/>
              </a:prstTxWarp>
            </a:bodyPr>
            <a:lstStyle/>
            <a:p>
              <a:pPr defTabSz="685575">
                <a:lnSpc>
                  <a:spcPct val="90000"/>
                </a:lnSpc>
                <a:buSzPct val="90000"/>
              </a:pPr>
              <a:endParaRPr lang="en-US" sz="1813" dirty="0">
                <a:gradFill>
                  <a:gsLst>
                    <a:gs pos="85000">
                      <a:srgbClr val="FFFFFF"/>
                    </a:gs>
                    <a:gs pos="0">
                      <a:srgbClr val="FFFFFF"/>
                    </a:gs>
                  </a:gsLst>
                  <a:lin ang="5400000" scaled="0"/>
                </a:gradFill>
              </a:endParaRPr>
            </a:p>
          </p:txBody>
        </p:sp>
        <p:pic>
          <p:nvPicPr>
            <p:cNvPr id="49"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grpSp>
        <p:nvGrpSpPr>
          <p:cNvPr id="15" name="Group 14"/>
          <p:cNvGrpSpPr/>
          <p:nvPr/>
        </p:nvGrpSpPr>
        <p:grpSpPr>
          <a:xfrm>
            <a:off x="5176691" y="2556340"/>
            <a:ext cx="1796816" cy="2849716"/>
            <a:chOff x="5844305" y="2718544"/>
            <a:chExt cx="2874905" cy="4559546"/>
          </a:xfrm>
        </p:grpSpPr>
        <p:sp>
          <p:nvSpPr>
            <p:cNvPr id="83" name="Rectangle 82"/>
            <p:cNvSpPr/>
            <p:nvPr/>
          </p:nvSpPr>
          <p:spPr bwMode="auto">
            <a:xfrm>
              <a:off x="5892883" y="6331781"/>
              <a:ext cx="2826327" cy="946309"/>
            </a:xfrm>
            <a:prstGeom prst="rect">
              <a:avLst/>
            </a:prstGeom>
            <a:solidFill>
              <a:schemeClr val="accent1"/>
            </a:solidFill>
            <a:ln w="9525" cap="flat" cmpd="sng" algn="ctr">
              <a:noFill/>
              <a:prstDash val="solid"/>
              <a:headEnd type="none" w="med" len="med"/>
              <a:tailEnd type="none" w="med" len="med"/>
            </a:ln>
            <a:effectLst/>
          </p:spPr>
          <p:txBody>
            <a:bodyPr vert="horz" wrap="square" lIns="114300" tIns="114300" rIns="57150" bIns="28574" numCol="1" rtlCol="0" anchor="ctr" anchorCtr="1" compatLnSpc="1">
              <a:prstTxWarp prst="textNoShape">
                <a:avLst/>
              </a:prstTxWarp>
            </a:bodyPr>
            <a:lstStyle/>
            <a:p>
              <a:pPr defTabSz="685575">
                <a:lnSpc>
                  <a:spcPct val="90000"/>
                </a:lnSpc>
                <a:buSzPct val="90000"/>
              </a:pPr>
              <a:r>
                <a:rPr lang="en-US" sz="1813" dirty="0" err="1">
                  <a:gradFill>
                    <a:gsLst>
                      <a:gs pos="85000">
                        <a:srgbClr val="FFFFFF"/>
                      </a:gs>
                      <a:gs pos="0">
                        <a:srgbClr val="FFFFFF"/>
                      </a:gs>
                    </a:gsLst>
                    <a:lin ang="5400000" scaled="0"/>
                  </a:gradFill>
                </a:rPr>
                <a:t>IaaS</a:t>
              </a:r>
              <a:endParaRPr lang="en-US" sz="1813" dirty="0">
                <a:gradFill>
                  <a:gsLst>
                    <a:gs pos="85000">
                      <a:srgbClr val="FFFFFF"/>
                    </a:gs>
                    <a:gs pos="0">
                      <a:srgbClr val="FFFFFF"/>
                    </a:gs>
                  </a:gsLst>
                  <a:lin ang="5400000" scaled="0"/>
                </a:gradFill>
              </a:endParaRPr>
            </a:p>
          </p:txBody>
        </p:sp>
        <p:sp>
          <p:nvSpPr>
            <p:cNvPr id="77" name="Rectangle 76"/>
            <p:cNvSpPr/>
            <p:nvPr/>
          </p:nvSpPr>
          <p:spPr bwMode="auto">
            <a:xfrm>
              <a:off x="5890108" y="2764132"/>
              <a:ext cx="2826327" cy="3480433"/>
            </a:xfrm>
            <a:prstGeom prst="rect">
              <a:avLst/>
            </a:prstGeom>
            <a:solidFill>
              <a:schemeClr val="accent1"/>
            </a:solidFill>
            <a:ln w="9525" cap="flat" cmpd="sng" algn="ctr">
              <a:noFill/>
              <a:prstDash val="solid"/>
              <a:headEnd type="none" w="med" len="med"/>
              <a:tailEnd type="none" w="med" len="med"/>
            </a:ln>
            <a:effectLst/>
          </p:spPr>
          <p:txBody>
            <a:bodyPr vert="horz" wrap="square" lIns="114300" tIns="114300" rIns="57150" bIns="28574" numCol="1" rtlCol="0" anchor="t" anchorCtr="0" compatLnSpc="1">
              <a:prstTxWarp prst="textNoShape">
                <a:avLst/>
              </a:prstTxWarp>
            </a:bodyPr>
            <a:lstStyle/>
            <a:p>
              <a:pPr defTabSz="685575">
                <a:lnSpc>
                  <a:spcPct val="90000"/>
                </a:lnSpc>
                <a:buSzPct val="90000"/>
              </a:pPr>
              <a:endParaRPr lang="en-US" sz="1813" dirty="0">
                <a:gradFill>
                  <a:gsLst>
                    <a:gs pos="85000">
                      <a:srgbClr val="FFFFFF"/>
                    </a:gs>
                    <a:gs pos="0">
                      <a:srgbClr val="FFFFFF"/>
                    </a:gs>
                  </a:gsLst>
                  <a:lin ang="5400000" scaled="0"/>
                </a:gradFill>
              </a:endParaRPr>
            </a:p>
          </p:txBody>
        </p:sp>
        <p:grpSp>
          <p:nvGrpSpPr>
            <p:cNvPr id="14" name="Group 13"/>
            <p:cNvGrpSpPr/>
            <p:nvPr/>
          </p:nvGrpSpPr>
          <p:grpSpPr>
            <a:xfrm>
              <a:off x="5844305" y="2718544"/>
              <a:ext cx="2777268" cy="3345461"/>
              <a:chOff x="5062551" y="2861874"/>
              <a:chExt cx="2777268" cy="3345461"/>
            </a:xfrm>
          </p:grpSpPr>
          <p:pic>
            <p:nvPicPr>
              <p:cNvPr id="52"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6" name="Isosceles Triangle 5"/>
              <p:cNvSpPr/>
              <p:nvPr/>
            </p:nvSpPr>
            <p:spPr bwMode="auto">
              <a:xfrm rot="9180217">
                <a:off x="6169786" y="4246310"/>
                <a:ext cx="1061647" cy="1329862"/>
              </a:xfrm>
              <a:prstGeom prst="triangle">
                <a:avLst>
                  <a:gd name="adj" fmla="val 64317"/>
                </a:avLst>
              </a:prstGeom>
              <a:solidFill>
                <a:schemeClr val="accent1">
                  <a:lumMod val="75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57148" tIns="28574" rIns="57148" bIns="28574" numCol="1" rtlCol="0" anchor="ctr" anchorCtr="0" compatLnSpc="1">
                <a:prstTxWarp prst="textNoShape">
                  <a:avLst/>
                </a:prstTxWarp>
              </a:bodyPr>
              <a:lstStyle/>
              <a:p>
                <a:pPr algn="ctr" defTabSz="570988"/>
                <a:endParaRPr lang="en-US" sz="1125" dirty="0">
                  <a:gradFill>
                    <a:gsLst>
                      <a:gs pos="0">
                        <a:srgbClr val="FFFFFF"/>
                      </a:gs>
                      <a:gs pos="100000">
                        <a:srgbClr val="FFFFFF"/>
                      </a:gs>
                    </a:gsLst>
                    <a:lin ang="5400000" scaled="0"/>
                  </a:gradFill>
                </a:endParaRPr>
              </a:p>
            </p:txBody>
          </p:sp>
          <p:pic>
            <p:nvPicPr>
              <p:cNvPr id="50" name="Picture 49"/>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grpSp>
    </p:spTree>
    <p:extLst>
      <p:ext uri="{BB962C8B-B14F-4D97-AF65-F5344CB8AC3E}">
        <p14:creationId xmlns:p14="http://schemas.microsoft.com/office/powerpoint/2010/main" val="1107252744"/>
      </p:ext>
    </p:extLst>
  </p:cSld>
  <p:clrMapOvr>
    <a:masterClrMapping/>
  </p:clrMapOvr>
  <p:transition>
    <p:fade/>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ounded Rectangle 29"/>
          <p:cNvSpPr/>
          <p:nvPr/>
        </p:nvSpPr>
        <p:spPr bwMode="auto">
          <a:xfrm>
            <a:off x="1105878" y="2709416"/>
            <a:ext cx="9927771" cy="2633146"/>
          </a:xfrm>
          <a:prstGeom prst="roundRect">
            <a:avLst>
              <a:gd name="adj" fmla="val 12627"/>
            </a:avLst>
          </a:prstGeom>
          <a:noFill/>
          <a:ln w="57150">
            <a:solidFill>
              <a:srgbClr val="00AEEF"/>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7" name="Group 6"/>
          <p:cNvGrpSpPr/>
          <p:nvPr/>
        </p:nvGrpSpPr>
        <p:grpSpPr>
          <a:xfrm>
            <a:off x="2596243" y="2382846"/>
            <a:ext cx="7059387" cy="326570"/>
            <a:chOff x="2594654" y="5225143"/>
            <a:chExt cx="7059387" cy="326570"/>
          </a:xfrm>
        </p:grpSpPr>
        <p:cxnSp>
          <p:nvCxnSpPr>
            <p:cNvPr id="5" name="Straight Connector 4"/>
            <p:cNvCxnSpPr/>
            <p:nvPr/>
          </p:nvCxnSpPr>
          <p:spPr>
            <a:xfrm>
              <a:off x="2594654" y="5225143"/>
              <a:ext cx="0" cy="326570"/>
            </a:xfrm>
            <a:prstGeom prst="line">
              <a:avLst/>
            </a:prstGeom>
            <a:ln w="762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4951412" y="5225143"/>
              <a:ext cx="0" cy="326570"/>
            </a:xfrm>
            <a:prstGeom prst="line">
              <a:avLst/>
            </a:prstGeom>
            <a:ln w="762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7297283" y="5225143"/>
              <a:ext cx="0" cy="326570"/>
            </a:xfrm>
            <a:prstGeom prst="line">
              <a:avLst/>
            </a:prstGeom>
            <a:ln w="762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9654041" y="5225143"/>
              <a:ext cx="0" cy="326570"/>
            </a:xfrm>
            <a:prstGeom prst="line">
              <a:avLst/>
            </a:prstGeom>
            <a:ln w="76200">
              <a:solidFill>
                <a:srgbClr val="00AEEF"/>
              </a:solidFill>
            </a:ln>
          </p:spPr>
          <p:style>
            <a:lnRef idx="1">
              <a:schemeClr val="accent1"/>
            </a:lnRef>
            <a:fillRef idx="0">
              <a:schemeClr val="accent1"/>
            </a:fillRef>
            <a:effectRef idx="0">
              <a:schemeClr val="accent1"/>
            </a:effectRef>
            <a:fontRef idx="minor">
              <a:schemeClr val="tx1"/>
            </a:fontRef>
          </p:style>
        </p:cxnSp>
      </p:grpSp>
      <p:sp>
        <p:nvSpPr>
          <p:cNvPr id="83" name="TextBox 82"/>
          <p:cNvSpPr txBox="1"/>
          <p:nvPr/>
        </p:nvSpPr>
        <p:spPr>
          <a:xfrm>
            <a:off x="3476137" y="4735036"/>
            <a:ext cx="5340302" cy="393954"/>
          </a:xfrm>
          <a:prstGeom prst="rect">
            <a:avLst/>
          </a:prstGeom>
          <a:noFill/>
        </p:spPr>
        <p:txBody>
          <a:bodyPr wrap="square" lIns="0" tIns="0" rIns="0" bIns="0" rtlCol="0">
            <a:spAutoFit/>
          </a:bodyPr>
          <a:lstStyle/>
          <a:p>
            <a:pPr algn="ctr" defTabSz="1218987">
              <a:lnSpc>
                <a:spcPct val="80000"/>
              </a:lnSpc>
              <a:buSzPct val="80000"/>
            </a:pPr>
            <a:r>
              <a:rPr lang="en-US" sz="3200" dirty="0">
                <a:solidFill>
                  <a:srgbClr val="5F5F5F">
                    <a:alpha val="99000"/>
                  </a:srgbClr>
                </a:solidFill>
                <a:latin typeface="Segoe UI Light"/>
              </a:rPr>
              <a:t>24GB Distributed Cache</a:t>
            </a:r>
          </a:p>
        </p:txBody>
      </p:sp>
      <p:sp>
        <p:nvSpPr>
          <p:cNvPr id="86" name="TextBox 85"/>
          <p:cNvSpPr txBox="1"/>
          <p:nvPr/>
        </p:nvSpPr>
        <p:spPr>
          <a:xfrm>
            <a:off x="1459730" y="520249"/>
            <a:ext cx="3635453" cy="295466"/>
          </a:xfrm>
          <a:prstGeom prst="rect">
            <a:avLst/>
          </a:prstGeom>
          <a:noFill/>
        </p:spPr>
        <p:txBody>
          <a:bodyPr wrap="square" lIns="0" tIns="0" rIns="0" bIns="0" rtlCol="0">
            <a:spAutoFit/>
          </a:bodyPr>
          <a:lstStyle/>
          <a:p>
            <a:pPr defTabSz="1218987">
              <a:lnSpc>
                <a:spcPct val="80000"/>
              </a:lnSpc>
              <a:buSzPct val="80000"/>
            </a:pPr>
            <a:r>
              <a:rPr lang="en-US" sz="2400" dirty="0">
                <a:solidFill>
                  <a:srgbClr val="5F5F5F">
                    <a:alpha val="99000"/>
                  </a:srgbClr>
                </a:solidFill>
              </a:rPr>
              <a:t>Web Roles</a:t>
            </a:r>
          </a:p>
        </p:txBody>
      </p:sp>
      <p:grpSp>
        <p:nvGrpSpPr>
          <p:cNvPr id="87" name="Group 86"/>
          <p:cNvGrpSpPr/>
          <p:nvPr/>
        </p:nvGrpSpPr>
        <p:grpSpPr>
          <a:xfrm>
            <a:off x="1447801" y="896700"/>
            <a:ext cx="2211227" cy="1486146"/>
            <a:chOff x="1446212" y="3738997"/>
            <a:chExt cx="2211227" cy="1486146"/>
          </a:xfrm>
        </p:grpSpPr>
        <p:sp>
          <p:nvSpPr>
            <p:cNvPr id="88" name="Rounded Rectangle 87"/>
            <p:cNvSpPr/>
            <p:nvPr/>
          </p:nvSpPr>
          <p:spPr bwMode="auto">
            <a:xfrm>
              <a:off x="1446212" y="3738997"/>
              <a:ext cx="2211227" cy="1486146"/>
            </a:xfrm>
            <a:prstGeom prst="roundRect">
              <a:avLst>
                <a:gd name="adj" fmla="val 568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89"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03038" y="3864023"/>
              <a:ext cx="692412" cy="626332"/>
            </a:xfrm>
            <a:prstGeom prst="rect">
              <a:avLst/>
            </a:prstGeom>
          </p:spPr>
        </p:pic>
      </p:grpSp>
      <p:grpSp>
        <p:nvGrpSpPr>
          <p:cNvPr id="90" name="Group 89"/>
          <p:cNvGrpSpPr/>
          <p:nvPr/>
        </p:nvGrpSpPr>
        <p:grpSpPr>
          <a:xfrm>
            <a:off x="3810001" y="896700"/>
            <a:ext cx="2211227" cy="1486146"/>
            <a:chOff x="3808412" y="3738997"/>
            <a:chExt cx="2211227" cy="1486146"/>
          </a:xfrm>
        </p:grpSpPr>
        <p:sp>
          <p:nvSpPr>
            <p:cNvPr id="91" name="Rounded Rectangle 90"/>
            <p:cNvSpPr/>
            <p:nvPr/>
          </p:nvSpPr>
          <p:spPr bwMode="auto">
            <a:xfrm>
              <a:off x="3808412" y="3738997"/>
              <a:ext cx="2211227" cy="1486146"/>
            </a:xfrm>
            <a:prstGeom prst="roundRect">
              <a:avLst>
                <a:gd name="adj" fmla="val 568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92" name="Picture 9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65238" y="3864023"/>
              <a:ext cx="692412" cy="626332"/>
            </a:xfrm>
            <a:prstGeom prst="rect">
              <a:avLst/>
            </a:prstGeom>
          </p:spPr>
        </p:pic>
      </p:grpSp>
      <p:grpSp>
        <p:nvGrpSpPr>
          <p:cNvPr id="93" name="Group 92"/>
          <p:cNvGrpSpPr/>
          <p:nvPr/>
        </p:nvGrpSpPr>
        <p:grpSpPr>
          <a:xfrm>
            <a:off x="6167775" y="896700"/>
            <a:ext cx="2211227" cy="1486146"/>
            <a:chOff x="6166186" y="3738997"/>
            <a:chExt cx="2211227" cy="1486146"/>
          </a:xfrm>
        </p:grpSpPr>
        <p:sp>
          <p:nvSpPr>
            <p:cNvPr id="94" name="Rounded Rectangle 93"/>
            <p:cNvSpPr/>
            <p:nvPr/>
          </p:nvSpPr>
          <p:spPr bwMode="auto">
            <a:xfrm>
              <a:off x="6166186" y="3738997"/>
              <a:ext cx="2211227" cy="1486146"/>
            </a:xfrm>
            <a:prstGeom prst="roundRect">
              <a:avLst>
                <a:gd name="adj" fmla="val 568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95" name="Picture 9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23012" y="3864023"/>
              <a:ext cx="692412" cy="626332"/>
            </a:xfrm>
            <a:prstGeom prst="rect">
              <a:avLst/>
            </a:prstGeom>
          </p:spPr>
        </p:pic>
      </p:grpSp>
      <p:grpSp>
        <p:nvGrpSpPr>
          <p:cNvPr id="96" name="Group 95"/>
          <p:cNvGrpSpPr/>
          <p:nvPr/>
        </p:nvGrpSpPr>
        <p:grpSpPr>
          <a:xfrm>
            <a:off x="8529975" y="896700"/>
            <a:ext cx="2211227" cy="1486146"/>
            <a:chOff x="8528386" y="3738997"/>
            <a:chExt cx="2211227" cy="1486146"/>
          </a:xfrm>
        </p:grpSpPr>
        <p:sp>
          <p:nvSpPr>
            <p:cNvPr id="97" name="Rounded Rectangle 96"/>
            <p:cNvSpPr/>
            <p:nvPr/>
          </p:nvSpPr>
          <p:spPr bwMode="auto">
            <a:xfrm>
              <a:off x="8528386" y="3738997"/>
              <a:ext cx="2211227" cy="1486146"/>
            </a:xfrm>
            <a:prstGeom prst="roundRect">
              <a:avLst>
                <a:gd name="adj" fmla="val 568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98" name="Picture 9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85212" y="3864023"/>
              <a:ext cx="692412" cy="626332"/>
            </a:xfrm>
            <a:prstGeom prst="rect">
              <a:avLst/>
            </a:prstGeom>
          </p:spPr>
        </p:pic>
      </p:grpSp>
      <p:grpSp>
        <p:nvGrpSpPr>
          <p:cNvPr id="15" name="Group 14"/>
          <p:cNvGrpSpPr/>
          <p:nvPr/>
        </p:nvGrpSpPr>
        <p:grpSpPr>
          <a:xfrm>
            <a:off x="3794363" y="3028345"/>
            <a:ext cx="2211227" cy="1486146"/>
            <a:chOff x="3854418" y="3028345"/>
            <a:chExt cx="2211227" cy="1486146"/>
          </a:xfrm>
        </p:grpSpPr>
        <p:grpSp>
          <p:nvGrpSpPr>
            <p:cNvPr id="128" name="Group 127"/>
            <p:cNvGrpSpPr/>
            <p:nvPr/>
          </p:nvGrpSpPr>
          <p:grpSpPr>
            <a:xfrm>
              <a:off x="3854418" y="3028345"/>
              <a:ext cx="2211227" cy="1486146"/>
              <a:chOff x="1446212" y="3738997"/>
              <a:chExt cx="2211227" cy="1486146"/>
            </a:xfrm>
          </p:grpSpPr>
          <p:sp>
            <p:nvSpPr>
              <p:cNvPr id="129" name="Rounded Rectangle 128"/>
              <p:cNvSpPr/>
              <p:nvPr/>
            </p:nvSpPr>
            <p:spPr bwMode="auto">
              <a:xfrm>
                <a:off x="1446212" y="3738997"/>
                <a:ext cx="2211227" cy="1486146"/>
              </a:xfrm>
              <a:prstGeom prst="roundRect">
                <a:avLst>
                  <a:gd name="adj" fmla="val 568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30" name="Picture 1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03038" y="3864023"/>
                <a:ext cx="692412" cy="626332"/>
              </a:xfrm>
              <a:prstGeom prst="rect">
                <a:avLst/>
              </a:prstGeom>
            </p:spPr>
          </p:pic>
        </p:grpSp>
        <p:sp>
          <p:nvSpPr>
            <p:cNvPr id="142" name="TextBox 141"/>
            <p:cNvSpPr txBox="1"/>
            <p:nvPr/>
          </p:nvSpPr>
          <p:spPr>
            <a:xfrm>
              <a:off x="4034171" y="3895182"/>
              <a:ext cx="1869627" cy="517065"/>
            </a:xfrm>
            <a:prstGeom prst="rect">
              <a:avLst/>
            </a:prstGeom>
            <a:noFill/>
          </p:spPr>
          <p:txBody>
            <a:bodyPr wrap="square" lIns="0" tIns="0" rIns="0" bIns="0" rtlCol="0">
              <a:spAutoFit/>
            </a:bodyPr>
            <a:lstStyle/>
            <a:p>
              <a:pPr defTabSz="1218987">
                <a:lnSpc>
                  <a:spcPct val="80000"/>
                </a:lnSpc>
                <a:buSzPct val="80000"/>
              </a:pPr>
              <a:r>
                <a:rPr lang="en-US" sz="2400" dirty="0">
                  <a:gradFill>
                    <a:gsLst>
                      <a:gs pos="0">
                        <a:srgbClr val="FFFFFF"/>
                      </a:gs>
                      <a:gs pos="100000">
                        <a:srgbClr val="FFFFFF"/>
                      </a:gs>
                    </a:gsLst>
                    <a:lin ang="5400000" scaled="0"/>
                  </a:gradFill>
                </a:rPr>
                <a:t>12GB Cache</a:t>
              </a:r>
            </a:p>
            <a:p>
              <a:pPr defTabSz="1218987">
                <a:lnSpc>
                  <a:spcPct val="80000"/>
                </a:lnSpc>
                <a:buSzPct val="80000"/>
              </a:pPr>
              <a:r>
                <a:rPr lang="en-US" dirty="0">
                  <a:gradFill>
                    <a:gsLst>
                      <a:gs pos="0">
                        <a:srgbClr val="FFFFFF"/>
                      </a:gs>
                      <a:gs pos="100000">
                        <a:srgbClr val="FFFFFF"/>
                      </a:gs>
                    </a:gsLst>
                    <a:lin ang="5400000" scaled="0"/>
                  </a:gradFill>
                </a:rPr>
                <a:t>Worker Role</a:t>
              </a:r>
            </a:p>
          </p:txBody>
        </p:sp>
      </p:grpSp>
      <p:grpSp>
        <p:nvGrpSpPr>
          <p:cNvPr id="16" name="Group 15"/>
          <p:cNvGrpSpPr/>
          <p:nvPr/>
        </p:nvGrpSpPr>
        <p:grpSpPr>
          <a:xfrm>
            <a:off x="6156563" y="3028345"/>
            <a:ext cx="2211227" cy="1486146"/>
            <a:chOff x="6216618" y="3028345"/>
            <a:chExt cx="2211227" cy="1486146"/>
          </a:xfrm>
        </p:grpSpPr>
        <p:grpSp>
          <p:nvGrpSpPr>
            <p:cNvPr id="131" name="Group 130"/>
            <p:cNvGrpSpPr/>
            <p:nvPr/>
          </p:nvGrpSpPr>
          <p:grpSpPr>
            <a:xfrm>
              <a:off x="6216618" y="3028345"/>
              <a:ext cx="2211227" cy="1486146"/>
              <a:chOff x="3808412" y="3738997"/>
              <a:chExt cx="2211227" cy="1486146"/>
            </a:xfrm>
          </p:grpSpPr>
          <p:sp>
            <p:nvSpPr>
              <p:cNvPr id="132" name="Rounded Rectangle 131"/>
              <p:cNvSpPr/>
              <p:nvPr/>
            </p:nvSpPr>
            <p:spPr bwMode="auto">
              <a:xfrm>
                <a:off x="3808412" y="3738997"/>
                <a:ext cx="2211227" cy="1486146"/>
              </a:xfrm>
              <a:prstGeom prst="roundRect">
                <a:avLst>
                  <a:gd name="adj" fmla="val 568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33" name="Picture 1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65238" y="3864023"/>
                <a:ext cx="692412" cy="626332"/>
              </a:xfrm>
              <a:prstGeom prst="rect">
                <a:avLst/>
              </a:prstGeom>
            </p:spPr>
          </p:pic>
        </p:grpSp>
        <p:sp>
          <p:nvSpPr>
            <p:cNvPr id="143" name="TextBox 142"/>
            <p:cNvSpPr txBox="1"/>
            <p:nvPr/>
          </p:nvSpPr>
          <p:spPr>
            <a:xfrm>
              <a:off x="6391945" y="3895182"/>
              <a:ext cx="1869627" cy="517065"/>
            </a:xfrm>
            <a:prstGeom prst="rect">
              <a:avLst/>
            </a:prstGeom>
            <a:noFill/>
          </p:spPr>
          <p:txBody>
            <a:bodyPr wrap="square" lIns="0" tIns="0" rIns="0" bIns="0" rtlCol="0">
              <a:spAutoFit/>
            </a:bodyPr>
            <a:lstStyle/>
            <a:p>
              <a:pPr defTabSz="1218987">
                <a:lnSpc>
                  <a:spcPct val="80000"/>
                </a:lnSpc>
                <a:buSzPct val="80000"/>
              </a:pPr>
              <a:r>
                <a:rPr lang="en-US" sz="2400" dirty="0">
                  <a:gradFill>
                    <a:gsLst>
                      <a:gs pos="0">
                        <a:srgbClr val="FFFFFF"/>
                      </a:gs>
                      <a:gs pos="100000">
                        <a:srgbClr val="FFFFFF"/>
                      </a:gs>
                    </a:gsLst>
                    <a:lin ang="5400000" scaled="0"/>
                  </a:gradFill>
                </a:rPr>
                <a:t>12GB Cache</a:t>
              </a:r>
            </a:p>
            <a:p>
              <a:pPr defTabSz="1218987">
                <a:lnSpc>
                  <a:spcPct val="80000"/>
                </a:lnSpc>
                <a:buSzPct val="80000"/>
              </a:pPr>
              <a:r>
                <a:rPr lang="en-US" dirty="0">
                  <a:gradFill>
                    <a:gsLst>
                      <a:gs pos="0">
                        <a:srgbClr val="FFFFFF"/>
                      </a:gs>
                      <a:gs pos="100000">
                        <a:srgbClr val="FFFFFF"/>
                      </a:gs>
                    </a:gsLst>
                    <a:lin ang="5400000" scaled="0"/>
                  </a:gradFill>
                </a:rPr>
                <a:t>Worker Role</a:t>
              </a:r>
            </a:p>
          </p:txBody>
        </p:sp>
      </p:grpSp>
      <p:grpSp>
        <p:nvGrpSpPr>
          <p:cNvPr id="2" name="Group 1"/>
          <p:cNvGrpSpPr/>
          <p:nvPr/>
        </p:nvGrpSpPr>
        <p:grpSpPr>
          <a:xfrm>
            <a:off x="2541818" y="5652132"/>
            <a:ext cx="7645400" cy="914096"/>
            <a:chOff x="2540230" y="5652132"/>
            <a:chExt cx="7645400" cy="914096"/>
          </a:xfrm>
        </p:grpSpPr>
        <p:grpSp>
          <p:nvGrpSpPr>
            <p:cNvPr id="14" name="Group 13"/>
            <p:cNvGrpSpPr/>
            <p:nvPr/>
          </p:nvGrpSpPr>
          <p:grpSpPr>
            <a:xfrm>
              <a:off x="2540230" y="5652132"/>
              <a:ext cx="7645400" cy="914096"/>
              <a:chOff x="2540230" y="5754872"/>
              <a:chExt cx="7645400" cy="914096"/>
            </a:xfrm>
          </p:grpSpPr>
          <p:sp>
            <p:nvSpPr>
              <p:cNvPr id="146" name="Rectangle 145"/>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7" name="TextBox 146"/>
              <p:cNvSpPr txBox="1"/>
              <p:nvPr/>
            </p:nvSpPr>
            <p:spPr>
              <a:xfrm>
                <a:off x="9195030" y="5754872"/>
                <a:ext cx="990600" cy="914096"/>
              </a:xfrm>
              <a:prstGeom prst="rect">
                <a:avLst/>
              </a:prstGeom>
              <a:noFill/>
            </p:spPr>
            <p:txBody>
              <a:bodyPr wrap="square" lIns="0" tIns="0" rIns="0" bIns="0" rtlCol="0">
                <a:spAutoFit/>
              </a:bodyPr>
              <a:lstStyle/>
              <a:p>
                <a:pPr algn="ctr" defTabSz="1218987">
                  <a:lnSpc>
                    <a:spcPct val="90000"/>
                  </a:lnSpc>
                  <a:spcBef>
                    <a:spcPct val="20000"/>
                  </a:spcBef>
                  <a:buSzPct val="80000"/>
                </a:pPr>
                <a:r>
                  <a:rPr lang="en-US" sz="6600" dirty="0">
                    <a:solidFill>
                      <a:srgbClr val="5F5F5F">
                        <a:alpha val="99000"/>
                      </a:srgbClr>
                    </a:solidFill>
                    <a:latin typeface="Segoe UI Light" pitchFamily="34" charset="0"/>
                  </a:rPr>
                  <a:t>2</a:t>
                </a:r>
              </a:p>
            </p:txBody>
          </p:sp>
          <p:sp>
            <p:nvSpPr>
              <p:cNvPr id="148" name="Rectangle 147"/>
              <p:cNvSpPr/>
              <p:nvPr/>
            </p:nvSpPr>
            <p:spPr bwMode="auto">
              <a:xfrm>
                <a:off x="2543998" y="6093146"/>
                <a:ext cx="1113441" cy="26246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37" name="Rectangle 36"/>
            <p:cNvSpPr/>
            <p:nvPr/>
          </p:nvSpPr>
          <p:spPr bwMode="auto">
            <a:xfrm>
              <a:off x="3663377" y="5837953"/>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26398754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childTnLst>
                          </p:cTn>
                        </p:par>
                        <p:par>
                          <p:cTn id="12" fill="hold">
                            <p:stCondLst>
                              <p:cond delay="1000"/>
                            </p:stCondLst>
                            <p:childTnLst>
                              <p:par>
                                <p:cTn id="13" presetID="21" presetClass="entr" presetSubtype="1" fill="hold" grpId="0" nodeType="afterEffect">
                                  <p:stCondLst>
                                    <p:cond delay="500"/>
                                  </p:stCondLst>
                                  <p:childTnLst>
                                    <p:set>
                                      <p:cBhvr>
                                        <p:cTn id="14" dur="1" fill="hold">
                                          <p:stCondLst>
                                            <p:cond delay="0"/>
                                          </p:stCondLst>
                                        </p:cTn>
                                        <p:tgtEl>
                                          <p:spTgt spid="30"/>
                                        </p:tgtEl>
                                        <p:attrNameLst>
                                          <p:attrName>style.visibility</p:attrName>
                                        </p:attrNameLst>
                                      </p:cBhvr>
                                      <p:to>
                                        <p:strVal val="visible"/>
                                      </p:to>
                                    </p:set>
                                    <p:animEffect transition="in" filter="wheel(1)">
                                      <p:cBhvr>
                                        <p:cTn id="15" dur="1500"/>
                                        <p:tgtEl>
                                          <p:spTgt spid="30"/>
                                        </p:tgtEl>
                                      </p:cBhvr>
                                    </p:animEffect>
                                  </p:childTnLst>
                                </p:cTn>
                              </p:par>
                            </p:childTnLst>
                          </p:cTn>
                        </p:par>
                        <p:par>
                          <p:cTn id="16" fill="hold">
                            <p:stCondLst>
                              <p:cond delay="3000"/>
                            </p:stCondLst>
                            <p:childTnLst>
                              <p:par>
                                <p:cTn id="17" presetID="22" presetClass="entr" presetSubtype="1"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wipe(up)">
                                      <p:cBhvr>
                                        <p:cTn id="19" dur="500"/>
                                        <p:tgtEl>
                                          <p:spTgt spid="7"/>
                                        </p:tgtEl>
                                      </p:cBhvr>
                                    </p:animEffect>
                                  </p:childTnLst>
                                </p:cTn>
                              </p:par>
                            </p:childTnLst>
                          </p:cTn>
                        </p:par>
                        <p:par>
                          <p:cTn id="20" fill="hold">
                            <p:stCondLst>
                              <p:cond delay="3500"/>
                            </p:stCondLst>
                            <p:childTnLst>
                              <p:par>
                                <p:cTn id="21" presetID="10" presetClass="entr" presetSubtype="0" fill="hold" grpId="0" nodeType="afterEffect">
                                  <p:stCondLst>
                                    <p:cond delay="0"/>
                                  </p:stCondLst>
                                  <p:childTnLst>
                                    <p:set>
                                      <p:cBhvr>
                                        <p:cTn id="22" dur="1" fill="hold">
                                          <p:stCondLst>
                                            <p:cond delay="0"/>
                                          </p:stCondLst>
                                        </p:cTn>
                                        <p:tgtEl>
                                          <p:spTgt spid="83"/>
                                        </p:tgtEl>
                                        <p:attrNameLst>
                                          <p:attrName>style.visibility</p:attrName>
                                        </p:attrNameLst>
                                      </p:cBhvr>
                                      <p:to>
                                        <p:strVal val="visible"/>
                                      </p:to>
                                    </p:set>
                                    <p:animEffect transition="in" filter="fade">
                                      <p:cBhvr>
                                        <p:cTn id="23" dur="500"/>
                                        <p:tgtEl>
                                          <p:spTgt spid="83"/>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
                                        </p:tgtEl>
                                        <p:attrNameLst>
                                          <p:attrName>style.visibility</p:attrName>
                                        </p:attrNameLst>
                                      </p:cBhvr>
                                      <p:to>
                                        <p:strVal val="visible"/>
                                      </p:to>
                                    </p:set>
                                    <p:animEffect transition="in" filter="fade">
                                      <p:cBhvr>
                                        <p:cTn id="2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83" grpId="0"/>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ounded Rectangle 29"/>
          <p:cNvSpPr/>
          <p:nvPr/>
        </p:nvSpPr>
        <p:spPr bwMode="auto">
          <a:xfrm>
            <a:off x="1105878" y="2709416"/>
            <a:ext cx="9927771" cy="2633146"/>
          </a:xfrm>
          <a:prstGeom prst="roundRect">
            <a:avLst>
              <a:gd name="adj" fmla="val 12627"/>
            </a:avLst>
          </a:prstGeom>
          <a:noFill/>
          <a:ln w="57150">
            <a:solidFill>
              <a:srgbClr val="00AEEF"/>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7" name="Group 6"/>
          <p:cNvGrpSpPr/>
          <p:nvPr/>
        </p:nvGrpSpPr>
        <p:grpSpPr>
          <a:xfrm>
            <a:off x="2596243" y="2382846"/>
            <a:ext cx="7059387" cy="326570"/>
            <a:chOff x="2594654" y="5225143"/>
            <a:chExt cx="7059387" cy="326570"/>
          </a:xfrm>
        </p:grpSpPr>
        <p:cxnSp>
          <p:nvCxnSpPr>
            <p:cNvPr id="5" name="Straight Connector 4"/>
            <p:cNvCxnSpPr/>
            <p:nvPr/>
          </p:nvCxnSpPr>
          <p:spPr>
            <a:xfrm>
              <a:off x="2594654" y="5225143"/>
              <a:ext cx="0" cy="326570"/>
            </a:xfrm>
            <a:prstGeom prst="line">
              <a:avLst/>
            </a:prstGeom>
            <a:ln w="762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4951412" y="5225143"/>
              <a:ext cx="0" cy="326570"/>
            </a:xfrm>
            <a:prstGeom prst="line">
              <a:avLst/>
            </a:prstGeom>
            <a:ln w="762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7297283" y="5225143"/>
              <a:ext cx="0" cy="326570"/>
            </a:xfrm>
            <a:prstGeom prst="line">
              <a:avLst/>
            </a:prstGeom>
            <a:ln w="762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9654041" y="5225143"/>
              <a:ext cx="0" cy="326570"/>
            </a:xfrm>
            <a:prstGeom prst="line">
              <a:avLst/>
            </a:prstGeom>
            <a:ln w="76200">
              <a:solidFill>
                <a:srgbClr val="00AEEF"/>
              </a:solidFill>
            </a:ln>
          </p:spPr>
          <p:style>
            <a:lnRef idx="1">
              <a:schemeClr val="accent1"/>
            </a:lnRef>
            <a:fillRef idx="0">
              <a:schemeClr val="accent1"/>
            </a:fillRef>
            <a:effectRef idx="0">
              <a:schemeClr val="accent1"/>
            </a:effectRef>
            <a:fontRef idx="minor">
              <a:schemeClr val="tx1"/>
            </a:fontRef>
          </p:style>
        </p:cxnSp>
      </p:grpSp>
      <p:sp>
        <p:nvSpPr>
          <p:cNvPr id="83" name="TextBox 82"/>
          <p:cNvSpPr txBox="1"/>
          <p:nvPr/>
        </p:nvSpPr>
        <p:spPr>
          <a:xfrm>
            <a:off x="3476137" y="4735036"/>
            <a:ext cx="5340302" cy="393954"/>
          </a:xfrm>
          <a:prstGeom prst="rect">
            <a:avLst/>
          </a:prstGeom>
          <a:noFill/>
        </p:spPr>
        <p:txBody>
          <a:bodyPr wrap="square" lIns="0" tIns="0" rIns="0" bIns="0" rtlCol="0">
            <a:spAutoFit/>
          </a:bodyPr>
          <a:lstStyle/>
          <a:p>
            <a:pPr algn="ctr" defTabSz="1218987">
              <a:lnSpc>
                <a:spcPct val="80000"/>
              </a:lnSpc>
              <a:buSzPct val="80000"/>
            </a:pPr>
            <a:r>
              <a:rPr lang="en-US" sz="3200" dirty="0">
                <a:gradFill>
                  <a:gsLst>
                    <a:gs pos="0">
                      <a:srgbClr val="FFFFFF"/>
                    </a:gs>
                    <a:gs pos="100000">
                      <a:srgbClr val="FFFFFF"/>
                    </a:gs>
                  </a:gsLst>
                  <a:lin ang="5400000" scaled="0"/>
                </a:gradFill>
              </a:rPr>
              <a:t>24GB Distributed Cache</a:t>
            </a:r>
          </a:p>
        </p:txBody>
      </p:sp>
      <p:sp>
        <p:nvSpPr>
          <p:cNvPr id="86" name="TextBox 85"/>
          <p:cNvSpPr txBox="1"/>
          <p:nvPr/>
        </p:nvSpPr>
        <p:spPr>
          <a:xfrm>
            <a:off x="1459730" y="520249"/>
            <a:ext cx="3635453" cy="295466"/>
          </a:xfrm>
          <a:prstGeom prst="rect">
            <a:avLst/>
          </a:prstGeom>
          <a:noFill/>
        </p:spPr>
        <p:txBody>
          <a:bodyPr wrap="square" lIns="0" tIns="0" rIns="0" bIns="0" rtlCol="0">
            <a:spAutoFit/>
          </a:bodyPr>
          <a:lstStyle/>
          <a:p>
            <a:pPr defTabSz="1218987">
              <a:lnSpc>
                <a:spcPct val="80000"/>
              </a:lnSpc>
              <a:buSzPct val="80000"/>
            </a:pPr>
            <a:r>
              <a:rPr lang="en-US" sz="2400" dirty="0">
                <a:solidFill>
                  <a:srgbClr val="5F5F5F">
                    <a:alpha val="99000"/>
                  </a:srgbClr>
                </a:solidFill>
              </a:rPr>
              <a:t>Web Roles</a:t>
            </a:r>
          </a:p>
        </p:txBody>
      </p:sp>
      <p:grpSp>
        <p:nvGrpSpPr>
          <p:cNvPr id="87" name="Group 86"/>
          <p:cNvGrpSpPr/>
          <p:nvPr/>
        </p:nvGrpSpPr>
        <p:grpSpPr>
          <a:xfrm>
            <a:off x="1447801" y="896700"/>
            <a:ext cx="2211227" cy="1486146"/>
            <a:chOff x="1446212" y="3738997"/>
            <a:chExt cx="2211227" cy="1486146"/>
          </a:xfrm>
        </p:grpSpPr>
        <p:sp>
          <p:nvSpPr>
            <p:cNvPr id="88" name="Rounded Rectangle 87"/>
            <p:cNvSpPr/>
            <p:nvPr/>
          </p:nvSpPr>
          <p:spPr bwMode="auto">
            <a:xfrm>
              <a:off x="1446212" y="3738997"/>
              <a:ext cx="2211227" cy="1486146"/>
            </a:xfrm>
            <a:prstGeom prst="roundRect">
              <a:avLst>
                <a:gd name="adj" fmla="val 568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89"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03038" y="3864023"/>
              <a:ext cx="692412" cy="626332"/>
            </a:xfrm>
            <a:prstGeom prst="rect">
              <a:avLst/>
            </a:prstGeom>
          </p:spPr>
        </p:pic>
      </p:grpSp>
      <p:grpSp>
        <p:nvGrpSpPr>
          <p:cNvPr id="90" name="Group 89"/>
          <p:cNvGrpSpPr/>
          <p:nvPr/>
        </p:nvGrpSpPr>
        <p:grpSpPr>
          <a:xfrm>
            <a:off x="3810001" y="896700"/>
            <a:ext cx="2211227" cy="1486146"/>
            <a:chOff x="3808412" y="3738997"/>
            <a:chExt cx="2211227" cy="1486146"/>
          </a:xfrm>
        </p:grpSpPr>
        <p:sp>
          <p:nvSpPr>
            <p:cNvPr id="91" name="Rounded Rectangle 90"/>
            <p:cNvSpPr/>
            <p:nvPr/>
          </p:nvSpPr>
          <p:spPr bwMode="auto">
            <a:xfrm>
              <a:off x="3808412" y="3738997"/>
              <a:ext cx="2211227" cy="1486146"/>
            </a:xfrm>
            <a:prstGeom prst="roundRect">
              <a:avLst>
                <a:gd name="adj" fmla="val 568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92" name="Picture 9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65238" y="3864023"/>
              <a:ext cx="692412" cy="626332"/>
            </a:xfrm>
            <a:prstGeom prst="rect">
              <a:avLst/>
            </a:prstGeom>
          </p:spPr>
        </p:pic>
      </p:grpSp>
      <p:grpSp>
        <p:nvGrpSpPr>
          <p:cNvPr id="93" name="Group 92"/>
          <p:cNvGrpSpPr/>
          <p:nvPr/>
        </p:nvGrpSpPr>
        <p:grpSpPr>
          <a:xfrm>
            <a:off x="6167775" y="896700"/>
            <a:ext cx="2211227" cy="1486146"/>
            <a:chOff x="6166186" y="3738997"/>
            <a:chExt cx="2211227" cy="1486146"/>
          </a:xfrm>
        </p:grpSpPr>
        <p:sp>
          <p:nvSpPr>
            <p:cNvPr id="94" name="Rounded Rectangle 93"/>
            <p:cNvSpPr/>
            <p:nvPr/>
          </p:nvSpPr>
          <p:spPr bwMode="auto">
            <a:xfrm>
              <a:off x="6166186" y="3738997"/>
              <a:ext cx="2211227" cy="1486146"/>
            </a:xfrm>
            <a:prstGeom prst="roundRect">
              <a:avLst>
                <a:gd name="adj" fmla="val 568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95" name="Picture 9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23012" y="3864023"/>
              <a:ext cx="692412" cy="626332"/>
            </a:xfrm>
            <a:prstGeom prst="rect">
              <a:avLst/>
            </a:prstGeom>
          </p:spPr>
        </p:pic>
      </p:grpSp>
      <p:grpSp>
        <p:nvGrpSpPr>
          <p:cNvPr id="96" name="Group 95"/>
          <p:cNvGrpSpPr/>
          <p:nvPr/>
        </p:nvGrpSpPr>
        <p:grpSpPr>
          <a:xfrm>
            <a:off x="8529975" y="896700"/>
            <a:ext cx="2211227" cy="1486146"/>
            <a:chOff x="8528386" y="3738997"/>
            <a:chExt cx="2211227" cy="1486146"/>
          </a:xfrm>
        </p:grpSpPr>
        <p:sp>
          <p:nvSpPr>
            <p:cNvPr id="97" name="Rounded Rectangle 96"/>
            <p:cNvSpPr/>
            <p:nvPr/>
          </p:nvSpPr>
          <p:spPr bwMode="auto">
            <a:xfrm>
              <a:off x="8528386" y="3738997"/>
              <a:ext cx="2211227" cy="1486146"/>
            </a:xfrm>
            <a:prstGeom prst="roundRect">
              <a:avLst>
                <a:gd name="adj" fmla="val 568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98" name="Picture 9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85212" y="3864023"/>
              <a:ext cx="692412" cy="626332"/>
            </a:xfrm>
            <a:prstGeom prst="rect">
              <a:avLst/>
            </a:prstGeom>
          </p:spPr>
        </p:pic>
      </p:grpSp>
      <p:grpSp>
        <p:nvGrpSpPr>
          <p:cNvPr id="15" name="Group 14"/>
          <p:cNvGrpSpPr/>
          <p:nvPr/>
        </p:nvGrpSpPr>
        <p:grpSpPr>
          <a:xfrm>
            <a:off x="3794363" y="3028345"/>
            <a:ext cx="2211227" cy="1486146"/>
            <a:chOff x="3854418" y="3028345"/>
            <a:chExt cx="2211227" cy="1486146"/>
          </a:xfrm>
        </p:grpSpPr>
        <p:grpSp>
          <p:nvGrpSpPr>
            <p:cNvPr id="128" name="Group 127"/>
            <p:cNvGrpSpPr/>
            <p:nvPr/>
          </p:nvGrpSpPr>
          <p:grpSpPr>
            <a:xfrm>
              <a:off x="3854418" y="3028345"/>
              <a:ext cx="2211227" cy="1486146"/>
              <a:chOff x="1446212" y="3738997"/>
              <a:chExt cx="2211227" cy="1486146"/>
            </a:xfrm>
          </p:grpSpPr>
          <p:sp>
            <p:nvSpPr>
              <p:cNvPr id="129" name="Rounded Rectangle 128"/>
              <p:cNvSpPr/>
              <p:nvPr/>
            </p:nvSpPr>
            <p:spPr bwMode="auto">
              <a:xfrm>
                <a:off x="1446212" y="3738997"/>
                <a:ext cx="2211227" cy="1486146"/>
              </a:xfrm>
              <a:prstGeom prst="roundRect">
                <a:avLst>
                  <a:gd name="adj" fmla="val 568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30" name="Picture 1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03038" y="3864023"/>
                <a:ext cx="692412" cy="626332"/>
              </a:xfrm>
              <a:prstGeom prst="rect">
                <a:avLst/>
              </a:prstGeom>
            </p:spPr>
          </p:pic>
        </p:grpSp>
        <p:sp>
          <p:nvSpPr>
            <p:cNvPr id="142" name="TextBox 141"/>
            <p:cNvSpPr txBox="1"/>
            <p:nvPr/>
          </p:nvSpPr>
          <p:spPr>
            <a:xfrm>
              <a:off x="4034171" y="3895182"/>
              <a:ext cx="1869627" cy="517065"/>
            </a:xfrm>
            <a:prstGeom prst="rect">
              <a:avLst/>
            </a:prstGeom>
            <a:noFill/>
          </p:spPr>
          <p:txBody>
            <a:bodyPr wrap="square" lIns="0" tIns="0" rIns="0" bIns="0" rtlCol="0">
              <a:spAutoFit/>
            </a:bodyPr>
            <a:lstStyle/>
            <a:p>
              <a:pPr defTabSz="1218987">
                <a:lnSpc>
                  <a:spcPct val="80000"/>
                </a:lnSpc>
                <a:buSzPct val="80000"/>
              </a:pPr>
              <a:r>
                <a:rPr lang="en-US" sz="2400" dirty="0">
                  <a:gradFill>
                    <a:gsLst>
                      <a:gs pos="0">
                        <a:srgbClr val="FFFFFF"/>
                      </a:gs>
                      <a:gs pos="100000">
                        <a:srgbClr val="FFFFFF"/>
                      </a:gs>
                    </a:gsLst>
                    <a:lin ang="5400000" scaled="0"/>
                  </a:gradFill>
                </a:rPr>
                <a:t>12GB Cache</a:t>
              </a:r>
            </a:p>
            <a:p>
              <a:pPr defTabSz="1218987">
                <a:lnSpc>
                  <a:spcPct val="80000"/>
                </a:lnSpc>
                <a:buSzPct val="80000"/>
              </a:pPr>
              <a:r>
                <a:rPr lang="en-US" dirty="0">
                  <a:gradFill>
                    <a:gsLst>
                      <a:gs pos="0">
                        <a:srgbClr val="FFFFFF"/>
                      </a:gs>
                      <a:gs pos="100000">
                        <a:srgbClr val="FFFFFF"/>
                      </a:gs>
                    </a:gsLst>
                    <a:lin ang="5400000" scaled="0"/>
                  </a:gradFill>
                </a:rPr>
                <a:t>Worker Role</a:t>
              </a:r>
            </a:p>
          </p:txBody>
        </p:sp>
      </p:grpSp>
      <p:grpSp>
        <p:nvGrpSpPr>
          <p:cNvPr id="16" name="Group 15"/>
          <p:cNvGrpSpPr/>
          <p:nvPr/>
        </p:nvGrpSpPr>
        <p:grpSpPr>
          <a:xfrm>
            <a:off x="6156563" y="3028345"/>
            <a:ext cx="2211227" cy="1486146"/>
            <a:chOff x="6216618" y="3028345"/>
            <a:chExt cx="2211227" cy="1486146"/>
          </a:xfrm>
        </p:grpSpPr>
        <p:grpSp>
          <p:nvGrpSpPr>
            <p:cNvPr id="131" name="Group 130"/>
            <p:cNvGrpSpPr/>
            <p:nvPr/>
          </p:nvGrpSpPr>
          <p:grpSpPr>
            <a:xfrm>
              <a:off x="6216618" y="3028345"/>
              <a:ext cx="2211227" cy="1486146"/>
              <a:chOff x="3808412" y="3738997"/>
              <a:chExt cx="2211227" cy="1486146"/>
            </a:xfrm>
          </p:grpSpPr>
          <p:sp>
            <p:nvSpPr>
              <p:cNvPr id="132" name="Rounded Rectangle 131"/>
              <p:cNvSpPr/>
              <p:nvPr/>
            </p:nvSpPr>
            <p:spPr bwMode="auto">
              <a:xfrm>
                <a:off x="3808412" y="3738997"/>
                <a:ext cx="2211227" cy="1486146"/>
              </a:xfrm>
              <a:prstGeom prst="roundRect">
                <a:avLst>
                  <a:gd name="adj" fmla="val 568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33" name="Picture 1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65238" y="3864023"/>
                <a:ext cx="692412" cy="626332"/>
              </a:xfrm>
              <a:prstGeom prst="rect">
                <a:avLst/>
              </a:prstGeom>
            </p:spPr>
          </p:pic>
        </p:grpSp>
        <p:sp>
          <p:nvSpPr>
            <p:cNvPr id="143" name="TextBox 142"/>
            <p:cNvSpPr txBox="1"/>
            <p:nvPr/>
          </p:nvSpPr>
          <p:spPr>
            <a:xfrm>
              <a:off x="6391945" y="3895182"/>
              <a:ext cx="1869627" cy="517065"/>
            </a:xfrm>
            <a:prstGeom prst="rect">
              <a:avLst/>
            </a:prstGeom>
            <a:noFill/>
          </p:spPr>
          <p:txBody>
            <a:bodyPr wrap="square" lIns="0" tIns="0" rIns="0" bIns="0" rtlCol="0">
              <a:spAutoFit/>
            </a:bodyPr>
            <a:lstStyle/>
            <a:p>
              <a:pPr defTabSz="1218987">
                <a:lnSpc>
                  <a:spcPct val="80000"/>
                </a:lnSpc>
                <a:buSzPct val="80000"/>
              </a:pPr>
              <a:r>
                <a:rPr lang="en-US" sz="2400" dirty="0">
                  <a:gradFill>
                    <a:gsLst>
                      <a:gs pos="0">
                        <a:srgbClr val="FFFFFF"/>
                      </a:gs>
                      <a:gs pos="100000">
                        <a:srgbClr val="FFFFFF"/>
                      </a:gs>
                    </a:gsLst>
                    <a:lin ang="5400000" scaled="0"/>
                  </a:gradFill>
                </a:rPr>
                <a:t>12GB Cache</a:t>
              </a:r>
            </a:p>
            <a:p>
              <a:pPr defTabSz="1218987">
                <a:lnSpc>
                  <a:spcPct val="80000"/>
                </a:lnSpc>
                <a:buSzPct val="80000"/>
              </a:pPr>
              <a:r>
                <a:rPr lang="en-US" dirty="0">
                  <a:gradFill>
                    <a:gsLst>
                      <a:gs pos="0">
                        <a:srgbClr val="FFFFFF"/>
                      </a:gs>
                      <a:gs pos="100000">
                        <a:srgbClr val="FFFFFF"/>
                      </a:gs>
                    </a:gsLst>
                    <a:lin ang="5400000" scaled="0"/>
                  </a:gradFill>
                </a:rPr>
                <a:t>Worker Role</a:t>
              </a:r>
            </a:p>
          </p:txBody>
        </p:sp>
      </p:grpSp>
      <p:grpSp>
        <p:nvGrpSpPr>
          <p:cNvPr id="14" name="Group 13"/>
          <p:cNvGrpSpPr/>
          <p:nvPr/>
        </p:nvGrpSpPr>
        <p:grpSpPr>
          <a:xfrm>
            <a:off x="2541818" y="5652132"/>
            <a:ext cx="7645400" cy="914096"/>
            <a:chOff x="2540230" y="5754872"/>
            <a:chExt cx="7645400" cy="914096"/>
          </a:xfrm>
        </p:grpSpPr>
        <p:sp>
          <p:nvSpPr>
            <p:cNvPr id="146" name="Rectangle 145"/>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7" name="TextBox 146"/>
            <p:cNvSpPr txBox="1"/>
            <p:nvPr/>
          </p:nvSpPr>
          <p:spPr>
            <a:xfrm>
              <a:off x="9195030" y="5754872"/>
              <a:ext cx="990600" cy="914096"/>
            </a:xfrm>
            <a:prstGeom prst="rect">
              <a:avLst/>
            </a:prstGeom>
            <a:noFill/>
          </p:spPr>
          <p:txBody>
            <a:bodyPr wrap="square" lIns="0" tIns="0" rIns="0" bIns="0" rtlCol="0">
              <a:spAutoFit/>
            </a:bodyPr>
            <a:lstStyle/>
            <a:p>
              <a:pPr algn="ctr" defTabSz="1218987">
                <a:lnSpc>
                  <a:spcPct val="90000"/>
                </a:lnSpc>
                <a:spcBef>
                  <a:spcPct val="20000"/>
                </a:spcBef>
                <a:buSzPct val="80000"/>
              </a:pPr>
              <a:r>
                <a:rPr lang="en-US" sz="6600" dirty="0">
                  <a:solidFill>
                    <a:srgbClr val="5F5F5F">
                      <a:alpha val="99000"/>
                    </a:srgbClr>
                  </a:solidFill>
                  <a:latin typeface="Segoe UI Light" pitchFamily="34" charset="0"/>
                </a:rPr>
                <a:t>4</a:t>
              </a:r>
            </a:p>
          </p:txBody>
        </p:sp>
        <p:sp>
          <p:nvSpPr>
            <p:cNvPr id="148" name="Rectangle 147"/>
            <p:cNvSpPr/>
            <p:nvPr/>
          </p:nvSpPr>
          <p:spPr bwMode="auto">
            <a:xfrm>
              <a:off x="2543998" y="6093146"/>
              <a:ext cx="2705335"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nvGrpSpPr>
          <p:cNvPr id="37" name="Group 36"/>
          <p:cNvGrpSpPr/>
          <p:nvPr/>
        </p:nvGrpSpPr>
        <p:grpSpPr>
          <a:xfrm>
            <a:off x="1416979" y="3028345"/>
            <a:ext cx="2211227" cy="1486146"/>
            <a:chOff x="3854418" y="3028345"/>
            <a:chExt cx="2211227" cy="1486146"/>
          </a:xfrm>
        </p:grpSpPr>
        <p:grpSp>
          <p:nvGrpSpPr>
            <p:cNvPr id="38" name="Group 37"/>
            <p:cNvGrpSpPr/>
            <p:nvPr/>
          </p:nvGrpSpPr>
          <p:grpSpPr>
            <a:xfrm>
              <a:off x="3854418" y="3028345"/>
              <a:ext cx="2211227" cy="1486146"/>
              <a:chOff x="1446212" y="3738997"/>
              <a:chExt cx="2211227" cy="1486146"/>
            </a:xfrm>
          </p:grpSpPr>
          <p:sp>
            <p:nvSpPr>
              <p:cNvPr id="40" name="Rounded Rectangle 39"/>
              <p:cNvSpPr/>
              <p:nvPr/>
            </p:nvSpPr>
            <p:spPr bwMode="auto">
              <a:xfrm>
                <a:off x="1446212" y="3738997"/>
                <a:ext cx="2211227" cy="1486146"/>
              </a:xfrm>
              <a:prstGeom prst="roundRect">
                <a:avLst>
                  <a:gd name="adj" fmla="val 568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41" name="Picture 4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03038" y="3864023"/>
                <a:ext cx="692412" cy="626332"/>
              </a:xfrm>
              <a:prstGeom prst="rect">
                <a:avLst/>
              </a:prstGeom>
            </p:spPr>
          </p:pic>
        </p:grpSp>
        <p:sp>
          <p:nvSpPr>
            <p:cNvPr id="39" name="TextBox 38"/>
            <p:cNvSpPr txBox="1"/>
            <p:nvPr/>
          </p:nvSpPr>
          <p:spPr>
            <a:xfrm>
              <a:off x="4034171" y="3895182"/>
              <a:ext cx="1869627" cy="517065"/>
            </a:xfrm>
            <a:prstGeom prst="rect">
              <a:avLst/>
            </a:prstGeom>
            <a:noFill/>
          </p:spPr>
          <p:txBody>
            <a:bodyPr wrap="square" lIns="0" tIns="0" rIns="0" bIns="0" rtlCol="0">
              <a:spAutoFit/>
            </a:bodyPr>
            <a:lstStyle/>
            <a:p>
              <a:pPr defTabSz="1218987">
                <a:lnSpc>
                  <a:spcPct val="80000"/>
                </a:lnSpc>
                <a:buSzPct val="80000"/>
              </a:pPr>
              <a:r>
                <a:rPr lang="en-US" sz="2400" dirty="0">
                  <a:gradFill>
                    <a:gsLst>
                      <a:gs pos="0">
                        <a:srgbClr val="FFFFFF"/>
                      </a:gs>
                      <a:gs pos="100000">
                        <a:srgbClr val="FFFFFF"/>
                      </a:gs>
                    </a:gsLst>
                    <a:lin ang="5400000" scaled="0"/>
                  </a:gradFill>
                </a:rPr>
                <a:t>12GB Cache</a:t>
              </a:r>
            </a:p>
            <a:p>
              <a:pPr defTabSz="1218987">
                <a:lnSpc>
                  <a:spcPct val="80000"/>
                </a:lnSpc>
                <a:buSzPct val="80000"/>
              </a:pPr>
              <a:r>
                <a:rPr lang="en-US" dirty="0">
                  <a:gradFill>
                    <a:gsLst>
                      <a:gs pos="0">
                        <a:srgbClr val="FFFFFF"/>
                      </a:gs>
                      <a:gs pos="100000">
                        <a:srgbClr val="FFFFFF"/>
                      </a:gs>
                    </a:gsLst>
                    <a:lin ang="5400000" scaled="0"/>
                  </a:gradFill>
                </a:rPr>
                <a:t>Worker Role</a:t>
              </a:r>
            </a:p>
          </p:txBody>
        </p:sp>
      </p:grpSp>
      <p:grpSp>
        <p:nvGrpSpPr>
          <p:cNvPr id="42" name="Group 41"/>
          <p:cNvGrpSpPr/>
          <p:nvPr/>
        </p:nvGrpSpPr>
        <p:grpSpPr>
          <a:xfrm>
            <a:off x="8518135" y="3028345"/>
            <a:ext cx="2211227" cy="1486146"/>
            <a:chOff x="6216618" y="3028345"/>
            <a:chExt cx="2211227" cy="1486146"/>
          </a:xfrm>
        </p:grpSpPr>
        <p:grpSp>
          <p:nvGrpSpPr>
            <p:cNvPr id="43" name="Group 42"/>
            <p:cNvGrpSpPr/>
            <p:nvPr/>
          </p:nvGrpSpPr>
          <p:grpSpPr>
            <a:xfrm>
              <a:off x="6216618" y="3028345"/>
              <a:ext cx="2211227" cy="1486146"/>
              <a:chOff x="3808412" y="3738997"/>
              <a:chExt cx="2211227" cy="1486146"/>
            </a:xfrm>
          </p:grpSpPr>
          <p:sp>
            <p:nvSpPr>
              <p:cNvPr id="45" name="Rounded Rectangle 44"/>
              <p:cNvSpPr/>
              <p:nvPr/>
            </p:nvSpPr>
            <p:spPr bwMode="auto">
              <a:xfrm>
                <a:off x="3808412" y="3738997"/>
                <a:ext cx="2211227" cy="1486146"/>
              </a:xfrm>
              <a:prstGeom prst="roundRect">
                <a:avLst>
                  <a:gd name="adj" fmla="val 568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65238" y="3864023"/>
                <a:ext cx="692412" cy="626332"/>
              </a:xfrm>
              <a:prstGeom prst="rect">
                <a:avLst/>
              </a:prstGeom>
            </p:spPr>
          </p:pic>
        </p:grpSp>
        <p:sp>
          <p:nvSpPr>
            <p:cNvPr id="44" name="TextBox 43"/>
            <p:cNvSpPr txBox="1"/>
            <p:nvPr/>
          </p:nvSpPr>
          <p:spPr>
            <a:xfrm>
              <a:off x="6391945" y="3895182"/>
              <a:ext cx="1869627" cy="517065"/>
            </a:xfrm>
            <a:prstGeom prst="rect">
              <a:avLst/>
            </a:prstGeom>
            <a:noFill/>
          </p:spPr>
          <p:txBody>
            <a:bodyPr wrap="square" lIns="0" tIns="0" rIns="0" bIns="0" rtlCol="0">
              <a:spAutoFit/>
            </a:bodyPr>
            <a:lstStyle/>
            <a:p>
              <a:pPr defTabSz="1218987">
                <a:lnSpc>
                  <a:spcPct val="80000"/>
                </a:lnSpc>
                <a:buSzPct val="80000"/>
              </a:pPr>
              <a:r>
                <a:rPr lang="en-US" sz="2400" dirty="0">
                  <a:gradFill>
                    <a:gsLst>
                      <a:gs pos="0">
                        <a:srgbClr val="FFFFFF"/>
                      </a:gs>
                      <a:gs pos="100000">
                        <a:srgbClr val="FFFFFF"/>
                      </a:gs>
                    </a:gsLst>
                    <a:lin ang="5400000" scaled="0"/>
                  </a:gradFill>
                </a:rPr>
                <a:t>12GB Cache</a:t>
              </a:r>
            </a:p>
            <a:p>
              <a:pPr defTabSz="1218987">
                <a:lnSpc>
                  <a:spcPct val="80000"/>
                </a:lnSpc>
                <a:buSzPct val="80000"/>
              </a:pPr>
              <a:r>
                <a:rPr lang="en-US" dirty="0">
                  <a:gradFill>
                    <a:gsLst>
                      <a:gs pos="0">
                        <a:srgbClr val="FFFFFF"/>
                      </a:gs>
                      <a:gs pos="100000">
                        <a:srgbClr val="FFFFFF"/>
                      </a:gs>
                    </a:gsLst>
                    <a:lin ang="5400000" scaled="0"/>
                  </a:gradFill>
                </a:rPr>
                <a:t>Worker Role</a:t>
              </a:r>
            </a:p>
          </p:txBody>
        </p:sp>
      </p:grpSp>
      <p:sp>
        <p:nvSpPr>
          <p:cNvPr id="47" name="TextBox 46"/>
          <p:cNvSpPr txBox="1"/>
          <p:nvPr/>
        </p:nvSpPr>
        <p:spPr>
          <a:xfrm>
            <a:off x="3474427" y="4733326"/>
            <a:ext cx="5340302" cy="393954"/>
          </a:xfrm>
          <a:prstGeom prst="rect">
            <a:avLst/>
          </a:prstGeom>
          <a:noFill/>
        </p:spPr>
        <p:txBody>
          <a:bodyPr wrap="square" lIns="0" tIns="0" rIns="0" bIns="0" rtlCol="0">
            <a:spAutoFit/>
          </a:bodyPr>
          <a:lstStyle/>
          <a:p>
            <a:pPr algn="ctr" defTabSz="1218987">
              <a:lnSpc>
                <a:spcPct val="80000"/>
              </a:lnSpc>
              <a:buSzPct val="80000"/>
            </a:pPr>
            <a:r>
              <a:rPr lang="en-US" sz="3200" dirty="0">
                <a:solidFill>
                  <a:srgbClr val="5F5F5F">
                    <a:alpha val="99000"/>
                  </a:srgbClr>
                </a:solidFill>
                <a:latin typeface="Segoe UI Light"/>
              </a:rPr>
              <a:t>48GB Distributed Cache</a:t>
            </a:r>
          </a:p>
        </p:txBody>
      </p:sp>
      <p:sp>
        <p:nvSpPr>
          <p:cNvPr id="48" name="Rectangle 47"/>
          <p:cNvSpPr/>
          <p:nvPr/>
        </p:nvSpPr>
        <p:spPr bwMode="auto">
          <a:xfrm>
            <a:off x="5239679" y="5837953"/>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1373825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cBhvr additive="base">
                                        <p:cTn id="7" dur="1250"/>
                                        <p:tgtEl>
                                          <p:spTgt spid="37"/>
                                        </p:tgtEl>
                                        <p:attrNameLst>
                                          <p:attrName>ppt_x</p:attrName>
                                        </p:attrNameLst>
                                      </p:cBhvr>
                                      <p:tavLst>
                                        <p:tav tm="0">
                                          <p:val>
                                            <p:strVal val="#ppt_x+#ppt_w*1.125000"/>
                                          </p:val>
                                        </p:tav>
                                        <p:tav tm="100000">
                                          <p:val>
                                            <p:strVal val="#ppt_x"/>
                                          </p:val>
                                        </p:tav>
                                      </p:tavLst>
                                    </p:anim>
                                    <p:animEffect transition="in" filter="wipe(left)">
                                      <p:cBhvr>
                                        <p:cTn id="8" dur="1250"/>
                                        <p:tgtEl>
                                          <p:spTgt spid="37"/>
                                        </p:tgtEl>
                                      </p:cBhvr>
                                    </p:animEffect>
                                  </p:childTnLst>
                                </p:cTn>
                              </p:par>
                              <p:par>
                                <p:cTn id="9" presetID="12" presetClass="entr" presetSubtype="8" fill="hold" nodeType="withEffect">
                                  <p:stCondLst>
                                    <p:cond delay="0"/>
                                  </p:stCondLst>
                                  <p:childTnLst>
                                    <p:set>
                                      <p:cBhvr>
                                        <p:cTn id="10" dur="1" fill="hold">
                                          <p:stCondLst>
                                            <p:cond delay="0"/>
                                          </p:stCondLst>
                                        </p:cTn>
                                        <p:tgtEl>
                                          <p:spTgt spid="42"/>
                                        </p:tgtEl>
                                        <p:attrNameLst>
                                          <p:attrName>style.visibility</p:attrName>
                                        </p:attrNameLst>
                                      </p:cBhvr>
                                      <p:to>
                                        <p:strVal val="visible"/>
                                      </p:to>
                                    </p:set>
                                    <p:anim calcmode="lin" valueType="num">
                                      <p:cBhvr additive="base">
                                        <p:cTn id="11" dur="1250"/>
                                        <p:tgtEl>
                                          <p:spTgt spid="42"/>
                                        </p:tgtEl>
                                        <p:attrNameLst>
                                          <p:attrName>ppt_x</p:attrName>
                                        </p:attrNameLst>
                                      </p:cBhvr>
                                      <p:tavLst>
                                        <p:tav tm="0">
                                          <p:val>
                                            <p:strVal val="#ppt_x-#ppt_w*1.125000"/>
                                          </p:val>
                                        </p:tav>
                                        <p:tav tm="100000">
                                          <p:val>
                                            <p:strVal val="#ppt_x"/>
                                          </p:val>
                                        </p:tav>
                                      </p:tavLst>
                                    </p:anim>
                                    <p:animEffect transition="in" filter="wipe(right)">
                                      <p:cBhvr>
                                        <p:cTn id="12" dur="1250"/>
                                        <p:tgtEl>
                                          <p:spTgt spid="42"/>
                                        </p:tgtEl>
                                      </p:cBhvr>
                                    </p:animEffect>
                                  </p:childTnLst>
                                </p:cTn>
                              </p:par>
                            </p:childTnLst>
                          </p:cTn>
                        </p:par>
                        <p:par>
                          <p:cTn id="13" fill="hold">
                            <p:stCondLst>
                              <p:cond delay="1250"/>
                            </p:stCondLst>
                            <p:childTnLst>
                              <p:par>
                                <p:cTn id="14" presetID="10" presetClass="exit" presetSubtype="0" fill="hold" grpId="0" nodeType="afterEffect">
                                  <p:stCondLst>
                                    <p:cond delay="0"/>
                                  </p:stCondLst>
                                  <p:childTnLst>
                                    <p:animEffect transition="out" filter="fade">
                                      <p:cBhvr>
                                        <p:cTn id="15" dur="500"/>
                                        <p:tgtEl>
                                          <p:spTgt spid="83"/>
                                        </p:tgtEl>
                                      </p:cBhvr>
                                    </p:animEffect>
                                    <p:set>
                                      <p:cBhvr>
                                        <p:cTn id="16" dur="1" fill="hold">
                                          <p:stCondLst>
                                            <p:cond delay="499"/>
                                          </p:stCondLst>
                                        </p:cTn>
                                        <p:tgtEl>
                                          <p:spTgt spid="83"/>
                                        </p:tgtEl>
                                        <p:attrNameLst>
                                          <p:attrName>style.visibility</p:attrName>
                                        </p:attrNameLst>
                                      </p:cBhvr>
                                      <p:to>
                                        <p:strVal val="hidden"/>
                                      </p:to>
                                    </p:set>
                                  </p:childTnLst>
                                </p:cTn>
                              </p:par>
                            </p:childTnLst>
                          </p:cTn>
                        </p:par>
                        <p:par>
                          <p:cTn id="17" fill="hold">
                            <p:stCondLst>
                              <p:cond delay="1750"/>
                            </p:stCondLst>
                            <p:childTnLst>
                              <p:par>
                                <p:cTn id="18" presetID="10" presetClass="entr" presetSubtype="0" fill="hold" grpId="0" nodeType="afterEffect">
                                  <p:stCondLst>
                                    <p:cond delay="0"/>
                                  </p:stCondLst>
                                  <p:childTnLst>
                                    <p:set>
                                      <p:cBhvr>
                                        <p:cTn id="19" dur="1" fill="hold">
                                          <p:stCondLst>
                                            <p:cond delay="0"/>
                                          </p:stCondLst>
                                        </p:cTn>
                                        <p:tgtEl>
                                          <p:spTgt spid="47"/>
                                        </p:tgtEl>
                                        <p:attrNameLst>
                                          <p:attrName>style.visibility</p:attrName>
                                        </p:attrNameLst>
                                      </p:cBhvr>
                                      <p:to>
                                        <p:strVal val="visible"/>
                                      </p:to>
                                    </p:set>
                                    <p:animEffect transition="in" filter="fade">
                                      <p:cBhvr>
                                        <p:cTn id="20"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p:bldP spid="47"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Mobile Services</a:t>
            </a:r>
            <a:endParaRPr lang="en-US" dirty="0"/>
          </a:p>
        </p:txBody>
      </p:sp>
    </p:spTree>
    <p:extLst>
      <p:ext uri="{BB962C8B-B14F-4D97-AF65-F5344CB8AC3E}">
        <p14:creationId xmlns:p14="http://schemas.microsoft.com/office/powerpoint/2010/main" val="2454628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2113" y="228602"/>
            <a:ext cx="11669711" cy="757131"/>
          </a:xfrm>
        </p:spPr>
        <p:txBody>
          <a:bodyPr/>
          <a:lstStyle/>
          <a:p>
            <a:r>
              <a:rPr lang="en-US" dirty="0" smtClean="0"/>
              <a:t>What is Windows Azure Mobile Services?</a:t>
            </a:r>
            <a:endParaRPr lang="en-US" dirty="0"/>
          </a:p>
        </p:txBody>
      </p:sp>
      <p:grpSp>
        <p:nvGrpSpPr>
          <p:cNvPr id="51" name="Group 50"/>
          <p:cNvGrpSpPr/>
          <p:nvPr/>
        </p:nvGrpSpPr>
        <p:grpSpPr>
          <a:xfrm>
            <a:off x="4712968" y="4845395"/>
            <a:ext cx="1524000" cy="1524000"/>
            <a:chOff x="2142565" y="3054079"/>
            <a:chExt cx="1524000" cy="1524000"/>
          </a:xfrm>
          <a:solidFill>
            <a:srgbClr val="00AEEF"/>
          </a:solidFill>
        </p:grpSpPr>
        <p:sp>
          <p:nvSpPr>
            <p:cNvPr id="52" name="Rectangle 51"/>
            <p:cNvSpPr/>
            <p:nvPr>
              <p:custDataLst>
                <p:tags r:id="rId7"/>
              </p:custDataLst>
            </p:nvPr>
          </p:nvSpPr>
          <p:spPr bwMode="auto">
            <a:xfrm>
              <a:off x="2142565" y="3054079"/>
              <a:ext cx="1524000" cy="1524000"/>
            </a:xfrm>
            <a:prstGeom prst="rect">
              <a:avLst/>
            </a:prstGeom>
            <a:grpFill/>
            <a:ln w="10795" cap="flat" cmpd="sng" algn="ctr">
              <a:noFill/>
              <a:prstDash val="solid"/>
              <a:headEnd type="none" w="med" len="med"/>
              <a:tailEnd type="none" w="med" len="med"/>
            </a:ln>
            <a:effectLst/>
          </p:spPr>
          <p:txBody>
            <a:bodyPr vert="horz" wrap="square" lIns="68580" tIns="45720" rIns="68580" bIns="45720" numCol="1" rtlCol="0" anchor="b" anchorCtr="0" compatLnSpc="1">
              <a:prstTxWarp prst="textNoShape">
                <a:avLst/>
              </a:prstTxWarp>
            </a:bodyPr>
            <a:lstStyle/>
            <a:p>
              <a:pPr defTabSz="913757" fontAlgn="base">
                <a:spcBef>
                  <a:spcPct val="0"/>
                </a:spcBef>
                <a:spcAft>
                  <a:spcPct val="0"/>
                </a:spcAft>
                <a:defRPr/>
              </a:pPr>
              <a:r>
                <a:rPr lang="en-US" sz="1500" kern="0" dirty="0">
                  <a:gradFill flip="none" rotWithShape="1">
                    <a:gsLst>
                      <a:gs pos="0">
                        <a:srgbClr val="FFFFFF"/>
                      </a:gs>
                      <a:gs pos="100000">
                        <a:srgbClr val="FFFFFF"/>
                      </a:gs>
                    </a:gsLst>
                    <a:lin ang="5400000" scaled="0"/>
                    <a:tileRect/>
                  </a:gradFill>
                </a:rPr>
                <a:t>Data</a:t>
              </a:r>
            </a:p>
          </p:txBody>
        </p:sp>
        <p:sp>
          <p:nvSpPr>
            <p:cNvPr id="53" name="Freeform 6"/>
            <p:cNvSpPr>
              <a:spLocks noEditPoints="1"/>
            </p:cNvSpPr>
            <p:nvPr/>
          </p:nvSpPr>
          <p:spPr bwMode="auto">
            <a:xfrm>
              <a:off x="2658094" y="3363025"/>
              <a:ext cx="528255" cy="8045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057">
                <a:defRPr/>
              </a:pPr>
              <a:endParaRPr lang="en-US" sz="2400" kern="0" dirty="0">
                <a:solidFill>
                  <a:sysClr val="windowText" lastClr="000000"/>
                </a:solidFill>
              </a:endParaRPr>
            </a:p>
          </p:txBody>
        </p:sp>
      </p:grpSp>
      <p:sp>
        <p:nvSpPr>
          <p:cNvPr id="54" name="Rectangle 53"/>
          <p:cNvSpPr/>
          <p:nvPr>
            <p:custDataLst>
              <p:tags r:id="rId1"/>
            </p:custDataLst>
          </p:nvPr>
        </p:nvSpPr>
        <p:spPr bwMode="auto">
          <a:xfrm>
            <a:off x="6330130" y="3229955"/>
            <a:ext cx="1524000" cy="1524000"/>
          </a:xfrm>
          <a:prstGeom prst="rect">
            <a:avLst/>
          </a:prstGeom>
          <a:solidFill>
            <a:srgbClr val="00AEEF"/>
          </a:solidFill>
          <a:ln w="10795" cap="flat" cmpd="sng" algn="ctr">
            <a:noFill/>
            <a:prstDash val="solid"/>
            <a:headEnd type="none" w="med" len="med"/>
            <a:tailEnd type="none" w="med" len="med"/>
          </a:ln>
          <a:effectLst/>
        </p:spPr>
        <p:txBody>
          <a:bodyPr vert="horz" wrap="square" lIns="68556" tIns="45703" rIns="68556" bIns="45703" numCol="1" rtlCol="0" anchor="b" anchorCtr="0" compatLnSpc="1">
            <a:prstTxWarp prst="textNoShape">
              <a:avLst/>
            </a:prstTxWarp>
          </a:bodyPr>
          <a:lstStyle/>
          <a:p>
            <a:pPr defTabSz="913757" fontAlgn="base">
              <a:spcBef>
                <a:spcPct val="0"/>
              </a:spcBef>
              <a:spcAft>
                <a:spcPct val="0"/>
              </a:spcAft>
              <a:defRPr/>
            </a:pPr>
            <a:r>
              <a:rPr lang="en-US" sz="1500" kern="0" dirty="0">
                <a:gradFill flip="none" rotWithShape="1">
                  <a:gsLst>
                    <a:gs pos="0">
                      <a:srgbClr val="FFFFFF"/>
                    </a:gs>
                    <a:gs pos="100000">
                      <a:srgbClr val="FFFFFF"/>
                    </a:gs>
                  </a:gsLst>
                  <a:lin ang="5400000" scaled="0"/>
                  <a:tileRect/>
                </a:gradFill>
              </a:rPr>
              <a:t>Notifications</a:t>
            </a:r>
          </a:p>
        </p:txBody>
      </p:sp>
      <p:grpSp>
        <p:nvGrpSpPr>
          <p:cNvPr id="55" name="Group 54"/>
          <p:cNvGrpSpPr/>
          <p:nvPr/>
        </p:nvGrpSpPr>
        <p:grpSpPr>
          <a:xfrm>
            <a:off x="6762149" y="3380752"/>
            <a:ext cx="451426" cy="962719"/>
            <a:chOff x="4005600" y="3173284"/>
            <a:chExt cx="555603" cy="1178245"/>
          </a:xfrm>
        </p:grpSpPr>
        <p:sp>
          <p:nvSpPr>
            <p:cNvPr id="56" name="Oval 16"/>
            <p:cNvSpPr>
              <a:spLocks noChangeArrowheads="1"/>
            </p:cNvSpPr>
            <p:nvPr/>
          </p:nvSpPr>
          <p:spPr bwMode="black">
            <a:xfrm>
              <a:off x="4308655" y="3173284"/>
              <a:ext cx="197828" cy="193569"/>
            </a:xfrm>
            <a:prstGeom prst="ellipse">
              <a:avLst/>
            </a:prstGeom>
            <a:solidFill>
              <a:srgbClr val="FFFFFF"/>
            </a:solidFill>
            <a:ln>
              <a:noFill/>
            </a:ln>
            <a:extLst/>
          </p:spPr>
          <p:txBody>
            <a:bodyPr vert="horz" wrap="square" lIns="91440" tIns="45720" rIns="91440" bIns="45720" numCol="1" anchor="t" anchorCtr="0" compatLnSpc="1">
              <a:prstTxWarp prst="textNoShape">
                <a:avLst/>
              </a:prstTxWarp>
            </a:bodyPr>
            <a:lstStyle/>
            <a:p>
              <a:pPr defTabSz="914057">
                <a:defRPr/>
              </a:pPr>
              <a:endParaRPr lang="en-US" sz="2400" kern="0">
                <a:solidFill>
                  <a:sysClr val="windowText" lastClr="000000"/>
                </a:solidFill>
              </a:endParaRPr>
            </a:p>
          </p:txBody>
        </p:sp>
        <p:sp>
          <p:nvSpPr>
            <p:cNvPr id="57" name="Freeform 17"/>
            <p:cNvSpPr>
              <a:spLocks/>
            </p:cNvSpPr>
            <p:nvPr/>
          </p:nvSpPr>
          <p:spPr bwMode="black">
            <a:xfrm>
              <a:off x="4133978" y="3411037"/>
              <a:ext cx="427225" cy="940492"/>
            </a:xfrm>
            <a:custGeom>
              <a:avLst/>
              <a:gdLst>
                <a:gd name="T0" fmla="*/ 76 w 86"/>
                <a:gd name="T1" fmla="*/ 0 h 189"/>
                <a:gd name="T2" fmla="*/ 80 w 86"/>
                <a:gd name="T3" fmla="*/ 3 h 189"/>
                <a:gd name="T4" fmla="*/ 83 w 86"/>
                <a:gd name="T5" fmla="*/ 11 h 189"/>
                <a:gd name="T6" fmla="*/ 78 w 86"/>
                <a:gd name="T7" fmla="*/ 21 h 189"/>
                <a:gd name="T8" fmla="*/ 44 w 86"/>
                <a:gd name="T9" fmla="*/ 47 h 189"/>
                <a:gd name="T10" fmla="*/ 39 w 86"/>
                <a:gd name="T11" fmla="*/ 50 h 189"/>
                <a:gd name="T12" fmla="*/ 39 w 86"/>
                <a:gd name="T13" fmla="*/ 81 h 189"/>
                <a:gd name="T14" fmla="*/ 2 w 86"/>
                <a:gd name="T15" fmla="*/ 173 h 189"/>
                <a:gd name="T16" fmla="*/ 9 w 86"/>
                <a:gd name="T17" fmla="*/ 188 h 189"/>
                <a:gd name="T18" fmla="*/ 13 w 86"/>
                <a:gd name="T19" fmla="*/ 189 h 189"/>
                <a:gd name="T20" fmla="*/ 24 w 86"/>
                <a:gd name="T21" fmla="*/ 181 h 189"/>
                <a:gd name="T22" fmla="*/ 63 w 86"/>
                <a:gd name="T23" fmla="*/ 83 h 189"/>
                <a:gd name="T24" fmla="*/ 63 w 86"/>
                <a:gd name="T25" fmla="*/ 177 h 189"/>
                <a:gd name="T26" fmla="*/ 74 w 86"/>
                <a:gd name="T27" fmla="*/ 189 h 189"/>
                <a:gd name="T28" fmla="*/ 86 w 86"/>
                <a:gd name="T29" fmla="*/ 177 h 189"/>
                <a:gd name="T30" fmla="*/ 86 w 86"/>
                <a:gd name="T31" fmla="*/ 72 h 189"/>
                <a:gd name="T32" fmla="*/ 86 w 86"/>
                <a:gd name="T33" fmla="*/ 17 h 189"/>
                <a:gd name="T34" fmla="*/ 76 w 86"/>
                <a:gd name="T3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189">
                  <a:moveTo>
                    <a:pt x="76" y="0"/>
                  </a:moveTo>
                  <a:cubicBezTo>
                    <a:pt x="78" y="1"/>
                    <a:pt x="79" y="2"/>
                    <a:pt x="80" y="3"/>
                  </a:cubicBezTo>
                  <a:cubicBezTo>
                    <a:pt x="82" y="6"/>
                    <a:pt x="83" y="8"/>
                    <a:pt x="83" y="11"/>
                  </a:cubicBezTo>
                  <a:cubicBezTo>
                    <a:pt x="83" y="15"/>
                    <a:pt x="81" y="18"/>
                    <a:pt x="78" y="21"/>
                  </a:cubicBezTo>
                  <a:cubicBezTo>
                    <a:pt x="44" y="47"/>
                    <a:pt x="44" y="47"/>
                    <a:pt x="44" y="47"/>
                  </a:cubicBezTo>
                  <a:cubicBezTo>
                    <a:pt x="42" y="49"/>
                    <a:pt x="40" y="49"/>
                    <a:pt x="39" y="50"/>
                  </a:cubicBezTo>
                  <a:cubicBezTo>
                    <a:pt x="39" y="81"/>
                    <a:pt x="39" y="81"/>
                    <a:pt x="39" y="81"/>
                  </a:cubicBezTo>
                  <a:cubicBezTo>
                    <a:pt x="2" y="173"/>
                    <a:pt x="2" y="173"/>
                    <a:pt x="2" y="173"/>
                  </a:cubicBezTo>
                  <a:cubicBezTo>
                    <a:pt x="0" y="179"/>
                    <a:pt x="3" y="186"/>
                    <a:pt x="9" y="188"/>
                  </a:cubicBezTo>
                  <a:cubicBezTo>
                    <a:pt x="10" y="189"/>
                    <a:pt x="12" y="189"/>
                    <a:pt x="13" y="189"/>
                  </a:cubicBezTo>
                  <a:cubicBezTo>
                    <a:pt x="18" y="189"/>
                    <a:pt x="22" y="186"/>
                    <a:pt x="24" y="181"/>
                  </a:cubicBezTo>
                  <a:cubicBezTo>
                    <a:pt x="63" y="83"/>
                    <a:pt x="63" y="83"/>
                    <a:pt x="63" y="83"/>
                  </a:cubicBezTo>
                  <a:cubicBezTo>
                    <a:pt x="63" y="177"/>
                    <a:pt x="63" y="177"/>
                    <a:pt x="63" y="177"/>
                  </a:cubicBezTo>
                  <a:cubicBezTo>
                    <a:pt x="63" y="184"/>
                    <a:pt x="68" y="189"/>
                    <a:pt x="74" y="189"/>
                  </a:cubicBezTo>
                  <a:cubicBezTo>
                    <a:pt x="81" y="189"/>
                    <a:pt x="86" y="184"/>
                    <a:pt x="86" y="177"/>
                  </a:cubicBezTo>
                  <a:cubicBezTo>
                    <a:pt x="86" y="72"/>
                    <a:pt x="86" y="72"/>
                    <a:pt x="86" y="72"/>
                  </a:cubicBezTo>
                  <a:cubicBezTo>
                    <a:pt x="86" y="17"/>
                    <a:pt x="86" y="17"/>
                    <a:pt x="86" y="17"/>
                  </a:cubicBezTo>
                  <a:cubicBezTo>
                    <a:pt x="86" y="8"/>
                    <a:pt x="83" y="2"/>
                    <a:pt x="76" y="0"/>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4057">
                <a:defRPr/>
              </a:pPr>
              <a:endParaRPr lang="en-US" sz="2400" kern="0">
                <a:solidFill>
                  <a:sysClr val="windowText" lastClr="000000"/>
                </a:solidFill>
              </a:endParaRPr>
            </a:p>
          </p:txBody>
        </p:sp>
        <p:sp>
          <p:nvSpPr>
            <p:cNvPr id="58" name="Freeform 18"/>
            <p:cNvSpPr>
              <a:spLocks/>
            </p:cNvSpPr>
            <p:nvPr/>
          </p:nvSpPr>
          <p:spPr bwMode="black">
            <a:xfrm>
              <a:off x="4180278" y="3366853"/>
              <a:ext cx="351461" cy="273521"/>
            </a:xfrm>
            <a:custGeom>
              <a:avLst/>
              <a:gdLst>
                <a:gd name="T0" fmla="*/ 30 w 71"/>
                <a:gd name="T1" fmla="*/ 33 h 55"/>
                <a:gd name="T2" fmla="*/ 18 w 71"/>
                <a:gd name="T3" fmla="*/ 6 h 55"/>
                <a:gd name="T4" fmla="*/ 6 w 71"/>
                <a:gd name="T5" fmla="*/ 2 h 55"/>
                <a:gd name="T6" fmla="*/ 2 w 71"/>
                <a:gd name="T7" fmla="*/ 14 h 55"/>
                <a:gd name="T8" fmla="*/ 20 w 71"/>
                <a:gd name="T9" fmla="*/ 50 h 55"/>
                <a:gd name="T10" fmla="*/ 25 w 71"/>
                <a:gd name="T11" fmla="*/ 55 h 55"/>
                <a:gd name="T12" fmla="*/ 27 w 71"/>
                <a:gd name="T13" fmla="*/ 55 h 55"/>
                <a:gd name="T14" fmla="*/ 33 w 71"/>
                <a:gd name="T15" fmla="*/ 53 h 55"/>
                <a:gd name="T16" fmla="*/ 67 w 71"/>
                <a:gd name="T17" fmla="*/ 27 h 55"/>
                <a:gd name="T18" fmla="*/ 69 w 71"/>
                <a:gd name="T19" fmla="*/ 15 h 55"/>
                <a:gd name="T20" fmla="*/ 56 w 71"/>
                <a:gd name="T21" fmla="*/ 13 h 55"/>
                <a:gd name="T22" fmla="*/ 30 w 71"/>
                <a:gd name="T23"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55">
                  <a:moveTo>
                    <a:pt x="30" y="33"/>
                  </a:moveTo>
                  <a:cubicBezTo>
                    <a:pt x="18" y="6"/>
                    <a:pt x="18" y="6"/>
                    <a:pt x="18" y="6"/>
                  </a:cubicBezTo>
                  <a:cubicBezTo>
                    <a:pt x="16" y="2"/>
                    <a:pt x="10" y="0"/>
                    <a:pt x="6" y="2"/>
                  </a:cubicBezTo>
                  <a:cubicBezTo>
                    <a:pt x="2" y="4"/>
                    <a:pt x="0" y="10"/>
                    <a:pt x="2" y="14"/>
                  </a:cubicBezTo>
                  <a:cubicBezTo>
                    <a:pt x="20" y="50"/>
                    <a:pt x="20" y="50"/>
                    <a:pt x="20" y="50"/>
                  </a:cubicBezTo>
                  <a:cubicBezTo>
                    <a:pt x="21" y="53"/>
                    <a:pt x="23" y="54"/>
                    <a:pt x="25" y="55"/>
                  </a:cubicBezTo>
                  <a:cubicBezTo>
                    <a:pt x="26" y="55"/>
                    <a:pt x="27" y="55"/>
                    <a:pt x="27" y="55"/>
                  </a:cubicBezTo>
                  <a:cubicBezTo>
                    <a:pt x="29" y="55"/>
                    <a:pt x="31" y="55"/>
                    <a:pt x="33" y="53"/>
                  </a:cubicBezTo>
                  <a:cubicBezTo>
                    <a:pt x="67" y="27"/>
                    <a:pt x="67" y="27"/>
                    <a:pt x="67" y="27"/>
                  </a:cubicBezTo>
                  <a:cubicBezTo>
                    <a:pt x="71" y="24"/>
                    <a:pt x="71" y="18"/>
                    <a:pt x="69" y="15"/>
                  </a:cubicBezTo>
                  <a:cubicBezTo>
                    <a:pt x="66" y="11"/>
                    <a:pt x="60" y="10"/>
                    <a:pt x="56" y="13"/>
                  </a:cubicBezTo>
                  <a:lnTo>
                    <a:pt x="30" y="33"/>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4057">
                <a:defRPr/>
              </a:pPr>
              <a:endParaRPr lang="en-US" sz="2400" kern="0">
                <a:solidFill>
                  <a:sysClr val="windowText" lastClr="000000"/>
                </a:solidFill>
              </a:endParaRPr>
            </a:p>
          </p:txBody>
        </p:sp>
        <p:sp>
          <p:nvSpPr>
            <p:cNvPr id="59" name="Freeform 19"/>
            <p:cNvSpPr>
              <a:spLocks/>
            </p:cNvSpPr>
            <p:nvPr/>
          </p:nvSpPr>
          <p:spPr bwMode="black">
            <a:xfrm>
              <a:off x="4049796" y="3192221"/>
              <a:ext cx="119960" cy="218817"/>
            </a:xfrm>
            <a:custGeom>
              <a:avLst/>
              <a:gdLst>
                <a:gd name="T0" fmla="*/ 24 w 24"/>
                <a:gd name="T1" fmla="*/ 27 h 44"/>
                <a:gd name="T2" fmla="*/ 24 w 24"/>
                <a:gd name="T3" fmla="*/ 17 h 44"/>
                <a:gd name="T4" fmla="*/ 24 w 24"/>
                <a:gd name="T5" fmla="*/ 16 h 44"/>
                <a:gd name="T6" fmla="*/ 0 w 24"/>
                <a:gd name="T7" fmla="*/ 0 h 44"/>
                <a:gd name="T8" fmla="*/ 0 w 24"/>
                <a:gd name="T9" fmla="*/ 44 h 44"/>
                <a:gd name="T10" fmla="*/ 24 w 24"/>
                <a:gd name="T11" fmla="*/ 28 h 44"/>
                <a:gd name="T12" fmla="*/ 24 w 24"/>
                <a:gd name="T13" fmla="*/ 27 h 44"/>
              </a:gdLst>
              <a:ahLst/>
              <a:cxnLst>
                <a:cxn ang="0">
                  <a:pos x="T0" y="T1"/>
                </a:cxn>
                <a:cxn ang="0">
                  <a:pos x="T2" y="T3"/>
                </a:cxn>
                <a:cxn ang="0">
                  <a:pos x="T4" y="T5"/>
                </a:cxn>
                <a:cxn ang="0">
                  <a:pos x="T6" y="T7"/>
                </a:cxn>
                <a:cxn ang="0">
                  <a:pos x="T8" y="T9"/>
                </a:cxn>
                <a:cxn ang="0">
                  <a:pos x="T10" y="T11"/>
                </a:cxn>
                <a:cxn ang="0">
                  <a:pos x="T12" y="T13"/>
                </a:cxn>
              </a:cxnLst>
              <a:rect l="0" t="0" r="r" b="b"/>
              <a:pathLst>
                <a:path w="24" h="44">
                  <a:moveTo>
                    <a:pt x="24" y="27"/>
                  </a:moveTo>
                  <a:cubicBezTo>
                    <a:pt x="24" y="17"/>
                    <a:pt x="24" y="17"/>
                    <a:pt x="24" y="17"/>
                  </a:cubicBezTo>
                  <a:cubicBezTo>
                    <a:pt x="24" y="16"/>
                    <a:pt x="24" y="16"/>
                    <a:pt x="24" y="16"/>
                  </a:cubicBezTo>
                  <a:cubicBezTo>
                    <a:pt x="0" y="0"/>
                    <a:pt x="0" y="0"/>
                    <a:pt x="0" y="0"/>
                  </a:cubicBezTo>
                  <a:cubicBezTo>
                    <a:pt x="0" y="44"/>
                    <a:pt x="0" y="44"/>
                    <a:pt x="0" y="44"/>
                  </a:cubicBezTo>
                  <a:cubicBezTo>
                    <a:pt x="24" y="28"/>
                    <a:pt x="24" y="28"/>
                    <a:pt x="24" y="28"/>
                  </a:cubicBezTo>
                  <a:cubicBezTo>
                    <a:pt x="24" y="27"/>
                    <a:pt x="24" y="27"/>
                    <a:pt x="24" y="27"/>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4057">
                <a:defRPr/>
              </a:pPr>
              <a:endParaRPr lang="en-US" sz="2400" kern="0">
                <a:solidFill>
                  <a:sysClr val="windowText" lastClr="000000"/>
                </a:solidFill>
              </a:endParaRPr>
            </a:p>
          </p:txBody>
        </p:sp>
        <p:sp>
          <p:nvSpPr>
            <p:cNvPr id="60" name="Freeform 20"/>
            <p:cNvSpPr>
              <a:spLocks/>
            </p:cNvSpPr>
            <p:nvPr/>
          </p:nvSpPr>
          <p:spPr bwMode="black">
            <a:xfrm>
              <a:off x="4184488" y="3261652"/>
              <a:ext cx="90496" cy="79952"/>
            </a:xfrm>
            <a:custGeom>
              <a:avLst/>
              <a:gdLst>
                <a:gd name="T0" fmla="*/ 3 w 18"/>
                <a:gd name="T1" fmla="*/ 16 h 16"/>
                <a:gd name="T2" fmla="*/ 15 w 18"/>
                <a:gd name="T3" fmla="*/ 16 h 16"/>
                <a:gd name="T4" fmla="*/ 18 w 18"/>
                <a:gd name="T5" fmla="*/ 13 h 16"/>
                <a:gd name="T6" fmla="*/ 18 w 18"/>
                <a:gd name="T7" fmla="*/ 3 h 16"/>
                <a:gd name="T8" fmla="*/ 15 w 18"/>
                <a:gd name="T9" fmla="*/ 0 h 16"/>
                <a:gd name="T10" fmla="*/ 3 w 18"/>
                <a:gd name="T11" fmla="*/ 0 h 16"/>
                <a:gd name="T12" fmla="*/ 0 w 18"/>
                <a:gd name="T13" fmla="*/ 3 h 16"/>
                <a:gd name="T14" fmla="*/ 0 w 18"/>
                <a:gd name="T15" fmla="*/ 13 h 16"/>
                <a:gd name="T16" fmla="*/ 3 w 1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6">
                  <a:moveTo>
                    <a:pt x="3" y="16"/>
                  </a:moveTo>
                  <a:cubicBezTo>
                    <a:pt x="15" y="16"/>
                    <a:pt x="15" y="16"/>
                    <a:pt x="15" y="16"/>
                  </a:cubicBezTo>
                  <a:cubicBezTo>
                    <a:pt x="17" y="16"/>
                    <a:pt x="18" y="15"/>
                    <a:pt x="18" y="13"/>
                  </a:cubicBezTo>
                  <a:cubicBezTo>
                    <a:pt x="18" y="3"/>
                    <a:pt x="18" y="3"/>
                    <a:pt x="18" y="3"/>
                  </a:cubicBezTo>
                  <a:cubicBezTo>
                    <a:pt x="18" y="1"/>
                    <a:pt x="17" y="0"/>
                    <a:pt x="15" y="0"/>
                  </a:cubicBezTo>
                  <a:cubicBezTo>
                    <a:pt x="3" y="0"/>
                    <a:pt x="3" y="0"/>
                    <a:pt x="3" y="0"/>
                  </a:cubicBezTo>
                  <a:cubicBezTo>
                    <a:pt x="1" y="0"/>
                    <a:pt x="0" y="1"/>
                    <a:pt x="0" y="3"/>
                  </a:cubicBezTo>
                  <a:cubicBezTo>
                    <a:pt x="0" y="13"/>
                    <a:pt x="0" y="13"/>
                    <a:pt x="0" y="13"/>
                  </a:cubicBezTo>
                  <a:cubicBezTo>
                    <a:pt x="0" y="15"/>
                    <a:pt x="1" y="16"/>
                    <a:pt x="3" y="16"/>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4057">
                <a:defRPr/>
              </a:pPr>
              <a:endParaRPr lang="en-US" sz="2400" kern="0">
                <a:solidFill>
                  <a:sysClr val="windowText" lastClr="000000"/>
                </a:solidFill>
              </a:endParaRPr>
            </a:p>
          </p:txBody>
        </p:sp>
        <p:sp>
          <p:nvSpPr>
            <p:cNvPr id="61" name="Freeform 21"/>
            <p:cNvSpPr>
              <a:spLocks/>
            </p:cNvSpPr>
            <p:nvPr/>
          </p:nvSpPr>
          <p:spPr bwMode="black">
            <a:xfrm>
              <a:off x="4005600" y="3173284"/>
              <a:ext cx="25255" cy="258793"/>
            </a:xfrm>
            <a:custGeom>
              <a:avLst/>
              <a:gdLst>
                <a:gd name="T0" fmla="*/ 3 w 5"/>
                <a:gd name="T1" fmla="*/ 0 h 52"/>
                <a:gd name="T2" fmla="*/ 2 w 5"/>
                <a:gd name="T3" fmla="*/ 0 h 52"/>
                <a:gd name="T4" fmla="*/ 0 w 5"/>
                <a:gd name="T5" fmla="*/ 2 h 52"/>
                <a:gd name="T6" fmla="*/ 0 w 5"/>
                <a:gd name="T7" fmla="*/ 50 h 52"/>
                <a:gd name="T8" fmla="*/ 2 w 5"/>
                <a:gd name="T9" fmla="*/ 52 h 52"/>
                <a:gd name="T10" fmla="*/ 3 w 5"/>
                <a:gd name="T11" fmla="*/ 52 h 52"/>
                <a:gd name="T12" fmla="*/ 5 w 5"/>
                <a:gd name="T13" fmla="*/ 50 h 52"/>
                <a:gd name="T14" fmla="*/ 5 w 5"/>
                <a:gd name="T15" fmla="*/ 2 h 52"/>
                <a:gd name="T16" fmla="*/ 3 w 5"/>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2">
                  <a:moveTo>
                    <a:pt x="3" y="0"/>
                  </a:moveTo>
                  <a:cubicBezTo>
                    <a:pt x="2" y="0"/>
                    <a:pt x="2" y="0"/>
                    <a:pt x="2" y="0"/>
                  </a:cubicBezTo>
                  <a:cubicBezTo>
                    <a:pt x="1" y="0"/>
                    <a:pt x="0" y="1"/>
                    <a:pt x="0" y="2"/>
                  </a:cubicBezTo>
                  <a:cubicBezTo>
                    <a:pt x="0" y="50"/>
                    <a:pt x="0" y="50"/>
                    <a:pt x="0" y="50"/>
                  </a:cubicBezTo>
                  <a:cubicBezTo>
                    <a:pt x="0" y="51"/>
                    <a:pt x="1" y="52"/>
                    <a:pt x="2" y="52"/>
                  </a:cubicBezTo>
                  <a:cubicBezTo>
                    <a:pt x="3" y="52"/>
                    <a:pt x="3" y="52"/>
                    <a:pt x="3" y="52"/>
                  </a:cubicBezTo>
                  <a:cubicBezTo>
                    <a:pt x="4" y="52"/>
                    <a:pt x="5" y="51"/>
                    <a:pt x="5" y="50"/>
                  </a:cubicBezTo>
                  <a:cubicBezTo>
                    <a:pt x="5" y="2"/>
                    <a:pt x="5" y="2"/>
                    <a:pt x="5" y="2"/>
                  </a:cubicBezTo>
                  <a:cubicBezTo>
                    <a:pt x="5" y="1"/>
                    <a:pt x="4" y="0"/>
                    <a:pt x="3" y="0"/>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4057">
                <a:defRPr/>
              </a:pPr>
              <a:endParaRPr lang="en-US" sz="2400" kern="0">
                <a:solidFill>
                  <a:sysClr val="windowText" lastClr="000000"/>
                </a:solidFill>
              </a:endParaRPr>
            </a:p>
          </p:txBody>
        </p:sp>
      </p:grpSp>
      <p:grpSp>
        <p:nvGrpSpPr>
          <p:cNvPr id="62" name="Group 61"/>
          <p:cNvGrpSpPr/>
          <p:nvPr/>
        </p:nvGrpSpPr>
        <p:grpSpPr>
          <a:xfrm>
            <a:off x="3095808" y="3229955"/>
            <a:ext cx="1524000" cy="3139440"/>
            <a:chOff x="523683" y="3054079"/>
            <a:chExt cx="1524000" cy="3139440"/>
          </a:xfrm>
          <a:solidFill>
            <a:srgbClr val="00AEEF"/>
          </a:solidFill>
        </p:grpSpPr>
        <p:sp>
          <p:nvSpPr>
            <p:cNvPr id="63" name="Rectangle 62"/>
            <p:cNvSpPr/>
            <p:nvPr>
              <p:custDataLst>
                <p:tags r:id="rId6"/>
              </p:custDataLst>
            </p:nvPr>
          </p:nvSpPr>
          <p:spPr bwMode="auto">
            <a:xfrm>
              <a:off x="523683" y="3054079"/>
              <a:ext cx="1524000" cy="3139440"/>
            </a:xfrm>
            <a:prstGeom prst="rect">
              <a:avLst/>
            </a:prstGeom>
            <a:grpFill/>
            <a:ln w="10795" cap="flat" cmpd="sng" algn="ctr">
              <a:noFill/>
              <a:prstDash val="solid"/>
              <a:headEnd type="none" w="med" len="med"/>
              <a:tailEnd type="none" w="med" len="med"/>
            </a:ln>
            <a:effectLst/>
          </p:spPr>
          <p:txBody>
            <a:bodyPr vert="horz" wrap="square" lIns="140970" tIns="93980" rIns="140970" bIns="93980" numCol="1" rtlCol="0" anchor="b" anchorCtr="0" compatLnSpc="1">
              <a:prstTxWarp prst="textNoShape">
                <a:avLst/>
              </a:prstTxWarp>
            </a:bodyPr>
            <a:lstStyle/>
            <a:p>
              <a:pPr defTabSz="913757" fontAlgn="base">
                <a:spcBef>
                  <a:spcPct val="0"/>
                </a:spcBef>
                <a:spcAft>
                  <a:spcPct val="0"/>
                </a:spcAft>
                <a:defRPr/>
              </a:pPr>
              <a:r>
                <a:rPr lang="en-US" sz="1500" kern="0" dirty="0" err="1">
                  <a:gradFill flip="none" rotWithShape="1">
                    <a:gsLst>
                      <a:gs pos="0">
                        <a:srgbClr val="FFFFFF"/>
                      </a:gs>
                      <a:gs pos="100000">
                        <a:srgbClr val="FFFFFF"/>
                      </a:gs>
                    </a:gsLst>
                    <a:lin ang="5400000" scaled="0"/>
                    <a:tileRect/>
                  </a:gradFill>
                </a:rPr>
                <a:t>Auth</a:t>
              </a:r>
              <a:endParaRPr lang="en-US" sz="1500" kern="0" dirty="0">
                <a:gradFill flip="none" rotWithShape="1">
                  <a:gsLst>
                    <a:gs pos="0">
                      <a:srgbClr val="FFFFFF"/>
                    </a:gs>
                    <a:gs pos="100000">
                      <a:srgbClr val="FFFFFF"/>
                    </a:gs>
                  </a:gsLst>
                  <a:lin ang="5400000" scaled="0"/>
                  <a:tileRect/>
                </a:gradFill>
              </a:endParaRPr>
            </a:p>
          </p:txBody>
        </p:sp>
        <p:sp>
          <p:nvSpPr>
            <p:cNvPr id="64" name="Freeform 164"/>
            <p:cNvSpPr>
              <a:spLocks noEditPoints="1"/>
            </p:cNvSpPr>
            <p:nvPr/>
          </p:nvSpPr>
          <p:spPr bwMode="black">
            <a:xfrm>
              <a:off x="847079" y="4011676"/>
              <a:ext cx="877207" cy="121616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4057">
                <a:defRPr/>
              </a:pPr>
              <a:endParaRPr lang="en-US" sz="2400" kern="0">
                <a:solidFill>
                  <a:sysClr val="windowText" lastClr="000000"/>
                </a:solidFill>
              </a:endParaRPr>
            </a:p>
          </p:txBody>
        </p:sp>
      </p:grpSp>
      <p:grpSp>
        <p:nvGrpSpPr>
          <p:cNvPr id="65" name="Group 64"/>
          <p:cNvGrpSpPr/>
          <p:nvPr/>
        </p:nvGrpSpPr>
        <p:grpSpPr>
          <a:xfrm>
            <a:off x="4712968" y="3234185"/>
            <a:ext cx="1524000" cy="1524000"/>
            <a:chOff x="2155586" y="4666056"/>
            <a:chExt cx="1524000" cy="1524000"/>
          </a:xfrm>
          <a:solidFill>
            <a:srgbClr val="00AEEF"/>
          </a:solidFill>
        </p:grpSpPr>
        <p:sp>
          <p:nvSpPr>
            <p:cNvPr id="66" name="Rectangle 65"/>
            <p:cNvSpPr/>
            <p:nvPr>
              <p:custDataLst>
                <p:tags r:id="rId5"/>
              </p:custDataLst>
            </p:nvPr>
          </p:nvSpPr>
          <p:spPr bwMode="auto">
            <a:xfrm>
              <a:off x="2155586" y="4666056"/>
              <a:ext cx="1524000" cy="1524000"/>
            </a:xfrm>
            <a:prstGeom prst="rect">
              <a:avLst/>
            </a:prstGeom>
            <a:grpFill/>
            <a:ln w="10795" cap="flat" cmpd="sng" algn="ctr">
              <a:noFill/>
              <a:prstDash val="solid"/>
              <a:headEnd type="none" w="med" len="med"/>
              <a:tailEnd type="none" w="med" len="med"/>
            </a:ln>
            <a:effectLst/>
          </p:spPr>
          <p:txBody>
            <a:bodyPr vert="horz" wrap="square" lIns="68580" tIns="45720" rIns="68580" bIns="45720" numCol="1" rtlCol="0" anchor="b" anchorCtr="0" compatLnSpc="1">
              <a:prstTxWarp prst="textNoShape">
                <a:avLst/>
              </a:prstTxWarp>
            </a:bodyPr>
            <a:lstStyle/>
            <a:p>
              <a:pPr defTabSz="913757" fontAlgn="base">
                <a:spcBef>
                  <a:spcPct val="0"/>
                </a:spcBef>
                <a:spcAft>
                  <a:spcPct val="0"/>
                </a:spcAft>
                <a:defRPr/>
              </a:pPr>
              <a:r>
                <a:rPr lang="en-US" sz="1500" kern="0" dirty="0">
                  <a:gradFill flip="none" rotWithShape="1">
                    <a:gsLst>
                      <a:gs pos="0">
                        <a:srgbClr val="FFFFFF"/>
                      </a:gs>
                      <a:gs pos="100000">
                        <a:srgbClr val="FFFFFF"/>
                      </a:gs>
                    </a:gsLst>
                    <a:lin ang="5400000" scaled="0"/>
                    <a:tileRect/>
                  </a:gradFill>
                </a:rPr>
                <a:t>Server Logic</a:t>
              </a:r>
            </a:p>
          </p:txBody>
        </p:sp>
        <p:grpSp>
          <p:nvGrpSpPr>
            <p:cNvPr id="67" name="Group 66"/>
            <p:cNvGrpSpPr/>
            <p:nvPr/>
          </p:nvGrpSpPr>
          <p:grpSpPr bwMode="black">
            <a:xfrm>
              <a:off x="2405244" y="4942461"/>
              <a:ext cx="975049" cy="828286"/>
              <a:chOff x="5184775" y="225425"/>
              <a:chExt cx="1500188" cy="1220788"/>
            </a:xfrm>
            <a:grpFill/>
          </p:grpSpPr>
          <p:sp>
            <p:nvSpPr>
              <p:cNvPr id="68"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57">
                  <a:defRPr/>
                </a:pPr>
                <a:endParaRPr lang="en-US" sz="1600" kern="0">
                  <a:solidFill>
                    <a:sysClr val="windowText" lastClr="000000"/>
                  </a:solidFill>
                </a:endParaRPr>
              </a:p>
            </p:txBody>
          </p:sp>
          <p:sp>
            <p:nvSpPr>
              <p:cNvPr id="69"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57">
                  <a:defRPr/>
                </a:pPr>
                <a:endParaRPr lang="en-US" sz="1600" kern="0">
                  <a:solidFill>
                    <a:sysClr val="windowText" lastClr="000000"/>
                  </a:solidFill>
                </a:endParaRPr>
              </a:p>
            </p:txBody>
          </p:sp>
          <p:sp>
            <p:nvSpPr>
              <p:cNvPr id="70"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57">
                  <a:defRPr/>
                </a:pPr>
                <a:endParaRPr lang="en-US" sz="1600" kern="0">
                  <a:solidFill>
                    <a:sysClr val="windowText" lastClr="000000"/>
                  </a:solidFill>
                </a:endParaRPr>
              </a:p>
            </p:txBody>
          </p:sp>
        </p:grpSp>
      </p:grpSp>
      <p:grpSp>
        <p:nvGrpSpPr>
          <p:cNvPr id="74" name="Group 73"/>
          <p:cNvGrpSpPr/>
          <p:nvPr/>
        </p:nvGrpSpPr>
        <p:grpSpPr>
          <a:xfrm>
            <a:off x="3095809" y="1262447"/>
            <a:ext cx="6650548" cy="1945208"/>
            <a:chOff x="523683" y="1595421"/>
            <a:chExt cx="4975779" cy="1370389"/>
          </a:xfrm>
        </p:grpSpPr>
        <p:sp>
          <p:nvSpPr>
            <p:cNvPr id="75" name="Rectangle 74"/>
            <p:cNvSpPr/>
            <p:nvPr/>
          </p:nvSpPr>
          <p:spPr bwMode="auto">
            <a:xfrm>
              <a:off x="523683" y="1595421"/>
              <a:ext cx="4777177" cy="1298232"/>
            </a:xfrm>
            <a:prstGeom prst="rect">
              <a:avLst/>
            </a:prstGeom>
            <a:solidFill>
              <a:srgbClr val="FFFFFF"/>
            </a:solidFill>
            <a:ln w="10795" cap="flat" cmpd="sng" algn="ctr">
              <a:solidFill>
                <a:srgbClr val="DDDDDD"/>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3757"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pic>
          <p:nvPicPr>
            <p:cNvPr id="76" name="Picture 2"/>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b="12076"/>
            <a:stretch/>
          </p:blipFill>
          <p:spPr bwMode="auto">
            <a:xfrm>
              <a:off x="556341" y="1660843"/>
              <a:ext cx="1357203" cy="1159542"/>
            </a:xfrm>
            <a:prstGeom prst="rect">
              <a:avLst/>
            </a:prstGeom>
            <a:solidFill>
              <a:srgbClr val="FF8A00"/>
            </a:solidFill>
            <a:ln w="9525">
              <a:noFill/>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7" name="Picture 4"/>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490800" y="1814593"/>
              <a:ext cx="4008662" cy="11512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8" name="Group 77"/>
          <p:cNvGrpSpPr/>
          <p:nvPr/>
        </p:nvGrpSpPr>
        <p:grpSpPr>
          <a:xfrm>
            <a:off x="7956908" y="3231289"/>
            <a:ext cx="1524000" cy="1524000"/>
            <a:chOff x="7955320" y="3231289"/>
            <a:chExt cx="1524000" cy="1524000"/>
          </a:xfrm>
        </p:grpSpPr>
        <p:sp>
          <p:nvSpPr>
            <p:cNvPr id="79" name="Rectangle 78"/>
            <p:cNvSpPr/>
            <p:nvPr>
              <p:custDataLst>
                <p:tags r:id="rId4"/>
              </p:custDataLst>
            </p:nvPr>
          </p:nvSpPr>
          <p:spPr bwMode="auto">
            <a:xfrm>
              <a:off x="7955320" y="3231289"/>
              <a:ext cx="1524000" cy="1524000"/>
            </a:xfrm>
            <a:prstGeom prst="rect">
              <a:avLst/>
            </a:prstGeom>
            <a:solidFill>
              <a:srgbClr val="00AEEF"/>
            </a:solidFill>
            <a:ln w="10795" cap="flat" cmpd="sng" algn="ctr">
              <a:noFill/>
              <a:prstDash val="solid"/>
              <a:headEnd type="none" w="med" len="med"/>
              <a:tailEnd type="none" w="med" len="med"/>
            </a:ln>
            <a:effectLst/>
          </p:spPr>
          <p:txBody>
            <a:bodyPr vert="horz" wrap="square" lIns="68580" tIns="45720" rIns="68580" bIns="45720" numCol="1" rtlCol="0" anchor="b" anchorCtr="0" compatLnSpc="1">
              <a:prstTxWarp prst="textNoShape">
                <a:avLst/>
              </a:prstTxWarp>
            </a:bodyPr>
            <a:lstStyle/>
            <a:p>
              <a:pPr defTabSz="913757" fontAlgn="base">
                <a:spcBef>
                  <a:spcPct val="0"/>
                </a:spcBef>
                <a:spcAft>
                  <a:spcPct val="0"/>
                </a:spcAft>
                <a:defRPr/>
              </a:pPr>
              <a:r>
                <a:rPr lang="en-US" sz="1500" kern="0" dirty="0">
                  <a:gradFill flip="none" rotWithShape="1">
                    <a:gsLst>
                      <a:gs pos="0">
                        <a:srgbClr val="FFFFFF"/>
                      </a:gs>
                      <a:gs pos="100000">
                        <a:srgbClr val="FFFFFF"/>
                      </a:gs>
                    </a:gsLst>
                    <a:lin ang="5400000" scaled="0"/>
                    <a:tileRect/>
                  </a:gradFill>
                </a:rPr>
                <a:t>Logging &amp; </a:t>
              </a:r>
              <a:r>
                <a:rPr lang="en-US" sz="1500" kern="0" dirty="0" err="1">
                  <a:gradFill flip="none" rotWithShape="1">
                    <a:gsLst>
                      <a:gs pos="0">
                        <a:srgbClr val="FFFFFF"/>
                      </a:gs>
                      <a:gs pos="100000">
                        <a:srgbClr val="FFFFFF"/>
                      </a:gs>
                    </a:gsLst>
                    <a:lin ang="5400000" scaled="0"/>
                    <a:tileRect/>
                  </a:gradFill>
                </a:rPr>
                <a:t>Diag</a:t>
              </a:r>
              <a:endParaRPr lang="en-US" sz="1500" kern="0" dirty="0">
                <a:gradFill flip="none" rotWithShape="1">
                  <a:gsLst>
                    <a:gs pos="0">
                      <a:srgbClr val="FFFFFF"/>
                    </a:gs>
                    <a:gs pos="100000">
                      <a:srgbClr val="FFFFFF"/>
                    </a:gs>
                  </a:gsLst>
                  <a:lin ang="5400000" scaled="0"/>
                  <a:tileRect/>
                </a:gradFill>
              </a:endParaRPr>
            </a:p>
          </p:txBody>
        </p:sp>
        <p:grpSp>
          <p:nvGrpSpPr>
            <p:cNvPr id="80" name="Group 79"/>
            <p:cNvGrpSpPr/>
            <p:nvPr/>
          </p:nvGrpSpPr>
          <p:grpSpPr>
            <a:xfrm>
              <a:off x="8258106" y="3524595"/>
              <a:ext cx="851488" cy="827454"/>
              <a:chOff x="8258106" y="3524595"/>
              <a:chExt cx="851488" cy="827454"/>
            </a:xfrm>
          </p:grpSpPr>
          <p:cxnSp>
            <p:nvCxnSpPr>
              <p:cNvPr id="81" name="Straight Connector 80"/>
              <p:cNvCxnSpPr/>
              <p:nvPr/>
            </p:nvCxnSpPr>
            <p:spPr>
              <a:xfrm>
                <a:off x="8258106" y="3912629"/>
                <a:ext cx="851488" cy="0"/>
              </a:xfrm>
              <a:prstGeom prst="line">
                <a:avLst/>
              </a:prstGeom>
              <a:noFill/>
              <a:ln w="38100" cap="flat" cmpd="sng" algn="ctr">
                <a:solidFill>
                  <a:srgbClr val="FFFFFF"/>
                </a:solidFill>
                <a:prstDash val="solid"/>
              </a:ln>
              <a:effectLst/>
            </p:spPr>
          </p:cxnSp>
          <p:cxnSp>
            <p:nvCxnSpPr>
              <p:cNvPr id="82" name="Straight Connector 81"/>
              <p:cNvCxnSpPr/>
              <p:nvPr/>
            </p:nvCxnSpPr>
            <p:spPr>
              <a:xfrm>
                <a:off x="8258106" y="4024373"/>
                <a:ext cx="851488" cy="0"/>
              </a:xfrm>
              <a:prstGeom prst="line">
                <a:avLst/>
              </a:prstGeom>
              <a:noFill/>
              <a:ln w="38100" cap="flat" cmpd="sng" algn="ctr">
                <a:solidFill>
                  <a:srgbClr val="FFFFFF"/>
                </a:solidFill>
                <a:prstDash val="solid"/>
              </a:ln>
              <a:effectLst/>
            </p:spPr>
          </p:cxnSp>
          <p:cxnSp>
            <p:nvCxnSpPr>
              <p:cNvPr id="83" name="Straight Connector 82"/>
              <p:cNvCxnSpPr/>
              <p:nvPr/>
            </p:nvCxnSpPr>
            <p:spPr>
              <a:xfrm>
                <a:off x="8258106" y="4131069"/>
                <a:ext cx="851488" cy="0"/>
              </a:xfrm>
              <a:prstGeom prst="line">
                <a:avLst/>
              </a:prstGeom>
              <a:noFill/>
              <a:ln w="38100" cap="flat" cmpd="sng" algn="ctr">
                <a:solidFill>
                  <a:srgbClr val="FFFFFF"/>
                </a:solidFill>
                <a:prstDash val="solid"/>
              </a:ln>
              <a:effectLst/>
            </p:spPr>
          </p:cxnSp>
          <p:cxnSp>
            <p:nvCxnSpPr>
              <p:cNvPr id="84" name="Straight Connector 83"/>
              <p:cNvCxnSpPr/>
              <p:nvPr/>
            </p:nvCxnSpPr>
            <p:spPr>
              <a:xfrm>
                <a:off x="8258106" y="4240022"/>
                <a:ext cx="851488" cy="0"/>
              </a:xfrm>
              <a:prstGeom prst="line">
                <a:avLst/>
              </a:prstGeom>
              <a:noFill/>
              <a:ln w="38100" cap="flat" cmpd="sng" algn="ctr">
                <a:solidFill>
                  <a:srgbClr val="FFFFFF"/>
                </a:solidFill>
                <a:prstDash val="solid"/>
              </a:ln>
              <a:effectLst/>
            </p:spPr>
          </p:cxnSp>
          <p:cxnSp>
            <p:nvCxnSpPr>
              <p:cNvPr id="85" name="Straight Connector 84"/>
              <p:cNvCxnSpPr/>
              <p:nvPr/>
            </p:nvCxnSpPr>
            <p:spPr>
              <a:xfrm>
                <a:off x="8258106" y="4352049"/>
                <a:ext cx="851488" cy="0"/>
              </a:xfrm>
              <a:prstGeom prst="line">
                <a:avLst/>
              </a:prstGeom>
              <a:noFill/>
              <a:ln w="38100" cap="flat" cmpd="sng" algn="ctr">
                <a:solidFill>
                  <a:srgbClr val="FFFFFF"/>
                </a:solidFill>
                <a:prstDash val="solid"/>
              </a:ln>
              <a:effectLst/>
            </p:spPr>
          </p:cxnSp>
          <p:sp>
            <p:nvSpPr>
              <p:cNvPr id="86" name="Right Arrow 85"/>
              <p:cNvSpPr/>
              <p:nvPr/>
            </p:nvSpPr>
            <p:spPr bwMode="auto">
              <a:xfrm rot="5400000">
                <a:off x="8551541" y="3608273"/>
                <a:ext cx="226060" cy="219704"/>
              </a:xfrm>
              <a:prstGeom prst="rightArrow">
                <a:avLst/>
              </a:pr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sz="2200" kern="0" dirty="0">
                  <a:gradFill>
                    <a:gsLst>
                      <a:gs pos="0">
                        <a:srgbClr val="FFFFFF"/>
                      </a:gs>
                      <a:gs pos="100000">
                        <a:srgbClr val="FFFFFF"/>
                      </a:gs>
                    </a:gsLst>
                    <a:lin ang="5400000" scaled="0"/>
                  </a:gradFill>
                </a:endParaRPr>
              </a:p>
            </p:txBody>
          </p:sp>
          <p:cxnSp>
            <p:nvCxnSpPr>
              <p:cNvPr id="87" name="Straight Connector 86"/>
              <p:cNvCxnSpPr/>
              <p:nvPr/>
            </p:nvCxnSpPr>
            <p:spPr>
              <a:xfrm>
                <a:off x="8258106" y="3524595"/>
                <a:ext cx="851488" cy="0"/>
              </a:xfrm>
              <a:prstGeom prst="line">
                <a:avLst/>
              </a:prstGeom>
              <a:noFill/>
              <a:ln w="38100" cap="flat" cmpd="sng" algn="ctr">
                <a:solidFill>
                  <a:srgbClr val="FFFFFF"/>
                </a:solidFill>
                <a:prstDash val="solid"/>
              </a:ln>
              <a:effectLst/>
            </p:spPr>
          </p:cxnSp>
        </p:grpSp>
      </p:grpSp>
      <p:grpSp>
        <p:nvGrpSpPr>
          <p:cNvPr id="5" name="Group 4"/>
          <p:cNvGrpSpPr/>
          <p:nvPr/>
        </p:nvGrpSpPr>
        <p:grpSpPr>
          <a:xfrm>
            <a:off x="7953964" y="4845395"/>
            <a:ext cx="1524000" cy="1524000"/>
            <a:chOff x="7952376" y="4845395"/>
            <a:chExt cx="1524000" cy="1524000"/>
          </a:xfrm>
        </p:grpSpPr>
        <p:sp>
          <p:nvSpPr>
            <p:cNvPr id="72" name="Rectangle 71"/>
            <p:cNvSpPr/>
            <p:nvPr>
              <p:custDataLst>
                <p:tags r:id="rId3"/>
              </p:custDataLst>
            </p:nvPr>
          </p:nvSpPr>
          <p:spPr bwMode="auto">
            <a:xfrm>
              <a:off x="7952376" y="4845395"/>
              <a:ext cx="1524000" cy="1524000"/>
            </a:xfrm>
            <a:prstGeom prst="rect">
              <a:avLst/>
            </a:prstGeom>
            <a:solidFill>
              <a:srgbClr val="00AEEF"/>
            </a:solidFill>
            <a:ln w="10795" cap="flat" cmpd="sng" algn="ctr">
              <a:noFill/>
              <a:prstDash val="solid"/>
              <a:headEnd type="none" w="med" len="med"/>
              <a:tailEnd type="none" w="med" len="med"/>
            </a:ln>
            <a:effectLst/>
          </p:spPr>
          <p:txBody>
            <a:bodyPr vert="horz" wrap="square" lIns="68580" tIns="45720" rIns="68580" bIns="45720" numCol="1" rtlCol="0" anchor="b" anchorCtr="0" compatLnSpc="1">
              <a:prstTxWarp prst="textNoShape">
                <a:avLst/>
              </a:prstTxWarp>
            </a:bodyPr>
            <a:lstStyle/>
            <a:p>
              <a:pPr defTabSz="913757" fontAlgn="base">
                <a:spcBef>
                  <a:spcPct val="0"/>
                </a:spcBef>
                <a:spcAft>
                  <a:spcPct val="0"/>
                </a:spcAft>
                <a:defRPr/>
              </a:pPr>
              <a:r>
                <a:rPr lang="en-US" sz="1500" kern="0" dirty="0">
                  <a:gradFill flip="none" rotWithShape="1">
                    <a:gsLst>
                      <a:gs pos="0">
                        <a:srgbClr val="FFFFFF"/>
                      </a:gs>
                      <a:gs pos="100000">
                        <a:srgbClr val="FFFFFF"/>
                      </a:gs>
                    </a:gsLst>
                    <a:lin ang="5400000" scaled="0"/>
                    <a:tileRect/>
                  </a:gradFill>
                </a:rPr>
                <a:t>Scale</a:t>
              </a:r>
            </a:p>
          </p:txBody>
        </p:sp>
        <p:cxnSp>
          <p:nvCxnSpPr>
            <p:cNvPr id="90" name="Straight Connector 89"/>
            <p:cNvCxnSpPr/>
            <p:nvPr/>
          </p:nvCxnSpPr>
          <p:spPr>
            <a:xfrm flipV="1">
              <a:off x="8157092" y="5730983"/>
              <a:ext cx="309061" cy="1905"/>
            </a:xfrm>
            <a:prstGeom prst="line">
              <a:avLst/>
            </a:prstGeom>
            <a:noFill/>
            <a:ln w="38100" cap="flat" cmpd="sng" algn="ctr">
              <a:solidFill>
                <a:srgbClr val="FFFFFF"/>
              </a:solidFill>
              <a:prstDash val="solid"/>
            </a:ln>
            <a:effectLst/>
          </p:spPr>
        </p:cxnSp>
        <p:cxnSp>
          <p:nvCxnSpPr>
            <p:cNvPr id="91" name="Straight Connector 90"/>
            <p:cNvCxnSpPr/>
            <p:nvPr/>
          </p:nvCxnSpPr>
          <p:spPr>
            <a:xfrm flipV="1">
              <a:off x="8669418" y="5320877"/>
              <a:ext cx="440176" cy="1"/>
            </a:xfrm>
            <a:prstGeom prst="line">
              <a:avLst/>
            </a:prstGeom>
            <a:noFill/>
            <a:ln w="38100" cap="flat" cmpd="sng" algn="ctr">
              <a:solidFill>
                <a:srgbClr val="FFFFFF"/>
              </a:solidFill>
              <a:prstDash val="solid"/>
            </a:ln>
            <a:effectLst/>
          </p:spPr>
        </p:cxnSp>
        <p:cxnSp>
          <p:nvCxnSpPr>
            <p:cNvPr id="92" name="Straight Connector 91"/>
            <p:cNvCxnSpPr/>
            <p:nvPr/>
          </p:nvCxnSpPr>
          <p:spPr>
            <a:xfrm flipV="1">
              <a:off x="8452432" y="5695289"/>
              <a:ext cx="71055" cy="36964"/>
            </a:xfrm>
            <a:prstGeom prst="line">
              <a:avLst/>
            </a:prstGeom>
            <a:noFill/>
            <a:ln w="38100" cap="flat" cmpd="sng" algn="ctr">
              <a:solidFill>
                <a:srgbClr val="FFFFFF"/>
              </a:solidFill>
              <a:prstDash val="solid"/>
            </a:ln>
            <a:effectLst/>
          </p:spPr>
        </p:cxnSp>
        <p:cxnSp>
          <p:nvCxnSpPr>
            <p:cNvPr id="93" name="Straight Connector 92"/>
            <p:cNvCxnSpPr/>
            <p:nvPr/>
          </p:nvCxnSpPr>
          <p:spPr>
            <a:xfrm>
              <a:off x="8516519" y="5674334"/>
              <a:ext cx="105264" cy="203678"/>
            </a:xfrm>
            <a:prstGeom prst="line">
              <a:avLst/>
            </a:prstGeom>
            <a:noFill/>
            <a:ln w="38100" cap="flat" cmpd="sng" algn="ctr">
              <a:solidFill>
                <a:srgbClr val="FFFFFF"/>
              </a:solidFill>
              <a:prstDash val="solid"/>
            </a:ln>
            <a:effectLst/>
          </p:spPr>
        </p:cxnSp>
        <p:cxnSp>
          <p:nvCxnSpPr>
            <p:cNvPr id="94" name="Straight Connector 93"/>
            <p:cNvCxnSpPr/>
            <p:nvPr/>
          </p:nvCxnSpPr>
          <p:spPr>
            <a:xfrm flipV="1">
              <a:off x="8622606" y="5307543"/>
              <a:ext cx="65028" cy="580100"/>
            </a:xfrm>
            <a:prstGeom prst="line">
              <a:avLst/>
            </a:prstGeom>
            <a:noFill/>
            <a:ln w="38100" cap="flat" cmpd="sng" algn="ctr">
              <a:solidFill>
                <a:srgbClr val="FFFFFF"/>
              </a:solidFill>
              <a:prstDash val="solid"/>
            </a:ln>
            <a:effectLst/>
          </p:spPr>
        </p:cxnSp>
        <p:cxnSp>
          <p:nvCxnSpPr>
            <p:cNvPr id="96" name="Straight Arrow Connector 95"/>
            <p:cNvCxnSpPr/>
            <p:nvPr/>
          </p:nvCxnSpPr>
          <p:spPr>
            <a:xfrm flipV="1">
              <a:off x="9103329" y="5036484"/>
              <a:ext cx="328208" cy="284394"/>
            </a:xfrm>
            <a:prstGeom prst="straightConnector1">
              <a:avLst/>
            </a:prstGeom>
            <a:noFill/>
            <a:ln w="38100" cap="flat" cmpd="sng" algn="ctr">
              <a:solidFill>
                <a:srgbClr val="FFFFFF"/>
              </a:solidFill>
              <a:prstDash val="solid"/>
              <a:tailEnd type="arrow"/>
            </a:ln>
            <a:effectLst/>
          </p:spPr>
        </p:cxnSp>
      </p:grpSp>
      <p:grpSp>
        <p:nvGrpSpPr>
          <p:cNvPr id="4" name="Group 3"/>
          <p:cNvGrpSpPr/>
          <p:nvPr/>
        </p:nvGrpSpPr>
        <p:grpSpPr>
          <a:xfrm>
            <a:off x="6326747" y="4845395"/>
            <a:ext cx="1524000" cy="1524000"/>
            <a:chOff x="6325159" y="4845395"/>
            <a:chExt cx="1524000" cy="1524000"/>
          </a:xfrm>
        </p:grpSpPr>
        <p:sp>
          <p:nvSpPr>
            <p:cNvPr id="89" name="Rectangle 88"/>
            <p:cNvSpPr/>
            <p:nvPr>
              <p:custDataLst>
                <p:tags r:id="rId2"/>
              </p:custDataLst>
            </p:nvPr>
          </p:nvSpPr>
          <p:spPr bwMode="auto">
            <a:xfrm>
              <a:off x="6325159" y="4845395"/>
              <a:ext cx="1524000" cy="1524000"/>
            </a:xfrm>
            <a:prstGeom prst="rect">
              <a:avLst/>
            </a:prstGeom>
            <a:solidFill>
              <a:srgbClr val="00AEEF"/>
            </a:solidFill>
            <a:ln w="10795" cap="flat" cmpd="sng" algn="ctr">
              <a:noFill/>
              <a:prstDash val="solid"/>
              <a:headEnd type="none" w="med" len="med"/>
              <a:tailEnd type="none" w="med" len="med"/>
            </a:ln>
            <a:effectLst/>
          </p:spPr>
          <p:txBody>
            <a:bodyPr vert="horz" wrap="square" lIns="68580" tIns="45720" rIns="68580" bIns="45720" numCol="1" rtlCol="0" anchor="b" anchorCtr="0" compatLnSpc="1">
              <a:prstTxWarp prst="textNoShape">
                <a:avLst/>
              </a:prstTxWarp>
            </a:bodyPr>
            <a:lstStyle/>
            <a:p>
              <a:pPr defTabSz="913757" fontAlgn="base">
                <a:spcBef>
                  <a:spcPct val="0"/>
                </a:spcBef>
                <a:spcAft>
                  <a:spcPct val="0"/>
                </a:spcAft>
                <a:defRPr/>
              </a:pPr>
              <a:r>
                <a:rPr lang="en-US" sz="1500" kern="0" dirty="0">
                  <a:gradFill flip="none" rotWithShape="1">
                    <a:gsLst>
                      <a:gs pos="0">
                        <a:srgbClr val="FFFFFF"/>
                      </a:gs>
                      <a:gs pos="100000">
                        <a:srgbClr val="FFFFFF"/>
                      </a:gs>
                    </a:gsLst>
                    <a:lin ang="5400000" scaled="0"/>
                    <a:tileRect/>
                  </a:gradFill>
                </a:rPr>
                <a:t>Scheduler</a:t>
              </a:r>
            </a:p>
          </p:txBody>
        </p:sp>
        <p:pic>
          <p:nvPicPr>
            <p:cNvPr id="73" name="Picture 4" descr="C:\Users\Jonahs\Dropbox\Projects SCOTT\MEET Windows Azure\source\Background\tile-icon-cache.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619522" y="5122961"/>
              <a:ext cx="851488" cy="851488"/>
            </a:xfrm>
            <a:prstGeom prst="rect">
              <a:avLst/>
            </a:prstGeom>
            <a:solidFill>
              <a:srgbClr val="00AEEF"/>
            </a:solidFill>
            <a:extLst/>
          </p:spPr>
        </p:pic>
      </p:grpSp>
    </p:spTree>
    <p:extLst>
      <p:ext uri="{BB962C8B-B14F-4D97-AF65-F5344CB8AC3E}">
        <p14:creationId xmlns:p14="http://schemas.microsoft.com/office/powerpoint/2010/main" val="29669549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4"/>
                                        </p:tgtEl>
                                        <p:attrNameLst>
                                          <p:attrName>style.visibility</p:attrName>
                                        </p:attrNameLst>
                                      </p:cBhvr>
                                      <p:to>
                                        <p:strVal val="visible"/>
                                      </p:to>
                                    </p:set>
                                    <p:animEffect transition="in" filter="fade">
                                      <p:cBhvr>
                                        <p:cTn id="7" dur="500"/>
                                        <p:tgtEl>
                                          <p:spTgt spid="7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1"/>
                                        </p:tgtEl>
                                        <p:attrNameLst>
                                          <p:attrName>style.visibility</p:attrName>
                                        </p:attrNameLst>
                                      </p:cBhvr>
                                      <p:to>
                                        <p:strVal val="visible"/>
                                      </p:to>
                                    </p:set>
                                    <p:animEffect transition="in" filter="fade">
                                      <p:cBhvr>
                                        <p:cTn id="12" dur="500"/>
                                        <p:tgtEl>
                                          <p:spTgt spid="5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5"/>
                                        </p:tgtEl>
                                        <p:attrNameLst>
                                          <p:attrName>style.visibility</p:attrName>
                                        </p:attrNameLst>
                                      </p:cBhvr>
                                      <p:to>
                                        <p:strVal val="visible"/>
                                      </p:to>
                                    </p:set>
                                    <p:animEffect transition="in" filter="fade">
                                      <p:cBhvr>
                                        <p:cTn id="17" dur="500"/>
                                        <p:tgtEl>
                                          <p:spTgt spid="6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2"/>
                                        </p:tgtEl>
                                        <p:attrNameLst>
                                          <p:attrName>style.visibility</p:attrName>
                                        </p:attrNameLst>
                                      </p:cBhvr>
                                      <p:to>
                                        <p:strVal val="visible"/>
                                      </p:to>
                                    </p:set>
                                    <p:animEffect transition="in" filter="fade">
                                      <p:cBhvr>
                                        <p:cTn id="22" dur="500"/>
                                        <p:tgtEl>
                                          <p:spTgt spid="6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4"/>
                                        </p:tgtEl>
                                        <p:attrNameLst>
                                          <p:attrName>style.visibility</p:attrName>
                                        </p:attrNameLst>
                                      </p:cBhvr>
                                      <p:to>
                                        <p:strVal val="visible"/>
                                      </p:to>
                                    </p:set>
                                    <p:animEffect transition="in" filter="fade">
                                      <p:cBhvr>
                                        <p:cTn id="27" dur="500"/>
                                        <p:tgtEl>
                                          <p:spTgt spid="54"/>
                                        </p:tgtEl>
                                      </p:cBhvr>
                                    </p:animEffec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nodeType="clickEffect">
                                  <p:stCondLst>
                                    <p:cond delay="0"/>
                                  </p:stCondLst>
                                  <p:childTnLst>
                                    <p:set>
                                      <p:cBhvr>
                                        <p:cTn id="31" dur="1" fill="hold">
                                          <p:stCondLst>
                                            <p:cond delay="0"/>
                                          </p:stCondLst>
                                        </p:cTn>
                                        <p:tgtEl>
                                          <p:spTgt spid="4"/>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78"/>
                                        </p:tgtEl>
                                        <p:attrNameLst>
                                          <p:attrName>style.visibility</p:attrName>
                                        </p:attrNameLst>
                                      </p:cBhvr>
                                      <p:to>
                                        <p:strVal val="visible"/>
                                      </p:to>
                                    </p:set>
                                    <p:animEffect transition="in" filter="fade">
                                      <p:cBhvr>
                                        <p:cTn id="36" dur="500"/>
                                        <p:tgtEl>
                                          <p:spTgt spid="78"/>
                                        </p:tgtEl>
                                      </p:cBhvr>
                                    </p:animEffec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0703" y="228601"/>
            <a:ext cx="11149013" cy="757131"/>
          </a:xfrm>
        </p:spPr>
        <p:txBody>
          <a:bodyPr/>
          <a:lstStyle/>
          <a:p>
            <a:r>
              <a:rPr lang="en-US" dirty="0" smtClean="0"/>
              <a:t>Key Scenarios</a:t>
            </a:r>
            <a:endParaRPr lang="en-US" dirty="0"/>
          </a:p>
        </p:txBody>
      </p:sp>
      <p:sp>
        <p:nvSpPr>
          <p:cNvPr id="3" name="TextBox 2"/>
          <p:cNvSpPr txBox="1"/>
          <p:nvPr/>
        </p:nvSpPr>
        <p:spPr>
          <a:xfrm>
            <a:off x="506916" y="1203159"/>
            <a:ext cx="10996862" cy="393808"/>
          </a:xfrm>
          <a:prstGeom prst="rect">
            <a:avLst/>
          </a:prstGeom>
          <a:noFill/>
        </p:spPr>
        <p:txBody>
          <a:bodyPr wrap="square" lIns="0" tIns="0" rIns="0" bIns="0" rtlCol="0">
            <a:spAutoFit/>
          </a:bodyPr>
          <a:lstStyle/>
          <a:p>
            <a:pPr defTabSz="914235">
              <a:lnSpc>
                <a:spcPct val="90000"/>
              </a:lnSpc>
              <a:spcBef>
                <a:spcPct val="20000"/>
              </a:spcBef>
              <a:buSzPct val="80000"/>
            </a:pPr>
            <a:r>
              <a:rPr lang="en-US" sz="2800" dirty="0">
                <a:solidFill>
                  <a:srgbClr val="00AEEF"/>
                </a:solidFill>
              </a:rPr>
              <a:t>Windows Azure Mobile Services are ideal for:</a:t>
            </a:r>
          </a:p>
        </p:txBody>
      </p:sp>
      <p:sp>
        <p:nvSpPr>
          <p:cNvPr id="45" name="Rounded Rectangle 44"/>
          <p:cNvSpPr/>
          <p:nvPr/>
        </p:nvSpPr>
        <p:spPr bwMode="auto">
          <a:xfrm>
            <a:off x="506917" y="1740413"/>
            <a:ext cx="10828419" cy="1366595"/>
          </a:xfrm>
          <a:prstGeom prst="roundRect">
            <a:avLst>
              <a:gd name="adj" fmla="val 0"/>
            </a:avLst>
          </a:prstGeom>
          <a:solidFill>
            <a:schemeClr val="accent2"/>
          </a:solidFill>
          <a:ln w="9525" cap="flat" cmpd="sng" algn="ctr">
            <a:noFill/>
            <a:prstDash val="solid"/>
          </a:ln>
          <a:effectLst/>
        </p:spPr>
        <p:txBody>
          <a:bodyPr lIns="76168" tIns="38085" rIns="76168" bIns="38085" rtlCol="0" anchor="t" anchorCtr="0"/>
          <a:lstStyle/>
          <a:p>
            <a:pPr marL="3175" defTabSz="914132">
              <a:lnSpc>
                <a:spcPct val="90000"/>
              </a:lnSpc>
              <a:spcAft>
                <a:spcPts val="900"/>
              </a:spcAft>
              <a:buSzPct val="80000"/>
            </a:pPr>
            <a:r>
              <a:rPr lang="en-US" sz="3600" spc="-83" dirty="0">
                <a:solidFill>
                  <a:srgbClr val="FFFFFF">
                    <a:alpha val="99000"/>
                  </a:srgbClr>
                </a:solidFill>
                <a:latin typeface="Segoe UI Light" pitchFamily="34" charset="0"/>
              </a:rPr>
              <a:t>Modern mobile apps</a:t>
            </a:r>
          </a:p>
          <a:p>
            <a:pPr marL="3175" defTabSz="914132">
              <a:lnSpc>
                <a:spcPct val="90000"/>
              </a:lnSpc>
              <a:spcAft>
                <a:spcPts val="900"/>
              </a:spcAft>
              <a:buSzPct val="80000"/>
            </a:pPr>
            <a:r>
              <a:rPr lang="en-US" sz="2000" spc="-43" dirty="0">
                <a:solidFill>
                  <a:srgbClr val="FFFFFF">
                    <a:alpha val="99000"/>
                  </a:srgbClr>
                </a:solidFill>
              </a:rPr>
              <a:t>Windows Store Apps, Windows Phone, </a:t>
            </a:r>
            <a:r>
              <a:rPr lang="en-US" sz="2000" spc="-43" dirty="0" err="1">
                <a:solidFill>
                  <a:srgbClr val="FFFFFF">
                    <a:alpha val="99000"/>
                  </a:srgbClr>
                </a:solidFill>
              </a:rPr>
              <a:t>iOS</a:t>
            </a:r>
            <a:r>
              <a:rPr lang="en-US" sz="2000" spc="-43" dirty="0">
                <a:solidFill>
                  <a:srgbClr val="FFFFFF">
                    <a:alpha val="99000"/>
                  </a:srgbClr>
                </a:solidFill>
              </a:rPr>
              <a:t>, Android</a:t>
            </a:r>
          </a:p>
        </p:txBody>
      </p:sp>
      <p:sp>
        <p:nvSpPr>
          <p:cNvPr id="48" name="Rounded Rectangle 47"/>
          <p:cNvSpPr/>
          <p:nvPr/>
        </p:nvSpPr>
        <p:spPr bwMode="auto">
          <a:xfrm>
            <a:off x="506917" y="3335640"/>
            <a:ext cx="10828419" cy="1366595"/>
          </a:xfrm>
          <a:prstGeom prst="roundRect">
            <a:avLst>
              <a:gd name="adj" fmla="val 0"/>
            </a:avLst>
          </a:prstGeom>
          <a:solidFill>
            <a:schemeClr val="accent1"/>
          </a:solidFill>
          <a:ln w="9525" cap="flat" cmpd="sng" algn="ctr">
            <a:noFill/>
            <a:prstDash val="solid"/>
          </a:ln>
          <a:effectLst/>
        </p:spPr>
        <p:txBody>
          <a:bodyPr lIns="76168" tIns="38085" rIns="76168" bIns="38085" rtlCol="0" anchor="t" anchorCtr="0"/>
          <a:lstStyle/>
          <a:p>
            <a:pPr marL="3175" defTabSz="914235">
              <a:spcAft>
                <a:spcPts val="900"/>
              </a:spcAft>
              <a:buSzPct val="80000"/>
            </a:pPr>
            <a:r>
              <a:rPr lang="en-US" sz="3600" spc="-83" dirty="0">
                <a:solidFill>
                  <a:srgbClr val="FFFFFF">
                    <a:alpha val="99000"/>
                  </a:srgbClr>
                </a:solidFill>
                <a:latin typeface="Segoe UI Light" pitchFamily="34" charset="0"/>
              </a:rPr>
              <a:t>Common Scenarios</a:t>
            </a:r>
          </a:p>
          <a:p>
            <a:pPr marL="3175" defTabSz="914132">
              <a:lnSpc>
                <a:spcPct val="90000"/>
              </a:lnSpc>
              <a:spcAft>
                <a:spcPts val="900"/>
              </a:spcAft>
              <a:buSzPct val="80000"/>
            </a:pPr>
            <a:r>
              <a:rPr lang="en-US" sz="2000" spc="-43" dirty="0">
                <a:solidFill>
                  <a:srgbClr val="FFFFFF">
                    <a:alpha val="99000"/>
                  </a:srgbClr>
                </a:solidFill>
              </a:rPr>
              <a:t>Reduces the friction associated with repeating common tasks such as user authentication, push notifications and structured storage</a:t>
            </a:r>
          </a:p>
        </p:txBody>
      </p:sp>
      <p:sp>
        <p:nvSpPr>
          <p:cNvPr id="49" name="Rounded Rectangle 48"/>
          <p:cNvSpPr/>
          <p:nvPr/>
        </p:nvSpPr>
        <p:spPr bwMode="auto">
          <a:xfrm>
            <a:off x="506917" y="4927330"/>
            <a:ext cx="10828419" cy="1363075"/>
          </a:xfrm>
          <a:prstGeom prst="roundRect">
            <a:avLst>
              <a:gd name="adj" fmla="val 0"/>
            </a:avLst>
          </a:prstGeom>
          <a:solidFill>
            <a:schemeClr val="accent4"/>
          </a:solidFill>
          <a:ln w="9525" cap="flat" cmpd="sng" algn="ctr">
            <a:noFill/>
            <a:prstDash val="solid"/>
          </a:ln>
          <a:effectLst/>
        </p:spPr>
        <p:txBody>
          <a:bodyPr lIns="76168" tIns="38085" rIns="76168" bIns="38085" rtlCol="0" anchor="t" anchorCtr="0"/>
          <a:lstStyle/>
          <a:p>
            <a:pPr marL="3175" defTabSz="914132">
              <a:lnSpc>
                <a:spcPct val="90000"/>
              </a:lnSpc>
              <a:spcAft>
                <a:spcPts val="900"/>
              </a:spcAft>
              <a:buSzPct val="80000"/>
            </a:pPr>
            <a:r>
              <a:rPr lang="en-US" sz="3600" spc="-83" dirty="0">
                <a:solidFill>
                  <a:srgbClr val="FFFFFF">
                    <a:alpha val="99000"/>
                  </a:srgbClr>
                </a:solidFill>
                <a:latin typeface="Segoe UI Light" pitchFamily="34" charset="0"/>
              </a:rPr>
              <a:t>Rapid Development</a:t>
            </a:r>
          </a:p>
          <a:p>
            <a:pPr marL="3175" defTabSz="914132">
              <a:lnSpc>
                <a:spcPct val="90000"/>
              </a:lnSpc>
              <a:spcAft>
                <a:spcPts val="900"/>
              </a:spcAft>
              <a:buSzPct val="80000"/>
            </a:pPr>
            <a:r>
              <a:rPr lang="en-US" sz="2000" spc="-43" dirty="0">
                <a:solidFill>
                  <a:srgbClr val="FFFFFF">
                    <a:alpha val="99000"/>
                  </a:srgbClr>
                </a:solidFill>
              </a:rPr>
              <a:t>Time is money.  Get your app up and running sooner when you use Mobile Services to configure a straightforward and secure backend in less than five minutes.</a:t>
            </a:r>
          </a:p>
        </p:txBody>
      </p:sp>
    </p:spTree>
    <p:extLst>
      <p:ext uri="{BB962C8B-B14F-4D97-AF65-F5344CB8AC3E}">
        <p14:creationId xmlns:p14="http://schemas.microsoft.com/office/powerpoint/2010/main" val="14570626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8"/>
                                        </p:tgtEl>
                                        <p:attrNameLst>
                                          <p:attrName>style.visibility</p:attrName>
                                        </p:attrNameLst>
                                      </p:cBhvr>
                                      <p:to>
                                        <p:strVal val="visible"/>
                                      </p:to>
                                    </p:set>
                                    <p:animEffect transition="in" filter="fade">
                                      <p:cBhvr>
                                        <p:cTn id="12" dur="500"/>
                                        <p:tgtEl>
                                          <p:spTgt spid="4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9"/>
                                        </p:tgtEl>
                                        <p:attrNameLst>
                                          <p:attrName>style.visibility</p:attrName>
                                        </p:attrNameLst>
                                      </p:cBhvr>
                                      <p:to>
                                        <p:strVal val="visible"/>
                                      </p:to>
                                    </p:set>
                                    <p:animEffect transition="in" filter="fade">
                                      <p:cBhvr>
                                        <p:cTn id="17"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8" grpId="0" animBg="1"/>
      <p:bldP spid="49"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er Logic</a:t>
            </a:r>
            <a:endParaRPr lang="en-US" dirty="0"/>
          </a:p>
        </p:txBody>
      </p:sp>
      <p:sp>
        <p:nvSpPr>
          <p:cNvPr id="3" name="Text Placeholder 2"/>
          <p:cNvSpPr>
            <a:spLocks noGrp="1"/>
          </p:cNvSpPr>
          <p:nvPr>
            <p:ph type="body" sz="quarter" idx="10"/>
          </p:nvPr>
        </p:nvSpPr>
        <p:spPr>
          <a:xfrm>
            <a:off x="520701" y="985733"/>
            <a:ext cx="11669712" cy="9487213"/>
          </a:xfrm>
        </p:spPr>
        <p:txBody>
          <a:bodyPr/>
          <a:lstStyle/>
          <a:p>
            <a:r>
              <a:rPr lang="en-US" sz="3200" spc="-71" dirty="0">
                <a:solidFill>
                  <a:schemeClr val="tx1"/>
                </a:solidFill>
              </a:rPr>
              <a:t>Supported Modules + </a:t>
            </a:r>
            <a:r>
              <a:rPr lang="en-US" sz="3200" spc="-71" dirty="0" err="1">
                <a:solidFill>
                  <a:schemeClr val="tx1"/>
                </a:solidFill>
              </a:rPr>
              <a:t>Globals</a:t>
            </a:r>
            <a:endParaRPr lang="en-US" sz="3200" spc="-71" dirty="0">
              <a:solidFill>
                <a:schemeClr val="tx1"/>
              </a:solidFill>
            </a:endParaRPr>
          </a:p>
          <a:p>
            <a:r>
              <a:rPr lang="en-US" sz="3200" spc="-71" dirty="0">
                <a:solidFill>
                  <a:schemeClr val="tx1"/>
                </a:solidFill>
              </a:rPr>
              <a:t>	</a:t>
            </a:r>
            <a:r>
              <a:rPr lang="en-US" sz="3200" spc="-71" dirty="0" err="1">
                <a:solidFill>
                  <a:schemeClr val="tx1"/>
                </a:solidFill>
              </a:rPr>
              <a:t>mssql</a:t>
            </a:r>
            <a:endParaRPr lang="en-US" sz="3200" spc="-71" dirty="0">
              <a:solidFill>
                <a:schemeClr val="tx1"/>
              </a:solidFill>
            </a:endParaRPr>
          </a:p>
          <a:p>
            <a:r>
              <a:rPr lang="en-US" sz="3200" spc="-71" dirty="0">
                <a:solidFill>
                  <a:schemeClr val="tx1"/>
                </a:solidFill>
              </a:rPr>
              <a:t>	request</a:t>
            </a:r>
          </a:p>
          <a:p>
            <a:r>
              <a:rPr lang="en-US" sz="3200" spc="-71" dirty="0">
                <a:solidFill>
                  <a:schemeClr val="tx1"/>
                </a:solidFill>
              </a:rPr>
              <a:t>	console</a:t>
            </a:r>
          </a:p>
          <a:p>
            <a:r>
              <a:rPr lang="en-US" sz="3200" spc="-71" dirty="0">
                <a:solidFill>
                  <a:schemeClr val="tx1"/>
                </a:solidFill>
              </a:rPr>
              <a:t>	push</a:t>
            </a:r>
            <a:r>
              <a:rPr lang="en-US" sz="3200" b="1" spc="-71" dirty="0">
                <a:solidFill>
                  <a:schemeClr val="tx1"/>
                </a:solidFill>
              </a:rPr>
              <a:t>.*</a:t>
            </a:r>
          </a:p>
          <a:p>
            <a:r>
              <a:rPr lang="en-US" sz="3200" spc="-71" dirty="0">
                <a:solidFill>
                  <a:schemeClr val="tx1"/>
                </a:solidFill>
              </a:rPr>
              <a:t>	tables</a:t>
            </a:r>
          </a:p>
          <a:p>
            <a:r>
              <a:rPr lang="en-US" sz="3200" spc="-71" dirty="0">
                <a:solidFill>
                  <a:schemeClr val="tx1"/>
                </a:solidFill>
              </a:rPr>
              <a:t>	xml2js</a:t>
            </a:r>
          </a:p>
          <a:p>
            <a:r>
              <a:rPr lang="en-US" sz="3200" spc="-71" dirty="0">
                <a:solidFill>
                  <a:schemeClr val="tx1"/>
                </a:solidFill>
              </a:rPr>
              <a:t>	</a:t>
            </a:r>
            <a:r>
              <a:rPr lang="en-US" sz="3200" spc="-71" dirty="0" err="1">
                <a:solidFill>
                  <a:schemeClr val="tx1"/>
                </a:solidFill>
              </a:rPr>
              <a:t>statusCodes</a:t>
            </a:r>
            <a:endParaRPr lang="en-US" sz="3200" spc="-71" dirty="0">
              <a:solidFill>
                <a:schemeClr val="tx1"/>
              </a:solidFill>
            </a:endParaRPr>
          </a:p>
          <a:p>
            <a:r>
              <a:rPr lang="en-US" sz="3200" spc="-71" dirty="0">
                <a:solidFill>
                  <a:schemeClr val="tx1"/>
                </a:solidFill>
              </a:rPr>
              <a:t>	Windows Azure Node SDK</a:t>
            </a:r>
          </a:p>
          <a:p>
            <a:r>
              <a:rPr lang="en-US" sz="3200" spc="-71" dirty="0">
                <a:solidFill>
                  <a:schemeClr val="tx1"/>
                </a:solidFill>
              </a:rPr>
              <a:t>	Windows Store Partners (</a:t>
            </a:r>
            <a:r>
              <a:rPr lang="en-US" sz="3200" spc="-71" dirty="0" err="1">
                <a:solidFill>
                  <a:schemeClr val="tx1"/>
                </a:solidFill>
              </a:rPr>
              <a:t>Sengrid</a:t>
            </a:r>
            <a:r>
              <a:rPr lang="en-US" sz="3200" spc="-71" dirty="0">
                <a:solidFill>
                  <a:schemeClr val="tx1"/>
                </a:solidFill>
              </a:rPr>
              <a:t>, </a:t>
            </a:r>
            <a:r>
              <a:rPr lang="en-US" sz="3200" spc="-71" dirty="0" err="1">
                <a:solidFill>
                  <a:schemeClr val="tx1"/>
                </a:solidFill>
              </a:rPr>
              <a:t>Twillio</a:t>
            </a:r>
            <a:r>
              <a:rPr lang="en-US" sz="3200" spc="-71" dirty="0">
                <a:solidFill>
                  <a:schemeClr val="tx1"/>
                </a:solidFill>
              </a:rPr>
              <a:t>, Pusher)</a:t>
            </a:r>
          </a:p>
          <a:p>
            <a:endParaRPr lang="en-US" spc="-71" dirty="0">
              <a:solidFill>
                <a:schemeClr val="tx1"/>
              </a:solidFill>
            </a:endParaRPr>
          </a:p>
          <a:p>
            <a:endParaRPr lang="en-US" spc="-71" dirty="0">
              <a:gradFill>
                <a:gsLst>
                  <a:gs pos="2917">
                    <a:schemeClr val="tx1"/>
                  </a:gs>
                  <a:gs pos="30000">
                    <a:schemeClr val="tx1"/>
                  </a:gs>
                </a:gsLst>
                <a:lin ang="5400000" scaled="0"/>
              </a:gradFill>
            </a:endParaRPr>
          </a:p>
          <a:p>
            <a:endParaRPr lang="en-US" spc="-71" dirty="0">
              <a:gradFill>
                <a:gsLst>
                  <a:gs pos="2917">
                    <a:schemeClr val="tx1"/>
                  </a:gs>
                  <a:gs pos="30000">
                    <a:schemeClr val="tx1"/>
                  </a:gs>
                </a:gsLst>
                <a:lin ang="5400000" scaled="0"/>
              </a:gradFill>
            </a:endParaRPr>
          </a:p>
          <a:p>
            <a:endParaRPr lang="en-US" dirty="0"/>
          </a:p>
          <a:p>
            <a:endParaRPr lang="en-US" spc="-71" dirty="0">
              <a:gradFill>
                <a:gsLst>
                  <a:gs pos="2917">
                    <a:schemeClr val="tx1"/>
                  </a:gs>
                  <a:gs pos="30000">
                    <a:schemeClr val="tx1"/>
                  </a:gs>
                </a:gsLst>
                <a:lin ang="5400000" scaled="0"/>
              </a:gradFill>
            </a:endParaRPr>
          </a:p>
          <a:p>
            <a:endParaRPr lang="en-US" dirty="0"/>
          </a:p>
        </p:txBody>
      </p:sp>
      <p:sp>
        <p:nvSpPr>
          <p:cNvPr id="7" name="Rectangle 6"/>
          <p:cNvSpPr/>
          <p:nvPr/>
        </p:nvSpPr>
        <p:spPr>
          <a:xfrm>
            <a:off x="4311720" y="2636642"/>
            <a:ext cx="7615707" cy="2677648"/>
          </a:xfrm>
          <a:prstGeom prst="rect">
            <a:avLst/>
          </a:prstGeom>
          <a:solidFill>
            <a:schemeClr val="bg2"/>
          </a:solidFill>
        </p:spPr>
        <p:txBody>
          <a:bodyPr wrap="square" lIns="91431" tIns="45716" rIns="91431" bIns="45716">
            <a:spAutoFit/>
          </a:bodyPr>
          <a:lstStyle/>
          <a:p>
            <a:pPr defTabSz="914197"/>
            <a:r>
              <a:rPr lang="en-US" sz="2800" dirty="0" err="1">
                <a:solidFill>
                  <a:srgbClr val="000000"/>
                </a:solidFill>
              </a:rPr>
              <a:t>mssql.query</a:t>
            </a:r>
            <a:r>
              <a:rPr lang="en-US" sz="2800" dirty="0">
                <a:solidFill>
                  <a:srgbClr val="000000"/>
                </a:solidFill>
              </a:rPr>
              <a:t>(</a:t>
            </a:r>
            <a:r>
              <a:rPr lang="en-US" sz="2800" dirty="0">
                <a:solidFill>
                  <a:srgbClr val="A31515"/>
                </a:solidFill>
              </a:rPr>
              <a:t>‘exec </a:t>
            </a:r>
            <a:r>
              <a:rPr lang="en-US" sz="2800" dirty="0" err="1">
                <a:solidFill>
                  <a:srgbClr val="A31515"/>
                </a:solidFill>
              </a:rPr>
              <a:t>sprocDoStuff</a:t>
            </a:r>
            <a:r>
              <a:rPr lang="en-US" sz="2800" dirty="0">
                <a:solidFill>
                  <a:srgbClr val="A31515"/>
                </a:solidFill>
              </a:rPr>
              <a:t>()'</a:t>
            </a:r>
            <a:r>
              <a:rPr lang="en-US" sz="2800" dirty="0">
                <a:solidFill>
                  <a:srgbClr val="000000"/>
                </a:solidFill>
              </a:rPr>
              <a:t>, 	{ success: </a:t>
            </a:r>
            <a:r>
              <a:rPr lang="en-US" sz="2800" dirty="0">
                <a:solidFill>
                  <a:srgbClr val="0000FF"/>
                </a:solidFill>
              </a:rPr>
              <a:t>function</a:t>
            </a:r>
            <a:r>
              <a:rPr lang="en-US" sz="2800" dirty="0">
                <a:solidFill>
                  <a:srgbClr val="000000"/>
                </a:solidFill>
              </a:rPr>
              <a:t>(results) { 					console.log(results); </a:t>
            </a:r>
          </a:p>
          <a:p>
            <a:pPr defTabSz="914197"/>
            <a:r>
              <a:rPr lang="en-US" sz="2800" dirty="0">
                <a:solidFill>
                  <a:srgbClr val="000000"/>
                </a:solidFill>
              </a:rPr>
              <a:t>		} </a:t>
            </a:r>
          </a:p>
          <a:p>
            <a:pPr defTabSz="914197"/>
            <a:r>
              <a:rPr lang="en-US" sz="2800" dirty="0">
                <a:solidFill>
                  <a:srgbClr val="000000"/>
                </a:solidFill>
              </a:rPr>
              <a:t>	}</a:t>
            </a:r>
          </a:p>
          <a:p>
            <a:pPr defTabSz="914197"/>
            <a:r>
              <a:rPr lang="en-US" sz="2800" dirty="0">
                <a:solidFill>
                  <a:srgbClr val="000000"/>
                </a:solidFill>
              </a:rPr>
              <a:t>); </a:t>
            </a:r>
            <a:endParaRPr lang="en-US" sz="2800" dirty="0">
              <a:solidFill>
                <a:srgbClr val="292929"/>
              </a:solidFill>
            </a:endParaRPr>
          </a:p>
        </p:txBody>
      </p:sp>
    </p:spTree>
    <p:extLst>
      <p:ext uri="{BB962C8B-B14F-4D97-AF65-F5344CB8AC3E}">
        <p14:creationId xmlns:p14="http://schemas.microsoft.com/office/powerpoint/2010/main" val="26969311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175760" y="6268031"/>
            <a:ext cx="2862944" cy="58997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3" rIns="91403" bIns="45703" numCol="1" rtlCol="0" anchor="ctr" anchorCtr="0" compatLnSpc="1">
            <a:prstTxWarp prst="textNoShape">
              <a:avLst/>
            </a:prstTxWarp>
          </a:bodyPr>
          <a:lstStyle/>
          <a:p>
            <a:pPr algn="ctr" defTabSz="913782" fontAlgn="base">
              <a:spcBef>
                <a:spcPts val="200"/>
              </a:spcBef>
              <a:spcAft>
                <a:spcPct val="0"/>
              </a:spcAft>
            </a:pPr>
            <a:endParaRPr lang="en-US" sz="2800" dirty="0">
              <a:ln>
                <a:solidFill>
                  <a:srgbClr val="FFFFFF">
                    <a:alpha val="0"/>
                  </a:srgbClr>
                </a:solidFill>
              </a:ln>
              <a:solidFill>
                <a:srgbClr val="FFFFFF"/>
              </a:solidFill>
            </a:endParaRPr>
          </a:p>
        </p:txBody>
      </p:sp>
      <p:sp>
        <p:nvSpPr>
          <p:cNvPr id="3" name="Title 2"/>
          <p:cNvSpPr>
            <a:spLocks noGrp="1"/>
          </p:cNvSpPr>
          <p:nvPr>
            <p:ph type="title"/>
          </p:nvPr>
        </p:nvSpPr>
        <p:spPr/>
        <p:txBody>
          <a:bodyPr/>
          <a:lstStyle/>
          <a:p>
            <a:r>
              <a:rPr lang="en-US" dirty="0"/>
              <a:t>Push Notification </a:t>
            </a:r>
            <a:r>
              <a:rPr lang="en-US" dirty="0" smtClean="0"/>
              <a:t>Lifecycle Overview</a:t>
            </a:r>
            <a:endParaRPr lang="en-US" dirty="0"/>
          </a:p>
        </p:txBody>
      </p:sp>
      <p:sp>
        <p:nvSpPr>
          <p:cNvPr id="4" name="TextBox 3"/>
          <p:cNvSpPr txBox="1"/>
          <p:nvPr/>
        </p:nvSpPr>
        <p:spPr>
          <a:xfrm>
            <a:off x="7081128" y="1436915"/>
            <a:ext cx="4588595" cy="2550739"/>
          </a:xfrm>
          <a:prstGeom prst="rect">
            <a:avLst/>
          </a:prstGeom>
          <a:noFill/>
        </p:spPr>
        <p:txBody>
          <a:bodyPr wrap="square" lIns="0" tIns="0" rIns="0" bIns="0" rtlCol="0">
            <a:noAutofit/>
          </a:bodyPr>
          <a:lstStyle/>
          <a:p>
            <a:pPr marL="406264" indent="-406264" defTabSz="913470" fontAlgn="base">
              <a:lnSpc>
                <a:spcPct val="90000"/>
              </a:lnSpc>
              <a:spcAft>
                <a:spcPts val="1800"/>
              </a:spcAft>
              <a:buClr>
                <a:srgbClr val="FF8A00"/>
              </a:buClr>
              <a:buFont typeface="+mj-lt"/>
              <a:buAutoNum type="arabicPeriod"/>
            </a:pPr>
            <a:r>
              <a:rPr lang="en-US" sz="2800" dirty="0">
                <a:ln>
                  <a:solidFill>
                    <a:srgbClr val="FFFFFF">
                      <a:alpha val="0"/>
                    </a:srgbClr>
                  </a:solidFill>
                </a:ln>
                <a:solidFill>
                  <a:srgbClr val="595959">
                    <a:alpha val="99000"/>
                  </a:srgbClr>
                </a:solidFill>
              </a:rPr>
              <a:t>Request Channel </a:t>
            </a:r>
            <a:r>
              <a:rPr lang="en-US" sz="2800" dirty="0" smtClean="0">
                <a:ln>
                  <a:solidFill>
                    <a:srgbClr val="FFFFFF">
                      <a:alpha val="0"/>
                    </a:srgbClr>
                  </a:solidFill>
                </a:ln>
                <a:solidFill>
                  <a:srgbClr val="595959">
                    <a:alpha val="99000"/>
                  </a:srgbClr>
                </a:solidFill>
              </a:rPr>
              <a:t>URI/</a:t>
            </a:r>
            <a:r>
              <a:rPr lang="en-US" sz="2800" dirty="0" err="1" smtClean="0">
                <a:ln>
                  <a:solidFill>
                    <a:srgbClr val="FFFFFF">
                      <a:alpha val="0"/>
                    </a:srgbClr>
                  </a:solidFill>
                </a:ln>
                <a:solidFill>
                  <a:srgbClr val="595959">
                    <a:alpha val="99000"/>
                  </a:srgbClr>
                </a:solidFill>
              </a:rPr>
              <a:t>DeviceToken</a:t>
            </a:r>
            <a:endParaRPr lang="en-US" sz="2800" dirty="0">
              <a:ln>
                <a:solidFill>
                  <a:srgbClr val="FFFFFF">
                    <a:alpha val="0"/>
                  </a:srgbClr>
                </a:solidFill>
              </a:ln>
              <a:solidFill>
                <a:srgbClr val="595959">
                  <a:alpha val="99000"/>
                </a:srgbClr>
              </a:solidFill>
            </a:endParaRPr>
          </a:p>
          <a:p>
            <a:pPr marL="406264" indent="-406264" defTabSz="913470" fontAlgn="base">
              <a:lnSpc>
                <a:spcPct val="90000"/>
              </a:lnSpc>
              <a:spcAft>
                <a:spcPts val="1800"/>
              </a:spcAft>
              <a:buClr>
                <a:srgbClr val="FF8A00"/>
              </a:buClr>
              <a:buFont typeface="+mj-lt"/>
              <a:buAutoNum type="arabicPeriod"/>
            </a:pPr>
            <a:r>
              <a:rPr lang="en-US" sz="2800" dirty="0">
                <a:ln>
                  <a:solidFill>
                    <a:srgbClr val="FFFFFF">
                      <a:alpha val="0"/>
                    </a:srgbClr>
                  </a:solidFill>
                </a:ln>
                <a:solidFill>
                  <a:srgbClr val="595959">
                    <a:alpha val="99000"/>
                  </a:srgbClr>
                </a:solidFill>
              </a:rPr>
              <a:t>Register with your </a:t>
            </a:r>
            <a:br>
              <a:rPr lang="en-US" sz="2800" dirty="0">
                <a:ln>
                  <a:solidFill>
                    <a:srgbClr val="FFFFFF">
                      <a:alpha val="0"/>
                    </a:srgbClr>
                  </a:solidFill>
                </a:ln>
                <a:solidFill>
                  <a:srgbClr val="595959">
                    <a:alpha val="99000"/>
                  </a:srgbClr>
                </a:solidFill>
              </a:rPr>
            </a:br>
            <a:r>
              <a:rPr lang="en-US" sz="2800" dirty="0">
                <a:ln>
                  <a:solidFill>
                    <a:srgbClr val="FFFFFF">
                      <a:alpha val="0"/>
                    </a:srgbClr>
                  </a:solidFill>
                </a:ln>
                <a:solidFill>
                  <a:srgbClr val="595959">
                    <a:alpha val="99000"/>
                  </a:srgbClr>
                </a:solidFill>
              </a:rPr>
              <a:t>Cloud Service</a:t>
            </a:r>
          </a:p>
          <a:p>
            <a:pPr marL="406264" indent="-406264" defTabSz="913470" fontAlgn="base">
              <a:lnSpc>
                <a:spcPct val="90000"/>
              </a:lnSpc>
              <a:spcAft>
                <a:spcPts val="1800"/>
              </a:spcAft>
              <a:buClr>
                <a:srgbClr val="FF8A00"/>
              </a:buClr>
              <a:buFont typeface="+mj-lt"/>
              <a:buAutoNum type="arabicPeriod"/>
            </a:pPr>
            <a:r>
              <a:rPr lang="en-US" sz="2800" dirty="0">
                <a:ln>
                  <a:solidFill>
                    <a:srgbClr val="FFFFFF">
                      <a:alpha val="0"/>
                    </a:srgbClr>
                  </a:solidFill>
                </a:ln>
                <a:solidFill>
                  <a:srgbClr val="595959">
                    <a:alpha val="99000"/>
                  </a:srgbClr>
                </a:solidFill>
              </a:rPr>
              <a:t>Authenticate &amp; </a:t>
            </a:r>
            <a:br>
              <a:rPr lang="en-US" sz="2800" dirty="0">
                <a:ln>
                  <a:solidFill>
                    <a:srgbClr val="FFFFFF">
                      <a:alpha val="0"/>
                    </a:srgbClr>
                  </a:solidFill>
                </a:ln>
                <a:solidFill>
                  <a:srgbClr val="595959">
                    <a:alpha val="99000"/>
                  </a:srgbClr>
                </a:solidFill>
              </a:rPr>
            </a:br>
            <a:r>
              <a:rPr lang="en-US" sz="2800" dirty="0">
                <a:ln>
                  <a:solidFill>
                    <a:srgbClr val="FFFFFF">
                      <a:alpha val="0"/>
                    </a:srgbClr>
                  </a:solidFill>
                </a:ln>
                <a:solidFill>
                  <a:srgbClr val="595959">
                    <a:alpha val="99000"/>
                  </a:srgbClr>
                </a:solidFill>
              </a:rPr>
              <a:t>Push Notification</a:t>
            </a:r>
          </a:p>
        </p:txBody>
      </p:sp>
      <p:sp>
        <p:nvSpPr>
          <p:cNvPr id="6" name="Rounded Rectangle 22"/>
          <p:cNvSpPr/>
          <p:nvPr/>
        </p:nvSpPr>
        <p:spPr bwMode="auto">
          <a:xfrm>
            <a:off x="519115" y="1349831"/>
            <a:ext cx="2298535" cy="516068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1" tIns="45686" rIns="91371" bIns="45686" numCol="1" spcCol="0" rtlCol="0" anchor="t" anchorCtr="0" compatLnSpc="1">
            <a:prstTxWarp prst="textNoShape">
              <a:avLst/>
            </a:prstTxWarp>
          </a:bodyPr>
          <a:lstStyle/>
          <a:p>
            <a:pPr algn="ctr" defTabSz="913470" fontAlgn="base">
              <a:spcBef>
                <a:spcPts val="600"/>
              </a:spcBef>
              <a:spcAft>
                <a:spcPts val="600"/>
              </a:spcAft>
            </a:pPr>
            <a:r>
              <a:rPr lang="en-US" sz="2800" spc="-151" dirty="0" smtClean="0">
                <a:solidFill>
                  <a:srgbClr val="DDDDDD">
                    <a:lumMod val="50000"/>
                    <a:alpha val="99000"/>
                  </a:srgbClr>
                </a:solidFill>
                <a:latin typeface="Segoe UI Light" pitchFamily="34" charset="0"/>
              </a:rPr>
              <a:t>Device</a:t>
            </a:r>
            <a:endParaRPr lang="en-US" sz="2800" spc="-151" dirty="0">
              <a:solidFill>
                <a:srgbClr val="DDDDDD">
                  <a:lumMod val="50000"/>
                  <a:alpha val="99000"/>
                </a:srgbClr>
              </a:solidFill>
              <a:latin typeface="Segoe UI Light" pitchFamily="34" charset="0"/>
            </a:endParaRPr>
          </a:p>
        </p:txBody>
      </p:sp>
      <p:sp>
        <p:nvSpPr>
          <p:cNvPr id="7" name="Rounded Rectangle 20"/>
          <p:cNvSpPr/>
          <p:nvPr/>
        </p:nvSpPr>
        <p:spPr bwMode="auto">
          <a:xfrm>
            <a:off x="753980" y="4437133"/>
            <a:ext cx="1828800" cy="182880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7" tIns="91407" rIns="91407" bIns="91407" numCol="1" rtlCol="0" anchor="b" anchorCtr="0" compatLnSpc="1">
            <a:prstTxWarp prst="textNoShape">
              <a:avLst/>
            </a:prstTxWarp>
          </a:bodyPr>
          <a:lstStyle/>
          <a:p>
            <a:pPr defTabSz="1218513" fontAlgn="base">
              <a:lnSpc>
                <a:spcPct val="90000"/>
              </a:lnSpc>
              <a:spcBef>
                <a:spcPct val="0"/>
              </a:spcBef>
              <a:spcAft>
                <a:spcPct val="0"/>
              </a:spcAft>
            </a:pPr>
            <a:r>
              <a:rPr lang="en-US" sz="2000" spc="-51" dirty="0">
                <a:ln>
                  <a:solidFill>
                    <a:srgbClr val="FFFFFF">
                      <a:alpha val="0"/>
                    </a:srgbClr>
                  </a:solidFill>
                </a:ln>
                <a:solidFill>
                  <a:srgbClr val="FFFFFF">
                    <a:alpha val="99000"/>
                  </a:srgbClr>
                </a:solidFill>
                <a:latin typeface="Segoe UI Light" pitchFamily="34" charset="0"/>
                <a:ea typeface="Segoe UI" pitchFamily="34" charset="0"/>
                <a:cs typeface="Segoe UI" pitchFamily="34" charset="0"/>
              </a:rPr>
              <a:t>Notification</a:t>
            </a:r>
          </a:p>
          <a:p>
            <a:pPr defTabSz="1218513" fontAlgn="base">
              <a:lnSpc>
                <a:spcPct val="90000"/>
              </a:lnSpc>
              <a:spcBef>
                <a:spcPct val="0"/>
              </a:spcBef>
              <a:spcAft>
                <a:spcPct val="0"/>
              </a:spcAft>
            </a:pPr>
            <a:r>
              <a:rPr lang="en-US" sz="2000" spc="-51" dirty="0">
                <a:ln>
                  <a:solidFill>
                    <a:srgbClr val="FFFFFF">
                      <a:alpha val="0"/>
                    </a:srgbClr>
                  </a:solidFill>
                </a:ln>
                <a:solidFill>
                  <a:srgbClr val="FFFFFF">
                    <a:alpha val="99000"/>
                  </a:srgbClr>
                </a:solidFill>
                <a:latin typeface="Segoe UI Light" pitchFamily="34" charset="0"/>
                <a:ea typeface="Segoe UI" pitchFamily="34" charset="0"/>
                <a:cs typeface="Segoe UI" pitchFamily="34" charset="0"/>
              </a:rPr>
              <a:t>Client Platform</a:t>
            </a:r>
          </a:p>
        </p:txBody>
      </p:sp>
      <p:sp>
        <p:nvSpPr>
          <p:cNvPr id="8" name="Rounded Rectangle 23"/>
          <p:cNvSpPr/>
          <p:nvPr/>
        </p:nvSpPr>
        <p:spPr bwMode="auto">
          <a:xfrm>
            <a:off x="753980" y="1952067"/>
            <a:ext cx="1828800" cy="182880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7" tIns="91407" rIns="91407" bIns="91407" numCol="1" rtlCol="0" anchor="b" anchorCtr="0" compatLnSpc="1">
            <a:prstTxWarp prst="textNoShape">
              <a:avLst/>
            </a:prstTxWarp>
          </a:bodyPr>
          <a:lstStyle/>
          <a:p>
            <a:pPr algn="ctr" defTabSz="1218513" fontAlgn="base">
              <a:lnSpc>
                <a:spcPct val="90000"/>
              </a:lnSpc>
              <a:spcBef>
                <a:spcPct val="0"/>
              </a:spcBef>
              <a:spcAft>
                <a:spcPct val="0"/>
              </a:spcAft>
            </a:pPr>
            <a:r>
              <a:rPr lang="en-US" sz="2000" spc="-51" dirty="0">
                <a:ln>
                  <a:solidFill>
                    <a:srgbClr val="FFFFFF">
                      <a:alpha val="0"/>
                    </a:srgbClr>
                  </a:solidFill>
                </a:ln>
                <a:solidFill>
                  <a:srgbClr val="FFFFFF">
                    <a:alpha val="99000"/>
                  </a:srgbClr>
                </a:solidFill>
                <a:latin typeface="Segoe UI Light" pitchFamily="34" charset="0"/>
                <a:ea typeface="Segoe UI" pitchFamily="34" charset="0"/>
                <a:cs typeface="Segoe UI" pitchFamily="34" charset="0"/>
              </a:rPr>
              <a:t>App</a:t>
            </a:r>
          </a:p>
        </p:txBody>
      </p:sp>
      <p:sp>
        <p:nvSpPr>
          <p:cNvPr id="10" name="Rounded Rectangle 21"/>
          <p:cNvSpPr/>
          <p:nvPr/>
        </p:nvSpPr>
        <p:spPr bwMode="auto">
          <a:xfrm>
            <a:off x="4354517" y="1349829"/>
            <a:ext cx="2103120" cy="210312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7" tIns="91407" rIns="91407" bIns="91407" numCol="1" rtlCol="0" anchor="b" anchorCtr="0" compatLnSpc="1">
            <a:prstTxWarp prst="textNoShape">
              <a:avLst/>
            </a:prstTxWarp>
          </a:bodyPr>
          <a:lstStyle/>
          <a:p>
            <a:pPr defTabSz="1218513" fontAlgn="base">
              <a:lnSpc>
                <a:spcPct val="90000"/>
              </a:lnSpc>
              <a:spcBef>
                <a:spcPct val="0"/>
              </a:spcBef>
              <a:spcAft>
                <a:spcPct val="0"/>
              </a:spcAft>
            </a:pPr>
            <a:r>
              <a:rPr lang="en-US" sz="2000" spc="-51" dirty="0">
                <a:ln>
                  <a:solidFill>
                    <a:srgbClr val="FFFFFF">
                      <a:alpha val="0"/>
                    </a:srgbClr>
                  </a:solidFill>
                </a:ln>
                <a:solidFill>
                  <a:srgbClr val="FFFFFF">
                    <a:alpha val="99000"/>
                  </a:srgbClr>
                </a:solidFill>
                <a:latin typeface="Segoe UI Light" pitchFamily="34" charset="0"/>
                <a:ea typeface="Segoe UI" pitchFamily="34" charset="0"/>
                <a:cs typeface="Segoe UI" pitchFamily="34" charset="0"/>
              </a:rPr>
              <a:t>Mobile Services</a:t>
            </a:r>
          </a:p>
        </p:txBody>
      </p:sp>
      <p:sp>
        <p:nvSpPr>
          <p:cNvPr id="13" name="Rounded Rectangle 18"/>
          <p:cNvSpPr/>
          <p:nvPr/>
        </p:nvSpPr>
        <p:spPr bwMode="auto">
          <a:xfrm>
            <a:off x="4354517" y="4407393"/>
            <a:ext cx="2103120" cy="2103120"/>
          </a:xfrm>
          <a:prstGeom prst="rect">
            <a:avLst/>
          </a:prstGeom>
          <a:solidFill>
            <a:srgbClr val="8CC600"/>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7" tIns="91407" rIns="0" bIns="91407" numCol="1" rtlCol="0" anchor="b" anchorCtr="0" compatLnSpc="1">
            <a:prstTxWarp prst="textNoShape">
              <a:avLst/>
            </a:prstTxWarp>
          </a:bodyPr>
          <a:lstStyle/>
          <a:p>
            <a:pPr defTabSz="1218513" fontAlgn="base">
              <a:lnSpc>
                <a:spcPct val="90000"/>
              </a:lnSpc>
              <a:spcBef>
                <a:spcPct val="0"/>
              </a:spcBef>
              <a:spcAft>
                <a:spcPct val="0"/>
              </a:spcAft>
            </a:pPr>
            <a:r>
              <a:rPr lang="en-US" sz="2000" spc="-51" dirty="0" smtClean="0">
                <a:ln>
                  <a:solidFill>
                    <a:srgbClr val="FFFFFF">
                      <a:alpha val="0"/>
                    </a:srgbClr>
                  </a:solidFill>
                </a:ln>
                <a:solidFill>
                  <a:srgbClr val="FFFFFF">
                    <a:alpha val="99000"/>
                  </a:srgbClr>
                </a:solidFill>
                <a:latin typeface="Segoe UI Light" pitchFamily="34" charset="0"/>
                <a:ea typeface="Segoe UI" pitchFamily="34" charset="0"/>
                <a:cs typeface="Segoe UI" pitchFamily="34" charset="0"/>
              </a:rPr>
              <a:t>Push </a:t>
            </a:r>
            <a:r>
              <a:rPr lang="en-US" sz="2000" spc="-51" dirty="0">
                <a:ln>
                  <a:solidFill>
                    <a:srgbClr val="FFFFFF">
                      <a:alpha val="0"/>
                    </a:srgbClr>
                  </a:solidFill>
                </a:ln>
                <a:solidFill>
                  <a:srgbClr val="FFFFFF">
                    <a:alpha val="99000"/>
                  </a:srgbClr>
                </a:solidFill>
                <a:latin typeface="Segoe UI Light" pitchFamily="34" charset="0"/>
                <a:ea typeface="Segoe UI" pitchFamily="34" charset="0"/>
                <a:cs typeface="Segoe UI" pitchFamily="34" charset="0"/>
              </a:rPr>
              <a:t>Notification Service</a:t>
            </a:r>
          </a:p>
        </p:txBody>
      </p:sp>
      <p:grpSp>
        <p:nvGrpSpPr>
          <p:cNvPr id="29" name="Group 28"/>
          <p:cNvGrpSpPr/>
          <p:nvPr/>
        </p:nvGrpSpPr>
        <p:grpSpPr>
          <a:xfrm>
            <a:off x="1472818" y="3780878"/>
            <a:ext cx="782123" cy="656265"/>
            <a:chOff x="1471220" y="3430995"/>
            <a:chExt cx="782123" cy="1366013"/>
          </a:xfrm>
        </p:grpSpPr>
        <p:sp>
          <p:nvSpPr>
            <p:cNvPr id="16" name="Up-Down Arrow 15"/>
            <p:cNvSpPr/>
            <p:nvPr/>
          </p:nvSpPr>
          <p:spPr bwMode="auto">
            <a:xfrm>
              <a:off x="1471220" y="3430995"/>
              <a:ext cx="391145" cy="1366013"/>
            </a:xfrm>
            <a:prstGeom prst="upDownArrow">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782" fontAlgn="base">
                <a:spcBef>
                  <a:spcPct val="0"/>
                </a:spcBef>
                <a:spcAft>
                  <a:spcPct val="0"/>
                </a:spcAft>
              </a:pPr>
              <a:endParaRPr lang="en-US" sz="2300" dirty="0">
                <a:gradFill>
                  <a:gsLst>
                    <a:gs pos="0">
                      <a:srgbClr val="292929"/>
                    </a:gs>
                    <a:gs pos="100000">
                      <a:srgbClr val="292929"/>
                    </a:gs>
                  </a:gsLst>
                  <a:lin ang="5400000" scaled="0"/>
                </a:gradFill>
              </a:endParaRPr>
            </a:p>
          </p:txBody>
        </p:sp>
        <p:sp>
          <p:nvSpPr>
            <p:cNvPr id="17" name="Rectangle 16"/>
            <p:cNvSpPr/>
            <p:nvPr/>
          </p:nvSpPr>
          <p:spPr bwMode="auto">
            <a:xfrm>
              <a:off x="1699450" y="3741773"/>
              <a:ext cx="553893" cy="694062"/>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782" fontAlgn="base">
                <a:spcBef>
                  <a:spcPct val="0"/>
                </a:spcBef>
                <a:spcAft>
                  <a:spcPct val="0"/>
                </a:spcAft>
              </a:pPr>
              <a:r>
                <a:rPr lang="en-US" sz="1900" dirty="0">
                  <a:solidFill>
                    <a:srgbClr val="FF8A00">
                      <a:alpha val="99000"/>
                    </a:srgbClr>
                  </a:solidFill>
                </a:rPr>
                <a:t>(1)</a:t>
              </a:r>
            </a:p>
          </p:txBody>
        </p:sp>
      </p:grpSp>
      <p:grpSp>
        <p:nvGrpSpPr>
          <p:cNvPr id="30" name="Group 29"/>
          <p:cNvGrpSpPr/>
          <p:nvPr/>
        </p:nvGrpSpPr>
        <p:grpSpPr>
          <a:xfrm>
            <a:off x="2582783" y="2686783"/>
            <a:ext cx="1771733" cy="577291"/>
            <a:chOff x="2581191" y="2686782"/>
            <a:chExt cx="1771733" cy="577290"/>
          </a:xfrm>
        </p:grpSpPr>
        <p:sp>
          <p:nvSpPr>
            <p:cNvPr id="19" name="Up-Down Arrow 18"/>
            <p:cNvSpPr/>
            <p:nvPr/>
          </p:nvSpPr>
          <p:spPr bwMode="auto">
            <a:xfrm rot="5400000">
              <a:off x="3271484" y="1996489"/>
              <a:ext cx="391147" cy="1771733"/>
            </a:xfrm>
            <a:prstGeom prst="upDownArrow">
              <a:avLst>
                <a:gd name="adj1" fmla="val 50000"/>
                <a:gd name="adj2" fmla="val 59741"/>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782" fontAlgn="base">
                <a:spcBef>
                  <a:spcPct val="0"/>
                </a:spcBef>
                <a:spcAft>
                  <a:spcPct val="0"/>
                </a:spcAft>
              </a:pPr>
              <a:endParaRPr lang="en-US" sz="2300" dirty="0">
                <a:gradFill>
                  <a:gsLst>
                    <a:gs pos="0">
                      <a:srgbClr val="292929"/>
                    </a:gs>
                    <a:gs pos="100000">
                      <a:srgbClr val="292929"/>
                    </a:gs>
                  </a:gsLst>
                  <a:lin ang="5400000" scaled="0"/>
                </a:gradFill>
              </a:endParaRPr>
            </a:p>
          </p:txBody>
        </p:sp>
        <p:sp>
          <p:nvSpPr>
            <p:cNvPr id="20" name="Rectangle 19"/>
            <p:cNvSpPr/>
            <p:nvPr/>
          </p:nvSpPr>
          <p:spPr bwMode="auto">
            <a:xfrm>
              <a:off x="3238526" y="2984768"/>
              <a:ext cx="595161"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782" fontAlgn="base">
                <a:spcBef>
                  <a:spcPct val="0"/>
                </a:spcBef>
                <a:spcAft>
                  <a:spcPct val="0"/>
                </a:spcAft>
              </a:pPr>
              <a:r>
                <a:rPr lang="en-US" sz="1900" dirty="0">
                  <a:solidFill>
                    <a:srgbClr val="FF8A00">
                      <a:alpha val="99000"/>
                    </a:srgbClr>
                  </a:solidFill>
                </a:rPr>
                <a:t>(2)</a:t>
              </a:r>
            </a:p>
          </p:txBody>
        </p:sp>
      </p:grpSp>
      <p:grpSp>
        <p:nvGrpSpPr>
          <p:cNvPr id="31" name="Group 30"/>
          <p:cNvGrpSpPr/>
          <p:nvPr/>
        </p:nvGrpSpPr>
        <p:grpSpPr>
          <a:xfrm>
            <a:off x="5183167" y="3452951"/>
            <a:ext cx="933675" cy="954443"/>
            <a:chOff x="5341644" y="3559768"/>
            <a:chExt cx="933676" cy="703848"/>
          </a:xfrm>
        </p:grpSpPr>
        <p:sp>
          <p:nvSpPr>
            <p:cNvPr id="22" name="Down Arrow 21"/>
            <p:cNvSpPr/>
            <p:nvPr/>
          </p:nvSpPr>
          <p:spPr bwMode="auto">
            <a:xfrm>
              <a:off x="5341644" y="3559768"/>
              <a:ext cx="445096" cy="703848"/>
            </a:xfrm>
            <a:prstGeom prst="downArrow">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782" fontAlgn="base">
                <a:spcBef>
                  <a:spcPct val="0"/>
                </a:spcBef>
                <a:spcAft>
                  <a:spcPct val="0"/>
                </a:spcAft>
              </a:pPr>
              <a:endParaRPr lang="en-US" sz="2300" dirty="0">
                <a:gradFill>
                  <a:gsLst>
                    <a:gs pos="0">
                      <a:srgbClr val="292929"/>
                    </a:gs>
                    <a:gs pos="100000">
                      <a:srgbClr val="292929"/>
                    </a:gs>
                  </a:gsLst>
                  <a:lin ang="5400000" scaled="0"/>
                </a:gradFill>
              </a:endParaRPr>
            </a:p>
          </p:txBody>
        </p:sp>
        <p:sp>
          <p:nvSpPr>
            <p:cNvPr id="28" name="Rectangle 27"/>
            <p:cNvSpPr/>
            <p:nvPr/>
          </p:nvSpPr>
          <p:spPr bwMode="auto">
            <a:xfrm>
              <a:off x="5629508" y="3711106"/>
              <a:ext cx="645812"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782" fontAlgn="base">
                <a:spcBef>
                  <a:spcPct val="0"/>
                </a:spcBef>
                <a:spcAft>
                  <a:spcPct val="0"/>
                </a:spcAft>
              </a:pPr>
              <a:r>
                <a:rPr lang="en-US" sz="1900" dirty="0">
                  <a:solidFill>
                    <a:srgbClr val="FF8A00">
                      <a:alpha val="99000"/>
                    </a:srgbClr>
                  </a:solidFill>
                </a:rPr>
                <a:t>(3)</a:t>
              </a:r>
            </a:p>
          </p:txBody>
        </p:sp>
      </p:grpSp>
      <p:grpSp>
        <p:nvGrpSpPr>
          <p:cNvPr id="32" name="Group 31"/>
          <p:cNvGrpSpPr/>
          <p:nvPr/>
        </p:nvGrpSpPr>
        <p:grpSpPr>
          <a:xfrm>
            <a:off x="2582780" y="4937175"/>
            <a:ext cx="1771732" cy="603743"/>
            <a:chOff x="2581276" y="4937164"/>
            <a:chExt cx="1762119" cy="603743"/>
          </a:xfrm>
        </p:grpSpPr>
        <p:sp>
          <p:nvSpPr>
            <p:cNvPr id="25" name="Down Arrow 24"/>
            <p:cNvSpPr/>
            <p:nvPr/>
          </p:nvSpPr>
          <p:spPr bwMode="auto">
            <a:xfrm rot="5400000">
              <a:off x="3267079" y="4464591"/>
              <a:ext cx="390513" cy="1762119"/>
            </a:xfrm>
            <a:prstGeom prst="downArrow">
              <a:avLst>
                <a:gd name="adj1" fmla="val 50000"/>
                <a:gd name="adj2" fmla="val 58537"/>
              </a:avLst>
            </a:prstGeom>
            <a:solidFill>
              <a:srgbClr val="8CC600"/>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782" fontAlgn="base">
                <a:spcBef>
                  <a:spcPct val="0"/>
                </a:spcBef>
                <a:spcAft>
                  <a:spcPct val="0"/>
                </a:spcAft>
              </a:pPr>
              <a:endParaRPr lang="en-US" sz="2300" dirty="0">
                <a:gradFill>
                  <a:gsLst>
                    <a:gs pos="0">
                      <a:srgbClr val="292929"/>
                    </a:gs>
                    <a:gs pos="100000">
                      <a:srgbClr val="292929"/>
                    </a:gs>
                  </a:gsLst>
                  <a:lin ang="5400000" scaled="0"/>
                </a:gradFill>
              </a:endParaRPr>
            </a:p>
          </p:txBody>
        </p:sp>
        <p:sp>
          <p:nvSpPr>
            <p:cNvPr id="26" name="Rectangle 25"/>
            <p:cNvSpPr/>
            <p:nvPr/>
          </p:nvSpPr>
          <p:spPr bwMode="auto">
            <a:xfrm>
              <a:off x="3113314" y="4937164"/>
              <a:ext cx="713662"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782" fontAlgn="base">
                <a:spcBef>
                  <a:spcPct val="0"/>
                </a:spcBef>
                <a:spcAft>
                  <a:spcPct val="0"/>
                </a:spcAft>
              </a:pPr>
              <a:r>
                <a:rPr lang="en-US" sz="1900" dirty="0">
                  <a:solidFill>
                    <a:srgbClr val="FF8A00">
                      <a:alpha val="99000"/>
                    </a:srgbClr>
                  </a:solidFill>
                </a:rPr>
                <a:t>(3)</a:t>
              </a:r>
            </a:p>
          </p:txBody>
        </p:sp>
      </p:grpSp>
      <p:sp>
        <p:nvSpPr>
          <p:cNvPr id="33" name="Freeform 7"/>
          <p:cNvSpPr>
            <a:spLocks/>
          </p:cNvSpPr>
          <p:nvPr/>
        </p:nvSpPr>
        <p:spPr bwMode="auto">
          <a:xfrm>
            <a:off x="4695314" y="1913967"/>
            <a:ext cx="1421524" cy="75852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07" tIns="45705" rIns="91407" bIns="45705" numCol="1" anchor="t" anchorCtr="0" compatLnSpc="1">
            <a:prstTxWarp prst="textNoShape">
              <a:avLst/>
            </a:prstTxWarp>
          </a:bodyPr>
          <a:lstStyle/>
          <a:p>
            <a:pPr defTabSz="914045"/>
            <a:endParaRPr lang="en-US" sz="1900">
              <a:solidFill>
                <a:srgbClr val="292929"/>
              </a:solidFill>
            </a:endParaRPr>
          </a:p>
        </p:txBody>
      </p:sp>
      <p:sp>
        <p:nvSpPr>
          <p:cNvPr id="34" name="Freeform 58"/>
          <p:cNvSpPr>
            <a:spLocks noEditPoints="1"/>
          </p:cNvSpPr>
          <p:nvPr/>
        </p:nvSpPr>
        <p:spPr bwMode="black">
          <a:xfrm>
            <a:off x="4963914" y="4739196"/>
            <a:ext cx="884322" cy="947832"/>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275" tIns="41137" rIns="82275" bIns="41137" numCol="1" anchor="t" anchorCtr="0" compatLnSpc="1">
            <a:prstTxWarp prst="textNoShape">
              <a:avLst/>
            </a:prstTxWarp>
          </a:bodyPr>
          <a:lstStyle/>
          <a:p>
            <a:pPr defTabSz="914045"/>
            <a:endParaRPr lang="en-US" sz="1600">
              <a:solidFill>
                <a:srgbClr val="292929"/>
              </a:solidFill>
            </a:endParaRPr>
          </a:p>
        </p:txBody>
      </p:sp>
      <p:grpSp>
        <p:nvGrpSpPr>
          <p:cNvPr id="35" name="Group 34"/>
          <p:cNvGrpSpPr/>
          <p:nvPr/>
        </p:nvGrpSpPr>
        <p:grpSpPr bwMode="black">
          <a:xfrm>
            <a:off x="1146292" y="2338439"/>
            <a:ext cx="1044176" cy="849483"/>
            <a:chOff x="5184775" y="225425"/>
            <a:chExt cx="1500188" cy="1220788"/>
          </a:xfrm>
          <a:solidFill>
            <a:srgbClr val="FFFFFF"/>
          </a:solidFill>
        </p:grpSpPr>
        <p:sp>
          <p:nvSpPr>
            <p:cNvPr id="36"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45"/>
              <a:endParaRPr lang="en-US" sz="1600">
                <a:solidFill>
                  <a:srgbClr val="292929"/>
                </a:solidFill>
              </a:endParaRPr>
            </a:p>
          </p:txBody>
        </p:sp>
        <p:sp>
          <p:nvSpPr>
            <p:cNvPr id="3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45"/>
              <a:endParaRPr lang="en-US" sz="1600">
                <a:solidFill>
                  <a:srgbClr val="292929"/>
                </a:solidFill>
              </a:endParaRPr>
            </a:p>
          </p:txBody>
        </p:sp>
        <p:sp>
          <p:nvSpPr>
            <p:cNvPr id="3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45"/>
              <a:endParaRPr lang="en-US" sz="1600">
                <a:solidFill>
                  <a:srgbClr val="292929"/>
                </a:solidFill>
              </a:endParaRPr>
            </a:p>
          </p:txBody>
        </p:sp>
      </p:grpSp>
      <p:sp>
        <p:nvSpPr>
          <p:cNvPr id="39" name="Freeform 6"/>
          <p:cNvSpPr>
            <a:spLocks noEditPoints="1"/>
          </p:cNvSpPr>
          <p:nvPr/>
        </p:nvSpPr>
        <p:spPr bwMode="auto">
          <a:xfrm>
            <a:off x="1277907" y="4698941"/>
            <a:ext cx="780951" cy="803873"/>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7" tIns="45705" rIns="91407" bIns="45705" numCol="1" anchor="t" anchorCtr="0" compatLnSpc="1">
            <a:prstTxWarp prst="textNoShape">
              <a:avLst/>
            </a:prstTxWarp>
          </a:bodyPr>
          <a:lstStyle/>
          <a:p>
            <a:pPr defTabSz="914045"/>
            <a:endParaRPr lang="en-US" sz="1900">
              <a:solidFill>
                <a:srgbClr val="292929"/>
              </a:solidFill>
            </a:endParaRPr>
          </a:p>
        </p:txBody>
      </p:sp>
    </p:spTree>
    <p:extLst>
      <p:ext uri="{BB962C8B-B14F-4D97-AF65-F5344CB8AC3E}">
        <p14:creationId xmlns:p14="http://schemas.microsoft.com/office/powerpoint/2010/main" val="7226356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750"/>
                                        <p:tgtEl>
                                          <p:spTgt spid="29"/>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750"/>
                                        <p:tgtEl>
                                          <p:spTgt spid="4">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750"/>
                                        <p:tgtEl>
                                          <p:spTgt spid="30"/>
                                        </p:tgtEl>
                                      </p:cBhvr>
                                    </p:animEffect>
                                  </p:childTnLst>
                                </p:cTn>
                              </p:par>
                              <p:par>
                                <p:cTn id="16" presetID="10" presetClass="entr" presetSubtype="0" fill="hold" nodeType="withEffect">
                                  <p:stCondLst>
                                    <p:cond delay="0"/>
                                  </p:stCondLst>
                                  <p:childTnLst>
                                    <p:set>
                                      <p:cBhvr>
                                        <p:cTn id="17" dur="1" fill="hold">
                                          <p:stCondLst>
                                            <p:cond delay="0"/>
                                          </p:stCondLst>
                                        </p:cTn>
                                        <p:tgtEl>
                                          <p:spTgt spid="4">
                                            <p:txEl>
                                              <p:pRg st="1" end="1"/>
                                            </p:txEl>
                                          </p:spTgt>
                                        </p:tgtEl>
                                        <p:attrNameLst>
                                          <p:attrName>style.visibility</p:attrName>
                                        </p:attrNameLst>
                                      </p:cBhvr>
                                      <p:to>
                                        <p:strVal val="visible"/>
                                      </p:to>
                                    </p:set>
                                    <p:animEffect transition="in" filter="fade">
                                      <p:cBhvr>
                                        <p:cTn id="18" dur="750"/>
                                        <p:tgtEl>
                                          <p:spTgt spid="4">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fade">
                                      <p:cBhvr>
                                        <p:cTn id="23" dur="750"/>
                                        <p:tgtEl>
                                          <p:spTgt spid="31"/>
                                        </p:tgtEl>
                                      </p:cBhvr>
                                    </p:animEffect>
                                  </p:childTnLst>
                                </p:cTn>
                              </p:par>
                              <p:par>
                                <p:cTn id="24" presetID="10" presetClass="entr" presetSubtype="0" fill="hold" nodeType="withEffect">
                                  <p:stCondLst>
                                    <p:cond delay="0"/>
                                  </p:stCondLst>
                                  <p:childTnLst>
                                    <p:set>
                                      <p:cBhvr>
                                        <p:cTn id="25" dur="1" fill="hold">
                                          <p:stCondLst>
                                            <p:cond delay="0"/>
                                          </p:stCondLst>
                                        </p:cTn>
                                        <p:tgtEl>
                                          <p:spTgt spid="4">
                                            <p:txEl>
                                              <p:pRg st="2" end="2"/>
                                            </p:txEl>
                                          </p:spTgt>
                                        </p:tgtEl>
                                        <p:attrNameLst>
                                          <p:attrName>style.visibility</p:attrName>
                                        </p:attrNameLst>
                                      </p:cBhvr>
                                      <p:to>
                                        <p:strVal val="visible"/>
                                      </p:to>
                                    </p:set>
                                    <p:animEffect transition="in" filter="fade">
                                      <p:cBhvr>
                                        <p:cTn id="26" dur="750"/>
                                        <p:tgtEl>
                                          <p:spTgt spid="4">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fade">
                                      <p:cBhvr>
                                        <p:cTn id="31" dur="75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ush Notifications</a:t>
            </a:r>
            <a:endParaRPr lang="en-US" dirty="0"/>
          </a:p>
        </p:txBody>
      </p:sp>
      <p:sp>
        <p:nvSpPr>
          <p:cNvPr id="3" name="Text Placeholder 2"/>
          <p:cNvSpPr>
            <a:spLocks noGrp="1"/>
          </p:cNvSpPr>
          <p:nvPr>
            <p:ph type="body" sz="quarter" idx="10"/>
          </p:nvPr>
        </p:nvSpPr>
        <p:spPr>
          <a:xfrm>
            <a:off x="520703" y="1447800"/>
            <a:ext cx="11149013" cy="5009064"/>
          </a:xfrm>
        </p:spPr>
        <p:txBody>
          <a:bodyPr/>
          <a:lstStyle/>
          <a:p>
            <a:r>
              <a:rPr lang="en-US" spc="-71" dirty="0">
                <a:gradFill>
                  <a:gsLst>
                    <a:gs pos="2917">
                      <a:schemeClr val="tx1"/>
                    </a:gs>
                    <a:gs pos="30000">
                      <a:schemeClr val="tx1"/>
                    </a:gs>
                  </a:gsLst>
                  <a:lin ang="5400000" scaled="0"/>
                </a:gradFill>
              </a:rPr>
              <a:t>Integrates with WNS to provide Toast, Tile, Badge and Raw notifications</a:t>
            </a:r>
          </a:p>
          <a:p>
            <a:r>
              <a:rPr lang="en-US" spc="-71" dirty="0">
                <a:gradFill>
                  <a:gsLst>
                    <a:gs pos="2917">
                      <a:schemeClr val="tx1"/>
                    </a:gs>
                    <a:gs pos="30000">
                      <a:schemeClr val="tx1"/>
                    </a:gs>
                  </a:gsLst>
                  <a:lin ang="5400000" scaled="0"/>
                </a:gradFill>
              </a:rPr>
              <a:t>Portal captures your WNS client secret and package SID</a:t>
            </a:r>
          </a:p>
          <a:p>
            <a:r>
              <a:rPr lang="en-US" spc="-71" dirty="0">
                <a:gradFill>
                  <a:gsLst>
                    <a:gs pos="2917">
                      <a:schemeClr val="tx1"/>
                    </a:gs>
                    <a:gs pos="30000">
                      <a:schemeClr val="tx1"/>
                    </a:gs>
                  </a:gsLst>
                  <a:lin ang="5400000" scaled="0"/>
                </a:gradFill>
              </a:rPr>
              <a:t>push.wns.* provides: </a:t>
            </a:r>
          </a:p>
          <a:p>
            <a:r>
              <a:rPr lang="en-US" spc="-71" dirty="0">
                <a:gradFill>
                  <a:gsLst>
                    <a:gs pos="2917">
                      <a:schemeClr val="tx1"/>
                    </a:gs>
                    <a:gs pos="30000">
                      <a:schemeClr val="tx1"/>
                    </a:gs>
                  </a:gsLst>
                  <a:lin ang="5400000" scaled="0"/>
                </a:gradFill>
              </a:rPr>
              <a:t>	</a:t>
            </a:r>
            <a:r>
              <a:rPr lang="en-US" sz="3600" spc="-71" dirty="0">
                <a:gradFill>
                  <a:gsLst>
                    <a:gs pos="2917">
                      <a:schemeClr val="tx1"/>
                    </a:gs>
                    <a:gs pos="30000">
                      <a:schemeClr val="tx1"/>
                    </a:gs>
                  </a:gsLst>
                  <a:lin ang="5400000" scaled="0"/>
                </a:gradFill>
              </a:rPr>
              <a:t>clean easy object model to compose notifications</a:t>
            </a:r>
          </a:p>
          <a:p>
            <a:r>
              <a:rPr lang="en-US" sz="3600" spc="-71" dirty="0">
                <a:gradFill>
                  <a:gsLst>
                    <a:gs pos="2917">
                      <a:schemeClr val="tx1"/>
                    </a:gs>
                    <a:gs pos="30000">
                      <a:schemeClr val="tx1"/>
                    </a:gs>
                  </a:gsLst>
                  <a:lin ang="5400000" scaled="0"/>
                </a:gradFill>
              </a:rPr>
              <a:t>	Performs </a:t>
            </a:r>
            <a:r>
              <a:rPr lang="en-US" sz="3600" spc="-71" dirty="0" err="1">
                <a:gradFill>
                  <a:gsLst>
                    <a:gs pos="2917">
                      <a:schemeClr val="tx1"/>
                    </a:gs>
                    <a:gs pos="30000">
                      <a:schemeClr val="tx1"/>
                    </a:gs>
                  </a:gsLst>
                  <a:lin ang="5400000" scaled="0"/>
                </a:gradFill>
              </a:rPr>
              <a:t>auth</a:t>
            </a:r>
            <a:r>
              <a:rPr lang="en-US" sz="3600" spc="-71" dirty="0">
                <a:gradFill>
                  <a:gsLst>
                    <a:gs pos="2917">
                      <a:schemeClr val="tx1"/>
                    </a:gs>
                    <a:gs pos="30000">
                      <a:schemeClr val="tx1"/>
                    </a:gs>
                  </a:gsLst>
                  <a:lin ang="5400000" scaled="0"/>
                </a:gradFill>
              </a:rPr>
              <a:t> against WNS for you</a:t>
            </a:r>
          </a:p>
          <a:p>
            <a:endParaRPr lang="en-US" dirty="0"/>
          </a:p>
        </p:txBody>
      </p:sp>
    </p:spTree>
    <p:extLst>
      <p:ext uri="{BB962C8B-B14F-4D97-AF65-F5344CB8AC3E}">
        <p14:creationId xmlns:p14="http://schemas.microsoft.com/office/powerpoint/2010/main" val="1625354177"/>
      </p:ext>
    </p:extLst>
  </p:cSld>
  <p:clrMapOvr>
    <a:masterClrMapping/>
  </p:clrMapOvr>
  <p:transition>
    <p:fade/>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heduler</a:t>
            </a:r>
            <a:endParaRPr lang="en-US" dirty="0"/>
          </a:p>
        </p:txBody>
      </p:sp>
      <p:sp>
        <p:nvSpPr>
          <p:cNvPr id="3" name="Text Placeholder 2"/>
          <p:cNvSpPr>
            <a:spLocks noGrp="1"/>
          </p:cNvSpPr>
          <p:nvPr>
            <p:ph type="body" sz="quarter" idx="10"/>
          </p:nvPr>
        </p:nvSpPr>
        <p:spPr>
          <a:xfrm>
            <a:off x="551525" y="1026560"/>
            <a:ext cx="11410415" cy="8605433"/>
          </a:xfrm>
        </p:spPr>
        <p:txBody>
          <a:bodyPr/>
          <a:lstStyle/>
          <a:p>
            <a:pPr defTabSz="914159"/>
            <a:r>
              <a:rPr lang="en-US" sz="3200" spc="-71" dirty="0">
                <a:gradFill>
                  <a:gsLst>
                    <a:gs pos="2917">
                      <a:srgbClr val="292929"/>
                    </a:gs>
                    <a:gs pos="30000">
                      <a:srgbClr val="292929"/>
                    </a:gs>
                  </a:gsLst>
                  <a:lin ang="5400000" scaled="0"/>
                </a:gradFill>
              </a:rPr>
              <a:t>Execute scripts on a Schedule</a:t>
            </a:r>
          </a:p>
          <a:p>
            <a:pPr defTabSz="914159"/>
            <a:r>
              <a:rPr lang="en-US" sz="3200" spc="-71" dirty="0">
                <a:gradFill>
                  <a:gsLst>
                    <a:gs pos="2917">
                      <a:srgbClr val="292929"/>
                    </a:gs>
                    <a:gs pos="30000">
                      <a:srgbClr val="292929"/>
                    </a:gs>
                  </a:gsLst>
                  <a:lin ang="5400000" scaled="0"/>
                </a:gradFill>
              </a:rPr>
              <a:t>	</a:t>
            </a:r>
            <a:r>
              <a:rPr lang="en-US" sz="2400" dirty="0"/>
              <a:t>by Minutes</a:t>
            </a:r>
          </a:p>
          <a:p>
            <a:pPr defTabSz="914159"/>
            <a:r>
              <a:rPr lang="en-US" sz="2400" dirty="0"/>
              <a:t>	by Hours</a:t>
            </a:r>
          </a:p>
          <a:p>
            <a:pPr defTabSz="914159"/>
            <a:r>
              <a:rPr lang="en-US" sz="2400" dirty="0"/>
              <a:t>	by Days</a:t>
            </a:r>
          </a:p>
          <a:p>
            <a:pPr defTabSz="914159"/>
            <a:r>
              <a:rPr lang="en-US" sz="2400" dirty="0"/>
              <a:t>	By Months</a:t>
            </a:r>
          </a:p>
          <a:p>
            <a:pPr defTabSz="914159"/>
            <a:r>
              <a:rPr lang="en-US" sz="3200" spc="-71" dirty="0">
                <a:gradFill>
                  <a:gsLst>
                    <a:gs pos="2917">
                      <a:srgbClr val="292929"/>
                    </a:gs>
                    <a:gs pos="30000">
                      <a:srgbClr val="292929"/>
                    </a:gs>
                  </a:gsLst>
                  <a:lin ang="5400000" scaled="0"/>
                </a:gradFill>
              </a:rPr>
              <a:t>Execute scripts on Demand</a:t>
            </a:r>
          </a:p>
          <a:p>
            <a:pPr defTabSz="914159"/>
            <a:r>
              <a:rPr lang="en-US" sz="3200" spc="-71" dirty="0">
                <a:gradFill>
                  <a:gsLst>
                    <a:gs pos="2917">
                      <a:srgbClr val="292929"/>
                    </a:gs>
                    <a:gs pos="30000">
                      <a:srgbClr val="292929"/>
                    </a:gs>
                  </a:gsLst>
                  <a:lin ang="5400000" scaled="0"/>
                </a:gradFill>
              </a:rPr>
              <a:t>Examples</a:t>
            </a:r>
          </a:p>
          <a:p>
            <a:pPr defTabSz="914159"/>
            <a:r>
              <a:rPr lang="en-US" sz="2400" dirty="0"/>
              <a:t>  	Periodic purge of old data</a:t>
            </a:r>
          </a:p>
          <a:p>
            <a:pPr defTabSz="914159"/>
            <a:r>
              <a:rPr lang="en-US" sz="2400" dirty="0"/>
              <a:t>  	Poll and aggregate from 3rd  party (Twitter, RSS, others)</a:t>
            </a:r>
          </a:p>
          <a:p>
            <a:pPr defTabSz="914159"/>
            <a:r>
              <a:rPr lang="en-US" sz="2400" dirty="0"/>
              <a:t>  	Process/resize images</a:t>
            </a:r>
          </a:p>
          <a:p>
            <a:pPr fontAlgn="ctr"/>
            <a:r>
              <a:rPr lang="en-US" sz="2400" dirty="0"/>
              <a:t>   	Schedule sending push notifications for a  given time of day</a:t>
            </a:r>
          </a:p>
          <a:p>
            <a:pPr fontAlgn="ctr"/>
            <a:r>
              <a:rPr lang="en-US" sz="3200" dirty="0"/>
              <a:t> </a:t>
            </a:r>
          </a:p>
          <a:p>
            <a:pPr defTabSz="914159"/>
            <a:endParaRPr lang="en-US" sz="3200" spc="-71" dirty="0">
              <a:gradFill>
                <a:gsLst>
                  <a:gs pos="2917">
                    <a:srgbClr val="292929"/>
                  </a:gs>
                  <a:gs pos="30000">
                    <a:srgbClr val="292929"/>
                  </a:gs>
                </a:gsLst>
                <a:lin ang="5400000" scaled="0"/>
              </a:gradFill>
            </a:endParaRPr>
          </a:p>
          <a:p>
            <a:endParaRPr lang="en-US" sz="3200" dirty="0"/>
          </a:p>
          <a:p>
            <a:pPr defTabSz="914159"/>
            <a:endParaRPr lang="en-US" sz="3200" spc="-71" dirty="0">
              <a:gradFill>
                <a:gsLst>
                  <a:gs pos="2917">
                    <a:srgbClr val="292929"/>
                  </a:gs>
                  <a:gs pos="30000">
                    <a:srgbClr val="292929"/>
                  </a:gs>
                </a:gsLst>
                <a:lin ang="5400000" scaled="0"/>
              </a:gradFill>
            </a:endParaRPr>
          </a:p>
          <a:p>
            <a:pPr defTabSz="914159"/>
            <a:endParaRPr lang="en-US" sz="3200" spc="-71" dirty="0">
              <a:gradFill>
                <a:gsLst>
                  <a:gs pos="2917">
                    <a:srgbClr val="292929"/>
                  </a:gs>
                  <a:gs pos="30000">
                    <a:srgbClr val="292929"/>
                  </a:gs>
                </a:gsLst>
                <a:lin ang="5400000" scaled="0"/>
              </a:gradFill>
            </a:endParaRPr>
          </a:p>
          <a:p>
            <a:pPr defTabSz="914159"/>
            <a:endParaRPr lang="en-US" sz="3200" spc="-71" dirty="0">
              <a:gradFill>
                <a:gsLst>
                  <a:gs pos="2917">
                    <a:srgbClr val="292929"/>
                  </a:gs>
                  <a:gs pos="30000">
                    <a:srgbClr val="292929"/>
                  </a:gs>
                </a:gsLst>
                <a:lin ang="5400000" scaled="0"/>
              </a:gradFill>
            </a:endParaRPr>
          </a:p>
        </p:txBody>
      </p:sp>
    </p:spTree>
    <p:extLst>
      <p:ext uri="{BB962C8B-B14F-4D97-AF65-F5344CB8AC3E}">
        <p14:creationId xmlns:p14="http://schemas.microsoft.com/office/powerpoint/2010/main" val="577621414"/>
      </p:ext>
    </p:extLst>
  </p:cSld>
  <p:clrMapOvr>
    <a:masterClrMapping/>
  </p:clrMapOvr>
  <p:transition>
    <p:fade/>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80283" y="2506525"/>
            <a:ext cx="10237787" cy="1994392"/>
          </a:xfrm>
        </p:spPr>
        <p:txBody>
          <a:bodyPr/>
          <a:lstStyle/>
          <a:p>
            <a:r>
              <a:rPr lang="en-US" dirty="0" smtClean="0">
                <a:gradFill>
                  <a:gsLst>
                    <a:gs pos="1250">
                      <a:srgbClr val="FFFFFF"/>
                    </a:gs>
                    <a:gs pos="100000">
                      <a:srgbClr val="FFFFFF"/>
                    </a:gs>
                  </a:gsLst>
                  <a:lin ang="5400000" scaled="0"/>
                </a:gradFill>
              </a:rPr>
              <a:t>Mobile Services on</a:t>
            </a:r>
            <a:br>
              <a:rPr lang="en-US" dirty="0" smtClean="0">
                <a:gradFill>
                  <a:gsLst>
                    <a:gs pos="1250">
                      <a:srgbClr val="FFFFFF"/>
                    </a:gs>
                    <a:gs pos="100000">
                      <a:srgbClr val="FFFFFF"/>
                    </a:gs>
                  </a:gsLst>
                  <a:lin ang="5400000" scaled="0"/>
                </a:gradFill>
              </a:rPr>
            </a:br>
            <a:r>
              <a:rPr lang="en-US" dirty="0" smtClean="0">
                <a:gradFill>
                  <a:gsLst>
                    <a:gs pos="1250">
                      <a:srgbClr val="FFFFFF"/>
                    </a:gs>
                    <a:gs pos="100000">
                      <a:srgbClr val="FFFFFF"/>
                    </a:gs>
                  </a:gsLst>
                  <a:lin ang="5400000" scaled="0"/>
                </a:gradFill>
              </a:rPr>
              <a:t>Windows 8</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063734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9760" y="274321"/>
            <a:ext cx="8321040" cy="747897"/>
          </a:xfrm>
        </p:spPr>
        <p:txBody>
          <a:bodyPr/>
          <a:lstStyle/>
          <a:p>
            <a:r>
              <a:rPr lang="en-US" dirty="0" smtClean="0">
                <a:solidFill>
                  <a:schemeClr val="tx1"/>
                </a:solidFill>
              </a:rPr>
              <a:t>Microsoft On The Internet</a:t>
            </a:r>
            <a:endParaRPr lang="en-US" dirty="0">
              <a:solidFill>
                <a:schemeClr val="tx1"/>
              </a:solidFill>
            </a:endParaRPr>
          </a:p>
        </p:txBody>
      </p:sp>
      <p:sp>
        <p:nvSpPr>
          <p:cNvPr id="40" name="Rectangle 39"/>
          <p:cNvSpPr/>
          <p:nvPr/>
        </p:nvSpPr>
        <p:spPr bwMode="auto">
          <a:xfrm>
            <a:off x="8190461" y="2051594"/>
            <a:ext cx="1409147" cy="141008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b" anchorCtr="0" forceAA="0" compatLnSpc="1">
            <a:prstTxWarp prst="textNoShape">
              <a:avLst/>
            </a:prstTxWarp>
            <a:noAutofit/>
          </a:bodyPr>
          <a:lstStyle/>
          <a:p>
            <a:pPr defTabSz="685848" fontAlgn="base">
              <a:lnSpc>
                <a:spcPct val="80000"/>
              </a:lnSpc>
              <a:spcBef>
                <a:spcPct val="0"/>
              </a:spcBef>
              <a:spcAft>
                <a:spcPct val="0"/>
              </a:spcAft>
            </a:pPr>
            <a:r>
              <a:rPr lang="en-US" sz="1400" spc="-38" dirty="0">
                <a:gradFill>
                  <a:gsLst>
                    <a:gs pos="0">
                      <a:srgbClr val="FFFFFF"/>
                    </a:gs>
                    <a:gs pos="100000">
                      <a:srgbClr val="FFFFFF"/>
                    </a:gs>
                  </a:gsLst>
                  <a:lin ang="5400000" scaled="0"/>
                </a:gradFill>
                <a:ea typeface="Segoe UI" pitchFamily="34" charset="0"/>
                <a:cs typeface="Segoe UI" pitchFamily="34" charset="0"/>
              </a:rPr>
              <a:t>One of 3rd world’s largest private networks</a:t>
            </a:r>
          </a:p>
        </p:txBody>
      </p:sp>
      <p:sp>
        <p:nvSpPr>
          <p:cNvPr id="66" name="Rectangle 65"/>
          <p:cNvSpPr/>
          <p:nvPr/>
        </p:nvSpPr>
        <p:spPr bwMode="auto">
          <a:xfrm>
            <a:off x="8190461" y="3542918"/>
            <a:ext cx="1409147" cy="141008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b" anchorCtr="0" forceAA="0" compatLnSpc="1">
            <a:prstTxWarp prst="textNoShape">
              <a:avLst/>
            </a:prstTxWarp>
            <a:noAutofit/>
          </a:bodyPr>
          <a:lstStyle/>
          <a:p>
            <a:pPr defTabSz="685848" fontAlgn="base">
              <a:spcBef>
                <a:spcPct val="0"/>
              </a:spcBef>
              <a:spcAft>
                <a:spcPct val="0"/>
              </a:spcAft>
            </a:pPr>
            <a:endParaRPr lang="en-US" sz="1400" spc="-38" dirty="0">
              <a:gradFill>
                <a:gsLst>
                  <a:gs pos="0">
                    <a:srgbClr val="FFFFFF"/>
                  </a:gs>
                  <a:gs pos="100000">
                    <a:srgbClr val="FFFFFF"/>
                  </a:gs>
                </a:gsLst>
                <a:lin ang="5400000" scaled="0"/>
              </a:gradFill>
              <a:ea typeface="Segoe UI" pitchFamily="34" charset="0"/>
              <a:cs typeface="Segoe UI" pitchFamily="34" charset="0"/>
            </a:endParaRPr>
          </a:p>
        </p:txBody>
      </p:sp>
      <p:sp>
        <p:nvSpPr>
          <p:cNvPr id="68" name="Rectangle 67"/>
          <p:cNvSpPr/>
          <p:nvPr/>
        </p:nvSpPr>
        <p:spPr bwMode="auto">
          <a:xfrm>
            <a:off x="5150929" y="2033677"/>
            <a:ext cx="2901690" cy="658978"/>
          </a:xfrm>
          <a:prstGeom prst="rect">
            <a:avLst/>
          </a:prstGeom>
          <a:solidFill>
            <a:srgbClr val="9292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defTabSz="685848" fontAlgn="base">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1.0</a:t>
            </a:r>
          </a:p>
        </p:txBody>
      </p:sp>
      <p:sp>
        <p:nvSpPr>
          <p:cNvPr id="69" name="Rectangle 68"/>
          <p:cNvSpPr/>
          <p:nvPr/>
        </p:nvSpPr>
        <p:spPr bwMode="auto">
          <a:xfrm>
            <a:off x="5150929" y="2784785"/>
            <a:ext cx="2901690" cy="658978"/>
          </a:xfrm>
          <a:prstGeom prst="rect">
            <a:avLst/>
          </a:prstGeom>
          <a:solidFill>
            <a:srgbClr val="9292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defTabSz="685848" fontAlgn="base">
              <a:spcBef>
                <a:spcPct val="0"/>
              </a:spcBef>
              <a:spcAft>
                <a:spcPct val="0"/>
              </a:spcAft>
            </a:pPr>
            <a:endParaRPr lang="en-US" sz="1000" dirty="0" err="1">
              <a:gradFill>
                <a:gsLst>
                  <a:gs pos="0">
                    <a:srgbClr val="FFFFFF"/>
                  </a:gs>
                  <a:gs pos="100000">
                    <a:srgbClr val="FFFFFF"/>
                  </a:gs>
                </a:gsLst>
                <a:lin ang="5400000" scaled="0"/>
              </a:gradFill>
              <a:ea typeface="Segoe UI" pitchFamily="34" charset="0"/>
              <a:cs typeface="Segoe UI" pitchFamily="34" charset="0"/>
            </a:endParaRPr>
          </a:p>
        </p:txBody>
      </p:sp>
      <p:sp>
        <p:nvSpPr>
          <p:cNvPr id="70" name="Rectangle 69"/>
          <p:cNvSpPr/>
          <p:nvPr/>
        </p:nvSpPr>
        <p:spPr bwMode="auto">
          <a:xfrm>
            <a:off x="5150929" y="3530215"/>
            <a:ext cx="2901690" cy="658978"/>
          </a:xfrm>
          <a:prstGeom prst="rect">
            <a:avLst/>
          </a:prstGeom>
          <a:solidFill>
            <a:srgbClr val="9292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defTabSz="685848" fontAlgn="base">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1.0</a:t>
            </a:r>
          </a:p>
        </p:txBody>
      </p:sp>
      <p:sp>
        <p:nvSpPr>
          <p:cNvPr id="71" name="Rectangle 70"/>
          <p:cNvSpPr/>
          <p:nvPr/>
        </p:nvSpPr>
        <p:spPr bwMode="auto">
          <a:xfrm>
            <a:off x="5150929" y="4281322"/>
            <a:ext cx="2901690" cy="658978"/>
          </a:xfrm>
          <a:prstGeom prst="rect">
            <a:avLst/>
          </a:prstGeom>
          <a:solidFill>
            <a:srgbClr val="9292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defTabSz="685848" fontAlgn="base">
              <a:spcBef>
                <a:spcPct val="0"/>
              </a:spcBef>
              <a:spcAft>
                <a:spcPct val="0"/>
              </a:spcAft>
            </a:pPr>
            <a:endParaRPr lang="en-US" sz="1000" dirty="0" err="1">
              <a:gradFill>
                <a:gsLst>
                  <a:gs pos="0">
                    <a:srgbClr val="FFFFFF"/>
                  </a:gs>
                  <a:gs pos="100000">
                    <a:srgbClr val="FFFFFF"/>
                  </a:gs>
                </a:gsLst>
                <a:lin ang="5400000" scaled="0"/>
              </a:gradFill>
              <a:ea typeface="Segoe UI" pitchFamily="34" charset="0"/>
              <a:cs typeface="Segoe UI" pitchFamily="34" charset="0"/>
            </a:endParaRPr>
          </a:p>
        </p:txBody>
      </p:sp>
      <p:sp>
        <p:nvSpPr>
          <p:cNvPr id="72" name="Rectangle 71"/>
          <p:cNvSpPr/>
          <p:nvPr/>
        </p:nvSpPr>
        <p:spPr bwMode="auto">
          <a:xfrm>
            <a:off x="2590801" y="2033677"/>
            <a:ext cx="5461818" cy="6589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r" defTabSz="685848" fontAlgn="base">
              <a:spcBef>
                <a:spcPct val="0"/>
              </a:spcBef>
              <a:spcAft>
                <a:spcPct val="0"/>
              </a:spcAft>
            </a:pPr>
            <a:r>
              <a:rPr lang="en-US" sz="1600" b="1" spc="-38" dirty="0">
                <a:gradFill>
                  <a:gsLst>
                    <a:gs pos="0">
                      <a:srgbClr val="FFFFFF"/>
                    </a:gs>
                    <a:gs pos="100000">
                      <a:srgbClr val="FFFFFF"/>
                    </a:gs>
                  </a:gsLst>
                  <a:lin ang="5400000" scaled="0"/>
                </a:gradFill>
                <a:ea typeface="Segoe UI" pitchFamily="34" charset="0"/>
                <a:cs typeface="Segoe UI" pitchFamily="34" charset="0"/>
              </a:rPr>
              <a:t>400m </a:t>
            </a:r>
            <a:r>
              <a:rPr lang="en-US" sz="1600" spc="-38" dirty="0">
                <a:gradFill>
                  <a:gsLst>
                    <a:gs pos="0">
                      <a:srgbClr val="FFFFFF"/>
                    </a:gs>
                    <a:gs pos="100000">
                      <a:srgbClr val="FFFFFF"/>
                    </a:gs>
                  </a:gsLst>
                  <a:lin ang="5400000" scaled="0"/>
                </a:gradFill>
                <a:ea typeface="Segoe UI" pitchFamily="34" charset="0"/>
                <a:cs typeface="Segoe UI" pitchFamily="34" charset="0"/>
              </a:rPr>
              <a:t>active accounts</a:t>
            </a:r>
          </a:p>
        </p:txBody>
      </p:sp>
      <p:sp>
        <p:nvSpPr>
          <p:cNvPr id="73" name="Rectangle 72"/>
          <p:cNvSpPr/>
          <p:nvPr/>
        </p:nvSpPr>
        <p:spPr bwMode="auto">
          <a:xfrm>
            <a:off x="2590802" y="2784785"/>
            <a:ext cx="5461819" cy="6589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r" defTabSz="685848" fontAlgn="base">
              <a:spcBef>
                <a:spcPct val="0"/>
              </a:spcBef>
              <a:spcAft>
                <a:spcPct val="0"/>
              </a:spcAft>
            </a:pPr>
            <a:r>
              <a:rPr lang="en-US" sz="1600" spc="-38" dirty="0">
                <a:gradFill>
                  <a:gsLst>
                    <a:gs pos="0">
                      <a:srgbClr val="FFFFFF"/>
                    </a:gs>
                    <a:gs pos="100000">
                      <a:srgbClr val="FFFFFF"/>
                    </a:gs>
                  </a:gsLst>
                  <a:lin ang="5400000" scaled="0"/>
                </a:gradFill>
                <a:ea typeface="Segoe UI" pitchFamily="34" charset="0"/>
                <a:cs typeface="Segoe UI" pitchFamily="34" charset="0"/>
              </a:rPr>
              <a:t>More than </a:t>
            </a:r>
            <a:r>
              <a:rPr lang="en-US" sz="1600" b="1" spc="-38" dirty="0">
                <a:gradFill>
                  <a:gsLst>
                    <a:gs pos="0">
                      <a:srgbClr val="FFFFFF"/>
                    </a:gs>
                    <a:gs pos="100000">
                      <a:srgbClr val="FFFFFF"/>
                    </a:gs>
                  </a:gsLst>
                  <a:lin ang="5400000" scaled="0"/>
                </a:gradFill>
                <a:ea typeface="Segoe UI" pitchFamily="34" charset="0"/>
                <a:cs typeface="Segoe UI" pitchFamily="34" charset="0"/>
              </a:rPr>
              <a:t>3 billion queries </a:t>
            </a:r>
          </a:p>
          <a:p>
            <a:pPr algn="r" defTabSz="685848" fontAlgn="base">
              <a:spcBef>
                <a:spcPct val="0"/>
              </a:spcBef>
              <a:spcAft>
                <a:spcPct val="0"/>
              </a:spcAft>
            </a:pPr>
            <a:r>
              <a:rPr lang="en-US" sz="1600" spc="-38" dirty="0">
                <a:gradFill>
                  <a:gsLst>
                    <a:gs pos="0">
                      <a:srgbClr val="FFFFFF"/>
                    </a:gs>
                    <a:gs pos="100000">
                      <a:srgbClr val="FFFFFF"/>
                    </a:gs>
                  </a:gsLst>
                  <a:lin ang="5400000" scaled="0"/>
                </a:gradFill>
                <a:ea typeface="Segoe UI" pitchFamily="34" charset="0"/>
                <a:cs typeface="Segoe UI" pitchFamily="34" charset="0"/>
              </a:rPr>
              <a:t>per month</a:t>
            </a:r>
          </a:p>
        </p:txBody>
      </p:sp>
      <p:sp>
        <p:nvSpPr>
          <p:cNvPr id="74" name="Rectangle 73"/>
          <p:cNvSpPr/>
          <p:nvPr/>
        </p:nvSpPr>
        <p:spPr bwMode="auto">
          <a:xfrm>
            <a:off x="2590802" y="3530215"/>
            <a:ext cx="5461817" cy="6589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r" defTabSz="914363">
              <a:defRPr/>
            </a:pPr>
            <a:r>
              <a:rPr lang="en-US" sz="1600" b="1" spc="-38" dirty="0">
                <a:gradFill>
                  <a:gsLst>
                    <a:gs pos="0">
                      <a:srgbClr val="FFFFFF"/>
                    </a:gs>
                    <a:gs pos="100000">
                      <a:srgbClr val="FFFFFF"/>
                    </a:gs>
                  </a:gsLst>
                  <a:lin ang="5400000" scaled="0"/>
                </a:gradFill>
                <a:ea typeface="Segoe UI" pitchFamily="34" charset="0"/>
                <a:cs typeface="Segoe UI" pitchFamily="34" charset="0"/>
              </a:rPr>
              <a:t>1 billion+ </a:t>
            </a:r>
            <a:r>
              <a:rPr lang="en-US" sz="1600" spc="-38" dirty="0">
                <a:gradFill>
                  <a:gsLst>
                    <a:gs pos="0">
                      <a:srgbClr val="FFFFFF"/>
                    </a:gs>
                    <a:gs pos="100000">
                      <a:srgbClr val="FFFFFF"/>
                    </a:gs>
                  </a:gsLst>
                  <a:lin ang="5400000" scaled="0"/>
                </a:gradFill>
                <a:ea typeface="Segoe UI" pitchFamily="34" charset="0"/>
                <a:cs typeface="Segoe UI" pitchFamily="34" charset="0"/>
              </a:rPr>
              <a:t>authentications per day</a:t>
            </a:r>
            <a:endParaRPr lang="en-US" sz="1600" b="1" spc="-38" dirty="0">
              <a:gradFill>
                <a:gsLst>
                  <a:gs pos="0">
                    <a:srgbClr val="FFFFFF"/>
                  </a:gs>
                  <a:gs pos="100000">
                    <a:srgbClr val="FFFFFF"/>
                  </a:gs>
                </a:gsLst>
                <a:lin ang="5400000" scaled="0"/>
              </a:gradFill>
              <a:ea typeface="Segoe UI" pitchFamily="34" charset="0"/>
              <a:cs typeface="Segoe UI" pitchFamily="34" charset="0"/>
            </a:endParaRPr>
          </a:p>
        </p:txBody>
      </p:sp>
      <p:sp>
        <p:nvSpPr>
          <p:cNvPr id="75" name="Rectangle 74"/>
          <p:cNvSpPr/>
          <p:nvPr/>
        </p:nvSpPr>
        <p:spPr bwMode="auto">
          <a:xfrm>
            <a:off x="2590802" y="4281322"/>
            <a:ext cx="5461817" cy="6589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304" tIns="34304" rIns="34304" bIns="34304" numCol="1" spcCol="0" rtlCol="0" fromWordArt="0" anchor="ctr" anchorCtr="0" forceAA="0" compatLnSpc="1">
            <a:prstTxWarp prst="textNoShape">
              <a:avLst/>
            </a:prstTxWarp>
            <a:noAutofit/>
          </a:bodyPr>
          <a:lstStyle/>
          <a:p>
            <a:pPr algn="r" defTabSz="685848" fontAlgn="base">
              <a:spcBef>
                <a:spcPct val="0"/>
              </a:spcBef>
              <a:spcAft>
                <a:spcPct val="0"/>
              </a:spcAft>
            </a:pPr>
            <a:r>
              <a:rPr lang="en-US" sz="1600" b="1" spc="-38" dirty="0">
                <a:gradFill>
                  <a:gsLst>
                    <a:gs pos="0">
                      <a:srgbClr val="FFFFFF"/>
                    </a:gs>
                    <a:gs pos="100000">
                      <a:srgbClr val="FFFFFF"/>
                    </a:gs>
                  </a:gsLst>
                  <a:lin ang="5400000" scaled="0"/>
                </a:gradFill>
                <a:ea typeface="Segoe UI" pitchFamily="34" charset="0"/>
                <a:cs typeface="Segoe UI" pitchFamily="34" charset="0"/>
              </a:rPr>
              <a:t>750 million</a:t>
            </a:r>
            <a:r>
              <a:rPr lang="en-US" sz="1600" spc="-38" dirty="0">
                <a:gradFill>
                  <a:gsLst>
                    <a:gs pos="0">
                      <a:srgbClr val="FFFFFF"/>
                    </a:gs>
                    <a:gs pos="100000">
                      <a:srgbClr val="FFFFFF"/>
                    </a:gs>
                  </a:gsLst>
                  <a:lin ang="5400000" scaled="0"/>
                </a:gradFill>
                <a:ea typeface="Segoe UI" pitchFamily="34" charset="0"/>
                <a:cs typeface="Segoe UI" pitchFamily="34" charset="0"/>
              </a:rPr>
              <a:t> unique visitors </a:t>
            </a:r>
          </a:p>
          <a:p>
            <a:pPr algn="r" defTabSz="685848" fontAlgn="base">
              <a:spcBef>
                <a:spcPct val="0"/>
              </a:spcBef>
              <a:spcAft>
                <a:spcPct val="0"/>
              </a:spcAft>
            </a:pPr>
            <a:r>
              <a:rPr lang="en-US" sz="1600" spc="-38" dirty="0">
                <a:gradFill>
                  <a:gsLst>
                    <a:gs pos="0">
                      <a:srgbClr val="FFFFFF"/>
                    </a:gs>
                    <a:gs pos="100000">
                      <a:srgbClr val="FFFFFF"/>
                    </a:gs>
                  </a:gsLst>
                  <a:lin ang="5400000" scaled="0"/>
                </a:gradFill>
                <a:ea typeface="Segoe UI" pitchFamily="34" charset="0"/>
                <a:cs typeface="Segoe UI" pitchFamily="34" charset="0"/>
              </a:rPr>
              <a:t>at any given time</a:t>
            </a:r>
          </a:p>
        </p:txBody>
      </p:sp>
      <p:sp>
        <p:nvSpPr>
          <p:cNvPr id="42" name="TextBox 41"/>
          <p:cNvSpPr txBox="1"/>
          <p:nvPr/>
        </p:nvSpPr>
        <p:spPr>
          <a:xfrm>
            <a:off x="2510330" y="7136672"/>
            <a:ext cx="3826689" cy="954107"/>
          </a:xfrm>
          <a:prstGeom prst="rect">
            <a:avLst/>
          </a:prstGeom>
          <a:solidFill>
            <a:schemeClr val="bg1"/>
          </a:solid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r>
              <a:rPr lang="en-US" spc="-100" dirty="0">
                <a:gradFill>
                  <a:gsLst>
                    <a:gs pos="0">
                      <a:srgbClr val="0071BC"/>
                    </a:gs>
                    <a:gs pos="86000">
                      <a:srgbClr val="0071BC"/>
                    </a:gs>
                  </a:gsLst>
                  <a:lin ang="5400000" scaled="0"/>
                </a:gradFill>
                <a:latin typeface="Segoe UI Light" pitchFamily="34" charset="0"/>
              </a:rPr>
              <a:t>To achieve this look</a:t>
            </a:r>
          </a:p>
          <a:p>
            <a:pPr marL="230188" indent="-230188">
              <a:buFont typeface="+mj-lt"/>
              <a:buAutoNum type="arabicPeriod"/>
              <a:defRPr/>
            </a:pPr>
            <a:r>
              <a:rPr lang="en-US" sz="11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t>Insert BAR CHART</a:t>
            </a:r>
          </a:p>
          <a:p>
            <a:pPr marL="230188" indent="-230188">
              <a:buFont typeface="+mj-lt"/>
              <a:buAutoNum type="arabicPeriod"/>
              <a:defRPr/>
            </a:pPr>
            <a:r>
              <a:rPr lang="en-US" sz="11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t>Draw Rectangles on top individual bars in chart to replicated bar</a:t>
            </a:r>
          </a:p>
          <a:p>
            <a:pPr marL="230188" indent="-230188">
              <a:buFont typeface="+mj-lt"/>
              <a:buAutoNum type="arabicPeriod"/>
              <a:defRPr/>
            </a:pPr>
            <a:r>
              <a:rPr lang="en-US" sz="11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t>Add numbers / Text Box in rectangle</a:t>
            </a:r>
          </a:p>
          <a:p>
            <a:pPr marL="230188" indent="-230188">
              <a:buFont typeface="+mj-lt"/>
              <a:buAutoNum type="arabicPeriod"/>
              <a:defRPr/>
            </a:pPr>
            <a:r>
              <a:rPr lang="en-US" sz="1100" spc="-50" dirty="0">
                <a:gradFill>
                  <a:gsLst>
                    <a:gs pos="0">
                      <a:srgbClr val="000000">
                        <a:lumMod val="65000"/>
                        <a:lumOff val="35000"/>
                      </a:srgbClr>
                    </a:gs>
                    <a:gs pos="86000">
                      <a:srgbClr val="000000">
                        <a:lumMod val="65000"/>
                        <a:lumOff val="35000"/>
                      </a:srgbClr>
                    </a:gs>
                  </a:gsLst>
                  <a:lin ang="5400000" scaled="0"/>
                </a:gradFill>
                <a:ea typeface="Segoe UI" pitchFamily="34" charset="0"/>
                <a:cs typeface="Segoe UI" pitchFamily="34" charset="0"/>
              </a:rPr>
              <a:t>Delete or hide chart</a:t>
            </a:r>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921468" y="2079074"/>
            <a:ext cx="2032965" cy="504132"/>
          </a:xfrm>
          <a:prstGeom prst="rect">
            <a:avLst/>
          </a:prstGeom>
        </p:spPr>
      </p:pic>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62148" y="2923954"/>
            <a:ext cx="1151605" cy="404489"/>
          </a:xfrm>
          <a:prstGeom prst="rect">
            <a:avLst/>
          </a:prstGeom>
        </p:spPr>
      </p:pic>
      <p:sp>
        <p:nvSpPr>
          <p:cNvPr id="54" name="Freeform 2152"/>
          <p:cNvSpPr>
            <a:spLocks noEditPoints="1"/>
          </p:cNvSpPr>
          <p:nvPr/>
        </p:nvSpPr>
        <p:spPr bwMode="auto">
          <a:xfrm>
            <a:off x="8476605" y="2091777"/>
            <a:ext cx="681022" cy="705711"/>
          </a:xfrm>
          <a:custGeom>
            <a:avLst/>
            <a:gdLst>
              <a:gd name="T0" fmla="*/ 570 w 570"/>
              <a:gd name="T1" fmla="*/ 283 h 569"/>
              <a:gd name="T2" fmla="*/ 0 w 570"/>
              <a:gd name="T3" fmla="*/ 283 h 569"/>
              <a:gd name="T4" fmla="*/ 389 w 570"/>
              <a:gd name="T5" fmla="*/ 518 h 569"/>
              <a:gd name="T6" fmla="*/ 374 w 570"/>
              <a:gd name="T7" fmla="*/ 370 h 569"/>
              <a:gd name="T8" fmla="*/ 371 w 570"/>
              <a:gd name="T9" fmla="*/ 253 h 569"/>
              <a:gd name="T10" fmla="*/ 423 w 570"/>
              <a:gd name="T11" fmla="*/ 256 h 569"/>
              <a:gd name="T12" fmla="*/ 459 w 570"/>
              <a:gd name="T13" fmla="*/ 268 h 569"/>
              <a:gd name="T14" fmla="*/ 477 w 570"/>
              <a:gd name="T15" fmla="*/ 253 h 569"/>
              <a:gd name="T16" fmla="*/ 459 w 570"/>
              <a:gd name="T17" fmla="*/ 247 h 569"/>
              <a:gd name="T18" fmla="*/ 441 w 570"/>
              <a:gd name="T19" fmla="*/ 235 h 569"/>
              <a:gd name="T20" fmla="*/ 420 w 570"/>
              <a:gd name="T21" fmla="*/ 223 h 569"/>
              <a:gd name="T22" fmla="*/ 386 w 570"/>
              <a:gd name="T23" fmla="*/ 241 h 569"/>
              <a:gd name="T24" fmla="*/ 365 w 570"/>
              <a:gd name="T25" fmla="*/ 217 h 569"/>
              <a:gd name="T26" fmla="*/ 398 w 570"/>
              <a:gd name="T27" fmla="*/ 177 h 569"/>
              <a:gd name="T28" fmla="*/ 423 w 570"/>
              <a:gd name="T29" fmla="*/ 171 h 569"/>
              <a:gd name="T30" fmla="*/ 450 w 570"/>
              <a:gd name="T31" fmla="*/ 156 h 569"/>
              <a:gd name="T32" fmla="*/ 447 w 570"/>
              <a:gd name="T33" fmla="*/ 132 h 569"/>
              <a:gd name="T34" fmla="*/ 435 w 570"/>
              <a:gd name="T35" fmla="*/ 138 h 569"/>
              <a:gd name="T36" fmla="*/ 417 w 570"/>
              <a:gd name="T37" fmla="*/ 144 h 569"/>
              <a:gd name="T38" fmla="*/ 444 w 570"/>
              <a:gd name="T39" fmla="*/ 84 h 569"/>
              <a:gd name="T40" fmla="*/ 326 w 570"/>
              <a:gd name="T41" fmla="*/ 33 h 569"/>
              <a:gd name="T42" fmla="*/ 272 w 570"/>
              <a:gd name="T43" fmla="*/ 129 h 569"/>
              <a:gd name="T44" fmla="*/ 236 w 570"/>
              <a:gd name="T45" fmla="*/ 63 h 569"/>
              <a:gd name="T46" fmla="*/ 209 w 570"/>
              <a:gd name="T47" fmla="*/ 39 h 569"/>
              <a:gd name="T48" fmla="*/ 181 w 570"/>
              <a:gd name="T49" fmla="*/ 69 h 569"/>
              <a:gd name="T50" fmla="*/ 218 w 570"/>
              <a:gd name="T51" fmla="*/ 129 h 569"/>
              <a:gd name="T52" fmla="*/ 178 w 570"/>
              <a:gd name="T53" fmla="*/ 93 h 569"/>
              <a:gd name="T54" fmla="*/ 133 w 570"/>
              <a:gd name="T55" fmla="*/ 147 h 569"/>
              <a:gd name="T56" fmla="*/ 172 w 570"/>
              <a:gd name="T57" fmla="*/ 141 h 569"/>
              <a:gd name="T58" fmla="*/ 221 w 570"/>
              <a:gd name="T59" fmla="*/ 211 h 569"/>
              <a:gd name="T60" fmla="*/ 142 w 570"/>
              <a:gd name="T61" fmla="*/ 301 h 569"/>
              <a:gd name="T62" fmla="*/ 94 w 570"/>
              <a:gd name="T63" fmla="*/ 292 h 569"/>
              <a:gd name="T64" fmla="*/ 121 w 570"/>
              <a:gd name="T65" fmla="*/ 310 h 569"/>
              <a:gd name="T66" fmla="*/ 127 w 570"/>
              <a:gd name="T67" fmla="*/ 349 h 569"/>
              <a:gd name="T68" fmla="*/ 245 w 570"/>
              <a:gd name="T69" fmla="*/ 398 h 569"/>
              <a:gd name="T70" fmla="*/ 202 w 570"/>
              <a:gd name="T71" fmla="*/ 527 h 569"/>
              <a:gd name="T72" fmla="*/ 389 w 570"/>
              <a:gd name="T73" fmla="*/ 518 h 569"/>
              <a:gd name="T74" fmla="*/ 519 w 570"/>
              <a:gd name="T75" fmla="*/ 346 h 569"/>
              <a:gd name="T76" fmla="*/ 519 w 570"/>
              <a:gd name="T77" fmla="*/ 355 h 569"/>
              <a:gd name="T78" fmla="*/ 534 w 570"/>
              <a:gd name="T79" fmla="*/ 343 h 569"/>
              <a:gd name="T80" fmla="*/ 471 w 570"/>
              <a:gd name="T81" fmla="*/ 458 h 569"/>
              <a:gd name="T82" fmla="*/ 157 w 570"/>
              <a:gd name="T83" fmla="*/ 506 h 569"/>
              <a:gd name="T84" fmla="*/ 142 w 570"/>
              <a:gd name="T85" fmla="*/ 379 h 569"/>
              <a:gd name="T86" fmla="*/ 127 w 570"/>
              <a:gd name="T87" fmla="*/ 364 h 569"/>
              <a:gd name="T88" fmla="*/ 61 w 570"/>
              <a:gd name="T89" fmla="*/ 310 h 569"/>
              <a:gd name="T90" fmla="*/ 28 w 570"/>
              <a:gd name="T91" fmla="*/ 283 h 569"/>
              <a:gd name="T92" fmla="*/ 326 w 570"/>
              <a:gd name="T93" fmla="*/ 123 h 569"/>
              <a:gd name="T94" fmla="*/ 326 w 570"/>
              <a:gd name="T95" fmla="*/ 123 h 569"/>
              <a:gd name="T96" fmla="*/ 389 w 570"/>
              <a:gd name="T97" fmla="*/ 174 h 569"/>
              <a:gd name="T98" fmla="*/ 377 w 570"/>
              <a:gd name="T99" fmla="*/ 147 h 569"/>
              <a:gd name="T100" fmla="*/ 483 w 570"/>
              <a:gd name="T101" fmla="*/ 208 h 569"/>
              <a:gd name="T102" fmla="*/ 477 w 570"/>
              <a:gd name="T103" fmla="*/ 232 h 569"/>
              <a:gd name="T104" fmla="*/ 178 w 570"/>
              <a:gd name="T105" fmla="*/ 319 h 569"/>
              <a:gd name="T106" fmla="*/ 139 w 570"/>
              <a:gd name="T107" fmla="*/ 307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0" h="569">
                <a:moveTo>
                  <a:pt x="284" y="0"/>
                </a:moveTo>
                <a:cubicBezTo>
                  <a:pt x="441" y="0"/>
                  <a:pt x="570" y="126"/>
                  <a:pt x="570" y="283"/>
                </a:cubicBezTo>
                <a:cubicBezTo>
                  <a:pt x="570" y="443"/>
                  <a:pt x="441" y="569"/>
                  <a:pt x="284" y="569"/>
                </a:cubicBezTo>
                <a:cubicBezTo>
                  <a:pt x="127" y="569"/>
                  <a:pt x="0" y="443"/>
                  <a:pt x="0" y="283"/>
                </a:cubicBezTo>
                <a:cubicBezTo>
                  <a:pt x="0" y="126"/>
                  <a:pt x="127" y="0"/>
                  <a:pt x="284" y="0"/>
                </a:cubicBezTo>
                <a:close/>
                <a:moveTo>
                  <a:pt x="389" y="518"/>
                </a:moveTo>
                <a:cubicBezTo>
                  <a:pt x="380" y="470"/>
                  <a:pt x="407" y="389"/>
                  <a:pt x="392" y="373"/>
                </a:cubicBezTo>
                <a:cubicBezTo>
                  <a:pt x="386" y="370"/>
                  <a:pt x="380" y="367"/>
                  <a:pt x="374" y="370"/>
                </a:cubicBezTo>
                <a:cubicBezTo>
                  <a:pt x="362" y="373"/>
                  <a:pt x="350" y="379"/>
                  <a:pt x="341" y="376"/>
                </a:cubicBezTo>
                <a:cubicBezTo>
                  <a:pt x="290" y="352"/>
                  <a:pt x="320" y="271"/>
                  <a:pt x="371" y="253"/>
                </a:cubicBezTo>
                <a:cubicBezTo>
                  <a:pt x="380" y="250"/>
                  <a:pt x="389" y="250"/>
                  <a:pt x="398" y="250"/>
                </a:cubicBezTo>
                <a:cubicBezTo>
                  <a:pt x="414" y="247"/>
                  <a:pt x="423" y="247"/>
                  <a:pt x="423" y="256"/>
                </a:cubicBezTo>
                <a:cubicBezTo>
                  <a:pt x="423" y="268"/>
                  <a:pt x="447" y="277"/>
                  <a:pt x="453" y="277"/>
                </a:cubicBezTo>
                <a:cubicBezTo>
                  <a:pt x="456" y="277"/>
                  <a:pt x="456" y="268"/>
                  <a:pt x="459" y="268"/>
                </a:cubicBezTo>
                <a:cubicBezTo>
                  <a:pt x="480" y="268"/>
                  <a:pt x="495" y="280"/>
                  <a:pt x="498" y="271"/>
                </a:cubicBezTo>
                <a:cubicBezTo>
                  <a:pt x="504" y="241"/>
                  <a:pt x="501" y="256"/>
                  <a:pt x="477" y="253"/>
                </a:cubicBezTo>
                <a:cubicBezTo>
                  <a:pt x="468" y="250"/>
                  <a:pt x="474" y="235"/>
                  <a:pt x="465" y="235"/>
                </a:cubicBezTo>
                <a:cubicBezTo>
                  <a:pt x="459" y="232"/>
                  <a:pt x="468" y="253"/>
                  <a:pt x="459" y="247"/>
                </a:cubicBezTo>
                <a:cubicBezTo>
                  <a:pt x="447" y="238"/>
                  <a:pt x="441" y="217"/>
                  <a:pt x="429" y="214"/>
                </a:cubicBezTo>
                <a:cubicBezTo>
                  <a:pt x="414" y="211"/>
                  <a:pt x="438" y="226"/>
                  <a:pt x="441" y="235"/>
                </a:cubicBezTo>
                <a:cubicBezTo>
                  <a:pt x="444" y="244"/>
                  <a:pt x="432" y="256"/>
                  <a:pt x="426" y="247"/>
                </a:cubicBezTo>
                <a:cubicBezTo>
                  <a:pt x="423" y="244"/>
                  <a:pt x="438" y="235"/>
                  <a:pt x="420" y="223"/>
                </a:cubicBezTo>
                <a:cubicBezTo>
                  <a:pt x="417" y="217"/>
                  <a:pt x="407" y="217"/>
                  <a:pt x="401" y="223"/>
                </a:cubicBezTo>
                <a:cubicBezTo>
                  <a:pt x="392" y="232"/>
                  <a:pt x="389" y="241"/>
                  <a:pt x="386" y="241"/>
                </a:cubicBezTo>
                <a:cubicBezTo>
                  <a:pt x="377" y="247"/>
                  <a:pt x="371" y="247"/>
                  <a:pt x="362" y="244"/>
                </a:cubicBezTo>
                <a:cubicBezTo>
                  <a:pt x="350" y="241"/>
                  <a:pt x="353" y="214"/>
                  <a:pt x="365" y="217"/>
                </a:cubicBezTo>
                <a:cubicBezTo>
                  <a:pt x="401" y="226"/>
                  <a:pt x="368" y="205"/>
                  <a:pt x="377" y="199"/>
                </a:cubicBezTo>
                <a:cubicBezTo>
                  <a:pt x="380" y="196"/>
                  <a:pt x="392" y="187"/>
                  <a:pt x="398" y="177"/>
                </a:cubicBezTo>
                <a:cubicBezTo>
                  <a:pt x="404" y="171"/>
                  <a:pt x="401" y="153"/>
                  <a:pt x="414" y="156"/>
                </a:cubicBezTo>
                <a:cubicBezTo>
                  <a:pt x="420" y="156"/>
                  <a:pt x="417" y="168"/>
                  <a:pt x="423" y="171"/>
                </a:cubicBezTo>
                <a:cubicBezTo>
                  <a:pt x="426" y="174"/>
                  <a:pt x="435" y="171"/>
                  <a:pt x="441" y="171"/>
                </a:cubicBezTo>
                <a:cubicBezTo>
                  <a:pt x="450" y="171"/>
                  <a:pt x="450" y="165"/>
                  <a:pt x="450" y="156"/>
                </a:cubicBezTo>
                <a:cubicBezTo>
                  <a:pt x="450" y="144"/>
                  <a:pt x="471" y="147"/>
                  <a:pt x="471" y="141"/>
                </a:cubicBezTo>
                <a:cubicBezTo>
                  <a:pt x="468" y="132"/>
                  <a:pt x="447" y="144"/>
                  <a:pt x="447" y="132"/>
                </a:cubicBezTo>
                <a:cubicBezTo>
                  <a:pt x="447" y="117"/>
                  <a:pt x="465" y="114"/>
                  <a:pt x="453" y="111"/>
                </a:cubicBezTo>
                <a:cubicBezTo>
                  <a:pt x="444" y="108"/>
                  <a:pt x="432" y="117"/>
                  <a:pt x="435" y="138"/>
                </a:cubicBezTo>
                <a:cubicBezTo>
                  <a:pt x="438" y="159"/>
                  <a:pt x="441" y="168"/>
                  <a:pt x="426" y="162"/>
                </a:cubicBezTo>
                <a:cubicBezTo>
                  <a:pt x="414" y="153"/>
                  <a:pt x="429" y="138"/>
                  <a:pt x="417" y="144"/>
                </a:cubicBezTo>
                <a:cubicBezTo>
                  <a:pt x="407" y="150"/>
                  <a:pt x="401" y="153"/>
                  <a:pt x="401" y="138"/>
                </a:cubicBezTo>
                <a:cubicBezTo>
                  <a:pt x="401" y="126"/>
                  <a:pt x="426" y="90"/>
                  <a:pt x="444" y="84"/>
                </a:cubicBezTo>
                <a:cubicBezTo>
                  <a:pt x="411" y="57"/>
                  <a:pt x="371" y="39"/>
                  <a:pt x="326" y="33"/>
                </a:cubicBezTo>
                <a:cubicBezTo>
                  <a:pt x="326" y="33"/>
                  <a:pt x="326" y="33"/>
                  <a:pt x="326" y="33"/>
                </a:cubicBezTo>
                <a:cubicBezTo>
                  <a:pt x="326" y="57"/>
                  <a:pt x="326" y="72"/>
                  <a:pt x="323" y="84"/>
                </a:cubicBezTo>
                <a:cubicBezTo>
                  <a:pt x="323" y="99"/>
                  <a:pt x="278" y="102"/>
                  <a:pt x="272" y="129"/>
                </a:cubicBezTo>
                <a:cubicBezTo>
                  <a:pt x="266" y="153"/>
                  <a:pt x="257" y="138"/>
                  <a:pt x="242" y="120"/>
                </a:cubicBezTo>
                <a:cubicBezTo>
                  <a:pt x="227" y="102"/>
                  <a:pt x="245" y="78"/>
                  <a:pt x="236" y="63"/>
                </a:cubicBezTo>
                <a:cubicBezTo>
                  <a:pt x="230" y="48"/>
                  <a:pt x="202" y="69"/>
                  <a:pt x="202" y="54"/>
                </a:cubicBezTo>
                <a:cubicBezTo>
                  <a:pt x="202" y="48"/>
                  <a:pt x="209" y="42"/>
                  <a:pt x="209" y="39"/>
                </a:cubicBezTo>
                <a:cubicBezTo>
                  <a:pt x="205" y="42"/>
                  <a:pt x="202" y="42"/>
                  <a:pt x="199" y="42"/>
                </a:cubicBezTo>
                <a:cubicBezTo>
                  <a:pt x="190" y="48"/>
                  <a:pt x="184" y="66"/>
                  <a:pt x="181" y="69"/>
                </a:cubicBezTo>
                <a:cubicBezTo>
                  <a:pt x="172" y="81"/>
                  <a:pt x="193" y="78"/>
                  <a:pt x="202" y="90"/>
                </a:cubicBezTo>
                <a:cubicBezTo>
                  <a:pt x="215" y="108"/>
                  <a:pt x="224" y="120"/>
                  <a:pt x="218" y="129"/>
                </a:cubicBezTo>
                <a:cubicBezTo>
                  <a:pt x="215" y="138"/>
                  <a:pt x="178" y="129"/>
                  <a:pt x="184" y="114"/>
                </a:cubicBezTo>
                <a:cubicBezTo>
                  <a:pt x="193" y="99"/>
                  <a:pt x="187" y="96"/>
                  <a:pt x="178" y="93"/>
                </a:cubicBezTo>
                <a:cubicBezTo>
                  <a:pt x="169" y="93"/>
                  <a:pt x="169" y="105"/>
                  <a:pt x="169" y="120"/>
                </a:cubicBezTo>
                <a:cubicBezTo>
                  <a:pt x="169" y="132"/>
                  <a:pt x="145" y="135"/>
                  <a:pt x="133" y="147"/>
                </a:cubicBezTo>
                <a:cubicBezTo>
                  <a:pt x="121" y="162"/>
                  <a:pt x="142" y="174"/>
                  <a:pt x="160" y="180"/>
                </a:cubicBezTo>
                <a:cubicBezTo>
                  <a:pt x="178" y="187"/>
                  <a:pt x="166" y="156"/>
                  <a:pt x="172" y="141"/>
                </a:cubicBezTo>
                <a:cubicBezTo>
                  <a:pt x="178" y="120"/>
                  <a:pt x="199" y="138"/>
                  <a:pt x="215" y="156"/>
                </a:cubicBezTo>
                <a:cubicBezTo>
                  <a:pt x="227" y="174"/>
                  <a:pt x="248" y="199"/>
                  <a:pt x="221" y="211"/>
                </a:cubicBezTo>
                <a:cubicBezTo>
                  <a:pt x="175" y="229"/>
                  <a:pt x="157" y="250"/>
                  <a:pt x="148" y="268"/>
                </a:cubicBezTo>
                <a:cubicBezTo>
                  <a:pt x="139" y="286"/>
                  <a:pt x="148" y="295"/>
                  <a:pt x="142" y="301"/>
                </a:cubicBezTo>
                <a:cubicBezTo>
                  <a:pt x="136" y="307"/>
                  <a:pt x="136" y="298"/>
                  <a:pt x="130" y="283"/>
                </a:cubicBezTo>
                <a:cubicBezTo>
                  <a:pt x="124" y="274"/>
                  <a:pt x="103" y="274"/>
                  <a:pt x="94" y="292"/>
                </a:cubicBezTo>
                <a:cubicBezTo>
                  <a:pt x="88" y="295"/>
                  <a:pt x="88" y="304"/>
                  <a:pt x="88" y="313"/>
                </a:cubicBezTo>
                <a:cubicBezTo>
                  <a:pt x="88" y="343"/>
                  <a:pt x="109" y="304"/>
                  <a:pt x="121" y="310"/>
                </a:cubicBezTo>
                <a:cubicBezTo>
                  <a:pt x="136" y="313"/>
                  <a:pt x="109" y="316"/>
                  <a:pt x="112" y="328"/>
                </a:cubicBezTo>
                <a:cubicBezTo>
                  <a:pt x="115" y="340"/>
                  <a:pt x="133" y="322"/>
                  <a:pt x="127" y="349"/>
                </a:cubicBezTo>
                <a:cubicBezTo>
                  <a:pt x="124" y="364"/>
                  <a:pt x="148" y="352"/>
                  <a:pt x="163" y="346"/>
                </a:cubicBezTo>
                <a:cubicBezTo>
                  <a:pt x="196" y="334"/>
                  <a:pt x="221" y="389"/>
                  <a:pt x="245" y="398"/>
                </a:cubicBezTo>
                <a:cubicBezTo>
                  <a:pt x="272" y="407"/>
                  <a:pt x="281" y="413"/>
                  <a:pt x="275" y="425"/>
                </a:cubicBezTo>
                <a:cubicBezTo>
                  <a:pt x="257" y="461"/>
                  <a:pt x="221" y="485"/>
                  <a:pt x="202" y="527"/>
                </a:cubicBezTo>
                <a:cubicBezTo>
                  <a:pt x="227" y="536"/>
                  <a:pt x="257" y="539"/>
                  <a:pt x="284" y="539"/>
                </a:cubicBezTo>
                <a:cubicBezTo>
                  <a:pt x="323" y="539"/>
                  <a:pt x="356" y="533"/>
                  <a:pt x="389" y="518"/>
                </a:cubicBezTo>
                <a:close/>
                <a:moveTo>
                  <a:pt x="534" y="343"/>
                </a:moveTo>
                <a:cubicBezTo>
                  <a:pt x="528" y="343"/>
                  <a:pt x="522" y="346"/>
                  <a:pt x="519" y="346"/>
                </a:cubicBezTo>
                <a:cubicBezTo>
                  <a:pt x="504" y="340"/>
                  <a:pt x="513" y="280"/>
                  <a:pt x="492" y="283"/>
                </a:cubicBezTo>
                <a:cubicBezTo>
                  <a:pt x="483" y="286"/>
                  <a:pt x="498" y="331"/>
                  <a:pt x="519" y="355"/>
                </a:cubicBezTo>
                <a:cubicBezTo>
                  <a:pt x="522" y="358"/>
                  <a:pt x="525" y="355"/>
                  <a:pt x="531" y="355"/>
                </a:cubicBezTo>
                <a:cubicBezTo>
                  <a:pt x="531" y="352"/>
                  <a:pt x="534" y="346"/>
                  <a:pt x="534" y="343"/>
                </a:cubicBezTo>
                <a:close/>
                <a:moveTo>
                  <a:pt x="519" y="386"/>
                </a:moveTo>
                <a:cubicBezTo>
                  <a:pt x="495" y="379"/>
                  <a:pt x="477" y="434"/>
                  <a:pt x="471" y="458"/>
                </a:cubicBezTo>
                <a:cubicBezTo>
                  <a:pt x="492" y="437"/>
                  <a:pt x="507" y="413"/>
                  <a:pt x="519" y="386"/>
                </a:cubicBezTo>
                <a:close/>
                <a:moveTo>
                  <a:pt x="157" y="506"/>
                </a:moveTo>
                <a:cubicBezTo>
                  <a:pt x="160" y="482"/>
                  <a:pt x="163" y="455"/>
                  <a:pt x="157" y="452"/>
                </a:cubicBezTo>
                <a:cubicBezTo>
                  <a:pt x="136" y="434"/>
                  <a:pt x="121" y="407"/>
                  <a:pt x="142" y="379"/>
                </a:cubicBezTo>
                <a:cubicBezTo>
                  <a:pt x="145" y="376"/>
                  <a:pt x="148" y="373"/>
                  <a:pt x="148" y="367"/>
                </a:cubicBezTo>
                <a:cubicBezTo>
                  <a:pt x="151" y="358"/>
                  <a:pt x="142" y="364"/>
                  <a:pt x="127" y="364"/>
                </a:cubicBezTo>
                <a:cubicBezTo>
                  <a:pt x="112" y="364"/>
                  <a:pt x="124" y="340"/>
                  <a:pt x="94" y="337"/>
                </a:cubicBezTo>
                <a:cubicBezTo>
                  <a:pt x="64" y="334"/>
                  <a:pt x="64" y="328"/>
                  <a:pt x="61" y="310"/>
                </a:cubicBezTo>
                <a:cubicBezTo>
                  <a:pt x="61" y="292"/>
                  <a:pt x="43" y="274"/>
                  <a:pt x="28" y="271"/>
                </a:cubicBezTo>
                <a:cubicBezTo>
                  <a:pt x="28" y="274"/>
                  <a:pt x="28" y="280"/>
                  <a:pt x="28" y="283"/>
                </a:cubicBezTo>
                <a:cubicBezTo>
                  <a:pt x="28" y="379"/>
                  <a:pt x="82" y="464"/>
                  <a:pt x="157" y="506"/>
                </a:cubicBezTo>
                <a:close/>
                <a:moveTo>
                  <a:pt x="326" y="123"/>
                </a:moveTo>
                <a:cubicBezTo>
                  <a:pt x="338" y="129"/>
                  <a:pt x="350" y="120"/>
                  <a:pt x="347" y="111"/>
                </a:cubicBezTo>
                <a:cubicBezTo>
                  <a:pt x="338" y="96"/>
                  <a:pt x="311" y="105"/>
                  <a:pt x="326" y="123"/>
                </a:cubicBezTo>
                <a:close/>
                <a:moveTo>
                  <a:pt x="377" y="147"/>
                </a:moveTo>
                <a:cubicBezTo>
                  <a:pt x="386" y="147"/>
                  <a:pt x="392" y="165"/>
                  <a:pt x="389" y="174"/>
                </a:cubicBezTo>
                <a:cubicBezTo>
                  <a:pt x="383" y="193"/>
                  <a:pt x="368" y="180"/>
                  <a:pt x="365" y="168"/>
                </a:cubicBezTo>
                <a:cubicBezTo>
                  <a:pt x="365" y="156"/>
                  <a:pt x="368" y="147"/>
                  <a:pt x="377" y="147"/>
                </a:cubicBezTo>
                <a:close/>
                <a:moveTo>
                  <a:pt x="477" y="232"/>
                </a:moveTo>
                <a:cubicBezTo>
                  <a:pt x="468" y="223"/>
                  <a:pt x="471" y="211"/>
                  <a:pt x="483" y="208"/>
                </a:cubicBezTo>
                <a:cubicBezTo>
                  <a:pt x="504" y="205"/>
                  <a:pt x="531" y="226"/>
                  <a:pt x="513" y="232"/>
                </a:cubicBezTo>
                <a:cubicBezTo>
                  <a:pt x="504" y="235"/>
                  <a:pt x="489" y="235"/>
                  <a:pt x="477" y="232"/>
                </a:cubicBezTo>
                <a:close/>
                <a:moveTo>
                  <a:pt x="139" y="307"/>
                </a:moveTo>
                <a:cubicBezTo>
                  <a:pt x="148" y="307"/>
                  <a:pt x="172" y="313"/>
                  <a:pt x="178" y="319"/>
                </a:cubicBezTo>
                <a:cubicBezTo>
                  <a:pt x="184" y="328"/>
                  <a:pt x="160" y="325"/>
                  <a:pt x="145" y="319"/>
                </a:cubicBezTo>
                <a:cubicBezTo>
                  <a:pt x="136" y="316"/>
                  <a:pt x="130" y="310"/>
                  <a:pt x="139" y="307"/>
                </a:cubicBezTo>
                <a:close/>
              </a:path>
            </a:pathLst>
          </a:custGeom>
          <a:solidFill>
            <a:schemeClr val="bg1"/>
          </a:solidFill>
          <a:ln>
            <a:noFill/>
          </a:ln>
        </p:spPr>
        <p:txBody>
          <a:bodyPr vert="horz" wrap="square" lIns="91429" tIns="45714" rIns="91429" bIns="45714" numCol="1" anchor="t" anchorCtr="0" compatLnSpc="1">
            <a:prstTxWarp prst="textNoShape">
              <a:avLst/>
            </a:prstTxWarp>
          </a:bodyPr>
          <a:lstStyle/>
          <a:p>
            <a:pPr defTabSz="767590"/>
            <a:endParaRPr lang="en-US" sz="1400">
              <a:solidFill>
                <a:srgbClr val="FFFFFF"/>
              </a:solidFill>
            </a:endParaRPr>
          </a:p>
        </p:txBody>
      </p:sp>
      <p:grpSp>
        <p:nvGrpSpPr>
          <p:cNvPr id="3" name="Group 2"/>
          <p:cNvGrpSpPr/>
          <p:nvPr/>
        </p:nvGrpSpPr>
        <p:grpSpPr>
          <a:xfrm>
            <a:off x="3089265" y="3530218"/>
            <a:ext cx="1697371" cy="615553"/>
            <a:chOff x="1654577" y="3530217"/>
            <a:chExt cx="1697371" cy="615553"/>
          </a:xfrm>
        </p:grpSpPr>
        <p:sp>
          <p:nvSpPr>
            <p:cNvPr id="13" name="TextBox 12"/>
            <p:cNvSpPr txBox="1"/>
            <p:nvPr/>
          </p:nvSpPr>
          <p:spPr>
            <a:xfrm>
              <a:off x="2292491" y="3530217"/>
              <a:ext cx="1059457" cy="615553"/>
            </a:xfrm>
            <a:prstGeom prst="rect">
              <a:avLst/>
            </a:prstGeom>
            <a:noFill/>
            <a:ln>
              <a:noFill/>
              <a:headEnd type="none" w="med" len="med"/>
              <a:tailEnd type="none" w="med" len="med"/>
            </a:ln>
          </p:spPr>
          <p:txBody>
            <a:bodyPr wrap="none" lIns="0" tIns="0" rIns="0" bIns="0" rtlCol="0">
              <a:spAutoFit/>
            </a:bodyPr>
            <a:lstStyle/>
            <a:p>
              <a:pPr defTabSz="914293"/>
              <a:r>
                <a:rPr lang="en-US" sz="2000" spc="-100" dirty="0">
                  <a:gradFill>
                    <a:gsLst>
                      <a:gs pos="0">
                        <a:srgbClr val="000000">
                          <a:lumMod val="65000"/>
                          <a:lumOff val="35000"/>
                        </a:srgbClr>
                      </a:gs>
                      <a:gs pos="86000">
                        <a:srgbClr val="000000">
                          <a:lumMod val="65000"/>
                          <a:lumOff val="35000"/>
                        </a:srgbClr>
                      </a:gs>
                    </a:gsLst>
                    <a:lin ang="5400000" scaled="0"/>
                  </a:gradFill>
                  <a:latin typeface="Segoe UI Semibold" panose="020B0702040204020203" pitchFamily="34" charset="0"/>
                  <a:ea typeface="Segoe UI" pitchFamily="34" charset="0"/>
                  <a:cs typeface="Segoe UI Semibold" panose="020B0702040204020203" pitchFamily="34" charset="0"/>
                </a:rPr>
                <a:t>Microsoft </a:t>
              </a:r>
            </a:p>
            <a:p>
              <a:pPr defTabSz="914293"/>
              <a:r>
                <a:rPr lang="en-US" sz="2000" spc="-100" dirty="0">
                  <a:gradFill>
                    <a:gsLst>
                      <a:gs pos="0">
                        <a:srgbClr val="000000">
                          <a:lumMod val="65000"/>
                          <a:lumOff val="35000"/>
                        </a:srgbClr>
                      </a:gs>
                      <a:gs pos="86000">
                        <a:srgbClr val="000000">
                          <a:lumMod val="65000"/>
                          <a:lumOff val="35000"/>
                        </a:srgbClr>
                      </a:gs>
                    </a:gsLst>
                    <a:lin ang="5400000" scaled="0"/>
                  </a:gradFill>
                  <a:latin typeface="Segoe UI Semibold" panose="020B0702040204020203" pitchFamily="34" charset="0"/>
                  <a:ea typeface="Segoe UI" pitchFamily="34" charset="0"/>
                  <a:cs typeface="Segoe UI Semibold" panose="020B0702040204020203" pitchFamily="34" charset="0"/>
                </a:rPr>
                <a:t>account</a:t>
              </a:r>
            </a:p>
          </p:txBody>
        </p:sp>
        <p:pic>
          <p:nvPicPr>
            <p:cNvPr id="15" name="Pictur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654577" y="3549560"/>
              <a:ext cx="549566" cy="549566"/>
            </a:xfrm>
            <a:prstGeom prst="rect">
              <a:avLst/>
            </a:prstGeom>
          </p:spPr>
        </p:pic>
      </p:grpSp>
      <p:sp>
        <p:nvSpPr>
          <p:cNvPr id="16" name="TextBox 15"/>
          <p:cNvSpPr txBox="1"/>
          <p:nvPr/>
        </p:nvSpPr>
        <p:spPr>
          <a:xfrm>
            <a:off x="3946354" y="4395518"/>
            <a:ext cx="1274708" cy="430887"/>
          </a:xfrm>
          <a:prstGeom prst="rect">
            <a:avLst/>
          </a:prstGeom>
          <a:noFill/>
          <a:ln>
            <a:noFill/>
            <a:headEnd type="none" w="med" len="med"/>
            <a:tailEnd type="none" w="med" len="med"/>
          </a:ln>
        </p:spPr>
        <p:txBody>
          <a:bodyPr wrap="none" lIns="0" tIns="0" rIns="0" bIns="0" rtlCol="0">
            <a:spAutoFit/>
          </a:bodyPr>
          <a:lstStyle/>
          <a:p>
            <a:pPr defTabSz="914293"/>
            <a:r>
              <a:rPr lang="en-US" sz="1400" spc="-70" dirty="0">
                <a:solidFill>
                  <a:srgbClr val="FFFFFF"/>
                </a:solidFill>
                <a:latin typeface="Segoe UI Light"/>
                <a:ea typeface="Segoe UI" pitchFamily="34" charset="0"/>
                <a:cs typeface="Segoe UI" pitchFamily="34" charset="0"/>
              </a:rPr>
              <a:t>Global Foundation </a:t>
            </a:r>
          </a:p>
          <a:p>
            <a:pPr defTabSz="914293"/>
            <a:r>
              <a:rPr lang="en-US" sz="1400" spc="-70" dirty="0">
                <a:solidFill>
                  <a:srgbClr val="FFFFFF"/>
                </a:solidFill>
                <a:latin typeface="Segoe UI Light"/>
                <a:ea typeface="Segoe UI" pitchFamily="34" charset="0"/>
                <a:cs typeface="Segoe UI" pitchFamily="34" charset="0"/>
              </a:rPr>
              <a:t>Services</a:t>
            </a:r>
          </a:p>
        </p:txBody>
      </p:sp>
      <p:pic>
        <p:nvPicPr>
          <p:cNvPr id="17" name="Picture 1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153400" y="3516318"/>
            <a:ext cx="1446206" cy="1436685"/>
          </a:xfrm>
          <a:prstGeom prst="rect">
            <a:avLst/>
          </a:prstGeom>
        </p:spPr>
      </p:pic>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761594" y="4395517"/>
            <a:ext cx="1228637" cy="451946"/>
          </a:xfrm>
          <a:prstGeom prst="rect">
            <a:avLst/>
          </a:prstGeom>
        </p:spPr>
      </p:pic>
      <p:pic>
        <p:nvPicPr>
          <p:cNvPr id="25" name="Picture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609822" y="6248400"/>
            <a:ext cx="1905778" cy="457200"/>
          </a:xfrm>
          <a:prstGeom prst="rect">
            <a:avLst/>
          </a:prstGeom>
        </p:spPr>
      </p:pic>
    </p:spTree>
    <p:extLst>
      <p:ext uri="{BB962C8B-B14F-4D97-AF65-F5344CB8AC3E}">
        <p14:creationId xmlns:p14="http://schemas.microsoft.com/office/powerpoint/2010/main" val="4205714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Identity and Messaging</a:t>
            </a:r>
            <a:endParaRPr lang="en-US" dirty="0"/>
          </a:p>
        </p:txBody>
      </p:sp>
    </p:spTree>
    <p:extLst>
      <p:ext uri="{BB962C8B-B14F-4D97-AF65-F5344CB8AC3E}">
        <p14:creationId xmlns:p14="http://schemas.microsoft.com/office/powerpoint/2010/main" val="1239164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383438" y="1958785"/>
            <a:ext cx="3208438" cy="3208438"/>
          </a:xfrm>
          <a:prstGeom prst="rect">
            <a:avLst/>
          </a:prstGeom>
        </p:spPr>
      </p:pic>
      <p:sp>
        <p:nvSpPr>
          <p:cNvPr id="5" name="Title 1"/>
          <p:cNvSpPr txBox="1">
            <a:spLocks/>
          </p:cNvSpPr>
          <p:nvPr/>
        </p:nvSpPr>
        <p:spPr>
          <a:xfrm>
            <a:off x="4665029" y="2487169"/>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a:solidFill>
                  <a:srgbClr val="5F5F5F">
                    <a:alpha val="99000"/>
                  </a:srgbClr>
                </a:solidFill>
              </a:rPr>
              <a:t>Identity</a:t>
            </a:r>
          </a:p>
        </p:txBody>
      </p:sp>
      <p:sp>
        <p:nvSpPr>
          <p:cNvPr id="7" name="Content Placeholder 2"/>
          <p:cNvSpPr txBox="1">
            <a:spLocks/>
          </p:cNvSpPr>
          <p:nvPr/>
        </p:nvSpPr>
        <p:spPr>
          <a:xfrm>
            <a:off x="4688033" y="3286126"/>
            <a:ext cx="6380162" cy="169892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lnSpc>
                <a:spcPct val="100000"/>
              </a:lnSpc>
              <a:buNone/>
            </a:pPr>
            <a:r>
              <a:rPr lang="en-US" sz="2400" dirty="0">
                <a:solidFill>
                  <a:srgbClr val="5F5F5F">
                    <a:alpha val="99000"/>
                  </a:srgbClr>
                </a:solidFill>
                <a:latin typeface="Segoe UI"/>
              </a:rPr>
              <a:t>Integrate with enterprise identity</a:t>
            </a:r>
          </a:p>
          <a:p>
            <a:pPr marL="3175" indent="0">
              <a:lnSpc>
                <a:spcPct val="100000"/>
              </a:lnSpc>
              <a:buNone/>
            </a:pPr>
            <a:r>
              <a:rPr lang="en-US" sz="2400" dirty="0">
                <a:solidFill>
                  <a:srgbClr val="5F5F5F">
                    <a:alpha val="99000"/>
                  </a:srgbClr>
                </a:solidFill>
                <a:latin typeface="Segoe UI"/>
              </a:rPr>
              <a:t>Enable single sign-on within your apps</a:t>
            </a:r>
          </a:p>
          <a:p>
            <a:pPr marL="3175" indent="0">
              <a:lnSpc>
                <a:spcPct val="100000"/>
              </a:lnSpc>
              <a:buNone/>
            </a:pPr>
            <a:r>
              <a:rPr lang="en-US" sz="2400" dirty="0">
                <a:solidFill>
                  <a:srgbClr val="5F5F5F">
                    <a:alpha val="99000"/>
                  </a:srgbClr>
                </a:solidFill>
                <a:latin typeface="Segoe UI"/>
              </a:rPr>
              <a:t>Enterprise Graph REST API</a:t>
            </a:r>
          </a:p>
          <a:p>
            <a:pPr marL="3175" indent="0">
              <a:lnSpc>
                <a:spcPct val="100000"/>
              </a:lnSpc>
              <a:buNone/>
            </a:pPr>
            <a:r>
              <a:rPr lang="en-US" sz="2400" dirty="0">
                <a:solidFill>
                  <a:srgbClr val="5F5F5F">
                    <a:alpha val="99000"/>
                  </a:srgbClr>
                </a:solidFill>
                <a:latin typeface="Segoe UI"/>
              </a:rPr>
              <a:t>93% of Fortune 1000 use Active Directory</a:t>
            </a:r>
          </a:p>
        </p:txBody>
      </p:sp>
    </p:spTree>
    <p:extLst>
      <p:ext uri="{BB962C8B-B14F-4D97-AF65-F5344CB8AC3E}">
        <p14:creationId xmlns:p14="http://schemas.microsoft.com/office/powerpoint/2010/main" val="490920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7">
                                            <p:txEl>
                                              <p:pRg st="0" end="0"/>
                                            </p:txEl>
                                          </p:spTgt>
                                        </p:tgtEl>
                                        <p:attrNameLst>
                                          <p:attrName>style.visibility</p:attrName>
                                        </p:attrNameLst>
                                      </p:cBhvr>
                                      <p:to>
                                        <p:strVal val="visible"/>
                                      </p:to>
                                    </p:set>
                                    <p:animEffect transition="in" filter="fade">
                                      <p:cBhvr>
                                        <p:cTn id="15" dur="250"/>
                                        <p:tgtEl>
                                          <p:spTgt spid="7">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7">
                                            <p:txEl>
                                              <p:pRg st="1" end="1"/>
                                            </p:txEl>
                                          </p:spTgt>
                                        </p:tgtEl>
                                        <p:attrNameLst>
                                          <p:attrName>style.visibility</p:attrName>
                                        </p:attrNameLst>
                                      </p:cBhvr>
                                      <p:to>
                                        <p:strVal val="visible"/>
                                      </p:to>
                                    </p:set>
                                    <p:animEffect transition="in" filter="fade">
                                      <p:cBhvr>
                                        <p:cTn id="19" dur="250"/>
                                        <p:tgtEl>
                                          <p:spTgt spid="7">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7">
                                            <p:txEl>
                                              <p:pRg st="2" end="2"/>
                                            </p:txEl>
                                          </p:spTgt>
                                        </p:tgtEl>
                                        <p:attrNameLst>
                                          <p:attrName>style.visibility</p:attrName>
                                        </p:attrNameLst>
                                      </p:cBhvr>
                                      <p:to>
                                        <p:strVal val="visible"/>
                                      </p:to>
                                    </p:set>
                                    <p:animEffect transition="in" filter="fade">
                                      <p:cBhvr>
                                        <p:cTn id="23" dur="250"/>
                                        <p:tgtEl>
                                          <p:spTgt spid="7">
                                            <p:txEl>
                                              <p:pRg st="2" end="2"/>
                                            </p:txEl>
                                          </p:spTgt>
                                        </p:tgtEl>
                                      </p:cBhvr>
                                    </p:animEffect>
                                  </p:childTnLst>
                                </p:cTn>
                              </p:par>
                            </p:childTnLst>
                          </p:cTn>
                        </p:par>
                        <p:par>
                          <p:cTn id="24" fill="hold">
                            <p:stCondLst>
                              <p:cond delay="2500"/>
                            </p:stCondLst>
                            <p:childTnLst>
                              <p:par>
                                <p:cTn id="25" presetID="10" presetClass="entr" presetSubtype="0" fill="hold" grpId="0" nodeType="afterEffect">
                                  <p:stCondLst>
                                    <p:cond delay="250"/>
                                  </p:stCondLst>
                                  <p:childTnLst>
                                    <p:set>
                                      <p:cBhvr>
                                        <p:cTn id="26" dur="1" fill="hold">
                                          <p:stCondLst>
                                            <p:cond delay="0"/>
                                          </p:stCondLst>
                                        </p:cTn>
                                        <p:tgtEl>
                                          <p:spTgt spid="7">
                                            <p:txEl>
                                              <p:pRg st="3" end="3"/>
                                            </p:txEl>
                                          </p:spTgt>
                                        </p:tgtEl>
                                        <p:attrNameLst>
                                          <p:attrName>style.visibility</p:attrName>
                                        </p:attrNameLst>
                                      </p:cBhvr>
                                      <p:to>
                                        <p:strVal val="visible"/>
                                      </p:to>
                                    </p:set>
                                    <p:animEffect transition="in" filter="fade">
                                      <p:cBhvr>
                                        <p:cTn id="27"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build="p"/>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bwMode="auto">
          <a:xfrm>
            <a:off x="520700" y="1678106"/>
            <a:ext cx="2107974" cy="4681130"/>
          </a:xfrm>
          <a:prstGeom prst="rect">
            <a:avLst/>
          </a:prstGeom>
          <a:solidFill>
            <a:schemeClr val="bg1">
              <a:lumMod val="85000"/>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600" dirty="0">
              <a:solidFill>
                <a:srgbClr val="DDDDDD">
                  <a:lumMod val="50000"/>
                  <a:alpha val="99000"/>
                </a:srgbClr>
              </a:solidFill>
            </a:endParaRPr>
          </a:p>
        </p:txBody>
      </p:sp>
      <p:sp>
        <p:nvSpPr>
          <p:cNvPr id="2050" name="Up-Down Arrow 2049"/>
          <p:cNvSpPr/>
          <p:nvPr/>
        </p:nvSpPr>
        <p:spPr bwMode="auto">
          <a:xfrm>
            <a:off x="1356924" y="3034559"/>
            <a:ext cx="435526" cy="1629302"/>
          </a:xfrm>
          <a:prstGeom prst="up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rgbClr val="FFFFFF">
                    <a:alpha val="0"/>
                  </a:srgbClr>
                </a:solidFill>
              </a:ln>
              <a:solidFill>
                <a:srgbClr val="292929">
                  <a:lumMod val="75000"/>
                  <a:lumOff val="25000"/>
                </a:srgbClr>
              </a:solidFill>
            </a:endParaRPr>
          </a:p>
        </p:txBody>
      </p:sp>
      <p:sp>
        <p:nvSpPr>
          <p:cNvPr id="73" name="Right Arrow 72"/>
          <p:cNvSpPr/>
          <p:nvPr/>
        </p:nvSpPr>
        <p:spPr bwMode="auto">
          <a:xfrm>
            <a:off x="2453054" y="1970809"/>
            <a:ext cx="4500597" cy="435526"/>
          </a:xfrm>
          <a:prstGeom prst="rightArrow">
            <a:avLst>
              <a:gd name="adj1" fmla="val 50000"/>
              <a:gd name="adj2" fmla="val 6111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rgbClr val="FFFFFF">
                    <a:alpha val="0"/>
                  </a:srgbClr>
                </a:solidFill>
              </a:ln>
              <a:solidFill>
                <a:srgbClr val="292929">
                  <a:lumMod val="75000"/>
                  <a:lumOff val="25000"/>
                </a:srgbClr>
              </a:solidFill>
            </a:endParaRPr>
          </a:p>
        </p:txBody>
      </p:sp>
      <p:sp>
        <p:nvSpPr>
          <p:cNvPr id="74" name="Right Arrow 73"/>
          <p:cNvSpPr/>
          <p:nvPr/>
        </p:nvSpPr>
        <p:spPr bwMode="auto">
          <a:xfrm>
            <a:off x="2453054" y="2385059"/>
            <a:ext cx="4500597" cy="435526"/>
          </a:xfrm>
          <a:prstGeom prst="rightArrow">
            <a:avLst>
              <a:gd name="adj1" fmla="val 50000"/>
              <a:gd name="adj2" fmla="val 6111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rgbClr val="FFFFFF">
                    <a:alpha val="0"/>
                  </a:srgbClr>
                </a:solidFill>
              </a:ln>
              <a:solidFill>
                <a:srgbClr val="292929">
                  <a:lumMod val="75000"/>
                  <a:lumOff val="25000"/>
                </a:srgbClr>
              </a:solidFill>
            </a:endParaRPr>
          </a:p>
        </p:txBody>
      </p:sp>
      <p:grpSp>
        <p:nvGrpSpPr>
          <p:cNvPr id="3" name="Group 2"/>
          <p:cNvGrpSpPr/>
          <p:nvPr/>
        </p:nvGrpSpPr>
        <p:grpSpPr>
          <a:xfrm>
            <a:off x="9096705" y="1343838"/>
            <a:ext cx="2573008" cy="1724548"/>
            <a:chOff x="9408951" y="-890895"/>
            <a:chExt cx="2573008" cy="1724548"/>
          </a:xfrm>
        </p:grpSpPr>
        <p:sp>
          <p:nvSpPr>
            <p:cNvPr id="29" name="Freeform 6"/>
            <p:cNvSpPr>
              <a:spLocks/>
            </p:cNvSpPr>
            <p:nvPr/>
          </p:nvSpPr>
          <p:spPr bwMode="auto">
            <a:xfrm>
              <a:off x="9408951" y="-890895"/>
              <a:ext cx="2573008" cy="1724548"/>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57200" rIns="82305" bIns="41153" numCol="1" anchor="t" anchorCtr="0" compatLnSpc="1">
              <a:prstTxWarp prst="textNoShape">
                <a:avLst/>
              </a:prstTxWarp>
            </a:bodyPr>
            <a:lstStyle/>
            <a:p>
              <a:pPr algn="ctr" defTabSz="914363"/>
              <a:endParaRPr lang="en-US" sz="1600" dirty="0">
                <a:solidFill>
                  <a:srgbClr val="FFFFFF">
                    <a:alpha val="99000"/>
                  </a:srgbClr>
                </a:solidFill>
              </a:endParaRPr>
            </a:p>
          </p:txBody>
        </p:sp>
        <p:sp>
          <p:nvSpPr>
            <p:cNvPr id="30" name="Rectangle 29"/>
            <p:cNvSpPr/>
            <p:nvPr/>
          </p:nvSpPr>
          <p:spPr>
            <a:xfrm>
              <a:off x="9763148" y="-228095"/>
              <a:ext cx="1864613" cy="978729"/>
            </a:xfrm>
            <a:prstGeom prst="rect">
              <a:avLst/>
            </a:prstGeom>
          </p:spPr>
          <p:txBody>
            <a:bodyPr wrap="none">
              <a:spAutoFit/>
            </a:bodyPr>
            <a:lstStyle/>
            <a:p>
              <a:pPr algn="ctr" defTabSz="914363">
                <a:lnSpc>
                  <a:spcPct val="90000"/>
                </a:lnSpc>
              </a:pPr>
              <a:r>
                <a:rPr lang="en-US" sz="3200" dirty="0">
                  <a:solidFill>
                    <a:srgbClr val="FFFFFF">
                      <a:alpha val="99000"/>
                    </a:srgbClr>
                  </a:solidFill>
                  <a:latin typeface="Segoe UI Light" pitchFamily="34" charset="0"/>
                </a:rPr>
                <a:t>Windows </a:t>
              </a:r>
              <a:br>
                <a:rPr lang="en-US" sz="3200" dirty="0">
                  <a:solidFill>
                    <a:srgbClr val="FFFFFF">
                      <a:alpha val="99000"/>
                    </a:srgbClr>
                  </a:solidFill>
                  <a:latin typeface="Segoe UI Light" pitchFamily="34" charset="0"/>
                </a:rPr>
              </a:br>
              <a:r>
                <a:rPr lang="en-US" sz="3200" dirty="0">
                  <a:solidFill>
                    <a:srgbClr val="FFFFFF">
                      <a:alpha val="99000"/>
                    </a:srgbClr>
                  </a:solidFill>
                  <a:latin typeface="Segoe UI Light" pitchFamily="34" charset="0"/>
                </a:rPr>
                <a:t>Azure</a:t>
              </a:r>
            </a:p>
          </p:txBody>
        </p:sp>
      </p:grpSp>
      <p:sp>
        <p:nvSpPr>
          <p:cNvPr id="2" name="Title 1"/>
          <p:cNvSpPr>
            <a:spLocks noGrp="1"/>
          </p:cNvSpPr>
          <p:nvPr>
            <p:ph type="title"/>
          </p:nvPr>
        </p:nvSpPr>
        <p:spPr>
          <a:xfrm>
            <a:off x="520701" y="228601"/>
            <a:ext cx="11149013" cy="747897"/>
          </a:xfrm>
        </p:spPr>
        <p:txBody>
          <a:bodyPr/>
          <a:lstStyle/>
          <a:p>
            <a:r>
              <a:rPr lang="en-US" dirty="0" smtClean="0"/>
              <a:t>Claims-Based Identity</a:t>
            </a:r>
            <a:endParaRPr lang="en-US" dirty="0"/>
          </a:p>
        </p:txBody>
      </p:sp>
      <p:pic>
        <p:nvPicPr>
          <p:cNvPr id="2053" name="WIF pipeline"/>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953651" y="1908815"/>
            <a:ext cx="1167440" cy="973764"/>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bwMode="auto">
          <a:xfrm>
            <a:off x="8269850" y="874896"/>
            <a:ext cx="731520" cy="731520"/>
          </a:xfrm>
          <a:prstGeom prst="rect">
            <a:avLst/>
          </a:prstGeom>
          <a:solidFill>
            <a:schemeClr val="tx1">
              <a:lumMod val="75000"/>
              <a:lumOff val="25000"/>
            </a:schemeClr>
          </a:solidFill>
          <a:ln>
            <a:noFill/>
          </a:ln>
        </p:spPr>
        <p:txBody>
          <a:bodyPr vert="horz" wrap="square" lIns="45720" tIns="45720" rIns="45720" bIns="45720" numCol="1" anchor="b" anchorCtr="0" compatLnSpc="1">
            <a:prstTxWarp prst="textNoShape">
              <a:avLst/>
            </a:prstTxWarp>
          </a:bodyPr>
          <a:lstStyle/>
          <a:p>
            <a:pPr defTabSz="914363"/>
            <a:r>
              <a:rPr lang="en-US" sz="1600" dirty="0">
                <a:solidFill>
                  <a:srgbClr val="FFFFFF">
                    <a:alpha val="99000"/>
                  </a:srgbClr>
                </a:solidFill>
              </a:rPr>
              <a:t>Claims</a:t>
            </a:r>
          </a:p>
        </p:txBody>
      </p:sp>
      <p:sp>
        <p:nvSpPr>
          <p:cNvPr id="26" name="Rectangle 25"/>
          <p:cNvSpPr/>
          <p:nvPr/>
        </p:nvSpPr>
        <p:spPr bwMode="auto">
          <a:xfrm>
            <a:off x="2732088" y="3856630"/>
            <a:ext cx="8921818" cy="2502606"/>
          </a:xfrm>
          <a:prstGeom prst="rect">
            <a:avLst/>
          </a:prstGeom>
          <a:solidFill>
            <a:schemeClr val="bg1">
              <a:lumMod val="85000"/>
              <a:alpha val="90000"/>
            </a:schemeClr>
          </a:solidFill>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t" anchorCtr="0" compatLnSpc="1">
            <a:prstTxWarp prst="textNoShape">
              <a:avLst/>
            </a:prstTxWarp>
            <a:noAutofit/>
          </a:bodyPr>
          <a:lstStyle/>
          <a:p>
            <a:pPr defTabSz="913788" fontAlgn="base">
              <a:lnSpc>
                <a:spcPct val="90000"/>
              </a:lnSpc>
            </a:pPr>
            <a:r>
              <a:rPr lang="en-US" sz="2000" dirty="0">
                <a:solidFill>
                  <a:srgbClr val="DDDDDD">
                    <a:lumMod val="50000"/>
                    <a:alpha val="99000"/>
                  </a:srgbClr>
                </a:solidFill>
              </a:rPr>
              <a:t>Active Directory</a:t>
            </a:r>
          </a:p>
          <a:p>
            <a:pPr defTabSz="913788" fontAlgn="base">
              <a:lnSpc>
                <a:spcPct val="90000"/>
              </a:lnSpc>
              <a:spcAft>
                <a:spcPts val="600"/>
              </a:spcAft>
            </a:pPr>
            <a:r>
              <a:rPr lang="en-US" sz="4400" dirty="0">
                <a:solidFill>
                  <a:srgbClr val="00AEEF">
                    <a:alpha val="99000"/>
                  </a:srgbClr>
                </a:solidFill>
                <a:latin typeface="Segoe UI Light" pitchFamily="34" charset="0"/>
              </a:rPr>
              <a:t>Federation Services 2</a:t>
            </a:r>
          </a:p>
          <a:p>
            <a:pPr defTabSz="913788" fontAlgn="base"/>
            <a:r>
              <a:rPr lang="en-US" sz="2800" dirty="0">
                <a:solidFill>
                  <a:srgbClr val="DDDDDD">
                    <a:lumMod val="50000"/>
                    <a:alpha val="99000"/>
                  </a:srgbClr>
                </a:solidFill>
              </a:rPr>
              <a:t>Windows Server Role</a:t>
            </a:r>
          </a:p>
          <a:p>
            <a:pPr defTabSz="913788" fontAlgn="base"/>
            <a:r>
              <a:rPr lang="en-US" sz="2800" dirty="0">
                <a:solidFill>
                  <a:srgbClr val="DDDDDD">
                    <a:lumMod val="50000"/>
                    <a:alpha val="99000"/>
                  </a:srgbClr>
                </a:solidFill>
              </a:rPr>
              <a:t>An STS for AD</a:t>
            </a:r>
          </a:p>
          <a:p>
            <a:pPr defTabSz="913788" fontAlgn="base"/>
            <a:r>
              <a:rPr lang="en-US" sz="2800" dirty="0">
                <a:solidFill>
                  <a:srgbClr val="DDDDDD">
                    <a:lumMod val="50000"/>
                    <a:alpha val="99000"/>
                  </a:srgbClr>
                </a:solidFill>
              </a:rPr>
              <a:t>WS-Federation, WS-Trust, SAML</a:t>
            </a:r>
          </a:p>
        </p:txBody>
      </p:sp>
      <p:grpSp>
        <p:nvGrpSpPr>
          <p:cNvPr id="7" name="Group 6"/>
          <p:cNvGrpSpPr/>
          <p:nvPr/>
        </p:nvGrpSpPr>
        <p:grpSpPr>
          <a:xfrm>
            <a:off x="8296623" y="1908815"/>
            <a:ext cx="1119305" cy="910604"/>
            <a:chOff x="8126216" y="-1012633"/>
            <a:chExt cx="1119305" cy="910604"/>
          </a:xfrm>
        </p:grpSpPr>
        <p:sp>
          <p:nvSpPr>
            <p:cNvPr id="33" name="Freeform 86"/>
            <p:cNvSpPr>
              <a:spLocks noEditPoints="1"/>
            </p:cNvSpPr>
            <p:nvPr/>
          </p:nvSpPr>
          <p:spPr bwMode="black">
            <a:xfrm>
              <a:off x="8126216" y="-923822"/>
              <a:ext cx="817270" cy="821793"/>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37" name="Oval 87"/>
            <p:cNvSpPr>
              <a:spLocks noChangeArrowheads="1"/>
            </p:cNvSpPr>
            <p:nvPr/>
          </p:nvSpPr>
          <p:spPr bwMode="black">
            <a:xfrm>
              <a:off x="8459047" y="-574501"/>
              <a:ext cx="151610" cy="151570"/>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39" name="Freeform 88"/>
            <p:cNvSpPr>
              <a:spLocks noEditPoints="1"/>
            </p:cNvSpPr>
            <p:nvPr/>
          </p:nvSpPr>
          <p:spPr bwMode="black">
            <a:xfrm>
              <a:off x="8830964" y="-1012633"/>
              <a:ext cx="414557" cy="446421"/>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grpSp>
        <p:nvGrpSpPr>
          <p:cNvPr id="50" name="Group 49"/>
          <p:cNvGrpSpPr/>
          <p:nvPr/>
        </p:nvGrpSpPr>
        <p:grpSpPr>
          <a:xfrm>
            <a:off x="1409187" y="1981133"/>
            <a:ext cx="1043866" cy="771107"/>
            <a:chOff x="-649698" y="1228115"/>
            <a:chExt cx="1168810" cy="863403"/>
          </a:xfrm>
        </p:grpSpPr>
        <p:grpSp>
          <p:nvGrpSpPr>
            <p:cNvPr id="49" name="Group 48"/>
            <p:cNvGrpSpPr/>
            <p:nvPr/>
          </p:nvGrpSpPr>
          <p:grpSpPr>
            <a:xfrm>
              <a:off x="-649698" y="1228115"/>
              <a:ext cx="1168810" cy="863403"/>
              <a:chOff x="-1631694" y="803378"/>
              <a:chExt cx="1168810" cy="863403"/>
            </a:xfrm>
          </p:grpSpPr>
          <p:sp>
            <p:nvSpPr>
              <p:cNvPr id="48" name="Rectangle 47"/>
              <p:cNvSpPr/>
              <p:nvPr/>
            </p:nvSpPr>
            <p:spPr bwMode="auto">
              <a:xfrm>
                <a:off x="-1595493" y="940789"/>
                <a:ext cx="1109718" cy="7134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1" name="Freeform 6"/>
              <p:cNvSpPr>
                <a:spLocks noEditPoints="1"/>
              </p:cNvSpPr>
              <p:nvPr/>
            </p:nvSpPr>
            <p:spPr bwMode="auto">
              <a:xfrm>
                <a:off x="-1631694" y="803378"/>
                <a:ext cx="1168810" cy="863403"/>
              </a:xfrm>
              <a:custGeom>
                <a:avLst/>
                <a:gdLst>
                  <a:gd name="T0" fmla="*/ 917 w 946"/>
                  <a:gd name="T1" fmla="*/ 0 h 699"/>
                  <a:gd name="T2" fmla="*/ 29 w 946"/>
                  <a:gd name="T3" fmla="*/ 0 h 699"/>
                  <a:gd name="T4" fmla="*/ 0 w 946"/>
                  <a:gd name="T5" fmla="*/ 29 h 699"/>
                  <a:gd name="T6" fmla="*/ 0 w 946"/>
                  <a:gd name="T7" fmla="*/ 670 h 699"/>
                  <a:gd name="T8" fmla="*/ 29 w 946"/>
                  <a:gd name="T9" fmla="*/ 699 h 699"/>
                  <a:gd name="T10" fmla="*/ 917 w 946"/>
                  <a:gd name="T11" fmla="*/ 699 h 699"/>
                  <a:gd name="T12" fmla="*/ 946 w 946"/>
                  <a:gd name="T13" fmla="*/ 670 h 699"/>
                  <a:gd name="T14" fmla="*/ 946 w 946"/>
                  <a:gd name="T15" fmla="*/ 29 h 699"/>
                  <a:gd name="T16" fmla="*/ 917 w 946"/>
                  <a:gd name="T17" fmla="*/ 0 h 699"/>
                  <a:gd name="T18" fmla="*/ 910 w 946"/>
                  <a:gd name="T19" fmla="*/ 668 h 699"/>
                  <a:gd name="T20" fmla="*/ 36 w 946"/>
                  <a:gd name="T21" fmla="*/ 668 h 699"/>
                  <a:gd name="T22" fmla="*/ 36 w 946"/>
                  <a:gd name="T23" fmla="*/ 134 h 699"/>
                  <a:gd name="T24" fmla="*/ 910 w 946"/>
                  <a:gd name="T25" fmla="*/ 134 h 699"/>
                  <a:gd name="T26" fmla="*/ 910 w 946"/>
                  <a:gd name="T27" fmla="*/ 668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6" h="699">
                    <a:moveTo>
                      <a:pt x="917" y="0"/>
                    </a:moveTo>
                    <a:cubicBezTo>
                      <a:pt x="29" y="0"/>
                      <a:pt x="29" y="0"/>
                      <a:pt x="29" y="0"/>
                    </a:cubicBezTo>
                    <a:cubicBezTo>
                      <a:pt x="13" y="0"/>
                      <a:pt x="0" y="13"/>
                      <a:pt x="0" y="29"/>
                    </a:cubicBezTo>
                    <a:cubicBezTo>
                      <a:pt x="0" y="670"/>
                      <a:pt x="0" y="670"/>
                      <a:pt x="0" y="670"/>
                    </a:cubicBezTo>
                    <a:cubicBezTo>
                      <a:pt x="0" y="686"/>
                      <a:pt x="13" y="699"/>
                      <a:pt x="29" y="699"/>
                    </a:cubicBezTo>
                    <a:cubicBezTo>
                      <a:pt x="917" y="699"/>
                      <a:pt x="917" y="699"/>
                      <a:pt x="917" y="699"/>
                    </a:cubicBezTo>
                    <a:cubicBezTo>
                      <a:pt x="933" y="699"/>
                      <a:pt x="946" y="686"/>
                      <a:pt x="946" y="670"/>
                    </a:cubicBezTo>
                    <a:cubicBezTo>
                      <a:pt x="946" y="29"/>
                      <a:pt x="946" y="29"/>
                      <a:pt x="946" y="29"/>
                    </a:cubicBezTo>
                    <a:cubicBezTo>
                      <a:pt x="946" y="13"/>
                      <a:pt x="933" y="0"/>
                      <a:pt x="917" y="0"/>
                    </a:cubicBezTo>
                    <a:close/>
                    <a:moveTo>
                      <a:pt x="910" y="668"/>
                    </a:moveTo>
                    <a:cubicBezTo>
                      <a:pt x="36" y="668"/>
                      <a:pt x="36" y="668"/>
                      <a:pt x="36" y="668"/>
                    </a:cubicBezTo>
                    <a:cubicBezTo>
                      <a:pt x="36" y="134"/>
                      <a:pt x="36" y="134"/>
                      <a:pt x="36" y="134"/>
                    </a:cubicBezTo>
                    <a:cubicBezTo>
                      <a:pt x="910" y="134"/>
                      <a:pt x="910" y="134"/>
                      <a:pt x="910" y="134"/>
                    </a:cubicBezTo>
                    <a:lnTo>
                      <a:pt x="910" y="66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914363"/>
                <a:endParaRPr lang="en-US">
                  <a:solidFill>
                    <a:srgbClr val="292929"/>
                  </a:solidFill>
                </a:endParaRPr>
              </a:p>
            </p:txBody>
          </p:sp>
        </p:grpSp>
        <p:pic>
          <p:nvPicPr>
            <p:cNvPr id="54" name="Picture 3"/>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284368" y="1502379"/>
              <a:ext cx="552450" cy="4684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oup 18"/>
          <p:cNvGrpSpPr/>
          <p:nvPr/>
        </p:nvGrpSpPr>
        <p:grpSpPr>
          <a:xfrm>
            <a:off x="840510" y="1990781"/>
            <a:ext cx="1032829" cy="1043779"/>
            <a:chOff x="4309069" y="4226808"/>
            <a:chExt cx="1032829" cy="1043779"/>
          </a:xfrm>
        </p:grpSpPr>
        <p:sp>
          <p:nvSpPr>
            <p:cNvPr id="44" name="Freeform 6"/>
            <p:cNvSpPr>
              <a:spLocks/>
            </p:cNvSpPr>
            <p:nvPr/>
          </p:nvSpPr>
          <p:spPr bwMode="auto">
            <a:xfrm>
              <a:off x="4309069" y="4578993"/>
              <a:ext cx="306564" cy="478095"/>
            </a:xfrm>
            <a:custGeom>
              <a:avLst/>
              <a:gdLst>
                <a:gd name="T0" fmla="*/ 945 w 945"/>
                <a:gd name="T1" fmla="*/ 0 h 1472"/>
                <a:gd name="T2" fmla="*/ 945 w 945"/>
                <a:gd name="T3" fmla="*/ 0 h 1472"/>
                <a:gd name="T4" fmla="*/ 243 w 945"/>
                <a:gd name="T5" fmla="*/ 709 h 1472"/>
                <a:gd name="T6" fmla="*/ 486 w 945"/>
                <a:gd name="T7" fmla="*/ 1445 h 1472"/>
                <a:gd name="T8" fmla="*/ 486 w 945"/>
                <a:gd name="T9" fmla="*/ 927 h 1472"/>
                <a:gd name="T10" fmla="*/ 945 w 945"/>
                <a:gd name="T11" fmla="*/ 0 h 1472"/>
              </a:gdLst>
              <a:ahLst/>
              <a:cxnLst>
                <a:cxn ang="0">
                  <a:pos x="T0" y="T1"/>
                </a:cxn>
                <a:cxn ang="0">
                  <a:pos x="T2" y="T3"/>
                </a:cxn>
                <a:cxn ang="0">
                  <a:pos x="T4" y="T5"/>
                </a:cxn>
                <a:cxn ang="0">
                  <a:pos x="T6" y="T7"/>
                </a:cxn>
                <a:cxn ang="0">
                  <a:pos x="T8" y="T9"/>
                </a:cxn>
                <a:cxn ang="0">
                  <a:pos x="T10" y="T11"/>
                </a:cxn>
              </a:cxnLst>
              <a:rect l="0" t="0" r="r" b="b"/>
              <a:pathLst>
                <a:path w="945" h="1472">
                  <a:moveTo>
                    <a:pt x="945" y="0"/>
                  </a:moveTo>
                  <a:cubicBezTo>
                    <a:pt x="945" y="0"/>
                    <a:pt x="945" y="0"/>
                    <a:pt x="945" y="0"/>
                  </a:cubicBezTo>
                  <a:cubicBezTo>
                    <a:pt x="783" y="55"/>
                    <a:pt x="459" y="191"/>
                    <a:pt x="243" y="709"/>
                  </a:cubicBezTo>
                  <a:cubicBezTo>
                    <a:pt x="0" y="1200"/>
                    <a:pt x="270" y="1472"/>
                    <a:pt x="486" y="1445"/>
                  </a:cubicBezTo>
                  <a:cubicBezTo>
                    <a:pt x="486" y="927"/>
                    <a:pt x="486" y="927"/>
                    <a:pt x="486" y="927"/>
                  </a:cubicBezTo>
                  <a:cubicBezTo>
                    <a:pt x="486" y="545"/>
                    <a:pt x="675" y="191"/>
                    <a:pt x="945" y="0"/>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sp>
          <p:nvSpPr>
            <p:cNvPr id="45" name="Freeform 7"/>
            <p:cNvSpPr>
              <a:spLocks/>
            </p:cNvSpPr>
            <p:nvPr/>
          </p:nvSpPr>
          <p:spPr bwMode="auto">
            <a:xfrm>
              <a:off x="5031684" y="4578993"/>
              <a:ext cx="310214" cy="478095"/>
            </a:xfrm>
            <a:custGeom>
              <a:avLst/>
              <a:gdLst>
                <a:gd name="T0" fmla="*/ 0 w 956"/>
                <a:gd name="T1" fmla="*/ 0 h 1472"/>
                <a:gd name="T2" fmla="*/ 0 w 956"/>
                <a:gd name="T3" fmla="*/ 0 h 1472"/>
                <a:gd name="T4" fmla="*/ 711 w 956"/>
                <a:gd name="T5" fmla="*/ 709 h 1472"/>
                <a:gd name="T6" fmla="*/ 465 w 956"/>
                <a:gd name="T7" fmla="*/ 1445 h 1472"/>
                <a:gd name="T8" fmla="*/ 465 w 956"/>
                <a:gd name="T9" fmla="*/ 927 h 1472"/>
                <a:gd name="T10" fmla="*/ 0 w 956"/>
                <a:gd name="T11" fmla="*/ 0 h 1472"/>
              </a:gdLst>
              <a:ahLst/>
              <a:cxnLst>
                <a:cxn ang="0">
                  <a:pos x="T0" y="T1"/>
                </a:cxn>
                <a:cxn ang="0">
                  <a:pos x="T2" y="T3"/>
                </a:cxn>
                <a:cxn ang="0">
                  <a:pos x="T4" y="T5"/>
                </a:cxn>
                <a:cxn ang="0">
                  <a:pos x="T6" y="T7"/>
                </a:cxn>
                <a:cxn ang="0">
                  <a:pos x="T8" y="T9"/>
                </a:cxn>
                <a:cxn ang="0">
                  <a:pos x="T10" y="T11"/>
                </a:cxn>
              </a:cxnLst>
              <a:rect l="0" t="0" r="r" b="b"/>
              <a:pathLst>
                <a:path w="956" h="1472">
                  <a:moveTo>
                    <a:pt x="0" y="0"/>
                  </a:moveTo>
                  <a:cubicBezTo>
                    <a:pt x="0" y="0"/>
                    <a:pt x="0" y="0"/>
                    <a:pt x="0" y="0"/>
                  </a:cubicBezTo>
                  <a:cubicBezTo>
                    <a:pt x="164" y="55"/>
                    <a:pt x="492" y="191"/>
                    <a:pt x="711" y="709"/>
                  </a:cubicBezTo>
                  <a:cubicBezTo>
                    <a:pt x="956" y="1200"/>
                    <a:pt x="683" y="1472"/>
                    <a:pt x="465" y="1445"/>
                  </a:cubicBezTo>
                  <a:cubicBezTo>
                    <a:pt x="465" y="927"/>
                    <a:pt x="465" y="927"/>
                    <a:pt x="465" y="927"/>
                  </a:cubicBezTo>
                  <a:cubicBezTo>
                    <a:pt x="465" y="545"/>
                    <a:pt x="274" y="191"/>
                    <a:pt x="0" y="0"/>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sp>
          <p:nvSpPr>
            <p:cNvPr id="46" name="Freeform 8"/>
            <p:cNvSpPr>
              <a:spLocks/>
            </p:cNvSpPr>
            <p:nvPr/>
          </p:nvSpPr>
          <p:spPr bwMode="auto">
            <a:xfrm>
              <a:off x="4518920" y="4602714"/>
              <a:ext cx="611304" cy="667873"/>
            </a:xfrm>
            <a:custGeom>
              <a:avLst/>
              <a:gdLst>
                <a:gd name="T0" fmla="*/ 1877 w 1877"/>
                <a:gd name="T1" fmla="*/ 794 h 2053"/>
                <a:gd name="T2" fmla="*/ 1577 w 1877"/>
                <a:gd name="T3" fmla="*/ 0 h 2053"/>
                <a:gd name="T4" fmla="*/ 952 w 1877"/>
                <a:gd name="T5" fmla="*/ 274 h 2053"/>
                <a:gd name="T6" fmla="*/ 353 w 1877"/>
                <a:gd name="T7" fmla="*/ 0 h 2053"/>
                <a:gd name="T8" fmla="*/ 0 w 1877"/>
                <a:gd name="T9" fmla="*/ 794 h 2053"/>
                <a:gd name="T10" fmla="*/ 0 w 1877"/>
                <a:gd name="T11" fmla="*/ 1615 h 2053"/>
                <a:gd name="T12" fmla="*/ 380 w 1877"/>
                <a:gd name="T13" fmla="*/ 2053 h 2053"/>
                <a:gd name="T14" fmla="*/ 1550 w 1877"/>
                <a:gd name="T15" fmla="*/ 2053 h 2053"/>
                <a:gd name="T16" fmla="*/ 1550 w 1877"/>
                <a:gd name="T17" fmla="*/ 2053 h 2053"/>
                <a:gd name="T18" fmla="*/ 1877 w 1877"/>
                <a:gd name="T19" fmla="*/ 1013 h 2053"/>
                <a:gd name="T20" fmla="*/ 1877 w 1877"/>
                <a:gd name="T21" fmla="*/ 794 h 2053"/>
                <a:gd name="T22" fmla="*/ 1877 w 1877"/>
                <a:gd name="T23" fmla="*/ 794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2053">
                  <a:moveTo>
                    <a:pt x="1877" y="794"/>
                  </a:moveTo>
                  <a:cubicBezTo>
                    <a:pt x="1877" y="493"/>
                    <a:pt x="1768" y="192"/>
                    <a:pt x="1577" y="0"/>
                  </a:cubicBezTo>
                  <a:cubicBezTo>
                    <a:pt x="1414" y="165"/>
                    <a:pt x="1196" y="274"/>
                    <a:pt x="952" y="274"/>
                  </a:cubicBezTo>
                  <a:cubicBezTo>
                    <a:pt x="707" y="274"/>
                    <a:pt x="489" y="165"/>
                    <a:pt x="353" y="0"/>
                  </a:cubicBezTo>
                  <a:cubicBezTo>
                    <a:pt x="136" y="192"/>
                    <a:pt x="0" y="493"/>
                    <a:pt x="0" y="794"/>
                  </a:cubicBezTo>
                  <a:cubicBezTo>
                    <a:pt x="0" y="1615"/>
                    <a:pt x="0" y="1615"/>
                    <a:pt x="0" y="1615"/>
                  </a:cubicBezTo>
                  <a:cubicBezTo>
                    <a:pt x="0" y="1862"/>
                    <a:pt x="190" y="2053"/>
                    <a:pt x="380" y="2053"/>
                  </a:cubicBezTo>
                  <a:cubicBezTo>
                    <a:pt x="1550" y="2053"/>
                    <a:pt x="1550" y="2053"/>
                    <a:pt x="1550" y="2053"/>
                  </a:cubicBezTo>
                  <a:cubicBezTo>
                    <a:pt x="1550" y="2053"/>
                    <a:pt x="1550" y="2053"/>
                    <a:pt x="1550" y="2053"/>
                  </a:cubicBezTo>
                  <a:cubicBezTo>
                    <a:pt x="1740" y="2053"/>
                    <a:pt x="1877" y="1944"/>
                    <a:pt x="1877" y="1013"/>
                  </a:cubicBezTo>
                  <a:cubicBezTo>
                    <a:pt x="1877" y="794"/>
                    <a:pt x="1877" y="794"/>
                    <a:pt x="1877" y="794"/>
                  </a:cubicBezTo>
                  <a:cubicBezTo>
                    <a:pt x="1877" y="794"/>
                    <a:pt x="1877" y="794"/>
                    <a:pt x="1877" y="794"/>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sp>
          <p:nvSpPr>
            <p:cNvPr id="47" name="Oval 9"/>
            <p:cNvSpPr>
              <a:spLocks noChangeArrowheads="1"/>
            </p:cNvSpPr>
            <p:nvPr/>
          </p:nvSpPr>
          <p:spPr bwMode="auto">
            <a:xfrm>
              <a:off x="4626582" y="4226808"/>
              <a:ext cx="405103" cy="403278"/>
            </a:xfrm>
            <a:prstGeom prst="ellipse">
              <a:avLst/>
            </a:pr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grpSp>
      <p:grpSp>
        <p:nvGrpSpPr>
          <p:cNvPr id="53" name="Group 52"/>
          <p:cNvGrpSpPr/>
          <p:nvPr/>
        </p:nvGrpSpPr>
        <p:grpSpPr>
          <a:xfrm>
            <a:off x="661771" y="4663861"/>
            <a:ext cx="1825832" cy="1564060"/>
            <a:chOff x="644919" y="4502608"/>
            <a:chExt cx="1926876" cy="1650617"/>
          </a:xfrm>
        </p:grpSpPr>
        <p:sp>
          <p:nvSpPr>
            <p:cNvPr id="63" name="Isosceles Triangle 62"/>
            <p:cNvSpPr/>
            <p:nvPr/>
          </p:nvSpPr>
          <p:spPr bwMode="auto">
            <a:xfrm>
              <a:off x="644919" y="4502608"/>
              <a:ext cx="1926876" cy="1650617"/>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a:ln>
                  <a:solidFill>
                    <a:srgbClr val="FFFFFF">
                      <a:alpha val="0"/>
                    </a:srgbClr>
                  </a:solidFill>
                </a:ln>
                <a:solidFill>
                  <a:srgbClr val="FFFFFF"/>
                </a:solidFill>
              </a:endParaRPr>
            </a:p>
          </p:txBody>
        </p:sp>
        <p:grpSp>
          <p:nvGrpSpPr>
            <p:cNvPr id="52" name="Group 51"/>
            <p:cNvGrpSpPr/>
            <p:nvPr/>
          </p:nvGrpSpPr>
          <p:grpSpPr>
            <a:xfrm>
              <a:off x="987709" y="5108633"/>
              <a:ext cx="1037834" cy="958035"/>
              <a:chOff x="1794674" y="3936014"/>
              <a:chExt cx="1336141" cy="1233406"/>
            </a:xfrm>
          </p:grpSpPr>
          <p:sp>
            <p:nvSpPr>
              <p:cNvPr id="57" name="Freeform 73"/>
              <p:cNvSpPr>
                <a:spLocks noEditPoints="1"/>
              </p:cNvSpPr>
              <p:nvPr/>
            </p:nvSpPr>
            <p:spPr bwMode="black">
              <a:xfrm>
                <a:off x="2423028" y="3936014"/>
                <a:ext cx="707787" cy="683274"/>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grpSp>
            <p:nvGrpSpPr>
              <p:cNvPr id="58" name="Group 57"/>
              <p:cNvGrpSpPr/>
              <p:nvPr/>
            </p:nvGrpSpPr>
            <p:grpSpPr>
              <a:xfrm>
                <a:off x="1794674" y="4339140"/>
                <a:ext cx="821570" cy="830280"/>
                <a:chOff x="5842384" y="3704919"/>
                <a:chExt cx="1032829" cy="1043779"/>
              </a:xfrm>
              <a:solidFill>
                <a:schemeClr val="bg1"/>
              </a:solidFill>
            </p:grpSpPr>
            <p:sp>
              <p:nvSpPr>
                <p:cNvPr id="59" name="Freeform 6"/>
                <p:cNvSpPr>
                  <a:spLocks/>
                </p:cNvSpPr>
                <p:nvPr/>
              </p:nvSpPr>
              <p:spPr bwMode="auto">
                <a:xfrm>
                  <a:off x="5842384" y="4057104"/>
                  <a:ext cx="306564" cy="478095"/>
                </a:xfrm>
                <a:custGeom>
                  <a:avLst/>
                  <a:gdLst>
                    <a:gd name="T0" fmla="*/ 945 w 945"/>
                    <a:gd name="T1" fmla="*/ 0 h 1472"/>
                    <a:gd name="T2" fmla="*/ 945 w 945"/>
                    <a:gd name="T3" fmla="*/ 0 h 1472"/>
                    <a:gd name="T4" fmla="*/ 243 w 945"/>
                    <a:gd name="T5" fmla="*/ 709 h 1472"/>
                    <a:gd name="T6" fmla="*/ 486 w 945"/>
                    <a:gd name="T7" fmla="*/ 1445 h 1472"/>
                    <a:gd name="T8" fmla="*/ 486 w 945"/>
                    <a:gd name="T9" fmla="*/ 927 h 1472"/>
                    <a:gd name="T10" fmla="*/ 945 w 945"/>
                    <a:gd name="T11" fmla="*/ 0 h 1472"/>
                  </a:gdLst>
                  <a:ahLst/>
                  <a:cxnLst>
                    <a:cxn ang="0">
                      <a:pos x="T0" y="T1"/>
                    </a:cxn>
                    <a:cxn ang="0">
                      <a:pos x="T2" y="T3"/>
                    </a:cxn>
                    <a:cxn ang="0">
                      <a:pos x="T4" y="T5"/>
                    </a:cxn>
                    <a:cxn ang="0">
                      <a:pos x="T6" y="T7"/>
                    </a:cxn>
                    <a:cxn ang="0">
                      <a:pos x="T8" y="T9"/>
                    </a:cxn>
                    <a:cxn ang="0">
                      <a:pos x="T10" y="T11"/>
                    </a:cxn>
                  </a:cxnLst>
                  <a:rect l="0" t="0" r="r" b="b"/>
                  <a:pathLst>
                    <a:path w="945" h="1472">
                      <a:moveTo>
                        <a:pt x="945" y="0"/>
                      </a:moveTo>
                      <a:cubicBezTo>
                        <a:pt x="945" y="0"/>
                        <a:pt x="945" y="0"/>
                        <a:pt x="945" y="0"/>
                      </a:cubicBezTo>
                      <a:cubicBezTo>
                        <a:pt x="783" y="55"/>
                        <a:pt x="459" y="191"/>
                        <a:pt x="243" y="709"/>
                      </a:cubicBezTo>
                      <a:cubicBezTo>
                        <a:pt x="0" y="1200"/>
                        <a:pt x="270" y="1472"/>
                        <a:pt x="486" y="1445"/>
                      </a:cubicBezTo>
                      <a:cubicBezTo>
                        <a:pt x="486" y="927"/>
                        <a:pt x="486" y="927"/>
                        <a:pt x="486" y="927"/>
                      </a:cubicBezTo>
                      <a:cubicBezTo>
                        <a:pt x="486" y="545"/>
                        <a:pt x="675" y="191"/>
                        <a:pt x="9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sp>
              <p:nvSpPr>
                <p:cNvPr id="60" name="Freeform 7"/>
                <p:cNvSpPr>
                  <a:spLocks/>
                </p:cNvSpPr>
                <p:nvPr/>
              </p:nvSpPr>
              <p:spPr bwMode="auto">
                <a:xfrm>
                  <a:off x="6564999" y="4057104"/>
                  <a:ext cx="310214" cy="478095"/>
                </a:xfrm>
                <a:custGeom>
                  <a:avLst/>
                  <a:gdLst>
                    <a:gd name="T0" fmla="*/ 0 w 956"/>
                    <a:gd name="T1" fmla="*/ 0 h 1472"/>
                    <a:gd name="T2" fmla="*/ 0 w 956"/>
                    <a:gd name="T3" fmla="*/ 0 h 1472"/>
                    <a:gd name="T4" fmla="*/ 711 w 956"/>
                    <a:gd name="T5" fmla="*/ 709 h 1472"/>
                    <a:gd name="T6" fmla="*/ 465 w 956"/>
                    <a:gd name="T7" fmla="*/ 1445 h 1472"/>
                    <a:gd name="T8" fmla="*/ 465 w 956"/>
                    <a:gd name="T9" fmla="*/ 927 h 1472"/>
                    <a:gd name="T10" fmla="*/ 0 w 956"/>
                    <a:gd name="T11" fmla="*/ 0 h 1472"/>
                  </a:gdLst>
                  <a:ahLst/>
                  <a:cxnLst>
                    <a:cxn ang="0">
                      <a:pos x="T0" y="T1"/>
                    </a:cxn>
                    <a:cxn ang="0">
                      <a:pos x="T2" y="T3"/>
                    </a:cxn>
                    <a:cxn ang="0">
                      <a:pos x="T4" y="T5"/>
                    </a:cxn>
                    <a:cxn ang="0">
                      <a:pos x="T6" y="T7"/>
                    </a:cxn>
                    <a:cxn ang="0">
                      <a:pos x="T8" y="T9"/>
                    </a:cxn>
                    <a:cxn ang="0">
                      <a:pos x="T10" y="T11"/>
                    </a:cxn>
                  </a:cxnLst>
                  <a:rect l="0" t="0" r="r" b="b"/>
                  <a:pathLst>
                    <a:path w="956" h="1472">
                      <a:moveTo>
                        <a:pt x="0" y="0"/>
                      </a:moveTo>
                      <a:cubicBezTo>
                        <a:pt x="0" y="0"/>
                        <a:pt x="0" y="0"/>
                        <a:pt x="0" y="0"/>
                      </a:cubicBezTo>
                      <a:cubicBezTo>
                        <a:pt x="164" y="55"/>
                        <a:pt x="492" y="191"/>
                        <a:pt x="711" y="709"/>
                      </a:cubicBezTo>
                      <a:cubicBezTo>
                        <a:pt x="956" y="1200"/>
                        <a:pt x="683" y="1472"/>
                        <a:pt x="465" y="1445"/>
                      </a:cubicBezTo>
                      <a:cubicBezTo>
                        <a:pt x="465" y="927"/>
                        <a:pt x="465" y="927"/>
                        <a:pt x="465" y="927"/>
                      </a:cubicBezTo>
                      <a:cubicBezTo>
                        <a:pt x="465" y="545"/>
                        <a:pt x="274" y="19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sp>
              <p:nvSpPr>
                <p:cNvPr id="61" name="Freeform 8"/>
                <p:cNvSpPr>
                  <a:spLocks/>
                </p:cNvSpPr>
                <p:nvPr/>
              </p:nvSpPr>
              <p:spPr bwMode="auto">
                <a:xfrm>
                  <a:off x="6052235" y="4080825"/>
                  <a:ext cx="611304" cy="667873"/>
                </a:xfrm>
                <a:custGeom>
                  <a:avLst/>
                  <a:gdLst>
                    <a:gd name="T0" fmla="*/ 1877 w 1877"/>
                    <a:gd name="T1" fmla="*/ 794 h 2053"/>
                    <a:gd name="T2" fmla="*/ 1577 w 1877"/>
                    <a:gd name="T3" fmla="*/ 0 h 2053"/>
                    <a:gd name="T4" fmla="*/ 952 w 1877"/>
                    <a:gd name="T5" fmla="*/ 274 h 2053"/>
                    <a:gd name="T6" fmla="*/ 353 w 1877"/>
                    <a:gd name="T7" fmla="*/ 0 h 2053"/>
                    <a:gd name="T8" fmla="*/ 0 w 1877"/>
                    <a:gd name="T9" fmla="*/ 794 h 2053"/>
                    <a:gd name="T10" fmla="*/ 0 w 1877"/>
                    <a:gd name="T11" fmla="*/ 1615 h 2053"/>
                    <a:gd name="T12" fmla="*/ 380 w 1877"/>
                    <a:gd name="T13" fmla="*/ 2053 h 2053"/>
                    <a:gd name="T14" fmla="*/ 1550 w 1877"/>
                    <a:gd name="T15" fmla="*/ 2053 h 2053"/>
                    <a:gd name="T16" fmla="*/ 1550 w 1877"/>
                    <a:gd name="T17" fmla="*/ 2053 h 2053"/>
                    <a:gd name="T18" fmla="*/ 1877 w 1877"/>
                    <a:gd name="T19" fmla="*/ 1013 h 2053"/>
                    <a:gd name="T20" fmla="*/ 1877 w 1877"/>
                    <a:gd name="T21" fmla="*/ 794 h 2053"/>
                    <a:gd name="T22" fmla="*/ 1877 w 1877"/>
                    <a:gd name="T23" fmla="*/ 794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2053">
                      <a:moveTo>
                        <a:pt x="1877" y="794"/>
                      </a:moveTo>
                      <a:cubicBezTo>
                        <a:pt x="1877" y="493"/>
                        <a:pt x="1768" y="192"/>
                        <a:pt x="1577" y="0"/>
                      </a:cubicBezTo>
                      <a:cubicBezTo>
                        <a:pt x="1414" y="165"/>
                        <a:pt x="1196" y="274"/>
                        <a:pt x="952" y="274"/>
                      </a:cubicBezTo>
                      <a:cubicBezTo>
                        <a:pt x="707" y="274"/>
                        <a:pt x="489" y="165"/>
                        <a:pt x="353" y="0"/>
                      </a:cubicBezTo>
                      <a:cubicBezTo>
                        <a:pt x="136" y="192"/>
                        <a:pt x="0" y="493"/>
                        <a:pt x="0" y="794"/>
                      </a:cubicBezTo>
                      <a:cubicBezTo>
                        <a:pt x="0" y="1615"/>
                        <a:pt x="0" y="1615"/>
                        <a:pt x="0" y="1615"/>
                      </a:cubicBezTo>
                      <a:cubicBezTo>
                        <a:pt x="0" y="1862"/>
                        <a:pt x="190" y="2053"/>
                        <a:pt x="380" y="2053"/>
                      </a:cubicBezTo>
                      <a:cubicBezTo>
                        <a:pt x="1550" y="2053"/>
                        <a:pt x="1550" y="2053"/>
                        <a:pt x="1550" y="2053"/>
                      </a:cubicBezTo>
                      <a:cubicBezTo>
                        <a:pt x="1550" y="2053"/>
                        <a:pt x="1550" y="2053"/>
                        <a:pt x="1550" y="2053"/>
                      </a:cubicBezTo>
                      <a:cubicBezTo>
                        <a:pt x="1740" y="2053"/>
                        <a:pt x="1877" y="1944"/>
                        <a:pt x="1877" y="1013"/>
                      </a:cubicBezTo>
                      <a:cubicBezTo>
                        <a:pt x="1877" y="794"/>
                        <a:pt x="1877" y="794"/>
                        <a:pt x="1877" y="794"/>
                      </a:cubicBezTo>
                      <a:cubicBezTo>
                        <a:pt x="1877" y="794"/>
                        <a:pt x="1877" y="794"/>
                        <a:pt x="1877" y="7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sp>
              <p:nvSpPr>
                <p:cNvPr id="62" name="Oval 9"/>
                <p:cNvSpPr>
                  <a:spLocks noChangeArrowheads="1"/>
                </p:cNvSpPr>
                <p:nvPr/>
              </p:nvSpPr>
              <p:spPr bwMode="auto">
                <a:xfrm>
                  <a:off x="6159897" y="3704919"/>
                  <a:ext cx="405103" cy="40327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grpSp>
        </p:grpSp>
      </p:grpSp>
      <p:grpSp>
        <p:nvGrpSpPr>
          <p:cNvPr id="55" name="Group 54"/>
          <p:cNvGrpSpPr/>
          <p:nvPr/>
        </p:nvGrpSpPr>
        <p:grpSpPr>
          <a:xfrm>
            <a:off x="861077" y="4800701"/>
            <a:ext cx="1427220" cy="1427220"/>
            <a:chOff x="3063950" y="4018671"/>
            <a:chExt cx="1427220" cy="1427220"/>
          </a:xfrm>
        </p:grpSpPr>
        <p:sp>
          <p:nvSpPr>
            <p:cNvPr id="68" name="Oval Blue"/>
            <p:cNvSpPr>
              <a:spLocks noChangeAspect="1"/>
            </p:cNvSpPr>
            <p:nvPr/>
          </p:nvSpPr>
          <p:spPr bwMode="auto">
            <a:xfrm>
              <a:off x="3063950" y="4018671"/>
              <a:ext cx="1427220" cy="1427220"/>
            </a:xfrm>
            <a:prstGeom prst="rect">
              <a:avLst/>
            </a:prstGeom>
            <a:solidFill>
              <a:schemeClr val="accent1">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sp>
          <p:nvSpPr>
            <p:cNvPr id="69" name="Freeform 164"/>
            <p:cNvSpPr>
              <a:spLocks noEditPoints="1"/>
            </p:cNvSpPr>
            <p:nvPr/>
          </p:nvSpPr>
          <p:spPr bwMode="black">
            <a:xfrm>
              <a:off x="3422765" y="4240391"/>
              <a:ext cx="709590" cy="983780"/>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grpSp>
      <p:grpSp>
        <p:nvGrpSpPr>
          <p:cNvPr id="2054" name="Group 2053"/>
          <p:cNvGrpSpPr/>
          <p:nvPr/>
        </p:nvGrpSpPr>
        <p:grpSpPr>
          <a:xfrm>
            <a:off x="7635414" y="1681078"/>
            <a:ext cx="600109" cy="600109"/>
            <a:chOff x="6591300" y="3068386"/>
            <a:chExt cx="600109" cy="600109"/>
          </a:xfrm>
        </p:grpSpPr>
        <p:sp>
          <p:nvSpPr>
            <p:cNvPr id="2051" name="Rectangle 2050"/>
            <p:cNvSpPr/>
            <p:nvPr/>
          </p:nvSpPr>
          <p:spPr bwMode="auto">
            <a:xfrm>
              <a:off x="6591300" y="3068386"/>
              <a:ext cx="600109" cy="60010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1" name="cookie"/>
            <p:cNvSpPr>
              <a:spLocks noEditPoints="1"/>
            </p:cNvSpPr>
            <p:nvPr/>
          </p:nvSpPr>
          <p:spPr bwMode="black">
            <a:xfrm>
              <a:off x="6689342" y="3126952"/>
              <a:ext cx="404024" cy="482976"/>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bg1"/>
            </a:solidFill>
            <a:ln>
              <a:noFill/>
            </a:ln>
          </p:spPr>
          <p:txBody>
            <a:bodyPr vert="horz" wrap="square" lIns="82305" tIns="457200" rIns="82305" bIns="41153" numCol="1" anchor="t" anchorCtr="0" compatLnSpc="1">
              <a:prstTxWarp prst="textNoShape">
                <a:avLst/>
              </a:prstTxWarp>
            </a:bodyPr>
            <a:lstStyle/>
            <a:p>
              <a:pPr algn="ctr" defTabSz="914363"/>
              <a:endParaRPr lang="en-US" sz="1600">
                <a:solidFill>
                  <a:srgbClr val="FFFFFF">
                    <a:alpha val="99000"/>
                  </a:srgbClr>
                </a:solidFill>
              </a:endParaRPr>
            </a:p>
          </p:txBody>
        </p:sp>
      </p:grpSp>
      <p:grpSp>
        <p:nvGrpSpPr>
          <p:cNvPr id="2055" name="Group 2054" hidden="1"/>
          <p:cNvGrpSpPr/>
          <p:nvPr/>
        </p:nvGrpSpPr>
        <p:grpSpPr>
          <a:xfrm>
            <a:off x="2732089" y="1678106"/>
            <a:ext cx="5451549" cy="2056235"/>
            <a:chOff x="2730500" y="1678105"/>
            <a:chExt cx="5451549" cy="2056235"/>
          </a:xfrm>
        </p:grpSpPr>
        <p:sp>
          <p:nvSpPr>
            <p:cNvPr id="27" name="Rectangle 26"/>
            <p:cNvSpPr/>
            <p:nvPr/>
          </p:nvSpPr>
          <p:spPr bwMode="auto">
            <a:xfrm>
              <a:off x="2730500" y="1678105"/>
              <a:ext cx="5451549" cy="2056235"/>
            </a:xfrm>
            <a:prstGeom prst="rect">
              <a:avLst/>
            </a:prstGeom>
            <a:solidFill>
              <a:schemeClr val="bg1">
                <a:lumMod val="85000"/>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91440" numCol="1" spcCol="0" rtlCol="0" anchor="b" anchorCtr="0" compatLnSpc="1">
              <a:prstTxWarp prst="textNoShape">
                <a:avLst/>
              </a:prstTxWarp>
              <a:noAutofit/>
            </a:bodyPr>
            <a:lstStyle/>
            <a:p>
              <a:pPr marL="177800" defTabSz="913788" fontAlgn="base">
                <a:spcAft>
                  <a:spcPts val="600"/>
                </a:spcAft>
              </a:pPr>
              <a:r>
                <a:rPr lang="en-US" sz="1600" dirty="0">
                  <a:solidFill>
                    <a:srgbClr val="DDDDDD">
                      <a:lumMod val="50000"/>
                      <a:alpha val="99000"/>
                    </a:srgbClr>
                  </a:solidFill>
                </a:rPr>
                <a:t>.NET Framework Extension</a:t>
              </a:r>
            </a:p>
            <a:p>
              <a:pPr marL="177800" defTabSz="913788" fontAlgn="base">
                <a:spcAft>
                  <a:spcPts val="600"/>
                </a:spcAft>
              </a:pPr>
              <a:r>
                <a:rPr lang="en-US" sz="1600" dirty="0">
                  <a:solidFill>
                    <a:srgbClr val="DDDDDD">
                      <a:lumMod val="50000"/>
                      <a:alpha val="99000"/>
                    </a:srgbClr>
                  </a:solidFill>
                </a:rPr>
                <a:t>Programming model for claims</a:t>
              </a:r>
            </a:p>
            <a:p>
              <a:pPr marL="177800" defTabSz="913788" fontAlgn="base">
                <a:spcAft>
                  <a:spcPts val="600"/>
                </a:spcAft>
              </a:pPr>
              <a:r>
                <a:rPr lang="en-US" sz="1600" dirty="0">
                  <a:solidFill>
                    <a:srgbClr val="DDDDDD">
                      <a:lumMod val="50000"/>
                      <a:alpha val="99000"/>
                    </a:srgbClr>
                  </a:solidFill>
                </a:rPr>
                <a:t>Visual Studio Tools &amp; Templates</a:t>
              </a:r>
            </a:p>
          </p:txBody>
        </p:sp>
        <p:grpSp>
          <p:nvGrpSpPr>
            <p:cNvPr id="2048" name="Group 2047"/>
            <p:cNvGrpSpPr/>
            <p:nvPr/>
          </p:nvGrpSpPr>
          <p:grpSpPr>
            <a:xfrm>
              <a:off x="3051289" y="1884620"/>
              <a:ext cx="4749617" cy="805310"/>
              <a:chOff x="3051289" y="1884620"/>
              <a:chExt cx="4749617" cy="805310"/>
            </a:xfrm>
          </p:grpSpPr>
          <p:pic>
            <p:nvPicPr>
              <p:cNvPr id="1026" name="Picture 2" descr="E:\PPT\Power Point\Microsoft Clip Organizer\Microsoft Logos\microsoft-dot-net-new-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51289" y="1884620"/>
                <a:ext cx="3032089" cy="748778"/>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p:cNvCxnSpPr/>
              <p:nvPr/>
            </p:nvCxnSpPr>
            <p:spPr>
              <a:xfrm>
                <a:off x="6175734" y="1890662"/>
                <a:ext cx="0" cy="78083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6287875" y="1942033"/>
                <a:ext cx="1513031" cy="747897"/>
              </a:xfrm>
              <a:prstGeom prst="rect">
                <a:avLst/>
              </a:prstGeom>
              <a:noFill/>
            </p:spPr>
            <p:txBody>
              <a:bodyPr wrap="square" lIns="0" tIns="0" rIns="0" bIns="0" rtlCol="0">
                <a:spAutoFit/>
              </a:bodyPr>
              <a:lstStyle/>
              <a:p>
                <a:pPr defTabSz="914363">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Windows Identity Foundation</a:t>
                </a:r>
              </a:p>
            </p:txBody>
          </p:sp>
        </p:grpSp>
      </p:grpSp>
    </p:spTree>
    <p:extLst>
      <p:ext uri="{BB962C8B-B14F-4D97-AF65-F5344CB8AC3E}">
        <p14:creationId xmlns:p14="http://schemas.microsoft.com/office/powerpoint/2010/main" val="20510521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53"/>
                                        </p:tgtEl>
                                        <p:attrNameLst>
                                          <p:attrName>style.visibility</p:attrName>
                                        </p:attrNameLst>
                                      </p:cBhvr>
                                      <p:to>
                                        <p:strVal val="visible"/>
                                      </p:to>
                                    </p:set>
                                    <p:animEffect transition="in" filter="fade">
                                      <p:cBhvr>
                                        <p:cTn id="7" dur="500"/>
                                        <p:tgtEl>
                                          <p:spTgt spid="205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0"/>
                                        </p:tgtEl>
                                        <p:attrNameLst>
                                          <p:attrName>style.visibility</p:attrName>
                                        </p:attrNameLst>
                                      </p:cBhvr>
                                      <p:to>
                                        <p:strVal val="visible"/>
                                      </p:to>
                                    </p:set>
                                    <p:animEffect transition="in" filter="fade">
                                      <p:cBhvr>
                                        <p:cTn id="12" dur="500"/>
                                        <p:tgtEl>
                                          <p:spTgt spid="5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73"/>
                                        </p:tgtEl>
                                        <p:attrNameLst>
                                          <p:attrName>style.visibility</p:attrName>
                                        </p:attrNameLst>
                                      </p:cBhvr>
                                      <p:to>
                                        <p:strVal val="visible"/>
                                      </p:to>
                                    </p:set>
                                    <p:animEffect transition="in" filter="wipe(left)">
                                      <p:cBhvr>
                                        <p:cTn id="17" dur="500"/>
                                        <p:tgtEl>
                                          <p:spTgt spid="73"/>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grpId="0" nodeType="clickEffect">
                                  <p:stCondLst>
                                    <p:cond delay="0"/>
                                  </p:stCondLst>
                                  <p:childTnLst>
                                    <p:set>
                                      <p:cBhvr>
                                        <p:cTn id="21" dur="1" fill="hold">
                                          <p:stCondLst>
                                            <p:cond delay="0"/>
                                          </p:stCondLst>
                                        </p:cTn>
                                        <p:tgtEl>
                                          <p:spTgt spid="2050"/>
                                        </p:tgtEl>
                                        <p:attrNameLst>
                                          <p:attrName>style.visibility</p:attrName>
                                        </p:attrNameLst>
                                      </p:cBhvr>
                                      <p:to>
                                        <p:strVal val="visible"/>
                                      </p:to>
                                    </p:set>
                                    <p:animEffect transition="in" filter="wipe(up)">
                                      <p:cBhvr>
                                        <p:cTn id="22" dur="500"/>
                                        <p:tgtEl>
                                          <p:spTgt spid="205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5"/>
                                        </p:tgtEl>
                                        <p:attrNameLst>
                                          <p:attrName>style.visibility</p:attrName>
                                        </p:attrNameLst>
                                      </p:cBhvr>
                                      <p:to>
                                        <p:strVal val="visible"/>
                                      </p:to>
                                    </p:set>
                                    <p:animEffect transition="in" filter="fade">
                                      <p:cBhvr>
                                        <p:cTn id="27" dur="500"/>
                                        <p:tgtEl>
                                          <p:spTgt spid="55"/>
                                        </p:tgtEl>
                                      </p:cBhvr>
                                    </p:animEffect>
                                  </p:childTnLst>
                                </p:cTn>
                              </p:par>
                            </p:childTnLst>
                          </p:cTn>
                        </p:par>
                      </p:childTnLst>
                    </p:cTn>
                  </p:par>
                  <p:par>
                    <p:cTn id="28" fill="hold">
                      <p:stCondLst>
                        <p:cond delay="indefinite"/>
                      </p:stCondLst>
                      <p:childTnLst>
                        <p:par>
                          <p:cTn id="29" fill="hold">
                            <p:stCondLst>
                              <p:cond delay="0"/>
                            </p:stCondLst>
                            <p:childTnLst>
                              <p:par>
                                <p:cTn id="30" presetID="64" presetClass="path" presetSubtype="0" decel="100000" fill="hold" nodeType="clickEffect">
                                  <p:stCondLst>
                                    <p:cond delay="0"/>
                                  </p:stCondLst>
                                  <p:childTnLst>
                                    <p:animMotion origin="layout" path="M 3.75E-6 4.81481E-6 L 3.75E-6 -0.45533 " pathEditMode="relative" rAng="0" ptsTypes="AA">
                                      <p:cBhvr>
                                        <p:cTn id="31" dur="750" fill="hold"/>
                                        <p:tgtEl>
                                          <p:spTgt spid="55"/>
                                        </p:tgtEl>
                                        <p:attrNameLst>
                                          <p:attrName>ppt_x</p:attrName>
                                          <p:attrName>ppt_y</p:attrName>
                                        </p:attrNameLst>
                                      </p:cBhvr>
                                      <p:rCtr x="0" y="-22778"/>
                                    </p:animMotion>
                                  </p:childTnLst>
                                </p:cTn>
                              </p:par>
                            </p:childTnLst>
                          </p:cTn>
                        </p:par>
                      </p:childTnLst>
                    </p:cTn>
                  </p:par>
                  <p:par>
                    <p:cTn id="32" fill="hold">
                      <p:stCondLst>
                        <p:cond delay="indefinite"/>
                      </p:stCondLst>
                      <p:childTnLst>
                        <p:par>
                          <p:cTn id="33" fill="hold">
                            <p:stCondLst>
                              <p:cond delay="0"/>
                            </p:stCondLst>
                            <p:childTnLst>
                              <p:par>
                                <p:cTn id="34" presetID="63" presetClass="path" presetSubtype="0" decel="100000" fill="hold" nodeType="clickEffect">
                                  <p:stCondLst>
                                    <p:cond delay="250"/>
                                  </p:stCondLst>
                                  <p:childTnLst>
                                    <p:animMotion origin="layout" path="M 3.75E-6 -0.45533 L 0.37005 -0.45533 " pathEditMode="relative" rAng="0" ptsTypes="AA">
                                      <p:cBhvr>
                                        <p:cTn id="35" dur="1500" fill="hold"/>
                                        <p:tgtEl>
                                          <p:spTgt spid="55"/>
                                        </p:tgtEl>
                                        <p:attrNameLst>
                                          <p:attrName>ppt_x</p:attrName>
                                          <p:attrName>ppt_y</p:attrName>
                                        </p:attrNameLst>
                                      </p:cBhvr>
                                      <p:rCtr x="18503" y="0"/>
                                    </p:animMotion>
                                  </p:childTnLst>
                                </p:cTn>
                              </p:par>
                              <p:par>
                                <p:cTn id="36" presetID="22" presetClass="entr" presetSubtype="8" fill="hold" grpId="0" nodeType="withEffect">
                                  <p:stCondLst>
                                    <p:cond delay="0"/>
                                  </p:stCondLst>
                                  <p:childTnLst>
                                    <p:set>
                                      <p:cBhvr>
                                        <p:cTn id="37" dur="1" fill="hold">
                                          <p:stCondLst>
                                            <p:cond delay="0"/>
                                          </p:stCondLst>
                                        </p:cTn>
                                        <p:tgtEl>
                                          <p:spTgt spid="74"/>
                                        </p:tgtEl>
                                        <p:attrNameLst>
                                          <p:attrName>style.visibility</p:attrName>
                                        </p:attrNameLst>
                                      </p:cBhvr>
                                      <p:to>
                                        <p:strVal val="visible"/>
                                      </p:to>
                                    </p:set>
                                    <p:animEffect transition="in" filter="wipe(left)">
                                      <p:cBhvr>
                                        <p:cTn id="38" dur="750"/>
                                        <p:tgtEl>
                                          <p:spTgt spid="74"/>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21"/>
                                        </p:tgtEl>
                                        <p:attrNameLst>
                                          <p:attrName>style.visibility</p:attrName>
                                        </p:attrNameLst>
                                      </p:cBhvr>
                                      <p:to>
                                        <p:strVal val="visible"/>
                                      </p:to>
                                    </p:set>
                                    <p:animEffect transition="in" filter="fade">
                                      <p:cBhvr>
                                        <p:cTn id="43" dur="500"/>
                                        <p:tgtEl>
                                          <p:spTgt spid="21"/>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2054"/>
                                        </p:tgtEl>
                                        <p:attrNameLst>
                                          <p:attrName>style.visibility</p:attrName>
                                        </p:attrNameLst>
                                      </p:cBhvr>
                                      <p:to>
                                        <p:strVal val="visible"/>
                                      </p:to>
                                    </p:set>
                                    <p:animEffect transition="in" filter="fade">
                                      <p:cBhvr>
                                        <p:cTn id="48" dur="500"/>
                                        <p:tgtEl>
                                          <p:spTgt spid="2054"/>
                                        </p:tgtEl>
                                      </p:cBhvr>
                                    </p:animEffect>
                                  </p:childTnLst>
                                </p:cTn>
                              </p:par>
                              <p:par>
                                <p:cTn id="49" presetID="35" presetClass="path" presetSubtype="0" decel="100000" fill="hold" nodeType="withEffect">
                                  <p:stCondLst>
                                    <p:cond delay="250"/>
                                  </p:stCondLst>
                                  <p:childTnLst>
                                    <p:animMotion origin="layout" path="M -1.25E-6 1.11111E-6 L -0.45989 1.11111E-6 " pathEditMode="relative" rAng="0" ptsTypes="AA">
                                      <p:cBhvr>
                                        <p:cTn id="50" dur="1500" fill="hold"/>
                                        <p:tgtEl>
                                          <p:spTgt spid="2054"/>
                                        </p:tgtEl>
                                        <p:attrNameLst>
                                          <p:attrName>ppt_x</p:attrName>
                                          <p:attrName>ppt_y</p:attrName>
                                        </p:attrNameLst>
                                      </p:cBhvr>
                                      <p:rCtr x="-22995" y="0"/>
                                    </p:animMotion>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26"/>
                                        </p:tgtEl>
                                        <p:attrNameLst>
                                          <p:attrName>style.visibility</p:attrName>
                                        </p:attrNameLst>
                                      </p:cBhvr>
                                      <p:to>
                                        <p:strVal val="visible"/>
                                      </p:to>
                                    </p:set>
                                    <p:animEffect transition="in" filter="fade">
                                      <p:cBhvr>
                                        <p:cTn id="55" dur="500"/>
                                        <p:tgtEl>
                                          <p:spTgt spid="26"/>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2055"/>
                                        </p:tgtEl>
                                        <p:attrNameLst>
                                          <p:attrName>style.visibility</p:attrName>
                                        </p:attrNameLst>
                                      </p:cBhvr>
                                      <p:to>
                                        <p:strVal val="visible"/>
                                      </p:to>
                                    </p:set>
                                    <p:animEffect transition="in" filter="fade">
                                      <p:cBhvr>
                                        <p:cTn id="60" dur="500"/>
                                        <p:tgtEl>
                                          <p:spTgt spid="20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50" grpId="0" animBg="1"/>
      <p:bldP spid="73" grpId="0" animBg="1"/>
      <p:bldP spid="74" grpId="0" animBg="1"/>
      <p:bldP spid="21" grpId="0" animBg="1"/>
      <p:bldP spid="26"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 name="Oval Blue"/>
          <p:cNvSpPr>
            <a:spLocks noChangeAspect="1"/>
          </p:cNvSpPr>
          <p:nvPr/>
        </p:nvSpPr>
        <p:spPr bwMode="auto">
          <a:xfrm rot="5400000">
            <a:off x="1193875" y="5584636"/>
            <a:ext cx="568284" cy="1938386"/>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grpSp>
        <p:nvGrpSpPr>
          <p:cNvPr id="100" name="Group 99"/>
          <p:cNvGrpSpPr/>
          <p:nvPr/>
        </p:nvGrpSpPr>
        <p:grpSpPr>
          <a:xfrm>
            <a:off x="1847052" y="4294579"/>
            <a:ext cx="8295050" cy="2562667"/>
            <a:chOff x="1845464" y="4294578"/>
            <a:chExt cx="8295050" cy="2562667"/>
          </a:xfrm>
        </p:grpSpPr>
        <p:sp>
          <p:nvSpPr>
            <p:cNvPr id="78" name="Rectangle 77"/>
            <p:cNvSpPr/>
            <p:nvPr/>
          </p:nvSpPr>
          <p:spPr bwMode="auto">
            <a:xfrm rot="16200000">
              <a:off x="4711655" y="1428387"/>
              <a:ext cx="2562667" cy="8295050"/>
            </a:xfrm>
            <a:prstGeom prst="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7" name="TextBox 56"/>
            <p:cNvSpPr txBox="1"/>
            <p:nvPr/>
          </p:nvSpPr>
          <p:spPr>
            <a:xfrm rot="16200000">
              <a:off x="1126424" y="5391248"/>
              <a:ext cx="1838185" cy="369328"/>
            </a:xfrm>
            <a:prstGeom prst="rect">
              <a:avLst/>
            </a:prstGeom>
            <a:noFill/>
          </p:spPr>
          <p:txBody>
            <a:bodyPr wrap="none" lIns="91435" tIns="45718" rIns="91435" bIns="45718" rtlCol="0">
              <a:spAutoFit/>
            </a:bodyPr>
            <a:lstStyle/>
            <a:p>
              <a:pPr algn="ctr" defTabSz="914363">
                <a:lnSpc>
                  <a:spcPct val="90000"/>
                </a:lnSpc>
              </a:pPr>
              <a:r>
                <a:rPr lang="en-US" sz="2000" dirty="0">
                  <a:ln>
                    <a:solidFill>
                      <a:srgbClr val="FFFFFF">
                        <a:alpha val="0"/>
                      </a:srgbClr>
                    </a:solidFill>
                  </a:ln>
                  <a:solidFill>
                    <a:srgbClr val="00AEEF">
                      <a:alpha val="99000"/>
                    </a:srgbClr>
                  </a:solidFill>
                  <a:latin typeface="Segoe UI Light" pitchFamily="34" charset="0"/>
                </a:rPr>
                <a:t>Server 2 Server</a:t>
              </a:r>
            </a:p>
          </p:txBody>
        </p:sp>
      </p:grpSp>
      <p:grpSp>
        <p:nvGrpSpPr>
          <p:cNvPr id="4124" name="Group 4123"/>
          <p:cNvGrpSpPr/>
          <p:nvPr/>
        </p:nvGrpSpPr>
        <p:grpSpPr>
          <a:xfrm>
            <a:off x="5114525" y="720178"/>
            <a:ext cx="2593901" cy="6137068"/>
            <a:chOff x="5112936" y="215900"/>
            <a:chExt cx="2593901" cy="6641346"/>
          </a:xfrm>
        </p:grpSpPr>
        <p:sp>
          <p:nvSpPr>
            <p:cNvPr id="74" name="Rectangle 73"/>
            <p:cNvSpPr/>
            <p:nvPr/>
          </p:nvSpPr>
          <p:spPr bwMode="auto">
            <a:xfrm>
              <a:off x="5135636" y="215900"/>
              <a:ext cx="2571201" cy="6641346"/>
            </a:xfrm>
            <a:prstGeom prst="rect">
              <a:avLst/>
            </a:prstGeom>
            <a:solidFill>
              <a:schemeClr val="accent2">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200" dirty="0">
                <a:gradFill>
                  <a:gsLst>
                    <a:gs pos="0">
                      <a:srgbClr val="FFFFFF"/>
                    </a:gs>
                    <a:gs pos="100000">
                      <a:srgbClr val="FFFFFF"/>
                    </a:gs>
                  </a:gsLst>
                  <a:lin ang="5400000" scaled="0"/>
                </a:gradFill>
              </a:endParaRPr>
            </a:p>
          </p:txBody>
        </p:sp>
        <p:sp>
          <p:nvSpPr>
            <p:cNvPr id="53" name="TextBox 52"/>
            <p:cNvSpPr txBox="1"/>
            <p:nvPr/>
          </p:nvSpPr>
          <p:spPr>
            <a:xfrm>
              <a:off x="5112936" y="215900"/>
              <a:ext cx="2536838" cy="309747"/>
            </a:xfrm>
            <a:prstGeom prst="rect">
              <a:avLst/>
            </a:prstGeom>
            <a:noFill/>
          </p:spPr>
          <p:txBody>
            <a:bodyPr wrap="none" lIns="91435" tIns="45718" rIns="91435" bIns="45718" rtlCol="0">
              <a:spAutoFit/>
            </a:bodyPr>
            <a:lstStyle/>
            <a:p>
              <a:pPr algn="ctr" defTabSz="914363">
                <a:lnSpc>
                  <a:spcPct val="90000"/>
                </a:lnSpc>
              </a:pPr>
              <a:r>
                <a:rPr lang="en-US" sz="1400" dirty="0">
                  <a:ln>
                    <a:solidFill>
                      <a:srgbClr val="FFFFFF">
                        <a:alpha val="0"/>
                      </a:srgbClr>
                    </a:solidFill>
                  </a:ln>
                  <a:solidFill>
                    <a:srgbClr val="292929">
                      <a:lumMod val="75000"/>
                      <a:lumOff val="25000"/>
                      <a:alpha val="99000"/>
                    </a:srgbClr>
                  </a:solidFill>
                  <a:latin typeface="Segoe UI Light" pitchFamily="34" charset="0"/>
                </a:rPr>
                <a:t>Active Directory Access Control</a:t>
              </a:r>
            </a:p>
          </p:txBody>
        </p:sp>
      </p:grpSp>
      <p:sp>
        <p:nvSpPr>
          <p:cNvPr id="5" name="Title 4"/>
          <p:cNvSpPr>
            <a:spLocks noGrp="1"/>
          </p:cNvSpPr>
          <p:nvPr>
            <p:ph type="title"/>
          </p:nvPr>
        </p:nvSpPr>
        <p:spPr>
          <a:xfrm>
            <a:off x="275178" y="43330"/>
            <a:ext cx="9184561" cy="747897"/>
          </a:xfrm>
        </p:spPr>
        <p:txBody>
          <a:bodyPr/>
          <a:lstStyle/>
          <a:p>
            <a:r>
              <a:rPr lang="en-US" spc="0" dirty="0"/>
              <a:t>Active Directory Access Control</a:t>
            </a:r>
          </a:p>
        </p:txBody>
      </p:sp>
      <p:sp>
        <p:nvSpPr>
          <p:cNvPr id="21" name="TextBox 20"/>
          <p:cNvSpPr txBox="1"/>
          <p:nvPr/>
        </p:nvSpPr>
        <p:spPr>
          <a:xfrm>
            <a:off x="3899952" y="3915218"/>
            <a:ext cx="1935012" cy="307773"/>
          </a:xfrm>
          <a:prstGeom prst="rect">
            <a:avLst/>
          </a:prstGeom>
          <a:noFill/>
        </p:spPr>
        <p:txBody>
          <a:bodyPr wrap="none" lIns="0" tIns="45718" rIns="91435" bIns="45718" rtlCol="0">
            <a:spAutoFit/>
          </a:bodyPr>
          <a:lstStyle/>
          <a:p>
            <a:pPr defTabSz="914363"/>
            <a:r>
              <a:rPr lang="en-US" sz="1400" dirty="0">
                <a:ln>
                  <a:solidFill>
                    <a:srgbClr val="FFFFFF">
                      <a:alpha val="0"/>
                    </a:srgbClr>
                  </a:solidFill>
                </a:ln>
                <a:gradFill>
                  <a:gsLst>
                    <a:gs pos="0">
                      <a:srgbClr val="595959"/>
                    </a:gs>
                    <a:gs pos="86000">
                      <a:srgbClr val="595959"/>
                    </a:gs>
                  </a:gsLst>
                  <a:lin ang="5400000" scaled="0"/>
                </a:gradFill>
              </a:rPr>
              <a:t>ADFS2 . WS-Federation</a:t>
            </a:r>
          </a:p>
        </p:txBody>
      </p:sp>
      <p:grpSp>
        <p:nvGrpSpPr>
          <p:cNvPr id="4125" name="Group 4124"/>
          <p:cNvGrpSpPr/>
          <p:nvPr/>
        </p:nvGrpSpPr>
        <p:grpSpPr>
          <a:xfrm>
            <a:off x="7795511" y="720178"/>
            <a:ext cx="2346589" cy="6137068"/>
            <a:chOff x="7793922" y="215900"/>
            <a:chExt cx="2346589" cy="6641346"/>
          </a:xfrm>
        </p:grpSpPr>
        <p:sp>
          <p:nvSpPr>
            <p:cNvPr id="2" name="Rectangle 1"/>
            <p:cNvSpPr/>
            <p:nvPr/>
          </p:nvSpPr>
          <p:spPr bwMode="auto">
            <a:xfrm>
              <a:off x="7793922" y="215900"/>
              <a:ext cx="2346589" cy="6641346"/>
            </a:xfrm>
            <a:prstGeom prst="rect">
              <a:avLst/>
            </a:prstGeom>
            <a:solidFill>
              <a:schemeClr val="accent2">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200" dirty="0">
                <a:gradFill>
                  <a:gsLst>
                    <a:gs pos="0">
                      <a:srgbClr val="FFFFFF"/>
                    </a:gs>
                    <a:gs pos="100000">
                      <a:srgbClr val="FFFFFF"/>
                    </a:gs>
                  </a:gsLst>
                  <a:lin ang="5400000" scaled="0"/>
                </a:gradFill>
              </a:endParaRPr>
            </a:p>
          </p:txBody>
        </p:sp>
        <p:sp>
          <p:nvSpPr>
            <p:cNvPr id="52" name="TextBox 51"/>
            <p:cNvSpPr txBox="1"/>
            <p:nvPr/>
          </p:nvSpPr>
          <p:spPr>
            <a:xfrm>
              <a:off x="8091023" y="215900"/>
              <a:ext cx="1759959" cy="369699"/>
            </a:xfrm>
            <a:prstGeom prst="rect">
              <a:avLst/>
            </a:prstGeom>
            <a:noFill/>
          </p:spPr>
          <p:txBody>
            <a:bodyPr wrap="none" lIns="91435" tIns="45718" rIns="91435" bIns="45718" rtlCol="0">
              <a:spAutoFit/>
            </a:bodyPr>
            <a:lstStyle/>
            <a:p>
              <a:pPr algn="ctr" defTabSz="914363">
                <a:lnSpc>
                  <a:spcPct val="90000"/>
                </a:lnSpc>
              </a:pPr>
              <a:r>
                <a:rPr lang="en-US" dirty="0">
                  <a:ln>
                    <a:solidFill>
                      <a:srgbClr val="FFFFFF">
                        <a:alpha val="0"/>
                      </a:srgbClr>
                    </a:solidFill>
                  </a:ln>
                  <a:solidFill>
                    <a:srgbClr val="292929">
                      <a:lumMod val="75000"/>
                      <a:lumOff val="25000"/>
                      <a:alpha val="99000"/>
                    </a:srgbClr>
                  </a:solidFill>
                  <a:latin typeface="Segoe UI Light" pitchFamily="34" charset="0"/>
                </a:rPr>
                <a:t>Your Application</a:t>
              </a:r>
            </a:p>
          </p:txBody>
        </p:sp>
      </p:grpSp>
      <p:grpSp>
        <p:nvGrpSpPr>
          <p:cNvPr id="4123" name="Group 4122"/>
          <p:cNvGrpSpPr/>
          <p:nvPr/>
        </p:nvGrpSpPr>
        <p:grpSpPr>
          <a:xfrm>
            <a:off x="2517913" y="720178"/>
            <a:ext cx="2583260" cy="6137068"/>
            <a:chOff x="3316341" y="215900"/>
            <a:chExt cx="1783243" cy="6641346"/>
          </a:xfrm>
        </p:grpSpPr>
        <p:sp>
          <p:nvSpPr>
            <p:cNvPr id="75" name="Rectangle 74"/>
            <p:cNvSpPr/>
            <p:nvPr/>
          </p:nvSpPr>
          <p:spPr bwMode="auto">
            <a:xfrm>
              <a:off x="3316341" y="215900"/>
              <a:ext cx="1732331" cy="6641346"/>
            </a:xfrm>
            <a:prstGeom prst="rect">
              <a:avLst/>
            </a:prstGeom>
            <a:solidFill>
              <a:schemeClr val="accent2">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4" name="TextBox 53"/>
            <p:cNvSpPr txBox="1"/>
            <p:nvPr/>
          </p:nvSpPr>
          <p:spPr>
            <a:xfrm>
              <a:off x="3316341" y="215900"/>
              <a:ext cx="1783243" cy="369699"/>
            </a:xfrm>
            <a:prstGeom prst="rect">
              <a:avLst/>
            </a:prstGeom>
            <a:noFill/>
          </p:spPr>
          <p:txBody>
            <a:bodyPr wrap="square" lIns="91435" tIns="45718" rIns="91435" bIns="45718" rtlCol="0">
              <a:spAutoFit/>
            </a:bodyPr>
            <a:lstStyle/>
            <a:p>
              <a:pPr algn="ctr" defTabSz="914363">
                <a:lnSpc>
                  <a:spcPct val="90000"/>
                </a:lnSpc>
              </a:pPr>
              <a:r>
                <a:rPr lang="en-US" dirty="0">
                  <a:ln>
                    <a:solidFill>
                      <a:srgbClr val="FFFFFF">
                        <a:alpha val="0"/>
                      </a:srgbClr>
                    </a:solidFill>
                  </a:ln>
                  <a:solidFill>
                    <a:srgbClr val="292929">
                      <a:lumMod val="75000"/>
                      <a:lumOff val="25000"/>
                      <a:alpha val="99000"/>
                    </a:srgbClr>
                  </a:solidFill>
                  <a:latin typeface="Segoe UI Light" pitchFamily="34" charset="0"/>
                </a:rPr>
                <a:t>Identity Providers</a:t>
              </a:r>
            </a:p>
          </p:txBody>
        </p:sp>
      </p:grpSp>
      <p:grpSp>
        <p:nvGrpSpPr>
          <p:cNvPr id="4126" name="Group 4125"/>
          <p:cNvGrpSpPr/>
          <p:nvPr/>
        </p:nvGrpSpPr>
        <p:grpSpPr>
          <a:xfrm>
            <a:off x="1847054" y="1024235"/>
            <a:ext cx="8295053" cy="3183259"/>
            <a:chOff x="1845465" y="839966"/>
            <a:chExt cx="8295053" cy="3367528"/>
          </a:xfrm>
        </p:grpSpPr>
        <p:sp>
          <p:nvSpPr>
            <p:cNvPr id="76" name="Rectangle 75"/>
            <p:cNvSpPr/>
            <p:nvPr/>
          </p:nvSpPr>
          <p:spPr bwMode="auto">
            <a:xfrm rot="16200000">
              <a:off x="4309228" y="-1623797"/>
              <a:ext cx="3367528" cy="8295053"/>
            </a:xfrm>
            <a:prstGeom prst="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5" name="TextBox 54"/>
            <p:cNvSpPr txBox="1"/>
            <p:nvPr/>
          </p:nvSpPr>
          <p:spPr>
            <a:xfrm rot="16200000">
              <a:off x="1102660" y="2339065"/>
              <a:ext cx="1885714" cy="369328"/>
            </a:xfrm>
            <a:prstGeom prst="rect">
              <a:avLst/>
            </a:prstGeom>
            <a:noFill/>
          </p:spPr>
          <p:txBody>
            <a:bodyPr wrap="none" lIns="91435" tIns="45718" rIns="91435" bIns="45718" rtlCol="0">
              <a:spAutoFit/>
            </a:bodyPr>
            <a:lstStyle/>
            <a:p>
              <a:pPr algn="ctr" defTabSz="914363">
                <a:lnSpc>
                  <a:spcPct val="90000"/>
                </a:lnSpc>
              </a:pPr>
              <a:r>
                <a:rPr lang="en-US" sz="2000" dirty="0">
                  <a:ln>
                    <a:solidFill>
                      <a:srgbClr val="FFFFFF">
                        <a:alpha val="0"/>
                      </a:srgbClr>
                    </a:solidFill>
                  </a:ln>
                  <a:solidFill>
                    <a:srgbClr val="00AEEF">
                      <a:alpha val="99000"/>
                    </a:srgbClr>
                  </a:solidFill>
                  <a:latin typeface="Segoe UI Light" pitchFamily="34" charset="0"/>
                </a:rPr>
                <a:t>Browser-based</a:t>
              </a:r>
            </a:p>
          </p:txBody>
        </p:sp>
      </p:grpSp>
      <p:grpSp>
        <p:nvGrpSpPr>
          <p:cNvPr id="4127" name="Group 4126"/>
          <p:cNvGrpSpPr/>
          <p:nvPr/>
        </p:nvGrpSpPr>
        <p:grpSpPr>
          <a:xfrm>
            <a:off x="2517912" y="4289916"/>
            <a:ext cx="7624188" cy="949435"/>
            <a:chOff x="2516324" y="4289915"/>
            <a:chExt cx="7624188" cy="949435"/>
          </a:xfrm>
        </p:grpSpPr>
        <p:sp>
          <p:nvSpPr>
            <p:cNvPr id="77" name="Rectangle 76"/>
            <p:cNvSpPr/>
            <p:nvPr/>
          </p:nvSpPr>
          <p:spPr bwMode="auto">
            <a:xfrm rot="16200000">
              <a:off x="5853701" y="952539"/>
              <a:ext cx="949435" cy="7624187"/>
            </a:xfrm>
            <a:prstGeom prst="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6" name="TextBox 55"/>
            <p:cNvSpPr txBox="1"/>
            <p:nvPr/>
          </p:nvSpPr>
          <p:spPr>
            <a:xfrm rot="16200000">
              <a:off x="2442589" y="4441469"/>
              <a:ext cx="793797" cy="646327"/>
            </a:xfrm>
            <a:prstGeom prst="rect">
              <a:avLst/>
            </a:prstGeom>
            <a:noFill/>
          </p:spPr>
          <p:txBody>
            <a:bodyPr wrap="none" lIns="91435" tIns="45718" rIns="91435" bIns="45718" rtlCol="0">
              <a:spAutoFit/>
            </a:bodyPr>
            <a:lstStyle/>
            <a:p>
              <a:pPr algn="ctr" defTabSz="914363">
                <a:lnSpc>
                  <a:spcPct val="90000"/>
                </a:lnSpc>
              </a:pPr>
              <a:r>
                <a:rPr lang="en-US" sz="2000" dirty="0">
                  <a:ln>
                    <a:solidFill>
                      <a:srgbClr val="FFFFFF">
                        <a:alpha val="0"/>
                      </a:srgbClr>
                    </a:solidFill>
                  </a:ln>
                  <a:solidFill>
                    <a:srgbClr val="00AEEF">
                      <a:alpha val="99000"/>
                    </a:srgbClr>
                  </a:solidFill>
                  <a:latin typeface="Segoe UI Light" pitchFamily="34" charset="0"/>
                </a:rPr>
                <a:t>Rich</a:t>
              </a:r>
            </a:p>
            <a:p>
              <a:pPr algn="ctr" defTabSz="914363">
                <a:lnSpc>
                  <a:spcPct val="90000"/>
                </a:lnSpc>
              </a:pPr>
              <a:r>
                <a:rPr lang="en-US" sz="2000" dirty="0">
                  <a:ln>
                    <a:solidFill>
                      <a:srgbClr val="FFFFFF">
                        <a:alpha val="0"/>
                      </a:srgbClr>
                    </a:solidFill>
                  </a:ln>
                  <a:solidFill>
                    <a:srgbClr val="00AEEF">
                      <a:alpha val="99000"/>
                    </a:srgbClr>
                  </a:solidFill>
                  <a:latin typeface="Segoe UI Light" pitchFamily="34" charset="0"/>
                </a:rPr>
                <a:t>Client</a:t>
              </a:r>
            </a:p>
          </p:txBody>
        </p:sp>
      </p:grpSp>
      <p:grpSp>
        <p:nvGrpSpPr>
          <p:cNvPr id="4097" name="Group 4096"/>
          <p:cNvGrpSpPr/>
          <p:nvPr/>
        </p:nvGrpSpPr>
        <p:grpSpPr>
          <a:xfrm>
            <a:off x="5658556" y="1952780"/>
            <a:ext cx="1534384" cy="1097434"/>
            <a:chOff x="6127849" y="2121178"/>
            <a:chExt cx="1534384" cy="1097434"/>
          </a:xfrm>
        </p:grpSpPr>
        <p:sp>
          <p:nvSpPr>
            <p:cNvPr id="24" name="TextBox 23"/>
            <p:cNvSpPr txBox="1"/>
            <p:nvPr/>
          </p:nvSpPr>
          <p:spPr>
            <a:xfrm>
              <a:off x="6127849" y="2880062"/>
              <a:ext cx="1534384" cy="338550"/>
            </a:xfrm>
            <a:prstGeom prst="rect">
              <a:avLst/>
            </a:prstGeom>
            <a:noFill/>
          </p:spPr>
          <p:txBody>
            <a:bodyPr wrap="none" lIns="91435" tIns="45718" rIns="91435" bIns="45718" rtlCol="0">
              <a:spAutoFit/>
            </a:bodyPr>
            <a:lstStyle/>
            <a:p>
              <a:pPr algn="ctr" defTabSz="914363"/>
              <a:r>
                <a:rPr lang="en-US" sz="1600" dirty="0">
                  <a:ln>
                    <a:solidFill>
                      <a:srgbClr val="FFFFFF">
                        <a:alpha val="0"/>
                      </a:srgbClr>
                    </a:solidFill>
                  </a:ln>
                  <a:gradFill>
                    <a:gsLst>
                      <a:gs pos="0">
                        <a:srgbClr val="595959"/>
                      </a:gs>
                      <a:gs pos="86000">
                        <a:srgbClr val="595959"/>
                      </a:gs>
                    </a:gsLst>
                    <a:lin ang="5400000" scaled="0"/>
                  </a:gradFill>
                </a:rPr>
                <a:t>WS-Federation</a:t>
              </a:r>
            </a:p>
          </p:txBody>
        </p:sp>
        <p:sp>
          <p:nvSpPr>
            <p:cNvPr id="103" name="Freeform 7"/>
            <p:cNvSpPr>
              <a:spLocks noEditPoints="1"/>
            </p:cNvSpPr>
            <p:nvPr/>
          </p:nvSpPr>
          <p:spPr bwMode="auto">
            <a:xfrm>
              <a:off x="6411010" y="2121178"/>
              <a:ext cx="968062" cy="839770"/>
            </a:xfrm>
            <a:custGeom>
              <a:avLst/>
              <a:gdLst>
                <a:gd name="T0" fmla="*/ 611 w 1048"/>
                <a:gd name="T1" fmla="*/ 376 h 909"/>
                <a:gd name="T2" fmla="*/ 542 w 1048"/>
                <a:gd name="T3" fmla="*/ 340 h 909"/>
                <a:gd name="T4" fmla="*/ 438 w 1048"/>
                <a:gd name="T5" fmla="*/ 411 h 909"/>
                <a:gd name="T6" fmla="*/ 592 w 1048"/>
                <a:gd name="T7" fmla="*/ 409 h 909"/>
                <a:gd name="T8" fmla="*/ 242 w 1048"/>
                <a:gd name="T9" fmla="*/ 435 h 909"/>
                <a:gd name="T10" fmla="*/ 197 w 1048"/>
                <a:gd name="T11" fmla="*/ 435 h 909"/>
                <a:gd name="T12" fmla="*/ 386 w 1048"/>
                <a:gd name="T13" fmla="*/ 735 h 909"/>
                <a:gd name="T14" fmla="*/ 374 w 1048"/>
                <a:gd name="T15" fmla="*/ 578 h 909"/>
                <a:gd name="T16" fmla="*/ 222 w 1048"/>
                <a:gd name="T17" fmla="*/ 472 h 909"/>
                <a:gd name="T18" fmla="*/ 152 w 1048"/>
                <a:gd name="T19" fmla="*/ 447 h 909"/>
                <a:gd name="T20" fmla="*/ 119 w 1048"/>
                <a:gd name="T21" fmla="*/ 427 h 909"/>
                <a:gd name="T22" fmla="*/ 177 w 1048"/>
                <a:gd name="T23" fmla="*/ 385 h 909"/>
                <a:gd name="T24" fmla="*/ 201 w 1048"/>
                <a:gd name="T25" fmla="*/ 365 h 909"/>
                <a:gd name="T26" fmla="*/ 292 w 1048"/>
                <a:gd name="T27" fmla="*/ 213 h 909"/>
                <a:gd name="T28" fmla="*/ 218 w 1048"/>
                <a:gd name="T29" fmla="*/ 246 h 909"/>
                <a:gd name="T30" fmla="*/ 230 w 1048"/>
                <a:gd name="T31" fmla="*/ 164 h 909"/>
                <a:gd name="T32" fmla="*/ 251 w 1048"/>
                <a:gd name="T33" fmla="*/ 156 h 909"/>
                <a:gd name="T34" fmla="*/ 275 w 1048"/>
                <a:gd name="T35" fmla="*/ 123 h 909"/>
                <a:gd name="T36" fmla="*/ 271 w 1048"/>
                <a:gd name="T37" fmla="*/ 57 h 909"/>
                <a:gd name="T38" fmla="*/ 275 w 1048"/>
                <a:gd name="T39" fmla="*/ 73 h 909"/>
                <a:gd name="T40" fmla="*/ 329 w 1048"/>
                <a:gd name="T41" fmla="*/ 164 h 909"/>
                <a:gd name="T42" fmla="*/ 440 w 1048"/>
                <a:gd name="T43" fmla="*/ 114 h 909"/>
                <a:gd name="T44" fmla="*/ 604 w 1048"/>
                <a:gd name="T45" fmla="*/ 114 h 909"/>
                <a:gd name="T46" fmla="*/ 567 w 1048"/>
                <a:gd name="T47" fmla="*/ 197 h 909"/>
                <a:gd name="T48" fmla="*/ 591 w 1048"/>
                <a:gd name="T49" fmla="*/ 188 h 909"/>
                <a:gd name="T50" fmla="*/ 608 w 1048"/>
                <a:gd name="T51" fmla="*/ 180 h 909"/>
                <a:gd name="T52" fmla="*/ 612 w 1048"/>
                <a:gd name="T53" fmla="*/ 213 h 909"/>
                <a:gd name="T54" fmla="*/ 575 w 1048"/>
                <a:gd name="T55" fmla="*/ 234 h 909"/>
                <a:gd name="T56" fmla="*/ 542 w 1048"/>
                <a:gd name="T57" fmla="*/ 242 h 909"/>
                <a:gd name="T58" fmla="*/ 497 w 1048"/>
                <a:gd name="T59" fmla="*/ 295 h 909"/>
                <a:gd name="T60" fmla="*/ 526 w 1048"/>
                <a:gd name="T61" fmla="*/ 328 h 909"/>
                <a:gd name="T62" fmla="*/ 571 w 1048"/>
                <a:gd name="T63" fmla="*/ 303 h 909"/>
                <a:gd name="T64" fmla="*/ 600 w 1048"/>
                <a:gd name="T65" fmla="*/ 320 h 909"/>
                <a:gd name="T66" fmla="*/ 624 w 1048"/>
                <a:gd name="T67" fmla="*/ 336 h 909"/>
                <a:gd name="T68" fmla="*/ 640 w 1048"/>
                <a:gd name="T69" fmla="*/ 326 h 909"/>
                <a:gd name="T70" fmla="*/ 657 w 1048"/>
                <a:gd name="T71" fmla="*/ 283 h 909"/>
                <a:gd name="T72" fmla="*/ 677 w 1048"/>
                <a:gd name="T73" fmla="*/ 262 h 909"/>
                <a:gd name="T74" fmla="*/ 741 w 1048"/>
                <a:gd name="T75" fmla="*/ 226 h 909"/>
                <a:gd name="T76" fmla="*/ 0 w 1048"/>
                <a:gd name="T77" fmla="*/ 385 h 909"/>
                <a:gd name="T78" fmla="*/ 491 w 1048"/>
                <a:gd name="T79" fmla="*/ 761 h 909"/>
                <a:gd name="T80" fmla="*/ 214 w 1048"/>
                <a:gd name="T81" fmla="*/ 689 h 909"/>
                <a:gd name="T82" fmla="*/ 37 w 1048"/>
                <a:gd name="T83" fmla="*/ 369 h 909"/>
                <a:gd name="T84" fmla="*/ 127 w 1048"/>
                <a:gd name="T85" fmla="*/ 459 h 909"/>
                <a:gd name="T86" fmla="*/ 201 w 1048"/>
                <a:gd name="T87" fmla="*/ 500 h 909"/>
                <a:gd name="T88" fmla="*/ 214 w 1048"/>
                <a:gd name="T89" fmla="*/ 615 h 909"/>
                <a:gd name="T90" fmla="*/ 472 w 1048"/>
                <a:gd name="T91" fmla="*/ 151 h 909"/>
                <a:gd name="T92" fmla="*/ 472 w 1048"/>
                <a:gd name="T93" fmla="*/ 151 h 909"/>
                <a:gd name="T94" fmla="*/ 513 w 1048"/>
                <a:gd name="T95" fmla="*/ 201 h 909"/>
                <a:gd name="T96" fmla="*/ 530 w 1048"/>
                <a:gd name="T97" fmla="*/ 238 h 909"/>
                <a:gd name="T98" fmla="*/ 851 w 1048"/>
                <a:gd name="T99" fmla="*/ 461 h 909"/>
                <a:gd name="T100" fmla="*/ 722 w 1048"/>
                <a:gd name="T101" fmla="*/ 288 h 909"/>
                <a:gd name="T102" fmla="*/ 456 w 1048"/>
                <a:gd name="T103" fmla="*/ 461 h 909"/>
                <a:gd name="T104" fmla="*/ 456 w 1048"/>
                <a:gd name="T105" fmla="*/ 525 h 909"/>
                <a:gd name="T106" fmla="*/ 492 w 1048"/>
                <a:gd name="T107" fmla="*/ 686 h 909"/>
                <a:gd name="T108" fmla="*/ 704 w 1048"/>
                <a:gd name="T109" fmla="*/ 711 h 909"/>
                <a:gd name="T110" fmla="*/ 736 w 1048"/>
                <a:gd name="T111" fmla="*/ 909 h 909"/>
                <a:gd name="T112" fmla="*/ 768 w 1048"/>
                <a:gd name="T113" fmla="*/ 711 h 909"/>
                <a:gd name="T114" fmla="*/ 980 w 1048"/>
                <a:gd name="T115" fmla="*/ 686 h 909"/>
                <a:gd name="T116" fmla="*/ 1016 w 1048"/>
                <a:gd name="T117" fmla="*/ 525 h 909"/>
                <a:gd name="T118" fmla="*/ 1016 w 1048"/>
                <a:gd name="T119" fmla="*/ 461 h 909"/>
                <a:gd name="T120" fmla="*/ 736 w 1048"/>
                <a:gd name="T121" fmla="*/ 434 h 909"/>
                <a:gd name="T122" fmla="*/ 618 w 1048"/>
                <a:gd name="T123" fmla="*/ 639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48" h="909">
                  <a:moveTo>
                    <a:pt x="592" y="409"/>
                  </a:moveTo>
                  <a:cubicBezTo>
                    <a:pt x="611" y="376"/>
                    <a:pt x="611" y="376"/>
                    <a:pt x="611" y="376"/>
                  </a:cubicBezTo>
                  <a:cubicBezTo>
                    <a:pt x="599" y="373"/>
                    <a:pt x="575" y="362"/>
                    <a:pt x="575" y="349"/>
                  </a:cubicBezTo>
                  <a:cubicBezTo>
                    <a:pt x="575" y="336"/>
                    <a:pt x="563" y="336"/>
                    <a:pt x="542" y="340"/>
                  </a:cubicBezTo>
                  <a:cubicBezTo>
                    <a:pt x="530" y="340"/>
                    <a:pt x="518" y="340"/>
                    <a:pt x="505" y="344"/>
                  </a:cubicBezTo>
                  <a:cubicBezTo>
                    <a:pt x="475" y="355"/>
                    <a:pt x="450" y="382"/>
                    <a:pt x="438" y="411"/>
                  </a:cubicBezTo>
                  <a:cubicBezTo>
                    <a:pt x="444" y="410"/>
                    <a:pt x="450" y="409"/>
                    <a:pt x="456" y="409"/>
                  </a:cubicBezTo>
                  <a:lnTo>
                    <a:pt x="592" y="409"/>
                  </a:lnTo>
                  <a:close/>
                  <a:moveTo>
                    <a:pt x="197" y="435"/>
                  </a:moveTo>
                  <a:cubicBezTo>
                    <a:pt x="218" y="443"/>
                    <a:pt x="251" y="447"/>
                    <a:pt x="242" y="435"/>
                  </a:cubicBezTo>
                  <a:cubicBezTo>
                    <a:pt x="234" y="427"/>
                    <a:pt x="201" y="418"/>
                    <a:pt x="189" y="418"/>
                  </a:cubicBezTo>
                  <a:cubicBezTo>
                    <a:pt x="177" y="422"/>
                    <a:pt x="185" y="431"/>
                    <a:pt x="197" y="435"/>
                  </a:cubicBezTo>
                  <a:close/>
                  <a:moveTo>
                    <a:pt x="446" y="730"/>
                  </a:moveTo>
                  <a:cubicBezTo>
                    <a:pt x="427" y="733"/>
                    <a:pt x="407" y="735"/>
                    <a:pt x="386" y="735"/>
                  </a:cubicBezTo>
                  <a:cubicBezTo>
                    <a:pt x="349" y="735"/>
                    <a:pt x="308" y="730"/>
                    <a:pt x="275" y="718"/>
                  </a:cubicBezTo>
                  <a:cubicBezTo>
                    <a:pt x="300" y="661"/>
                    <a:pt x="349" y="628"/>
                    <a:pt x="374" y="578"/>
                  </a:cubicBezTo>
                  <a:cubicBezTo>
                    <a:pt x="382" y="562"/>
                    <a:pt x="370" y="554"/>
                    <a:pt x="333" y="542"/>
                  </a:cubicBezTo>
                  <a:cubicBezTo>
                    <a:pt x="300" y="529"/>
                    <a:pt x="267" y="455"/>
                    <a:pt x="222" y="472"/>
                  </a:cubicBezTo>
                  <a:cubicBezTo>
                    <a:pt x="201" y="480"/>
                    <a:pt x="169" y="496"/>
                    <a:pt x="173" y="476"/>
                  </a:cubicBezTo>
                  <a:cubicBezTo>
                    <a:pt x="181" y="439"/>
                    <a:pt x="156" y="464"/>
                    <a:pt x="152" y="447"/>
                  </a:cubicBezTo>
                  <a:cubicBezTo>
                    <a:pt x="148" y="431"/>
                    <a:pt x="185" y="427"/>
                    <a:pt x="164" y="422"/>
                  </a:cubicBezTo>
                  <a:cubicBezTo>
                    <a:pt x="148" y="414"/>
                    <a:pt x="119" y="468"/>
                    <a:pt x="119" y="427"/>
                  </a:cubicBezTo>
                  <a:cubicBezTo>
                    <a:pt x="119" y="414"/>
                    <a:pt x="119" y="402"/>
                    <a:pt x="127" y="398"/>
                  </a:cubicBezTo>
                  <a:cubicBezTo>
                    <a:pt x="140" y="373"/>
                    <a:pt x="169" y="373"/>
                    <a:pt x="177" y="385"/>
                  </a:cubicBezTo>
                  <a:cubicBezTo>
                    <a:pt x="185" y="406"/>
                    <a:pt x="185" y="418"/>
                    <a:pt x="193" y="410"/>
                  </a:cubicBezTo>
                  <a:cubicBezTo>
                    <a:pt x="201" y="402"/>
                    <a:pt x="189" y="390"/>
                    <a:pt x="201" y="365"/>
                  </a:cubicBezTo>
                  <a:cubicBezTo>
                    <a:pt x="214" y="340"/>
                    <a:pt x="238" y="312"/>
                    <a:pt x="300" y="287"/>
                  </a:cubicBezTo>
                  <a:cubicBezTo>
                    <a:pt x="337" y="271"/>
                    <a:pt x="308" y="238"/>
                    <a:pt x="292" y="213"/>
                  </a:cubicBezTo>
                  <a:cubicBezTo>
                    <a:pt x="271" y="188"/>
                    <a:pt x="242" y="164"/>
                    <a:pt x="234" y="193"/>
                  </a:cubicBezTo>
                  <a:cubicBezTo>
                    <a:pt x="226" y="213"/>
                    <a:pt x="242" y="254"/>
                    <a:pt x="218" y="246"/>
                  </a:cubicBezTo>
                  <a:cubicBezTo>
                    <a:pt x="193" y="238"/>
                    <a:pt x="164" y="221"/>
                    <a:pt x="181" y="201"/>
                  </a:cubicBezTo>
                  <a:cubicBezTo>
                    <a:pt x="197" y="184"/>
                    <a:pt x="230" y="180"/>
                    <a:pt x="230" y="164"/>
                  </a:cubicBezTo>
                  <a:cubicBezTo>
                    <a:pt x="230" y="143"/>
                    <a:pt x="230" y="127"/>
                    <a:pt x="242" y="127"/>
                  </a:cubicBezTo>
                  <a:cubicBezTo>
                    <a:pt x="255" y="131"/>
                    <a:pt x="263" y="135"/>
                    <a:pt x="251" y="156"/>
                  </a:cubicBezTo>
                  <a:cubicBezTo>
                    <a:pt x="242" y="176"/>
                    <a:pt x="292" y="188"/>
                    <a:pt x="296" y="176"/>
                  </a:cubicBezTo>
                  <a:cubicBezTo>
                    <a:pt x="304" y="164"/>
                    <a:pt x="292" y="147"/>
                    <a:pt x="275" y="123"/>
                  </a:cubicBezTo>
                  <a:cubicBezTo>
                    <a:pt x="263" y="106"/>
                    <a:pt x="234" y="110"/>
                    <a:pt x="247" y="94"/>
                  </a:cubicBezTo>
                  <a:cubicBezTo>
                    <a:pt x="251" y="90"/>
                    <a:pt x="259" y="65"/>
                    <a:pt x="271" y="57"/>
                  </a:cubicBezTo>
                  <a:cubicBezTo>
                    <a:pt x="275" y="57"/>
                    <a:pt x="279" y="57"/>
                    <a:pt x="284" y="53"/>
                  </a:cubicBezTo>
                  <a:cubicBezTo>
                    <a:pt x="284" y="57"/>
                    <a:pt x="275" y="65"/>
                    <a:pt x="275" y="73"/>
                  </a:cubicBezTo>
                  <a:cubicBezTo>
                    <a:pt x="275" y="94"/>
                    <a:pt x="312" y="65"/>
                    <a:pt x="320" y="86"/>
                  </a:cubicBezTo>
                  <a:cubicBezTo>
                    <a:pt x="333" y="106"/>
                    <a:pt x="308" y="139"/>
                    <a:pt x="329" y="164"/>
                  </a:cubicBezTo>
                  <a:cubicBezTo>
                    <a:pt x="349" y="188"/>
                    <a:pt x="362" y="209"/>
                    <a:pt x="370" y="176"/>
                  </a:cubicBezTo>
                  <a:cubicBezTo>
                    <a:pt x="378" y="139"/>
                    <a:pt x="440" y="135"/>
                    <a:pt x="440" y="114"/>
                  </a:cubicBezTo>
                  <a:cubicBezTo>
                    <a:pt x="444" y="98"/>
                    <a:pt x="444" y="78"/>
                    <a:pt x="444" y="45"/>
                  </a:cubicBezTo>
                  <a:cubicBezTo>
                    <a:pt x="505" y="53"/>
                    <a:pt x="559" y="78"/>
                    <a:pt x="604" y="114"/>
                  </a:cubicBezTo>
                  <a:cubicBezTo>
                    <a:pt x="579" y="123"/>
                    <a:pt x="546" y="172"/>
                    <a:pt x="546" y="188"/>
                  </a:cubicBezTo>
                  <a:cubicBezTo>
                    <a:pt x="546" y="209"/>
                    <a:pt x="555" y="205"/>
                    <a:pt x="567" y="197"/>
                  </a:cubicBezTo>
                  <a:cubicBezTo>
                    <a:pt x="583" y="188"/>
                    <a:pt x="563" y="209"/>
                    <a:pt x="579" y="221"/>
                  </a:cubicBezTo>
                  <a:cubicBezTo>
                    <a:pt x="600" y="229"/>
                    <a:pt x="596" y="217"/>
                    <a:pt x="591" y="188"/>
                  </a:cubicBezTo>
                  <a:cubicBezTo>
                    <a:pt x="587" y="160"/>
                    <a:pt x="604" y="147"/>
                    <a:pt x="616" y="151"/>
                  </a:cubicBezTo>
                  <a:cubicBezTo>
                    <a:pt x="633" y="156"/>
                    <a:pt x="608" y="160"/>
                    <a:pt x="608" y="180"/>
                  </a:cubicBezTo>
                  <a:cubicBezTo>
                    <a:pt x="608" y="197"/>
                    <a:pt x="637" y="180"/>
                    <a:pt x="641" y="193"/>
                  </a:cubicBezTo>
                  <a:cubicBezTo>
                    <a:pt x="641" y="201"/>
                    <a:pt x="612" y="197"/>
                    <a:pt x="612" y="213"/>
                  </a:cubicBezTo>
                  <a:cubicBezTo>
                    <a:pt x="612" y="225"/>
                    <a:pt x="612" y="234"/>
                    <a:pt x="600" y="234"/>
                  </a:cubicBezTo>
                  <a:cubicBezTo>
                    <a:pt x="591" y="234"/>
                    <a:pt x="579" y="238"/>
                    <a:pt x="575" y="234"/>
                  </a:cubicBezTo>
                  <a:cubicBezTo>
                    <a:pt x="567" y="229"/>
                    <a:pt x="571" y="213"/>
                    <a:pt x="563" y="213"/>
                  </a:cubicBezTo>
                  <a:cubicBezTo>
                    <a:pt x="546" y="209"/>
                    <a:pt x="550" y="234"/>
                    <a:pt x="542" y="242"/>
                  </a:cubicBezTo>
                  <a:cubicBezTo>
                    <a:pt x="534" y="254"/>
                    <a:pt x="518" y="266"/>
                    <a:pt x="513" y="271"/>
                  </a:cubicBezTo>
                  <a:cubicBezTo>
                    <a:pt x="501" y="279"/>
                    <a:pt x="546" y="307"/>
                    <a:pt x="497" y="295"/>
                  </a:cubicBezTo>
                  <a:cubicBezTo>
                    <a:pt x="481" y="291"/>
                    <a:pt x="477" y="328"/>
                    <a:pt x="493" y="332"/>
                  </a:cubicBezTo>
                  <a:cubicBezTo>
                    <a:pt x="505" y="336"/>
                    <a:pt x="513" y="336"/>
                    <a:pt x="526" y="328"/>
                  </a:cubicBezTo>
                  <a:cubicBezTo>
                    <a:pt x="530" y="328"/>
                    <a:pt x="534" y="316"/>
                    <a:pt x="546" y="303"/>
                  </a:cubicBezTo>
                  <a:cubicBezTo>
                    <a:pt x="555" y="295"/>
                    <a:pt x="567" y="295"/>
                    <a:pt x="571" y="303"/>
                  </a:cubicBezTo>
                  <a:cubicBezTo>
                    <a:pt x="596" y="320"/>
                    <a:pt x="575" y="332"/>
                    <a:pt x="579" y="336"/>
                  </a:cubicBezTo>
                  <a:cubicBezTo>
                    <a:pt x="587" y="349"/>
                    <a:pt x="604" y="332"/>
                    <a:pt x="600" y="320"/>
                  </a:cubicBezTo>
                  <a:cubicBezTo>
                    <a:pt x="596" y="307"/>
                    <a:pt x="563" y="287"/>
                    <a:pt x="583" y="291"/>
                  </a:cubicBezTo>
                  <a:cubicBezTo>
                    <a:pt x="600" y="295"/>
                    <a:pt x="608" y="324"/>
                    <a:pt x="624" y="336"/>
                  </a:cubicBezTo>
                  <a:cubicBezTo>
                    <a:pt x="637" y="344"/>
                    <a:pt x="624" y="316"/>
                    <a:pt x="633" y="320"/>
                  </a:cubicBezTo>
                  <a:cubicBezTo>
                    <a:pt x="637" y="320"/>
                    <a:pt x="639" y="323"/>
                    <a:pt x="640" y="326"/>
                  </a:cubicBezTo>
                  <a:cubicBezTo>
                    <a:pt x="647" y="314"/>
                    <a:pt x="647" y="314"/>
                    <a:pt x="647" y="314"/>
                  </a:cubicBezTo>
                  <a:cubicBezTo>
                    <a:pt x="637" y="302"/>
                    <a:pt x="642" y="287"/>
                    <a:pt x="657" y="283"/>
                  </a:cubicBezTo>
                  <a:cubicBezTo>
                    <a:pt x="660" y="282"/>
                    <a:pt x="662" y="282"/>
                    <a:pt x="665" y="282"/>
                  </a:cubicBezTo>
                  <a:cubicBezTo>
                    <a:pt x="677" y="262"/>
                    <a:pt x="677" y="262"/>
                    <a:pt x="677" y="262"/>
                  </a:cubicBezTo>
                  <a:cubicBezTo>
                    <a:pt x="690" y="239"/>
                    <a:pt x="712" y="226"/>
                    <a:pt x="736" y="226"/>
                  </a:cubicBezTo>
                  <a:cubicBezTo>
                    <a:pt x="738" y="226"/>
                    <a:pt x="740" y="226"/>
                    <a:pt x="741" y="226"/>
                  </a:cubicBezTo>
                  <a:cubicBezTo>
                    <a:pt x="679" y="92"/>
                    <a:pt x="543" y="0"/>
                    <a:pt x="386" y="0"/>
                  </a:cubicBezTo>
                  <a:cubicBezTo>
                    <a:pt x="173" y="0"/>
                    <a:pt x="0" y="172"/>
                    <a:pt x="0" y="385"/>
                  </a:cubicBezTo>
                  <a:cubicBezTo>
                    <a:pt x="0" y="603"/>
                    <a:pt x="173" y="776"/>
                    <a:pt x="386" y="776"/>
                  </a:cubicBezTo>
                  <a:cubicBezTo>
                    <a:pt x="422" y="776"/>
                    <a:pt x="457" y="771"/>
                    <a:pt x="491" y="761"/>
                  </a:cubicBezTo>
                  <a:cubicBezTo>
                    <a:pt x="472" y="757"/>
                    <a:pt x="455" y="747"/>
                    <a:pt x="446" y="730"/>
                  </a:cubicBezTo>
                  <a:close/>
                  <a:moveTo>
                    <a:pt x="214" y="689"/>
                  </a:moveTo>
                  <a:cubicBezTo>
                    <a:pt x="111" y="632"/>
                    <a:pt x="37" y="517"/>
                    <a:pt x="37" y="385"/>
                  </a:cubicBezTo>
                  <a:cubicBezTo>
                    <a:pt x="37" y="369"/>
                    <a:pt x="37" y="369"/>
                    <a:pt x="37" y="369"/>
                  </a:cubicBezTo>
                  <a:cubicBezTo>
                    <a:pt x="58" y="373"/>
                    <a:pt x="82" y="398"/>
                    <a:pt x="82" y="422"/>
                  </a:cubicBezTo>
                  <a:cubicBezTo>
                    <a:pt x="86" y="447"/>
                    <a:pt x="86" y="455"/>
                    <a:pt x="127" y="459"/>
                  </a:cubicBezTo>
                  <a:cubicBezTo>
                    <a:pt x="169" y="464"/>
                    <a:pt x="152" y="496"/>
                    <a:pt x="173" y="496"/>
                  </a:cubicBezTo>
                  <a:cubicBezTo>
                    <a:pt x="193" y="496"/>
                    <a:pt x="205" y="488"/>
                    <a:pt x="201" y="500"/>
                  </a:cubicBezTo>
                  <a:cubicBezTo>
                    <a:pt x="201" y="509"/>
                    <a:pt x="197" y="513"/>
                    <a:pt x="193" y="517"/>
                  </a:cubicBezTo>
                  <a:cubicBezTo>
                    <a:pt x="164" y="554"/>
                    <a:pt x="185" y="591"/>
                    <a:pt x="214" y="615"/>
                  </a:cubicBezTo>
                  <a:cubicBezTo>
                    <a:pt x="222" y="620"/>
                    <a:pt x="218" y="657"/>
                    <a:pt x="214" y="689"/>
                  </a:cubicBezTo>
                  <a:close/>
                  <a:moveTo>
                    <a:pt x="472" y="151"/>
                  </a:moveTo>
                  <a:cubicBezTo>
                    <a:pt x="460" y="131"/>
                    <a:pt x="423" y="143"/>
                    <a:pt x="444" y="168"/>
                  </a:cubicBezTo>
                  <a:cubicBezTo>
                    <a:pt x="460" y="176"/>
                    <a:pt x="477" y="164"/>
                    <a:pt x="472" y="151"/>
                  </a:cubicBezTo>
                  <a:close/>
                  <a:moveTo>
                    <a:pt x="530" y="238"/>
                  </a:moveTo>
                  <a:cubicBezTo>
                    <a:pt x="534" y="225"/>
                    <a:pt x="526" y="201"/>
                    <a:pt x="513" y="201"/>
                  </a:cubicBezTo>
                  <a:cubicBezTo>
                    <a:pt x="501" y="201"/>
                    <a:pt x="497" y="213"/>
                    <a:pt x="497" y="229"/>
                  </a:cubicBezTo>
                  <a:cubicBezTo>
                    <a:pt x="501" y="246"/>
                    <a:pt x="522" y="262"/>
                    <a:pt x="530" y="238"/>
                  </a:cubicBezTo>
                  <a:close/>
                  <a:moveTo>
                    <a:pt x="1016" y="461"/>
                  </a:moveTo>
                  <a:cubicBezTo>
                    <a:pt x="851" y="461"/>
                    <a:pt x="851" y="461"/>
                    <a:pt x="851" y="461"/>
                  </a:cubicBezTo>
                  <a:cubicBezTo>
                    <a:pt x="751" y="288"/>
                    <a:pt x="751" y="288"/>
                    <a:pt x="751" y="288"/>
                  </a:cubicBezTo>
                  <a:cubicBezTo>
                    <a:pt x="743" y="274"/>
                    <a:pt x="730" y="274"/>
                    <a:pt x="722" y="288"/>
                  </a:cubicBezTo>
                  <a:cubicBezTo>
                    <a:pt x="622" y="461"/>
                    <a:pt x="622" y="461"/>
                    <a:pt x="622" y="461"/>
                  </a:cubicBezTo>
                  <a:cubicBezTo>
                    <a:pt x="456" y="461"/>
                    <a:pt x="456" y="461"/>
                    <a:pt x="456" y="461"/>
                  </a:cubicBezTo>
                  <a:cubicBezTo>
                    <a:pt x="439" y="461"/>
                    <a:pt x="424" y="475"/>
                    <a:pt x="424" y="493"/>
                  </a:cubicBezTo>
                  <a:cubicBezTo>
                    <a:pt x="424" y="511"/>
                    <a:pt x="439" y="525"/>
                    <a:pt x="456" y="525"/>
                  </a:cubicBezTo>
                  <a:cubicBezTo>
                    <a:pt x="585" y="525"/>
                    <a:pt x="585" y="525"/>
                    <a:pt x="585" y="525"/>
                  </a:cubicBezTo>
                  <a:cubicBezTo>
                    <a:pt x="492" y="686"/>
                    <a:pt x="492" y="686"/>
                    <a:pt x="492" y="686"/>
                  </a:cubicBezTo>
                  <a:cubicBezTo>
                    <a:pt x="484" y="700"/>
                    <a:pt x="491" y="711"/>
                    <a:pt x="506" y="711"/>
                  </a:cubicBezTo>
                  <a:cubicBezTo>
                    <a:pt x="704" y="711"/>
                    <a:pt x="704" y="711"/>
                    <a:pt x="704" y="711"/>
                  </a:cubicBezTo>
                  <a:cubicBezTo>
                    <a:pt x="704" y="877"/>
                    <a:pt x="704" y="877"/>
                    <a:pt x="704" y="877"/>
                  </a:cubicBezTo>
                  <a:cubicBezTo>
                    <a:pt x="704" y="895"/>
                    <a:pt x="719" y="909"/>
                    <a:pt x="736" y="909"/>
                  </a:cubicBezTo>
                  <a:cubicBezTo>
                    <a:pt x="754" y="909"/>
                    <a:pt x="768" y="895"/>
                    <a:pt x="768" y="877"/>
                  </a:cubicBezTo>
                  <a:cubicBezTo>
                    <a:pt x="768" y="711"/>
                    <a:pt x="768" y="711"/>
                    <a:pt x="768" y="711"/>
                  </a:cubicBezTo>
                  <a:cubicBezTo>
                    <a:pt x="966" y="711"/>
                    <a:pt x="966" y="711"/>
                    <a:pt x="966" y="711"/>
                  </a:cubicBezTo>
                  <a:cubicBezTo>
                    <a:pt x="982" y="711"/>
                    <a:pt x="988" y="700"/>
                    <a:pt x="980" y="686"/>
                  </a:cubicBezTo>
                  <a:cubicBezTo>
                    <a:pt x="888" y="525"/>
                    <a:pt x="888" y="525"/>
                    <a:pt x="888" y="525"/>
                  </a:cubicBezTo>
                  <a:cubicBezTo>
                    <a:pt x="1016" y="525"/>
                    <a:pt x="1016" y="525"/>
                    <a:pt x="1016" y="525"/>
                  </a:cubicBezTo>
                  <a:cubicBezTo>
                    <a:pt x="1034" y="525"/>
                    <a:pt x="1048" y="511"/>
                    <a:pt x="1048" y="493"/>
                  </a:cubicBezTo>
                  <a:cubicBezTo>
                    <a:pt x="1048" y="475"/>
                    <a:pt x="1034" y="461"/>
                    <a:pt x="1016" y="461"/>
                  </a:cubicBezTo>
                  <a:close/>
                  <a:moveTo>
                    <a:pt x="618" y="639"/>
                  </a:moveTo>
                  <a:cubicBezTo>
                    <a:pt x="736" y="434"/>
                    <a:pt x="736" y="434"/>
                    <a:pt x="736" y="434"/>
                  </a:cubicBezTo>
                  <a:cubicBezTo>
                    <a:pt x="855" y="639"/>
                    <a:pt x="855" y="639"/>
                    <a:pt x="855" y="639"/>
                  </a:cubicBezTo>
                  <a:lnTo>
                    <a:pt x="618" y="639"/>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defTabSz="914363"/>
              <a:endParaRPr lang="en-US">
                <a:solidFill>
                  <a:srgbClr val="292929"/>
                </a:solidFill>
              </a:endParaRPr>
            </a:p>
          </p:txBody>
        </p:sp>
      </p:grpSp>
      <p:grpSp>
        <p:nvGrpSpPr>
          <p:cNvPr id="4101" name="Group 4100"/>
          <p:cNvGrpSpPr/>
          <p:nvPr/>
        </p:nvGrpSpPr>
        <p:grpSpPr>
          <a:xfrm>
            <a:off x="8183662" y="1335035"/>
            <a:ext cx="715333" cy="930777"/>
            <a:chOff x="7988445" y="2583148"/>
            <a:chExt cx="715333" cy="930777"/>
          </a:xfrm>
        </p:grpSpPr>
        <p:sp>
          <p:nvSpPr>
            <p:cNvPr id="37" name="TextBox 36"/>
            <p:cNvSpPr txBox="1"/>
            <p:nvPr/>
          </p:nvSpPr>
          <p:spPr>
            <a:xfrm>
              <a:off x="8116882" y="3298481"/>
              <a:ext cx="458459" cy="215444"/>
            </a:xfrm>
            <a:prstGeom prst="rect">
              <a:avLst/>
            </a:prstGeom>
            <a:noFill/>
          </p:spPr>
          <p:txBody>
            <a:bodyPr wrap="none" lIns="0" tIns="0" rIns="0" bIns="0" rtlCol="0">
              <a:spAutoFit/>
            </a:bodyPr>
            <a:lstStyle/>
            <a:p>
              <a:pPr algn="ctr" defTabSz="914363"/>
              <a:r>
                <a:rPr lang="en-US" sz="1400" dirty="0">
                  <a:ln>
                    <a:solidFill>
                      <a:srgbClr val="FFFFFF">
                        <a:alpha val="0"/>
                      </a:srgbClr>
                    </a:solidFill>
                  </a:ln>
                  <a:gradFill>
                    <a:gsLst>
                      <a:gs pos="0">
                        <a:srgbClr val="595959"/>
                      </a:gs>
                      <a:gs pos="86000">
                        <a:srgbClr val="595959"/>
                      </a:gs>
                    </a:gsLst>
                    <a:lin ang="5400000" scaled="0"/>
                  </a:gradFill>
                </a:rPr>
                <a:t>SAML</a:t>
              </a:r>
            </a:p>
          </p:txBody>
        </p:sp>
        <p:grpSp>
          <p:nvGrpSpPr>
            <p:cNvPr id="4100" name="Group 4099"/>
            <p:cNvGrpSpPr/>
            <p:nvPr/>
          </p:nvGrpSpPr>
          <p:grpSpPr>
            <a:xfrm>
              <a:off x="7988445" y="2583148"/>
              <a:ext cx="715333" cy="715333"/>
              <a:chOff x="721408" y="2935627"/>
              <a:chExt cx="848238" cy="848238"/>
            </a:xfrm>
          </p:grpSpPr>
          <p:sp>
            <p:nvSpPr>
              <p:cNvPr id="108" name="Oval Blue"/>
              <p:cNvSpPr>
                <a:spLocks noChangeAspect="1"/>
              </p:cNvSpPr>
              <p:nvPr/>
            </p:nvSpPr>
            <p:spPr bwMode="auto">
              <a:xfrm>
                <a:off x="721408" y="2935627"/>
                <a:ext cx="848238" cy="848238"/>
              </a:xfrm>
              <a:prstGeom prst="rect">
                <a:avLst/>
              </a:prstGeom>
              <a:solidFill>
                <a:srgbClr val="FF0000">
                  <a:alpha val="9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sp>
            <p:nvSpPr>
              <p:cNvPr id="109" name="Freeform 164"/>
              <p:cNvSpPr>
                <a:spLocks noEditPoints="1"/>
              </p:cNvSpPr>
              <p:nvPr/>
            </p:nvSpPr>
            <p:spPr bwMode="black">
              <a:xfrm>
                <a:off x="934662" y="3067402"/>
                <a:ext cx="421730" cy="58468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grpSp>
      </p:grpSp>
      <p:grpSp>
        <p:nvGrpSpPr>
          <p:cNvPr id="4102" name="Group 4101"/>
          <p:cNvGrpSpPr/>
          <p:nvPr/>
        </p:nvGrpSpPr>
        <p:grpSpPr>
          <a:xfrm>
            <a:off x="8989929" y="1335035"/>
            <a:ext cx="715333" cy="930777"/>
            <a:chOff x="8794712" y="2583148"/>
            <a:chExt cx="715333" cy="930777"/>
          </a:xfrm>
        </p:grpSpPr>
        <p:sp>
          <p:nvSpPr>
            <p:cNvPr id="38" name="TextBox 37"/>
            <p:cNvSpPr txBox="1"/>
            <p:nvPr/>
          </p:nvSpPr>
          <p:spPr>
            <a:xfrm>
              <a:off x="8971142" y="3298481"/>
              <a:ext cx="362472" cy="215444"/>
            </a:xfrm>
            <a:prstGeom prst="rect">
              <a:avLst/>
            </a:prstGeom>
            <a:noFill/>
          </p:spPr>
          <p:txBody>
            <a:bodyPr wrap="none" lIns="0" tIns="0" rIns="0" bIns="0" rtlCol="0">
              <a:spAutoFit/>
            </a:bodyPr>
            <a:lstStyle>
              <a:defPPr>
                <a:defRPr lang="en-US"/>
              </a:defPPr>
              <a:lvl1pPr algn="ctr">
                <a:defRPr sz="1100" spc="-50">
                  <a:ln>
                    <a:solidFill>
                      <a:schemeClr val="bg1">
                        <a:alpha val="0"/>
                      </a:schemeClr>
                    </a:solidFill>
                  </a:ln>
                  <a:gradFill>
                    <a:gsLst>
                      <a:gs pos="0">
                        <a:srgbClr val="595959"/>
                      </a:gs>
                      <a:gs pos="86000">
                        <a:srgbClr val="595959"/>
                      </a:gs>
                    </a:gsLst>
                    <a:lin ang="5400000" scaled="0"/>
                  </a:gradFill>
                </a:defRPr>
              </a:lvl1pPr>
            </a:lstStyle>
            <a:p>
              <a:pPr defTabSz="914363"/>
              <a:r>
                <a:rPr lang="en-US" sz="1400" spc="0" dirty="0">
                  <a:ln>
                    <a:solidFill>
                      <a:srgbClr val="FFFFFF">
                        <a:alpha val="0"/>
                      </a:srgbClr>
                    </a:solidFill>
                  </a:ln>
                </a:rPr>
                <a:t>SWT</a:t>
              </a:r>
            </a:p>
          </p:txBody>
        </p:sp>
        <p:grpSp>
          <p:nvGrpSpPr>
            <p:cNvPr id="111" name="Group 110"/>
            <p:cNvGrpSpPr/>
            <p:nvPr/>
          </p:nvGrpSpPr>
          <p:grpSpPr>
            <a:xfrm>
              <a:off x="8794712" y="2583148"/>
              <a:ext cx="715333" cy="715333"/>
              <a:chOff x="721408" y="2935627"/>
              <a:chExt cx="848238" cy="848238"/>
            </a:xfrm>
          </p:grpSpPr>
          <p:sp>
            <p:nvSpPr>
              <p:cNvPr id="112" name="Oval Blue"/>
              <p:cNvSpPr>
                <a:spLocks noChangeAspect="1"/>
              </p:cNvSpPr>
              <p:nvPr/>
            </p:nvSpPr>
            <p:spPr bwMode="auto">
              <a:xfrm>
                <a:off x="721408" y="2935627"/>
                <a:ext cx="848238" cy="848238"/>
              </a:xfrm>
              <a:prstGeom prst="rect">
                <a:avLst/>
              </a:prstGeom>
              <a:solidFill>
                <a:schemeClr val="accent4">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sp>
            <p:nvSpPr>
              <p:cNvPr id="113" name="Freeform 164"/>
              <p:cNvSpPr>
                <a:spLocks noEditPoints="1"/>
              </p:cNvSpPr>
              <p:nvPr/>
            </p:nvSpPr>
            <p:spPr bwMode="black">
              <a:xfrm>
                <a:off x="934662" y="3067402"/>
                <a:ext cx="421730" cy="58468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grpSp>
      </p:grpSp>
      <p:sp>
        <p:nvSpPr>
          <p:cNvPr id="116" name="Right Arrow 115"/>
          <p:cNvSpPr/>
          <p:nvPr/>
        </p:nvSpPr>
        <p:spPr bwMode="auto">
          <a:xfrm rot="1361568" flipV="1">
            <a:off x="4230159" y="1355786"/>
            <a:ext cx="1557254" cy="403614"/>
          </a:xfrm>
          <a:prstGeom prst="rightArrow">
            <a:avLst>
              <a:gd name="adj1" fmla="val 50000"/>
              <a:gd name="adj2" fmla="val 61111"/>
            </a:avLst>
          </a:prstGeom>
          <a:solidFill>
            <a:srgbClr val="FF0000">
              <a:alpha val="9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17" name="Right Arrow 116"/>
          <p:cNvSpPr/>
          <p:nvPr/>
        </p:nvSpPr>
        <p:spPr bwMode="auto">
          <a:xfrm rot="883381" flipV="1">
            <a:off x="4391258" y="1769781"/>
            <a:ext cx="1250624" cy="403614"/>
          </a:xfrm>
          <a:prstGeom prst="rightArrow">
            <a:avLst>
              <a:gd name="adj1" fmla="val 50000"/>
              <a:gd name="adj2" fmla="val 61111"/>
            </a:avLst>
          </a:prstGeom>
          <a:solidFill>
            <a:srgbClr val="FF0000">
              <a:alpha val="9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19" name="Right Arrow 118"/>
          <p:cNvSpPr/>
          <p:nvPr/>
        </p:nvSpPr>
        <p:spPr bwMode="auto">
          <a:xfrm rot="20716619">
            <a:off x="4391258" y="2689665"/>
            <a:ext cx="1250624" cy="403614"/>
          </a:xfrm>
          <a:prstGeom prst="rightArrow">
            <a:avLst>
              <a:gd name="adj1" fmla="val 50000"/>
              <a:gd name="adj2" fmla="val 61111"/>
            </a:avLst>
          </a:prstGeom>
          <a:solidFill>
            <a:srgbClr val="FF0000">
              <a:alpha val="9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21" name="Right Arrow 120"/>
          <p:cNvSpPr/>
          <p:nvPr/>
        </p:nvSpPr>
        <p:spPr bwMode="auto">
          <a:xfrm flipV="1">
            <a:off x="4391258" y="2229723"/>
            <a:ext cx="1191980" cy="403614"/>
          </a:xfrm>
          <a:prstGeom prst="rightArrow">
            <a:avLst>
              <a:gd name="adj1" fmla="val 50000"/>
              <a:gd name="adj2" fmla="val 61111"/>
            </a:avLst>
          </a:prstGeom>
          <a:solidFill>
            <a:srgbClr val="FF0000">
              <a:alpha val="9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22" name="Right Arrow 121"/>
          <p:cNvSpPr/>
          <p:nvPr/>
        </p:nvSpPr>
        <p:spPr bwMode="auto">
          <a:xfrm rot="19788753">
            <a:off x="4247204" y="3185771"/>
            <a:ext cx="1588306" cy="403614"/>
          </a:xfrm>
          <a:prstGeom prst="rightArrow">
            <a:avLst>
              <a:gd name="adj1" fmla="val 50000"/>
              <a:gd name="adj2" fmla="val 61111"/>
            </a:avLst>
          </a:prstGeom>
          <a:solidFill>
            <a:srgbClr val="FF0000">
              <a:alpha val="9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grpSp>
        <p:nvGrpSpPr>
          <p:cNvPr id="79" name="Group 78"/>
          <p:cNvGrpSpPr/>
          <p:nvPr/>
        </p:nvGrpSpPr>
        <p:grpSpPr>
          <a:xfrm>
            <a:off x="3899952" y="2222512"/>
            <a:ext cx="568284" cy="568285"/>
            <a:chOff x="1546018" y="1304764"/>
            <a:chExt cx="763524" cy="763524"/>
          </a:xfrm>
        </p:grpSpPr>
        <p:sp>
          <p:nvSpPr>
            <p:cNvPr id="80" name="Oval Blue"/>
            <p:cNvSpPr>
              <a:spLocks noChangeAspect="1"/>
            </p:cNvSpPr>
            <p:nvPr/>
          </p:nvSpPr>
          <p:spPr bwMode="auto">
            <a:xfrm>
              <a:off x="1546018" y="1304764"/>
              <a:ext cx="763524" cy="763524"/>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grpSp>
          <p:nvGrpSpPr>
            <p:cNvPr id="81" name="Group 80"/>
            <p:cNvGrpSpPr/>
            <p:nvPr/>
          </p:nvGrpSpPr>
          <p:grpSpPr bwMode="black">
            <a:xfrm>
              <a:off x="1729258" y="1488056"/>
              <a:ext cx="397044" cy="396940"/>
              <a:chOff x="3249834" y="963808"/>
              <a:chExt cx="1000896" cy="1000896"/>
            </a:xfrm>
          </p:grpSpPr>
          <p:sp>
            <p:nvSpPr>
              <p:cNvPr id="82" name="Freeform 6"/>
              <p:cNvSpPr>
                <a:spLocks/>
              </p:cNvSpPr>
              <p:nvPr/>
            </p:nvSpPr>
            <p:spPr bwMode="black">
              <a:xfrm>
                <a:off x="3249834" y="963808"/>
                <a:ext cx="1000896" cy="1000896"/>
              </a:xfrm>
              <a:custGeom>
                <a:avLst/>
                <a:gdLst>
                  <a:gd name="T0" fmla="*/ 0 w 1550"/>
                  <a:gd name="T1" fmla="*/ 278 h 1550"/>
                  <a:gd name="T2" fmla="*/ 0 w 1550"/>
                  <a:gd name="T3" fmla="*/ 1272 h 1550"/>
                  <a:gd name="T4" fmla="*/ 278 w 1550"/>
                  <a:gd name="T5" fmla="*/ 1550 h 1550"/>
                  <a:gd name="T6" fmla="*/ 1272 w 1550"/>
                  <a:gd name="T7" fmla="*/ 1550 h 1550"/>
                  <a:gd name="T8" fmla="*/ 1550 w 1550"/>
                  <a:gd name="T9" fmla="*/ 1272 h 1550"/>
                  <a:gd name="T10" fmla="*/ 1550 w 1550"/>
                  <a:gd name="T11" fmla="*/ 278 h 1550"/>
                  <a:gd name="T12" fmla="*/ 1272 w 1550"/>
                  <a:gd name="T13" fmla="*/ 0 h 1550"/>
                  <a:gd name="T14" fmla="*/ 278 w 1550"/>
                  <a:gd name="T15" fmla="*/ 0 h 1550"/>
                  <a:gd name="T16" fmla="*/ 0 w 1550"/>
                  <a:gd name="T17" fmla="*/ 278 h 1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0" h="1550">
                    <a:moveTo>
                      <a:pt x="0" y="278"/>
                    </a:moveTo>
                    <a:cubicBezTo>
                      <a:pt x="0" y="1272"/>
                      <a:pt x="0" y="1272"/>
                      <a:pt x="0" y="1272"/>
                    </a:cubicBezTo>
                    <a:cubicBezTo>
                      <a:pt x="0" y="1425"/>
                      <a:pt x="125" y="1550"/>
                      <a:pt x="278" y="1550"/>
                    </a:cubicBezTo>
                    <a:cubicBezTo>
                      <a:pt x="1272" y="1550"/>
                      <a:pt x="1272" y="1550"/>
                      <a:pt x="1272" y="1550"/>
                    </a:cubicBezTo>
                    <a:cubicBezTo>
                      <a:pt x="1425" y="1550"/>
                      <a:pt x="1550" y="1425"/>
                      <a:pt x="1550" y="1272"/>
                    </a:cubicBezTo>
                    <a:cubicBezTo>
                      <a:pt x="1550" y="278"/>
                      <a:pt x="1550" y="278"/>
                      <a:pt x="1550" y="278"/>
                    </a:cubicBezTo>
                    <a:cubicBezTo>
                      <a:pt x="1550" y="125"/>
                      <a:pt x="1425" y="0"/>
                      <a:pt x="1272" y="0"/>
                    </a:cubicBezTo>
                    <a:cubicBezTo>
                      <a:pt x="278" y="0"/>
                      <a:pt x="278" y="0"/>
                      <a:pt x="278" y="0"/>
                    </a:cubicBezTo>
                    <a:cubicBezTo>
                      <a:pt x="125" y="0"/>
                      <a:pt x="0" y="125"/>
                      <a:pt x="0" y="278"/>
                    </a:cubicBezTo>
                  </a:path>
                </a:pathLst>
              </a:cu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rgbClr val="292929">
                      <a:lumMod val="50000"/>
                    </a:srgbClr>
                  </a:solidFill>
                  <a:latin typeface="Segoe Light" pitchFamily="34" charset="0"/>
                </a:endParaRPr>
              </a:p>
            </p:txBody>
          </p:sp>
          <p:sp>
            <p:nvSpPr>
              <p:cNvPr id="83" name="Freeform 7"/>
              <p:cNvSpPr>
                <a:spLocks/>
              </p:cNvSpPr>
              <p:nvPr/>
            </p:nvSpPr>
            <p:spPr bwMode="black">
              <a:xfrm>
                <a:off x="3678126" y="1087075"/>
                <a:ext cx="420912" cy="796726"/>
              </a:xfrm>
              <a:custGeom>
                <a:avLst/>
                <a:gdLst>
                  <a:gd name="T0" fmla="*/ 548 w 652"/>
                  <a:gd name="T1" fmla="*/ 211 h 1234"/>
                  <a:gd name="T2" fmla="*/ 652 w 652"/>
                  <a:gd name="T3" fmla="*/ 211 h 1234"/>
                  <a:gd name="T4" fmla="*/ 652 w 652"/>
                  <a:gd name="T5" fmla="*/ 0 h 1234"/>
                  <a:gd name="T6" fmla="*/ 426 w 652"/>
                  <a:gd name="T7" fmla="*/ 0 h 1234"/>
                  <a:gd name="T8" fmla="*/ 178 w 652"/>
                  <a:gd name="T9" fmla="*/ 248 h 1234"/>
                  <a:gd name="T10" fmla="*/ 178 w 652"/>
                  <a:gd name="T11" fmla="*/ 374 h 1234"/>
                  <a:gd name="T12" fmla="*/ 0 w 652"/>
                  <a:gd name="T13" fmla="*/ 374 h 1234"/>
                  <a:gd name="T14" fmla="*/ 0 w 652"/>
                  <a:gd name="T15" fmla="*/ 585 h 1234"/>
                  <a:gd name="T16" fmla="*/ 178 w 652"/>
                  <a:gd name="T17" fmla="*/ 585 h 1234"/>
                  <a:gd name="T18" fmla="*/ 178 w 652"/>
                  <a:gd name="T19" fmla="*/ 1234 h 1234"/>
                  <a:gd name="T20" fmla="*/ 455 w 652"/>
                  <a:gd name="T21" fmla="*/ 1234 h 1234"/>
                  <a:gd name="T22" fmla="*/ 455 w 652"/>
                  <a:gd name="T23" fmla="*/ 585 h 1234"/>
                  <a:gd name="T24" fmla="*/ 652 w 652"/>
                  <a:gd name="T25" fmla="*/ 585 h 1234"/>
                  <a:gd name="T26" fmla="*/ 652 w 652"/>
                  <a:gd name="T27" fmla="*/ 374 h 1234"/>
                  <a:gd name="T28" fmla="*/ 455 w 652"/>
                  <a:gd name="T29" fmla="*/ 374 h 1234"/>
                  <a:gd name="T30" fmla="*/ 455 w 652"/>
                  <a:gd name="T31" fmla="*/ 304 h 1234"/>
                  <a:gd name="T32" fmla="*/ 548 w 652"/>
                  <a:gd name="T33" fmla="*/ 211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2" h="1234">
                    <a:moveTo>
                      <a:pt x="548" y="211"/>
                    </a:moveTo>
                    <a:cubicBezTo>
                      <a:pt x="652" y="211"/>
                      <a:pt x="652" y="211"/>
                      <a:pt x="652" y="211"/>
                    </a:cubicBezTo>
                    <a:cubicBezTo>
                      <a:pt x="652" y="0"/>
                      <a:pt x="652" y="0"/>
                      <a:pt x="652" y="0"/>
                    </a:cubicBezTo>
                    <a:cubicBezTo>
                      <a:pt x="426" y="0"/>
                      <a:pt x="426" y="0"/>
                      <a:pt x="426" y="0"/>
                    </a:cubicBezTo>
                    <a:cubicBezTo>
                      <a:pt x="289" y="0"/>
                      <a:pt x="178" y="111"/>
                      <a:pt x="178" y="248"/>
                    </a:cubicBezTo>
                    <a:cubicBezTo>
                      <a:pt x="178" y="374"/>
                      <a:pt x="178" y="374"/>
                      <a:pt x="178" y="374"/>
                    </a:cubicBezTo>
                    <a:cubicBezTo>
                      <a:pt x="0" y="374"/>
                      <a:pt x="0" y="374"/>
                      <a:pt x="0" y="374"/>
                    </a:cubicBezTo>
                    <a:cubicBezTo>
                      <a:pt x="0" y="585"/>
                      <a:pt x="0" y="585"/>
                      <a:pt x="0" y="585"/>
                    </a:cubicBezTo>
                    <a:cubicBezTo>
                      <a:pt x="178" y="585"/>
                      <a:pt x="178" y="585"/>
                      <a:pt x="178" y="585"/>
                    </a:cubicBezTo>
                    <a:cubicBezTo>
                      <a:pt x="178" y="1234"/>
                      <a:pt x="178" y="1234"/>
                      <a:pt x="178" y="1234"/>
                    </a:cubicBezTo>
                    <a:cubicBezTo>
                      <a:pt x="455" y="1234"/>
                      <a:pt x="455" y="1234"/>
                      <a:pt x="455" y="1234"/>
                    </a:cubicBezTo>
                    <a:cubicBezTo>
                      <a:pt x="455" y="585"/>
                      <a:pt x="455" y="585"/>
                      <a:pt x="455" y="585"/>
                    </a:cubicBezTo>
                    <a:cubicBezTo>
                      <a:pt x="652" y="585"/>
                      <a:pt x="652" y="585"/>
                      <a:pt x="652" y="585"/>
                    </a:cubicBezTo>
                    <a:cubicBezTo>
                      <a:pt x="652" y="374"/>
                      <a:pt x="652" y="374"/>
                      <a:pt x="652" y="374"/>
                    </a:cubicBezTo>
                    <a:cubicBezTo>
                      <a:pt x="455" y="374"/>
                      <a:pt x="455" y="374"/>
                      <a:pt x="455" y="374"/>
                    </a:cubicBezTo>
                    <a:cubicBezTo>
                      <a:pt x="455" y="304"/>
                      <a:pt x="455" y="304"/>
                      <a:pt x="455" y="304"/>
                    </a:cubicBezTo>
                    <a:cubicBezTo>
                      <a:pt x="455" y="252"/>
                      <a:pt x="496" y="211"/>
                      <a:pt x="548" y="211"/>
                    </a:cubicBezTo>
                  </a:path>
                </a:pathLst>
              </a:custGeom>
              <a:solidFill>
                <a:schemeClr val="bg1"/>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pPr>
                <a:endParaRPr lang="en-US" sz="1200">
                  <a:gradFill>
                    <a:gsLst>
                      <a:gs pos="0">
                        <a:srgbClr val="FFFFFF"/>
                      </a:gs>
                      <a:gs pos="100000">
                        <a:srgbClr val="FFFFFF"/>
                      </a:gs>
                    </a:gsLst>
                    <a:lin ang="5400000" scaled="0"/>
                  </a:gradFill>
                </a:endParaRPr>
              </a:p>
            </p:txBody>
          </p:sp>
        </p:grpSp>
      </p:grpSp>
      <p:grpSp>
        <p:nvGrpSpPr>
          <p:cNvPr id="84" name="Group 83"/>
          <p:cNvGrpSpPr/>
          <p:nvPr/>
        </p:nvGrpSpPr>
        <p:grpSpPr>
          <a:xfrm>
            <a:off x="3899952" y="1059977"/>
            <a:ext cx="568284" cy="568285"/>
            <a:chOff x="4079927" y="1556792"/>
            <a:chExt cx="763524" cy="763524"/>
          </a:xfrm>
        </p:grpSpPr>
        <p:sp>
          <p:nvSpPr>
            <p:cNvPr id="85" name="Oval Blue"/>
            <p:cNvSpPr>
              <a:spLocks noChangeAspect="1"/>
            </p:cNvSpPr>
            <p:nvPr/>
          </p:nvSpPr>
          <p:spPr bwMode="auto">
            <a:xfrm>
              <a:off x="4079927" y="1556792"/>
              <a:ext cx="763524" cy="763524"/>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grpSp>
          <p:nvGrpSpPr>
            <p:cNvPr id="86" name="Group 85"/>
            <p:cNvGrpSpPr/>
            <p:nvPr/>
          </p:nvGrpSpPr>
          <p:grpSpPr>
            <a:xfrm>
              <a:off x="4146687" y="1706533"/>
              <a:ext cx="505841" cy="476163"/>
              <a:chOff x="4985657" y="7068129"/>
              <a:chExt cx="592808" cy="558028"/>
            </a:xfrm>
          </p:grpSpPr>
          <p:sp>
            <p:nvSpPr>
              <p:cNvPr id="87" name="Freeform 79"/>
              <p:cNvSpPr>
                <a:spLocks noEditPoints="1"/>
              </p:cNvSpPr>
              <p:nvPr/>
            </p:nvSpPr>
            <p:spPr bwMode="black">
              <a:xfrm>
                <a:off x="5128768" y="7068129"/>
                <a:ext cx="449697" cy="5580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accent6"/>
              </a:solidFill>
              <a:ln>
                <a:noFill/>
              </a:ln>
              <a:extLst/>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
            <p:nvSpPr>
              <p:cNvPr id="88" name="Right Arrow 87"/>
              <p:cNvSpPr/>
              <p:nvPr/>
            </p:nvSpPr>
            <p:spPr bwMode="auto">
              <a:xfrm>
                <a:off x="4985657" y="7206343"/>
                <a:ext cx="370114" cy="261257"/>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grpSp>
        <p:nvGrpSpPr>
          <p:cNvPr id="89" name="Group 88"/>
          <p:cNvGrpSpPr/>
          <p:nvPr/>
        </p:nvGrpSpPr>
        <p:grpSpPr>
          <a:xfrm>
            <a:off x="3899952" y="2803766"/>
            <a:ext cx="568284" cy="568285"/>
            <a:chOff x="9928721" y="1628800"/>
            <a:chExt cx="763524" cy="763524"/>
          </a:xfrm>
        </p:grpSpPr>
        <p:sp>
          <p:nvSpPr>
            <p:cNvPr id="90" name="Oval Blue"/>
            <p:cNvSpPr>
              <a:spLocks noChangeAspect="1"/>
            </p:cNvSpPr>
            <p:nvPr/>
          </p:nvSpPr>
          <p:spPr bwMode="auto">
            <a:xfrm>
              <a:off x="9928721" y="1628800"/>
              <a:ext cx="763524" cy="763524"/>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pic>
          <p:nvPicPr>
            <p:cNvPr id="91" name="Yahoo"/>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060522" y="1830246"/>
              <a:ext cx="569373" cy="360632"/>
            </a:xfrm>
            <a:prstGeom prst="rect">
              <a:avLst/>
            </a:prstGeom>
            <a:noFill/>
            <a:effectLst/>
            <a:extLst>
              <a:ext uri="{909E8E84-426E-40DD-AFC4-6F175D3DCCD1}">
                <a14:hiddenFill xmlns:a14="http://schemas.microsoft.com/office/drawing/2010/main">
                  <a:solidFill>
                    <a:srgbClr val="FFFFFF"/>
                  </a:solidFill>
                </a14:hiddenFill>
              </a:ext>
            </a:extLst>
          </p:spPr>
        </p:pic>
      </p:grpSp>
      <p:grpSp>
        <p:nvGrpSpPr>
          <p:cNvPr id="92" name="Group 91"/>
          <p:cNvGrpSpPr/>
          <p:nvPr/>
        </p:nvGrpSpPr>
        <p:grpSpPr>
          <a:xfrm>
            <a:off x="3899952" y="1641243"/>
            <a:ext cx="568284" cy="568285"/>
            <a:chOff x="9928721" y="1088740"/>
            <a:chExt cx="763524" cy="763524"/>
          </a:xfrm>
        </p:grpSpPr>
        <p:sp>
          <p:nvSpPr>
            <p:cNvPr id="93" name="Oval Blue"/>
            <p:cNvSpPr>
              <a:spLocks noChangeAspect="1"/>
            </p:cNvSpPr>
            <p:nvPr/>
          </p:nvSpPr>
          <p:spPr bwMode="auto">
            <a:xfrm>
              <a:off x="9928721" y="1088740"/>
              <a:ext cx="763524" cy="763524"/>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pic>
          <p:nvPicPr>
            <p:cNvPr id="94" name="Google" descr="C:\Users\vittorib\Pictures\118003-matte-blue-and-white-square-icon-social-media-logos-google-g-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039090" y="1199109"/>
              <a:ext cx="542787" cy="542787"/>
            </a:xfrm>
            <a:prstGeom prst="rect">
              <a:avLst/>
            </a:prstGeom>
            <a:noFill/>
            <a:effectLst/>
            <a:extLst>
              <a:ext uri="{909E8E84-426E-40DD-AFC4-6F175D3DCCD1}">
                <a14:hiddenFill xmlns:a14="http://schemas.microsoft.com/office/drawing/2010/main">
                  <a:solidFill>
                    <a:srgbClr val="FFFFFF"/>
                  </a:solidFill>
                </a14:hiddenFill>
              </a:ext>
            </a:extLst>
          </p:spPr>
        </p:pic>
      </p:grpSp>
      <p:grpSp>
        <p:nvGrpSpPr>
          <p:cNvPr id="8" name="Group 7"/>
          <p:cNvGrpSpPr/>
          <p:nvPr/>
        </p:nvGrpSpPr>
        <p:grpSpPr>
          <a:xfrm>
            <a:off x="3899952" y="3385033"/>
            <a:ext cx="568284" cy="568285"/>
            <a:chOff x="673821" y="5445224"/>
            <a:chExt cx="763524" cy="763524"/>
          </a:xfrm>
        </p:grpSpPr>
        <p:sp>
          <p:nvSpPr>
            <p:cNvPr id="97" name="Oval Blue"/>
            <p:cNvSpPr>
              <a:spLocks noChangeAspect="1"/>
            </p:cNvSpPr>
            <p:nvPr/>
          </p:nvSpPr>
          <p:spPr bwMode="auto">
            <a:xfrm>
              <a:off x="673821" y="5445224"/>
              <a:ext cx="763524" cy="763524"/>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sp>
          <p:nvSpPr>
            <p:cNvPr id="99" name="Freeform 7"/>
            <p:cNvSpPr>
              <a:spLocks noEditPoints="1"/>
            </p:cNvSpPr>
            <p:nvPr/>
          </p:nvSpPr>
          <p:spPr bwMode="auto">
            <a:xfrm>
              <a:off x="739022" y="5552377"/>
              <a:ext cx="633122" cy="549218"/>
            </a:xfrm>
            <a:custGeom>
              <a:avLst/>
              <a:gdLst>
                <a:gd name="T0" fmla="*/ 611 w 1048"/>
                <a:gd name="T1" fmla="*/ 376 h 909"/>
                <a:gd name="T2" fmla="*/ 542 w 1048"/>
                <a:gd name="T3" fmla="*/ 340 h 909"/>
                <a:gd name="T4" fmla="*/ 438 w 1048"/>
                <a:gd name="T5" fmla="*/ 411 h 909"/>
                <a:gd name="T6" fmla="*/ 592 w 1048"/>
                <a:gd name="T7" fmla="*/ 409 h 909"/>
                <a:gd name="T8" fmla="*/ 242 w 1048"/>
                <a:gd name="T9" fmla="*/ 435 h 909"/>
                <a:gd name="T10" fmla="*/ 197 w 1048"/>
                <a:gd name="T11" fmla="*/ 435 h 909"/>
                <a:gd name="T12" fmla="*/ 386 w 1048"/>
                <a:gd name="T13" fmla="*/ 735 h 909"/>
                <a:gd name="T14" fmla="*/ 374 w 1048"/>
                <a:gd name="T15" fmla="*/ 578 h 909"/>
                <a:gd name="T16" fmla="*/ 222 w 1048"/>
                <a:gd name="T17" fmla="*/ 472 h 909"/>
                <a:gd name="T18" fmla="*/ 152 w 1048"/>
                <a:gd name="T19" fmla="*/ 447 h 909"/>
                <a:gd name="T20" fmla="*/ 119 w 1048"/>
                <a:gd name="T21" fmla="*/ 427 h 909"/>
                <a:gd name="T22" fmla="*/ 177 w 1048"/>
                <a:gd name="T23" fmla="*/ 385 h 909"/>
                <a:gd name="T24" fmla="*/ 201 w 1048"/>
                <a:gd name="T25" fmla="*/ 365 h 909"/>
                <a:gd name="T26" fmla="*/ 292 w 1048"/>
                <a:gd name="T27" fmla="*/ 213 h 909"/>
                <a:gd name="T28" fmla="*/ 218 w 1048"/>
                <a:gd name="T29" fmla="*/ 246 h 909"/>
                <a:gd name="T30" fmla="*/ 230 w 1048"/>
                <a:gd name="T31" fmla="*/ 164 h 909"/>
                <a:gd name="T32" fmla="*/ 251 w 1048"/>
                <a:gd name="T33" fmla="*/ 156 h 909"/>
                <a:gd name="T34" fmla="*/ 275 w 1048"/>
                <a:gd name="T35" fmla="*/ 123 h 909"/>
                <a:gd name="T36" fmla="*/ 271 w 1048"/>
                <a:gd name="T37" fmla="*/ 57 h 909"/>
                <a:gd name="T38" fmla="*/ 275 w 1048"/>
                <a:gd name="T39" fmla="*/ 73 h 909"/>
                <a:gd name="T40" fmla="*/ 329 w 1048"/>
                <a:gd name="T41" fmla="*/ 164 h 909"/>
                <a:gd name="T42" fmla="*/ 440 w 1048"/>
                <a:gd name="T43" fmla="*/ 114 h 909"/>
                <a:gd name="T44" fmla="*/ 604 w 1048"/>
                <a:gd name="T45" fmla="*/ 114 h 909"/>
                <a:gd name="T46" fmla="*/ 567 w 1048"/>
                <a:gd name="T47" fmla="*/ 197 h 909"/>
                <a:gd name="T48" fmla="*/ 591 w 1048"/>
                <a:gd name="T49" fmla="*/ 188 h 909"/>
                <a:gd name="T50" fmla="*/ 608 w 1048"/>
                <a:gd name="T51" fmla="*/ 180 h 909"/>
                <a:gd name="T52" fmla="*/ 612 w 1048"/>
                <a:gd name="T53" fmla="*/ 213 h 909"/>
                <a:gd name="T54" fmla="*/ 575 w 1048"/>
                <a:gd name="T55" fmla="*/ 234 h 909"/>
                <a:gd name="T56" fmla="*/ 542 w 1048"/>
                <a:gd name="T57" fmla="*/ 242 h 909"/>
                <a:gd name="T58" fmla="*/ 497 w 1048"/>
                <a:gd name="T59" fmla="*/ 295 h 909"/>
                <a:gd name="T60" fmla="*/ 526 w 1048"/>
                <a:gd name="T61" fmla="*/ 328 h 909"/>
                <a:gd name="T62" fmla="*/ 571 w 1048"/>
                <a:gd name="T63" fmla="*/ 303 h 909"/>
                <a:gd name="T64" fmla="*/ 600 w 1048"/>
                <a:gd name="T65" fmla="*/ 320 h 909"/>
                <a:gd name="T66" fmla="*/ 624 w 1048"/>
                <a:gd name="T67" fmla="*/ 336 h 909"/>
                <a:gd name="T68" fmla="*/ 640 w 1048"/>
                <a:gd name="T69" fmla="*/ 326 h 909"/>
                <a:gd name="T70" fmla="*/ 657 w 1048"/>
                <a:gd name="T71" fmla="*/ 283 h 909"/>
                <a:gd name="T72" fmla="*/ 677 w 1048"/>
                <a:gd name="T73" fmla="*/ 262 h 909"/>
                <a:gd name="T74" fmla="*/ 741 w 1048"/>
                <a:gd name="T75" fmla="*/ 226 h 909"/>
                <a:gd name="T76" fmla="*/ 0 w 1048"/>
                <a:gd name="T77" fmla="*/ 385 h 909"/>
                <a:gd name="T78" fmla="*/ 491 w 1048"/>
                <a:gd name="T79" fmla="*/ 761 h 909"/>
                <a:gd name="T80" fmla="*/ 214 w 1048"/>
                <a:gd name="T81" fmla="*/ 689 h 909"/>
                <a:gd name="T82" fmla="*/ 37 w 1048"/>
                <a:gd name="T83" fmla="*/ 369 h 909"/>
                <a:gd name="T84" fmla="*/ 127 w 1048"/>
                <a:gd name="T85" fmla="*/ 459 h 909"/>
                <a:gd name="T86" fmla="*/ 201 w 1048"/>
                <a:gd name="T87" fmla="*/ 500 h 909"/>
                <a:gd name="T88" fmla="*/ 214 w 1048"/>
                <a:gd name="T89" fmla="*/ 615 h 909"/>
                <a:gd name="T90" fmla="*/ 472 w 1048"/>
                <a:gd name="T91" fmla="*/ 151 h 909"/>
                <a:gd name="T92" fmla="*/ 472 w 1048"/>
                <a:gd name="T93" fmla="*/ 151 h 909"/>
                <a:gd name="T94" fmla="*/ 513 w 1048"/>
                <a:gd name="T95" fmla="*/ 201 h 909"/>
                <a:gd name="T96" fmla="*/ 530 w 1048"/>
                <a:gd name="T97" fmla="*/ 238 h 909"/>
                <a:gd name="T98" fmla="*/ 851 w 1048"/>
                <a:gd name="T99" fmla="*/ 461 h 909"/>
                <a:gd name="T100" fmla="*/ 722 w 1048"/>
                <a:gd name="T101" fmla="*/ 288 h 909"/>
                <a:gd name="T102" fmla="*/ 456 w 1048"/>
                <a:gd name="T103" fmla="*/ 461 h 909"/>
                <a:gd name="T104" fmla="*/ 456 w 1048"/>
                <a:gd name="T105" fmla="*/ 525 h 909"/>
                <a:gd name="T106" fmla="*/ 492 w 1048"/>
                <a:gd name="T107" fmla="*/ 686 h 909"/>
                <a:gd name="T108" fmla="*/ 704 w 1048"/>
                <a:gd name="T109" fmla="*/ 711 h 909"/>
                <a:gd name="T110" fmla="*/ 736 w 1048"/>
                <a:gd name="T111" fmla="*/ 909 h 909"/>
                <a:gd name="T112" fmla="*/ 768 w 1048"/>
                <a:gd name="T113" fmla="*/ 711 h 909"/>
                <a:gd name="T114" fmla="*/ 980 w 1048"/>
                <a:gd name="T115" fmla="*/ 686 h 909"/>
                <a:gd name="T116" fmla="*/ 1016 w 1048"/>
                <a:gd name="T117" fmla="*/ 525 h 909"/>
                <a:gd name="T118" fmla="*/ 1016 w 1048"/>
                <a:gd name="T119" fmla="*/ 461 h 909"/>
                <a:gd name="T120" fmla="*/ 736 w 1048"/>
                <a:gd name="T121" fmla="*/ 434 h 909"/>
                <a:gd name="T122" fmla="*/ 618 w 1048"/>
                <a:gd name="T123" fmla="*/ 639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48" h="909">
                  <a:moveTo>
                    <a:pt x="592" y="409"/>
                  </a:moveTo>
                  <a:cubicBezTo>
                    <a:pt x="611" y="376"/>
                    <a:pt x="611" y="376"/>
                    <a:pt x="611" y="376"/>
                  </a:cubicBezTo>
                  <a:cubicBezTo>
                    <a:pt x="599" y="373"/>
                    <a:pt x="575" y="362"/>
                    <a:pt x="575" y="349"/>
                  </a:cubicBezTo>
                  <a:cubicBezTo>
                    <a:pt x="575" y="336"/>
                    <a:pt x="563" y="336"/>
                    <a:pt x="542" y="340"/>
                  </a:cubicBezTo>
                  <a:cubicBezTo>
                    <a:pt x="530" y="340"/>
                    <a:pt x="518" y="340"/>
                    <a:pt x="505" y="344"/>
                  </a:cubicBezTo>
                  <a:cubicBezTo>
                    <a:pt x="475" y="355"/>
                    <a:pt x="450" y="382"/>
                    <a:pt x="438" y="411"/>
                  </a:cubicBezTo>
                  <a:cubicBezTo>
                    <a:pt x="444" y="410"/>
                    <a:pt x="450" y="409"/>
                    <a:pt x="456" y="409"/>
                  </a:cubicBezTo>
                  <a:lnTo>
                    <a:pt x="592" y="409"/>
                  </a:lnTo>
                  <a:close/>
                  <a:moveTo>
                    <a:pt x="197" y="435"/>
                  </a:moveTo>
                  <a:cubicBezTo>
                    <a:pt x="218" y="443"/>
                    <a:pt x="251" y="447"/>
                    <a:pt x="242" y="435"/>
                  </a:cubicBezTo>
                  <a:cubicBezTo>
                    <a:pt x="234" y="427"/>
                    <a:pt x="201" y="418"/>
                    <a:pt x="189" y="418"/>
                  </a:cubicBezTo>
                  <a:cubicBezTo>
                    <a:pt x="177" y="422"/>
                    <a:pt x="185" y="431"/>
                    <a:pt x="197" y="435"/>
                  </a:cubicBezTo>
                  <a:close/>
                  <a:moveTo>
                    <a:pt x="446" y="730"/>
                  </a:moveTo>
                  <a:cubicBezTo>
                    <a:pt x="427" y="733"/>
                    <a:pt x="407" y="735"/>
                    <a:pt x="386" y="735"/>
                  </a:cubicBezTo>
                  <a:cubicBezTo>
                    <a:pt x="349" y="735"/>
                    <a:pt x="308" y="730"/>
                    <a:pt x="275" y="718"/>
                  </a:cubicBezTo>
                  <a:cubicBezTo>
                    <a:pt x="300" y="661"/>
                    <a:pt x="349" y="628"/>
                    <a:pt x="374" y="578"/>
                  </a:cubicBezTo>
                  <a:cubicBezTo>
                    <a:pt x="382" y="562"/>
                    <a:pt x="370" y="554"/>
                    <a:pt x="333" y="542"/>
                  </a:cubicBezTo>
                  <a:cubicBezTo>
                    <a:pt x="300" y="529"/>
                    <a:pt x="267" y="455"/>
                    <a:pt x="222" y="472"/>
                  </a:cubicBezTo>
                  <a:cubicBezTo>
                    <a:pt x="201" y="480"/>
                    <a:pt x="169" y="496"/>
                    <a:pt x="173" y="476"/>
                  </a:cubicBezTo>
                  <a:cubicBezTo>
                    <a:pt x="181" y="439"/>
                    <a:pt x="156" y="464"/>
                    <a:pt x="152" y="447"/>
                  </a:cubicBezTo>
                  <a:cubicBezTo>
                    <a:pt x="148" y="431"/>
                    <a:pt x="185" y="427"/>
                    <a:pt x="164" y="422"/>
                  </a:cubicBezTo>
                  <a:cubicBezTo>
                    <a:pt x="148" y="414"/>
                    <a:pt x="119" y="468"/>
                    <a:pt x="119" y="427"/>
                  </a:cubicBezTo>
                  <a:cubicBezTo>
                    <a:pt x="119" y="414"/>
                    <a:pt x="119" y="402"/>
                    <a:pt x="127" y="398"/>
                  </a:cubicBezTo>
                  <a:cubicBezTo>
                    <a:pt x="140" y="373"/>
                    <a:pt x="169" y="373"/>
                    <a:pt x="177" y="385"/>
                  </a:cubicBezTo>
                  <a:cubicBezTo>
                    <a:pt x="185" y="406"/>
                    <a:pt x="185" y="418"/>
                    <a:pt x="193" y="410"/>
                  </a:cubicBezTo>
                  <a:cubicBezTo>
                    <a:pt x="201" y="402"/>
                    <a:pt x="189" y="390"/>
                    <a:pt x="201" y="365"/>
                  </a:cubicBezTo>
                  <a:cubicBezTo>
                    <a:pt x="214" y="340"/>
                    <a:pt x="238" y="312"/>
                    <a:pt x="300" y="287"/>
                  </a:cubicBezTo>
                  <a:cubicBezTo>
                    <a:pt x="337" y="271"/>
                    <a:pt x="308" y="238"/>
                    <a:pt x="292" y="213"/>
                  </a:cubicBezTo>
                  <a:cubicBezTo>
                    <a:pt x="271" y="188"/>
                    <a:pt x="242" y="164"/>
                    <a:pt x="234" y="193"/>
                  </a:cubicBezTo>
                  <a:cubicBezTo>
                    <a:pt x="226" y="213"/>
                    <a:pt x="242" y="254"/>
                    <a:pt x="218" y="246"/>
                  </a:cubicBezTo>
                  <a:cubicBezTo>
                    <a:pt x="193" y="238"/>
                    <a:pt x="164" y="221"/>
                    <a:pt x="181" y="201"/>
                  </a:cubicBezTo>
                  <a:cubicBezTo>
                    <a:pt x="197" y="184"/>
                    <a:pt x="230" y="180"/>
                    <a:pt x="230" y="164"/>
                  </a:cubicBezTo>
                  <a:cubicBezTo>
                    <a:pt x="230" y="143"/>
                    <a:pt x="230" y="127"/>
                    <a:pt x="242" y="127"/>
                  </a:cubicBezTo>
                  <a:cubicBezTo>
                    <a:pt x="255" y="131"/>
                    <a:pt x="263" y="135"/>
                    <a:pt x="251" y="156"/>
                  </a:cubicBezTo>
                  <a:cubicBezTo>
                    <a:pt x="242" y="176"/>
                    <a:pt x="292" y="188"/>
                    <a:pt x="296" y="176"/>
                  </a:cubicBezTo>
                  <a:cubicBezTo>
                    <a:pt x="304" y="164"/>
                    <a:pt x="292" y="147"/>
                    <a:pt x="275" y="123"/>
                  </a:cubicBezTo>
                  <a:cubicBezTo>
                    <a:pt x="263" y="106"/>
                    <a:pt x="234" y="110"/>
                    <a:pt x="247" y="94"/>
                  </a:cubicBezTo>
                  <a:cubicBezTo>
                    <a:pt x="251" y="90"/>
                    <a:pt x="259" y="65"/>
                    <a:pt x="271" y="57"/>
                  </a:cubicBezTo>
                  <a:cubicBezTo>
                    <a:pt x="275" y="57"/>
                    <a:pt x="279" y="57"/>
                    <a:pt x="284" y="53"/>
                  </a:cubicBezTo>
                  <a:cubicBezTo>
                    <a:pt x="284" y="57"/>
                    <a:pt x="275" y="65"/>
                    <a:pt x="275" y="73"/>
                  </a:cubicBezTo>
                  <a:cubicBezTo>
                    <a:pt x="275" y="94"/>
                    <a:pt x="312" y="65"/>
                    <a:pt x="320" y="86"/>
                  </a:cubicBezTo>
                  <a:cubicBezTo>
                    <a:pt x="333" y="106"/>
                    <a:pt x="308" y="139"/>
                    <a:pt x="329" y="164"/>
                  </a:cubicBezTo>
                  <a:cubicBezTo>
                    <a:pt x="349" y="188"/>
                    <a:pt x="362" y="209"/>
                    <a:pt x="370" y="176"/>
                  </a:cubicBezTo>
                  <a:cubicBezTo>
                    <a:pt x="378" y="139"/>
                    <a:pt x="440" y="135"/>
                    <a:pt x="440" y="114"/>
                  </a:cubicBezTo>
                  <a:cubicBezTo>
                    <a:pt x="444" y="98"/>
                    <a:pt x="444" y="78"/>
                    <a:pt x="444" y="45"/>
                  </a:cubicBezTo>
                  <a:cubicBezTo>
                    <a:pt x="505" y="53"/>
                    <a:pt x="559" y="78"/>
                    <a:pt x="604" y="114"/>
                  </a:cubicBezTo>
                  <a:cubicBezTo>
                    <a:pt x="579" y="123"/>
                    <a:pt x="546" y="172"/>
                    <a:pt x="546" y="188"/>
                  </a:cubicBezTo>
                  <a:cubicBezTo>
                    <a:pt x="546" y="209"/>
                    <a:pt x="555" y="205"/>
                    <a:pt x="567" y="197"/>
                  </a:cubicBezTo>
                  <a:cubicBezTo>
                    <a:pt x="583" y="188"/>
                    <a:pt x="563" y="209"/>
                    <a:pt x="579" y="221"/>
                  </a:cubicBezTo>
                  <a:cubicBezTo>
                    <a:pt x="600" y="229"/>
                    <a:pt x="596" y="217"/>
                    <a:pt x="591" y="188"/>
                  </a:cubicBezTo>
                  <a:cubicBezTo>
                    <a:pt x="587" y="160"/>
                    <a:pt x="604" y="147"/>
                    <a:pt x="616" y="151"/>
                  </a:cubicBezTo>
                  <a:cubicBezTo>
                    <a:pt x="633" y="156"/>
                    <a:pt x="608" y="160"/>
                    <a:pt x="608" y="180"/>
                  </a:cubicBezTo>
                  <a:cubicBezTo>
                    <a:pt x="608" y="197"/>
                    <a:pt x="637" y="180"/>
                    <a:pt x="641" y="193"/>
                  </a:cubicBezTo>
                  <a:cubicBezTo>
                    <a:pt x="641" y="201"/>
                    <a:pt x="612" y="197"/>
                    <a:pt x="612" y="213"/>
                  </a:cubicBezTo>
                  <a:cubicBezTo>
                    <a:pt x="612" y="225"/>
                    <a:pt x="612" y="234"/>
                    <a:pt x="600" y="234"/>
                  </a:cubicBezTo>
                  <a:cubicBezTo>
                    <a:pt x="591" y="234"/>
                    <a:pt x="579" y="238"/>
                    <a:pt x="575" y="234"/>
                  </a:cubicBezTo>
                  <a:cubicBezTo>
                    <a:pt x="567" y="229"/>
                    <a:pt x="571" y="213"/>
                    <a:pt x="563" y="213"/>
                  </a:cubicBezTo>
                  <a:cubicBezTo>
                    <a:pt x="546" y="209"/>
                    <a:pt x="550" y="234"/>
                    <a:pt x="542" y="242"/>
                  </a:cubicBezTo>
                  <a:cubicBezTo>
                    <a:pt x="534" y="254"/>
                    <a:pt x="518" y="266"/>
                    <a:pt x="513" y="271"/>
                  </a:cubicBezTo>
                  <a:cubicBezTo>
                    <a:pt x="501" y="279"/>
                    <a:pt x="546" y="307"/>
                    <a:pt x="497" y="295"/>
                  </a:cubicBezTo>
                  <a:cubicBezTo>
                    <a:pt x="481" y="291"/>
                    <a:pt x="477" y="328"/>
                    <a:pt x="493" y="332"/>
                  </a:cubicBezTo>
                  <a:cubicBezTo>
                    <a:pt x="505" y="336"/>
                    <a:pt x="513" y="336"/>
                    <a:pt x="526" y="328"/>
                  </a:cubicBezTo>
                  <a:cubicBezTo>
                    <a:pt x="530" y="328"/>
                    <a:pt x="534" y="316"/>
                    <a:pt x="546" y="303"/>
                  </a:cubicBezTo>
                  <a:cubicBezTo>
                    <a:pt x="555" y="295"/>
                    <a:pt x="567" y="295"/>
                    <a:pt x="571" y="303"/>
                  </a:cubicBezTo>
                  <a:cubicBezTo>
                    <a:pt x="596" y="320"/>
                    <a:pt x="575" y="332"/>
                    <a:pt x="579" y="336"/>
                  </a:cubicBezTo>
                  <a:cubicBezTo>
                    <a:pt x="587" y="349"/>
                    <a:pt x="604" y="332"/>
                    <a:pt x="600" y="320"/>
                  </a:cubicBezTo>
                  <a:cubicBezTo>
                    <a:pt x="596" y="307"/>
                    <a:pt x="563" y="287"/>
                    <a:pt x="583" y="291"/>
                  </a:cubicBezTo>
                  <a:cubicBezTo>
                    <a:pt x="600" y="295"/>
                    <a:pt x="608" y="324"/>
                    <a:pt x="624" y="336"/>
                  </a:cubicBezTo>
                  <a:cubicBezTo>
                    <a:pt x="637" y="344"/>
                    <a:pt x="624" y="316"/>
                    <a:pt x="633" y="320"/>
                  </a:cubicBezTo>
                  <a:cubicBezTo>
                    <a:pt x="637" y="320"/>
                    <a:pt x="639" y="323"/>
                    <a:pt x="640" y="326"/>
                  </a:cubicBezTo>
                  <a:cubicBezTo>
                    <a:pt x="647" y="314"/>
                    <a:pt x="647" y="314"/>
                    <a:pt x="647" y="314"/>
                  </a:cubicBezTo>
                  <a:cubicBezTo>
                    <a:pt x="637" y="302"/>
                    <a:pt x="642" y="287"/>
                    <a:pt x="657" y="283"/>
                  </a:cubicBezTo>
                  <a:cubicBezTo>
                    <a:pt x="660" y="282"/>
                    <a:pt x="662" y="282"/>
                    <a:pt x="665" y="282"/>
                  </a:cubicBezTo>
                  <a:cubicBezTo>
                    <a:pt x="677" y="262"/>
                    <a:pt x="677" y="262"/>
                    <a:pt x="677" y="262"/>
                  </a:cubicBezTo>
                  <a:cubicBezTo>
                    <a:pt x="690" y="239"/>
                    <a:pt x="712" y="226"/>
                    <a:pt x="736" y="226"/>
                  </a:cubicBezTo>
                  <a:cubicBezTo>
                    <a:pt x="738" y="226"/>
                    <a:pt x="740" y="226"/>
                    <a:pt x="741" y="226"/>
                  </a:cubicBezTo>
                  <a:cubicBezTo>
                    <a:pt x="679" y="92"/>
                    <a:pt x="543" y="0"/>
                    <a:pt x="386" y="0"/>
                  </a:cubicBezTo>
                  <a:cubicBezTo>
                    <a:pt x="173" y="0"/>
                    <a:pt x="0" y="172"/>
                    <a:pt x="0" y="385"/>
                  </a:cubicBezTo>
                  <a:cubicBezTo>
                    <a:pt x="0" y="603"/>
                    <a:pt x="173" y="776"/>
                    <a:pt x="386" y="776"/>
                  </a:cubicBezTo>
                  <a:cubicBezTo>
                    <a:pt x="422" y="776"/>
                    <a:pt x="457" y="771"/>
                    <a:pt x="491" y="761"/>
                  </a:cubicBezTo>
                  <a:cubicBezTo>
                    <a:pt x="472" y="757"/>
                    <a:pt x="455" y="747"/>
                    <a:pt x="446" y="730"/>
                  </a:cubicBezTo>
                  <a:close/>
                  <a:moveTo>
                    <a:pt x="214" y="689"/>
                  </a:moveTo>
                  <a:cubicBezTo>
                    <a:pt x="111" y="632"/>
                    <a:pt x="37" y="517"/>
                    <a:pt x="37" y="385"/>
                  </a:cubicBezTo>
                  <a:cubicBezTo>
                    <a:pt x="37" y="369"/>
                    <a:pt x="37" y="369"/>
                    <a:pt x="37" y="369"/>
                  </a:cubicBezTo>
                  <a:cubicBezTo>
                    <a:pt x="58" y="373"/>
                    <a:pt x="82" y="398"/>
                    <a:pt x="82" y="422"/>
                  </a:cubicBezTo>
                  <a:cubicBezTo>
                    <a:pt x="86" y="447"/>
                    <a:pt x="86" y="455"/>
                    <a:pt x="127" y="459"/>
                  </a:cubicBezTo>
                  <a:cubicBezTo>
                    <a:pt x="169" y="464"/>
                    <a:pt x="152" y="496"/>
                    <a:pt x="173" y="496"/>
                  </a:cubicBezTo>
                  <a:cubicBezTo>
                    <a:pt x="193" y="496"/>
                    <a:pt x="205" y="488"/>
                    <a:pt x="201" y="500"/>
                  </a:cubicBezTo>
                  <a:cubicBezTo>
                    <a:pt x="201" y="509"/>
                    <a:pt x="197" y="513"/>
                    <a:pt x="193" y="517"/>
                  </a:cubicBezTo>
                  <a:cubicBezTo>
                    <a:pt x="164" y="554"/>
                    <a:pt x="185" y="591"/>
                    <a:pt x="214" y="615"/>
                  </a:cubicBezTo>
                  <a:cubicBezTo>
                    <a:pt x="222" y="620"/>
                    <a:pt x="218" y="657"/>
                    <a:pt x="214" y="689"/>
                  </a:cubicBezTo>
                  <a:close/>
                  <a:moveTo>
                    <a:pt x="472" y="151"/>
                  </a:moveTo>
                  <a:cubicBezTo>
                    <a:pt x="460" y="131"/>
                    <a:pt x="423" y="143"/>
                    <a:pt x="444" y="168"/>
                  </a:cubicBezTo>
                  <a:cubicBezTo>
                    <a:pt x="460" y="176"/>
                    <a:pt x="477" y="164"/>
                    <a:pt x="472" y="151"/>
                  </a:cubicBezTo>
                  <a:close/>
                  <a:moveTo>
                    <a:pt x="530" y="238"/>
                  </a:moveTo>
                  <a:cubicBezTo>
                    <a:pt x="534" y="225"/>
                    <a:pt x="526" y="201"/>
                    <a:pt x="513" y="201"/>
                  </a:cubicBezTo>
                  <a:cubicBezTo>
                    <a:pt x="501" y="201"/>
                    <a:pt x="497" y="213"/>
                    <a:pt x="497" y="229"/>
                  </a:cubicBezTo>
                  <a:cubicBezTo>
                    <a:pt x="501" y="246"/>
                    <a:pt x="522" y="262"/>
                    <a:pt x="530" y="238"/>
                  </a:cubicBezTo>
                  <a:close/>
                  <a:moveTo>
                    <a:pt x="1016" y="461"/>
                  </a:moveTo>
                  <a:cubicBezTo>
                    <a:pt x="851" y="461"/>
                    <a:pt x="851" y="461"/>
                    <a:pt x="851" y="461"/>
                  </a:cubicBezTo>
                  <a:cubicBezTo>
                    <a:pt x="751" y="288"/>
                    <a:pt x="751" y="288"/>
                    <a:pt x="751" y="288"/>
                  </a:cubicBezTo>
                  <a:cubicBezTo>
                    <a:pt x="743" y="274"/>
                    <a:pt x="730" y="274"/>
                    <a:pt x="722" y="288"/>
                  </a:cubicBezTo>
                  <a:cubicBezTo>
                    <a:pt x="622" y="461"/>
                    <a:pt x="622" y="461"/>
                    <a:pt x="622" y="461"/>
                  </a:cubicBezTo>
                  <a:cubicBezTo>
                    <a:pt x="456" y="461"/>
                    <a:pt x="456" y="461"/>
                    <a:pt x="456" y="461"/>
                  </a:cubicBezTo>
                  <a:cubicBezTo>
                    <a:pt x="439" y="461"/>
                    <a:pt x="424" y="475"/>
                    <a:pt x="424" y="493"/>
                  </a:cubicBezTo>
                  <a:cubicBezTo>
                    <a:pt x="424" y="511"/>
                    <a:pt x="439" y="525"/>
                    <a:pt x="456" y="525"/>
                  </a:cubicBezTo>
                  <a:cubicBezTo>
                    <a:pt x="585" y="525"/>
                    <a:pt x="585" y="525"/>
                    <a:pt x="585" y="525"/>
                  </a:cubicBezTo>
                  <a:cubicBezTo>
                    <a:pt x="492" y="686"/>
                    <a:pt x="492" y="686"/>
                    <a:pt x="492" y="686"/>
                  </a:cubicBezTo>
                  <a:cubicBezTo>
                    <a:pt x="484" y="700"/>
                    <a:pt x="491" y="711"/>
                    <a:pt x="506" y="711"/>
                  </a:cubicBezTo>
                  <a:cubicBezTo>
                    <a:pt x="704" y="711"/>
                    <a:pt x="704" y="711"/>
                    <a:pt x="704" y="711"/>
                  </a:cubicBezTo>
                  <a:cubicBezTo>
                    <a:pt x="704" y="877"/>
                    <a:pt x="704" y="877"/>
                    <a:pt x="704" y="877"/>
                  </a:cubicBezTo>
                  <a:cubicBezTo>
                    <a:pt x="704" y="895"/>
                    <a:pt x="719" y="909"/>
                    <a:pt x="736" y="909"/>
                  </a:cubicBezTo>
                  <a:cubicBezTo>
                    <a:pt x="754" y="909"/>
                    <a:pt x="768" y="895"/>
                    <a:pt x="768" y="877"/>
                  </a:cubicBezTo>
                  <a:cubicBezTo>
                    <a:pt x="768" y="711"/>
                    <a:pt x="768" y="711"/>
                    <a:pt x="768" y="711"/>
                  </a:cubicBezTo>
                  <a:cubicBezTo>
                    <a:pt x="966" y="711"/>
                    <a:pt x="966" y="711"/>
                    <a:pt x="966" y="711"/>
                  </a:cubicBezTo>
                  <a:cubicBezTo>
                    <a:pt x="982" y="711"/>
                    <a:pt x="988" y="700"/>
                    <a:pt x="980" y="686"/>
                  </a:cubicBezTo>
                  <a:cubicBezTo>
                    <a:pt x="888" y="525"/>
                    <a:pt x="888" y="525"/>
                    <a:pt x="888" y="525"/>
                  </a:cubicBezTo>
                  <a:cubicBezTo>
                    <a:pt x="1016" y="525"/>
                    <a:pt x="1016" y="525"/>
                    <a:pt x="1016" y="525"/>
                  </a:cubicBezTo>
                  <a:cubicBezTo>
                    <a:pt x="1034" y="525"/>
                    <a:pt x="1048" y="511"/>
                    <a:pt x="1048" y="493"/>
                  </a:cubicBezTo>
                  <a:cubicBezTo>
                    <a:pt x="1048" y="475"/>
                    <a:pt x="1034" y="461"/>
                    <a:pt x="1016" y="461"/>
                  </a:cubicBezTo>
                  <a:close/>
                  <a:moveTo>
                    <a:pt x="618" y="639"/>
                  </a:moveTo>
                  <a:cubicBezTo>
                    <a:pt x="736" y="434"/>
                    <a:pt x="736" y="434"/>
                    <a:pt x="736" y="434"/>
                  </a:cubicBezTo>
                  <a:cubicBezTo>
                    <a:pt x="855" y="639"/>
                    <a:pt x="855" y="639"/>
                    <a:pt x="855" y="639"/>
                  </a:cubicBezTo>
                  <a:lnTo>
                    <a:pt x="618" y="639"/>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defTabSz="914363"/>
              <a:endParaRPr lang="en-US">
                <a:solidFill>
                  <a:srgbClr val="292929"/>
                </a:solidFill>
              </a:endParaRPr>
            </a:p>
          </p:txBody>
        </p:sp>
      </p:grpSp>
      <p:sp>
        <p:nvSpPr>
          <p:cNvPr id="125" name="Right Arrow 124"/>
          <p:cNvSpPr/>
          <p:nvPr/>
        </p:nvSpPr>
        <p:spPr bwMode="auto">
          <a:xfrm flipV="1">
            <a:off x="7104112" y="2229723"/>
            <a:ext cx="3037988" cy="403614"/>
          </a:xfrm>
          <a:prstGeom prst="rightArrow">
            <a:avLst>
              <a:gd name="adj1" fmla="val 50000"/>
              <a:gd name="adj2" fmla="val 61111"/>
            </a:avLst>
          </a:prstGeom>
          <a:solidFill>
            <a:srgbClr val="FF0000">
              <a:alpha val="9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63" name="Right Arrow 162"/>
          <p:cNvSpPr/>
          <p:nvPr/>
        </p:nvSpPr>
        <p:spPr bwMode="auto">
          <a:xfrm flipV="1">
            <a:off x="7910807" y="4835736"/>
            <a:ext cx="2231293" cy="403614"/>
          </a:xfrm>
          <a:prstGeom prst="rightArrow">
            <a:avLst>
              <a:gd name="adj1" fmla="val 50000"/>
              <a:gd name="adj2" fmla="val 61111"/>
            </a:avLst>
          </a:prstGeom>
          <a:solidFill>
            <a:schemeClr val="accent1">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grpSp>
        <p:nvGrpSpPr>
          <p:cNvPr id="165" name="Group 164"/>
          <p:cNvGrpSpPr/>
          <p:nvPr/>
        </p:nvGrpSpPr>
        <p:grpSpPr>
          <a:xfrm>
            <a:off x="8748578" y="4289914"/>
            <a:ext cx="440455" cy="602038"/>
            <a:chOff x="7988445" y="2583148"/>
            <a:chExt cx="715333" cy="977756"/>
          </a:xfrm>
        </p:grpSpPr>
        <p:sp>
          <p:nvSpPr>
            <p:cNvPr id="166" name="TextBox 165"/>
            <p:cNvSpPr txBox="1"/>
            <p:nvPr/>
          </p:nvSpPr>
          <p:spPr>
            <a:xfrm>
              <a:off x="8067547" y="3298481"/>
              <a:ext cx="557128" cy="262423"/>
            </a:xfrm>
            <a:prstGeom prst="rect">
              <a:avLst/>
            </a:prstGeom>
            <a:noFill/>
          </p:spPr>
          <p:txBody>
            <a:bodyPr wrap="none" lIns="0" tIns="0" rIns="0" bIns="0" rtlCol="0">
              <a:spAutoFit/>
            </a:bodyPr>
            <a:lstStyle/>
            <a:p>
              <a:pPr algn="ctr" defTabSz="914363"/>
              <a:r>
                <a:rPr lang="en-US" sz="1050" dirty="0">
                  <a:ln>
                    <a:solidFill>
                      <a:srgbClr val="FFFFFF">
                        <a:alpha val="0"/>
                      </a:srgbClr>
                    </a:solidFill>
                  </a:ln>
                  <a:gradFill>
                    <a:gsLst>
                      <a:gs pos="0">
                        <a:srgbClr val="595959"/>
                      </a:gs>
                      <a:gs pos="86000">
                        <a:srgbClr val="595959"/>
                      </a:gs>
                    </a:gsLst>
                    <a:lin ang="5400000" scaled="0"/>
                  </a:gradFill>
                </a:rPr>
                <a:t>SAML</a:t>
              </a:r>
            </a:p>
          </p:txBody>
        </p:sp>
        <p:grpSp>
          <p:nvGrpSpPr>
            <p:cNvPr id="167" name="Group 166"/>
            <p:cNvGrpSpPr/>
            <p:nvPr/>
          </p:nvGrpSpPr>
          <p:grpSpPr>
            <a:xfrm>
              <a:off x="7988445" y="2583148"/>
              <a:ext cx="715333" cy="715333"/>
              <a:chOff x="721408" y="2935627"/>
              <a:chExt cx="848238" cy="848238"/>
            </a:xfrm>
          </p:grpSpPr>
          <p:sp>
            <p:nvSpPr>
              <p:cNvPr id="168" name="Oval Blue"/>
              <p:cNvSpPr>
                <a:spLocks noChangeAspect="1"/>
              </p:cNvSpPr>
              <p:nvPr/>
            </p:nvSpPr>
            <p:spPr bwMode="auto">
              <a:xfrm>
                <a:off x="721408" y="2935627"/>
                <a:ext cx="848238" cy="848238"/>
              </a:xfrm>
              <a:prstGeom prst="rect">
                <a:avLst/>
              </a:prstGeom>
              <a:solidFill>
                <a:srgbClr val="FF0000">
                  <a:alpha val="9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kern="0" dirty="0">
                    <a:gradFill>
                      <a:gsLst>
                        <a:gs pos="0">
                          <a:srgbClr val="FFFFFF"/>
                        </a:gs>
                        <a:gs pos="100000">
                          <a:srgbClr val="FFFFFF"/>
                        </a:gs>
                      </a:gsLst>
                      <a:lin ang="5400000" scaled="0"/>
                    </a:gradFill>
                    <a:latin typeface="Segoe Condensed"/>
                  </a:rPr>
                  <a:t> </a:t>
                </a:r>
              </a:p>
            </p:txBody>
          </p:sp>
          <p:sp>
            <p:nvSpPr>
              <p:cNvPr id="169" name="Freeform 164"/>
              <p:cNvSpPr>
                <a:spLocks noEditPoints="1"/>
              </p:cNvSpPr>
              <p:nvPr/>
            </p:nvSpPr>
            <p:spPr bwMode="black">
              <a:xfrm>
                <a:off x="934662" y="3067402"/>
                <a:ext cx="421730" cy="58468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vert="horz" wrap="square" lIns="82305" tIns="41153" rIns="82305" bIns="41153" numCol="1" anchor="t" anchorCtr="0" compatLnSpc="1">
                <a:prstTxWarp prst="textNoShape">
                  <a:avLst/>
                </a:prstTxWarp>
              </a:bodyPr>
              <a:lstStyle/>
              <a:p>
                <a:pPr defTabSz="914363"/>
                <a:endParaRPr lang="en-US" sz="1100">
                  <a:solidFill>
                    <a:srgbClr val="292929"/>
                  </a:solidFill>
                </a:endParaRPr>
              </a:p>
            </p:txBody>
          </p:sp>
        </p:grpSp>
      </p:grpSp>
      <p:grpSp>
        <p:nvGrpSpPr>
          <p:cNvPr id="170" name="Group 169"/>
          <p:cNvGrpSpPr/>
          <p:nvPr/>
        </p:nvGrpSpPr>
        <p:grpSpPr>
          <a:xfrm>
            <a:off x="8748578" y="5552007"/>
            <a:ext cx="440455" cy="602038"/>
            <a:chOff x="8794712" y="2583148"/>
            <a:chExt cx="715333" cy="977756"/>
          </a:xfrm>
        </p:grpSpPr>
        <p:sp>
          <p:nvSpPr>
            <p:cNvPr id="171" name="TextBox 170"/>
            <p:cNvSpPr txBox="1"/>
            <p:nvPr/>
          </p:nvSpPr>
          <p:spPr>
            <a:xfrm>
              <a:off x="8934992" y="3298481"/>
              <a:ext cx="434769" cy="262423"/>
            </a:xfrm>
            <a:prstGeom prst="rect">
              <a:avLst/>
            </a:prstGeom>
            <a:noFill/>
          </p:spPr>
          <p:txBody>
            <a:bodyPr wrap="none" lIns="0" tIns="0" rIns="0" bIns="0" rtlCol="0">
              <a:spAutoFit/>
            </a:bodyPr>
            <a:lstStyle>
              <a:defPPr>
                <a:defRPr lang="en-US"/>
              </a:defPPr>
              <a:lvl1pPr algn="ctr">
                <a:defRPr sz="1100" spc="-50">
                  <a:ln>
                    <a:solidFill>
                      <a:schemeClr val="bg1">
                        <a:alpha val="0"/>
                      </a:schemeClr>
                    </a:solidFill>
                  </a:ln>
                  <a:gradFill>
                    <a:gsLst>
                      <a:gs pos="0">
                        <a:srgbClr val="595959"/>
                      </a:gs>
                      <a:gs pos="86000">
                        <a:srgbClr val="595959"/>
                      </a:gs>
                    </a:gsLst>
                    <a:lin ang="5400000" scaled="0"/>
                  </a:gradFill>
                </a:defRPr>
              </a:lvl1pPr>
            </a:lstStyle>
            <a:p>
              <a:pPr defTabSz="914363"/>
              <a:r>
                <a:rPr lang="en-US" sz="1050" spc="0" dirty="0">
                  <a:ln>
                    <a:solidFill>
                      <a:srgbClr val="FFFFFF">
                        <a:alpha val="0"/>
                      </a:srgbClr>
                    </a:solidFill>
                  </a:ln>
                </a:rPr>
                <a:t>SWT</a:t>
              </a:r>
            </a:p>
          </p:txBody>
        </p:sp>
        <p:grpSp>
          <p:nvGrpSpPr>
            <p:cNvPr id="172" name="Group 171"/>
            <p:cNvGrpSpPr/>
            <p:nvPr/>
          </p:nvGrpSpPr>
          <p:grpSpPr>
            <a:xfrm>
              <a:off x="8794712" y="2583148"/>
              <a:ext cx="715333" cy="715333"/>
              <a:chOff x="721408" y="2935627"/>
              <a:chExt cx="848238" cy="848238"/>
            </a:xfrm>
          </p:grpSpPr>
          <p:sp>
            <p:nvSpPr>
              <p:cNvPr id="173" name="Oval Blue"/>
              <p:cNvSpPr>
                <a:spLocks noChangeAspect="1"/>
              </p:cNvSpPr>
              <p:nvPr/>
            </p:nvSpPr>
            <p:spPr bwMode="auto">
              <a:xfrm>
                <a:off x="721408" y="2935627"/>
                <a:ext cx="848238" cy="848238"/>
              </a:xfrm>
              <a:prstGeom prst="rect">
                <a:avLst/>
              </a:prstGeom>
              <a:solidFill>
                <a:schemeClr val="accent4">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kern="0" dirty="0">
                    <a:gradFill>
                      <a:gsLst>
                        <a:gs pos="0">
                          <a:srgbClr val="FFFFFF"/>
                        </a:gs>
                        <a:gs pos="100000">
                          <a:srgbClr val="FFFFFF"/>
                        </a:gs>
                      </a:gsLst>
                      <a:lin ang="5400000" scaled="0"/>
                    </a:gradFill>
                    <a:latin typeface="Segoe Condensed"/>
                  </a:rPr>
                  <a:t> </a:t>
                </a:r>
              </a:p>
            </p:txBody>
          </p:sp>
          <p:sp>
            <p:nvSpPr>
              <p:cNvPr id="174" name="Freeform 164"/>
              <p:cNvSpPr>
                <a:spLocks noEditPoints="1"/>
              </p:cNvSpPr>
              <p:nvPr/>
            </p:nvSpPr>
            <p:spPr bwMode="black">
              <a:xfrm>
                <a:off x="934662" y="3067402"/>
                <a:ext cx="421730" cy="58468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vert="horz" wrap="square" lIns="82305" tIns="41153" rIns="82305" bIns="41153" numCol="1" anchor="t" anchorCtr="0" compatLnSpc="1">
                <a:prstTxWarp prst="textNoShape">
                  <a:avLst/>
                </a:prstTxWarp>
              </a:bodyPr>
              <a:lstStyle/>
              <a:p>
                <a:pPr defTabSz="914363"/>
                <a:endParaRPr lang="en-US" sz="1100">
                  <a:solidFill>
                    <a:srgbClr val="292929"/>
                  </a:solidFill>
                </a:endParaRPr>
              </a:p>
            </p:txBody>
          </p:sp>
        </p:grpSp>
      </p:grpSp>
      <p:sp>
        <p:nvSpPr>
          <p:cNvPr id="178" name="Right Arrow 177"/>
          <p:cNvSpPr/>
          <p:nvPr/>
        </p:nvSpPr>
        <p:spPr bwMode="auto">
          <a:xfrm flipV="1">
            <a:off x="4391258" y="4475239"/>
            <a:ext cx="1991678" cy="403614"/>
          </a:xfrm>
          <a:prstGeom prst="rightArrow">
            <a:avLst>
              <a:gd name="adj1" fmla="val 50000"/>
              <a:gd name="adj2" fmla="val 61111"/>
            </a:avLst>
          </a:prstGeom>
          <a:solidFill>
            <a:schemeClr val="accent1">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80" name="Right Arrow 179"/>
          <p:cNvSpPr/>
          <p:nvPr/>
        </p:nvSpPr>
        <p:spPr bwMode="auto">
          <a:xfrm rot="660000" flipV="1">
            <a:off x="4284653" y="5574199"/>
            <a:ext cx="2252745" cy="403614"/>
          </a:xfrm>
          <a:prstGeom prst="rightArrow">
            <a:avLst>
              <a:gd name="adj1" fmla="val 50000"/>
              <a:gd name="adj2" fmla="val 61111"/>
            </a:avLst>
          </a:prstGeom>
          <a:solidFill>
            <a:schemeClr val="accent4">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79" name="Right Arrow 178"/>
          <p:cNvSpPr/>
          <p:nvPr/>
        </p:nvSpPr>
        <p:spPr bwMode="auto">
          <a:xfrm rot="19788753">
            <a:off x="4208179" y="5515459"/>
            <a:ext cx="2543256" cy="403614"/>
          </a:xfrm>
          <a:prstGeom prst="rightArrow">
            <a:avLst>
              <a:gd name="adj1" fmla="val 50000"/>
              <a:gd name="adj2" fmla="val 61111"/>
            </a:avLst>
          </a:prstGeom>
          <a:solidFill>
            <a:schemeClr val="accent1">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81" name="Right Arrow 180"/>
          <p:cNvSpPr/>
          <p:nvPr/>
        </p:nvSpPr>
        <p:spPr bwMode="auto">
          <a:xfrm rot="-360000">
            <a:off x="4390949" y="6034142"/>
            <a:ext cx="2105109" cy="403614"/>
          </a:xfrm>
          <a:prstGeom prst="rightArrow">
            <a:avLst>
              <a:gd name="adj1" fmla="val 50000"/>
              <a:gd name="adj2" fmla="val 61111"/>
            </a:avLst>
          </a:prstGeom>
          <a:solidFill>
            <a:schemeClr val="accent4">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82" name="Right Arrow 181"/>
          <p:cNvSpPr/>
          <p:nvPr/>
        </p:nvSpPr>
        <p:spPr bwMode="auto">
          <a:xfrm rot="1680000" flipV="1">
            <a:off x="4208179" y="4989044"/>
            <a:ext cx="2543256" cy="403614"/>
          </a:xfrm>
          <a:prstGeom prst="rightArrow">
            <a:avLst>
              <a:gd name="adj1" fmla="val 50000"/>
              <a:gd name="adj2" fmla="val 61111"/>
            </a:avLst>
          </a:prstGeom>
          <a:solidFill>
            <a:schemeClr val="accent4">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9" name="TextBox 18"/>
          <p:cNvSpPr txBox="1"/>
          <p:nvPr/>
        </p:nvSpPr>
        <p:spPr>
          <a:xfrm>
            <a:off x="3899952" y="6571018"/>
            <a:ext cx="1717508" cy="286228"/>
          </a:xfrm>
          <a:prstGeom prst="rect">
            <a:avLst/>
          </a:prstGeom>
          <a:noFill/>
        </p:spPr>
        <p:txBody>
          <a:bodyPr wrap="square" lIns="0" tIns="45718" rIns="91435" bIns="45718" rtlCol="0">
            <a:spAutoFit/>
          </a:bodyPr>
          <a:lstStyle/>
          <a:p>
            <a:pPr defTabSz="914363">
              <a:lnSpc>
                <a:spcPct val="90000"/>
              </a:lnSpc>
            </a:pPr>
            <a:r>
              <a:rPr lang="en-US" sz="1400" dirty="0">
                <a:ln>
                  <a:solidFill>
                    <a:srgbClr val="FFFFFF">
                      <a:alpha val="0"/>
                    </a:srgbClr>
                  </a:solidFill>
                </a:ln>
                <a:gradFill>
                  <a:gsLst>
                    <a:gs pos="0">
                      <a:srgbClr val="595959"/>
                    </a:gs>
                    <a:gs pos="86000">
                      <a:srgbClr val="595959"/>
                    </a:gs>
                  </a:gsLst>
                  <a:lin ang="5400000" scaled="0"/>
                </a:gradFill>
              </a:rPr>
              <a:t>Service Identities</a:t>
            </a:r>
          </a:p>
        </p:txBody>
      </p:sp>
      <p:sp>
        <p:nvSpPr>
          <p:cNvPr id="20" name="TextBox 19"/>
          <p:cNvSpPr txBox="1"/>
          <p:nvPr/>
        </p:nvSpPr>
        <p:spPr>
          <a:xfrm>
            <a:off x="3899953" y="4907131"/>
            <a:ext cx="1467383" cy="307773"/>
          </a:xfrm>
          <a:prstGeom prst="rect">
            <a:avLst/>
          </a:prstGeom>
          <a:noFill/>
        </p:spPr>
        <p:txBody>
          <a:bodyPr wrap="none" lIns="0" tIns="45718" rIns="91435" bIns="45718" rtlCol="0">
            <a:spAutoFit/>
          </a:bodyPr>
          <a:lstStyle/>
          <a:p>
            <a:pPr defTabSz="914363"/>
            <a:r>
              <a:rPr lang="en-US" sz="1400" dirty="0">
                <a:ln>
                  <a:solidFill>
                    <a:srgbClr val="FFFFFF">
                      <a:alpha val="0"/>
                    </a:srgbClr>
                  </a:solidFill>
                </a:ln>
                <a:gradFill>
                  <a:gsLst>
                    <a:gs pos="0">
                      <a:srgbClr val="595959"/>
                    </a:gs>
                    <a:gs pos="86000">
                      <a:srgbClr val="595959"/>
                    </a:gs>
                  </a:gsLst>
                  <a:lin ang="5400000" scaled="0"/>
                </a:gradFill>
              </a:rPr>
              <a:t>ADFS2 . WS-Trust</a:t>
            </a:r>
          </a:p>
        </p:txBody>
      </p:sp>
      <p:sp>
        <p:nvSpPr>
          <p:cNvPr id="177" name="Right Arrow 176"/>
          <p:cNvSpPr/>
          <p:nvPr/>
        </p:nvSpPr>
        <p:spPr bwMode="auto">
          <a:xfrm rot="20280000">
            <a:off x="4285015" y="5035662"/>
            <a:ext cx="2213213" cy="403614"/>
          </a:xfrm>
          <a:prstGeom prst="rightArrow">
            <a:avLst>
              <a:gd name="adj1" fmla="val 50000"/>
              <a:gd name="adj2" fmla="val 61111"/>
            </a:avLst>
          </a:prstGeom>
          <a:solidFill>
            <a:schemeClr val="accent1">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grpSp>
        <p:nvGrpSpPr>
          <p:cNvPr id="4116" name="Group 4115"/>
          <p:cNvGrpSpPr/>
          <p:nvPr/>
        </p:nvGrpSpPr>
        <p:grpSpPr>
          <a:xfrm>
            <a:off x="3899952" y="4386947"/>
            <a:ext cx="568284" cy="568285"/>
            <a:chOff x="3988597" y="4221088"/>
            <a:chExt cx="568284" cy="568285"/>
          </a:xfrm>
        </p:grpSpPr>
        <p:sp>
          <p:nvSpPr>
            <p:cNvPr id="138" name="Oval Blue"/>
            <p:cNvSpPr>
              <a:spLocks noChangeAspect="1"/>
            </p:cNvSpPr>
            <p:nvPr/>
          </p:nvSpPr>
          <p:spPr bwMode="auto">
            <a:xfrm>
              <a:off x="3988597" y="4221088"/>
              <a:ext cx="568284" cy="568285"/>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sp>
          <p:nvSpPr>
            <p:cNvPr id="152" name="Freeform 13"/>
            <p:cNvSpPr>
              <a:spLocks noEditPoints="1"/>
            </p:cNvSpPr>
            <p:nvPr/>
          </p:nvSpPr>
          <p:spPr bwMode="auto">
            <a:xfrm>
              <a:off x="4068220" y="4297103"/>
              <a:ext cx="409038" cy="416254"/>
            </a:xfrm>
            <a:custGeom>
              <a:avLst/>
              <a:gdLst>
                <a:gd name="T0" fmla="*/ 592 w 624"/>
                <a:gd name="T1" fmla="*/ 187 h 635"/>
                <a:gd name="T2" fmla="*/ 427 w 624"/>
                <a:gd name="T3" fmla="*/ 187 h 635"/>
                <a:gd name="T4" fmla="*/ 327 w 624"/>
                <a:gd name="T5" fmla="*/ 14 h 635"/>
                <a:gd name="T6" fmla="*/ 298 w 624"/>
                <a:gd name="T7" fmla="*/ 14 h 635"/>
                <a:gd name="T8" fmla="*/ 198 w 624"/>
                <a:gd name="T9" fmla="*/ 187 h 635"/>
                <a:gd name="T10" fmla="*/ 32 w 624"/>
                <a:gd name="T11" fmla="*/ 187 h 635"/>
                <a:gd name="T12" fmla="*/ 0 w 624"/>
                <a:gd name="T13" fmla="*/ 219 h 635"/>
                <a:gd name="T14" fmla="*/ 32 w 624"/>
                <a:gd name="T15" fmla="*/ 251 h 635"/>
                <a:gd name="T16" fmla="*/ 161 w 624"/>
                <a:gd name="T17" fmla="*/ 251 h 635"/>
                <a:gd name="T18" fmla="*/ 68 w 624"/>
                <a:gd name="T19" fmla="*/ 412 h 635"/>
                <a:gd name="T20" fmla="*/ 82 w 624"/>
                <a:gd name="T21" fmla="*/ 437 h 635"/>
                <a:gd name="T22" fmla="*/ 280 w 624"/>
                <a:gd name="T23" fmla="*/ 437 h 635"/>
                <a:gd name="T24" fmla="*/ 280 w 624"/>
                <a:gd name="T25" fmla="*/ 603 h 635"/>
                <a:gd name="T26" fmla="*/ 312 w 624"/>
                <a:gd name="T27" fmla="*/ 635 h 635"/>
                <a:gd name="T28" fmla="*/ 344 w 624"/>
                <a:gd name="T29" fmla="*/ 603 h 635"/>
                <a:gd name="T30" fmla="*/ 344 w 624"/>
                <a:gd name="T31" fmla="*/ 437 h 635"/>
                <a:gd name="T32" fmla="*/ 542 w 624"/>
                <a:gd name="T33" fmla="*/ 437 h 635"/>
                <a:gd name="T34" fmla="*/ 556 w 624"/>
                <a:gd name="T35" fmla="*/ 412 h 635"/>
                <a:gd name="T36" fmla="*/ 464 w 624"/>
                <a:gd name="T37" fmla="*/ 251 h 635"/>
                <a:gd name="T38" fmla="*/ 592 w 624"/>
                <a:gd name="T39" fmla="*/ 251 h 635"/>
                <a:gd name="T40" fmla="*/ 624 w 624"/>
                <a:gd name="T41" fmla="*/ 219 h 635"/>
                <a:gd name="T42" fmla="*/ 592 w 624"/>
                <a:gd name="T43" fmla="*/ 187 h 635"/>
                <a:gd name="T44" fmla="*/ 194 w 624"/>
                <a:gd name="T45" fmla="*/ 365 h 635"/>
                <a:gd name="T46" fmla="*/ 312 w 624"/>
                <a:gd name="T47" fmla="*/ 160 h 635"/>
                <a:gd name="T48" fmla="*/ 431 w 624"/>
                <a:gd name="T49" fmla="*/ 365 h 635"/>
                <a:gd name="T50" fmla="*/ 194 w 624"/>
                <a:gd name="T51" fmla="*/ 365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4" h="635">
                  <a:moveTo>
                    <a:pt x="592" y="187"/>
                  </a:moveTo>
                  <a:cubicBezTo>
                    <a:pt x="427" y="187"/>
                    <a:pt x="427" y="187"/>
                    <a:pt x="427" y="187"/>
                  </a:cubicBezTo>
                  <a:cubicBezTo>
                    <a:pt x="327" y="14"/>
                    <a:pt x="327" y="14"/>
                    <a:pt x="327" y="14"/>
                  </a:cubicBezTo>
                  <a:cubicBezTo>
                    <a:pt x="319" y="0"/>
                    <a:pt x="306" y="0"/>
                    <a:pt x="298" y="14"/>
                  </a:cubicBezTo>
                  <a:cubicBezTo>
                    <a:pt x="198" y="187"/>
                    <a:pt x="198" y="187"/>
                    <a:pt x="198" y="187"/>
                  </a:cubicBezTo>
                  <a:cubicBezTo>
                    <a:pt x="32" y="187"/>
                    <a:pt x="32" y="187"/>
                    <a:pt x="32" y="187"/>
                  </a:cubicBezTo>
                  <a:cubicBezTo>
                    <a:pt x="15" y="187"/>
                    <a:pt x="0" y="201"/>
                    <a:pt x="0" y="219"/>
                  </a:cubicBezTo>
                  <a:cubicBezTo>
                    <a:pt x="0" y="237"/>
                    <a:pt x="15" y="251"/>
                    <a:pt x="32" y="251"/>
                  </a:cubicBezTo>
                  <a:cubicBezTo>
                    <a:pt x="161" y="251"/>
                    <a:pt x="161" y="251"/>
                    <a:pt x="161" y="251"/>
                  </a:cubicBezTo>
                  <a:cubicBezTo>
                    <a:pt x="68" y="412"/>
                    <a:pt x="68" y="412"/>
                    <a:pt x="68" y="412"/>
                  </a:cubicBezTo>
                  <a:cubicBezTo>
                    <a:pt x="60" y="426"/>
                    <a:pt x="67" y="437"/>
                    <a:pt x="82" y="437"/>
                  </a:cubicBezTo>
                  <a:cubicBezTo>
                    <a:pt x="280" y="437"/>
                    <a:pt x="280" y="437"/>
                    <a:pt x="280" y="437"/>
                  </a:cubicBezTo>
                  <a:cubicBezTo>
                    <a:pt x="280" y="603"/>
                    <a:pt x="280" y="603"/>
                    <a:pt x="280" y="603"/>
                  </a:cubicBezTo>
                  <a:cubicBezTo>
                    <a:pt x="280" y="621"/>
                    <a:pt x="295" y="635"/>
                    <a:pt x="312" y="635"/>
                  </a:cubicBezTo>
                  <a:cubicBezTo>
                    <a:pt x="330" y="635"/>
                    <a:pt x="344" y="621"/>
                    <a:pt x="344" y="603"/>
                  </a:cubicBezTo>
                  <a:cubicBezTo>
                    <a:pt x="344" y="437"/>
                    <a:pt x="344" y="437"/>
                    <a:pt x="344" y="437"/>
                  </a:cubicBezTo>
                  <a:cubicBezTo>
                    <a:pt x="542" y="437"/>
                    <a:pt x="542" y="437"/>
                    <a:pt x="542" y="437"/>
                  </a:cubicBezTo>
                  <a:cubicBezTo>
                    <a:pt x="558" y="437"/>
                    <a:pt x="564" y="426"/>
                    <a:pt x="556" y="412"/>
                  </a:cubicBezTo>
                  <a:cubicBezTo>
                    <a:pt x="464" y="251"/>
                    <a:pt x="464" y="251"/>
                    <a:pt x="464" y="251"/>
                  </a:cubicBezTo>
                  <a:cubicBezTo>
                    <a:pt x="592" y="251"/>
                    <a:pt x="592" y="251"/>
                    <a:pt x="592" y="251"/>
                  </a:cubicBezTo>
                  <a:cubicBezTo>
                    <a:pt x="610" y="251"/>
                    <a:pt x="624" y="237"/>
                    <a:pt x="624" y="219"/>
                  </a:cubicBezTo>
                  <a:cubicBezTo>
                    <a:pt x="624" y="201"/>
                    <a:pt x="610" y="187"/>
                    <a:pt x="592" y="187"/>
                  </a:cubicBezTo>
                  <a:close/>
                  <a:moveTo>
                    <a:pt x="194" y="365"/>
                  </a:moveTo>
                  <a:cubicBezTo>
                    <a:pt x="312" y="160"/>
                    <a:pt x="312" y="160"/>
                    <a:pt x="312" y="160"/>
                  </a:cubicBezTo>
                  <a:cubicBezTo>
                    <a:pt x="431" y="365"/>
                    <a:pt x="431" y="365"/>
                    <a:pt x="431" y="365"/>
                  </a:cubicBezTo>
                  <a:lnTo>
                    <a:pt x="194" y="365"/>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defTabSz="914363"/>
              <a:endParaRPr lang="en-US">
                <a:solidFill>
                  <a:srgbClr val="292929"/>
                </a:solidFill>
              </a:endParaRPr>
            </a:p>
          </p:txBody>
        </p:sp>
      </p:grpSp>
      <p:grpSp>
        <p:nvGrpSpPr>
          <p:cNvPr id="4120" name="Group 4119"/>
          <p:cNvGrpSpPr/>
          <p:nvPr/>
        </p:nvGrpSpPr>
        <p:grpSpPr>
          <a:xfrm>
            <a:off x="3899952" y="5280064"/>
            <a:ext cx="568284" cy="1314039"/>
            <a:chOff x="3988597" y="5194710"/>
            <a:chExt cx="568284" cy="1314039"/>
          </a:xfrm>
        </p:grpSpPr>
        <p:sp>
          <p:nvSpPr>
            <p:cNvPr id="147" name="Oval Blue"/>
            <p:cNvSpPr>
              <a:spLocks noChangeAspect="1"/>
            </p:cNvSpPr>
            <p:nvPr/>
          </p:nvSpPr>
          <p:spPr bwMode="auto">
            <a:xfrm>
              <a:off x="3988597" y="5194710"/>
              <a:ext cx="568284" cy="1314039"/>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sp>
          <p:nvSpPr>
            <p:cNvPr id="154" name="Freeform 154"/>
            <p:cNvSpPr>
              <a:spLocks noEditPoints="1"/>
            </p:cNvSpPr>
            <p:nvPr/>
          </p:nvSpPr>
          <p:spPr bwMode="black">
            <a:xfrm>
              <a:off x="4052768" y="5353281"/>
              <a:ext cx="439944" cy="439828"/>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
          <p:nvSpPr>
            <p:cNvPr id="156" name="Freeform 18"/>
            <p:cNvSpPr>
              <a:spLocks noEditPoints="1"/>
            </p:cNvSpPr>
            <p:nvPr/>
          </p:nvSpPr>
          <p:spPr bwMode="auto">
            <a:xfrm rot="2700000" flipH="1">
              <a:off x="4035062" y="6031542"/>
              <a:ext cx="475354" cy="218928"/>
            </a:xfrm>
            <a:custGeom>
              <a:avLst/>
              <a:gdLst>
                <a:gd name="T0" fmla="*/ 2223 w 2887"/>
                <a:gd name="T1" fmla="*/ 1 h 1330"/>
                <a:gd name="T2" fmla="*/ 1620 w 2887"/>
                <a:gd name="T3" fmla="*/ 406 h 1330"/>
                <a:gd name="T4" fmla="*/ 1573 w 2887"/>
                <a:gd name="T5" fmla="*/ 429 h 1330"/>
                <a:gd name="T6" fmla="*/ 212 w 2887"/>
                <a:gd name="T7" fmla="*/ 429 h 1330"/>
                <a:gd name="T8" fmla="*/ 165 w 2887"/>
                <a:gd name="T9" fmla="*/ 452 h 1330"/>
                <a:gd name="T10" fmla="*/ 10 w 2887"/>
                <a:gd name="T11" fmla="*/ 649 h 1330"/>
                <a:gd name="T12" fmla="*/ 14 w 2887"/>
                <a:gd name="T13" fmla="*/ 690 h 1330"/>
                <a:gd name="T14" fmla="*/ 161 w 2887"/>
                <a:gd name="T15" fmla="*/ 811 h 1330"/>
                <a:gd name="T16" fmla="*/ 212 w 2887"/>
                <a:gd name="T17" fmla="*/ 829 h 1330"/>
                <a:gd name="T18" fmla="*/ 310 w 2887"/>
                <a:gd name="T19" fmla="*/ 829 h 1330"/>
                <a:gd name="T20" fmla="*/ 360 w 2887"/>
                <a:gd name="T21" fmla="*/ 809 h 1330"/>
                <a:gd name="T22" fmla="*/ 444 w 2887"/>
                <a:gd name="T23" fmla="*/ 724 h 1330"/>
                <a:gd name="T24" fmla="*/ 485 w 2887"/>
                <a:gd name="T25" fmla="*/ 724 h 1330"/>
                <a:gd name="T26" fmla="*/ 570 w 2887"/>
                <a:gd name="T27" fmla="*/ 809 h 1330"/>
                <a:gd name="T28" fmla="*/ 619 w 2887"/>
                <a:gd name="T29" fmla="*/ 829 h 1330"/>
                <a:gd name="T30" fmla="*/ 663 w 2887"/>
                <a:gd name="T31" fmla="*/ 829 h 1330"/>
                <a:gd name="T32" fmla="*/ 713 w 2887"/>
                <a:gd name="T33" fmla="*/ 809 h 1330"/>
                <a:gd name="T34" fmla="*/ 748 w 2887"/>
                <a:gd name="T35" fmla="*/ 773 h 1330"/>
                <a:gd name="T36" fmla="*/ 789 w 2887"/>
                <a:gd name="T37" fmla="*/ 773 h 1330"/>
                <a:gd name="T38" fmla="*/ 825 w 2887"/>
                <a:gd name="T39" fmla="*/ 809 h 1330"/>
                <a:gd name="T40" fmla="*/ 874 w 2887"/>
                <a:gd name="T41" fmla="*/ 829 h 1330"/>
                <a:gd name="T42" fmla="*/ 1455 w 2887"/>
                <a:gd name="T43" fmla="*/ 829 h 1330"/>
                <a:gd name="T44" fmla="*/ 1484 w 2887"/>
                <a:gd name="T45" fmla="*/ 858 h 1330"/>
                <a:gd name="T46" fmla="*/ 1484 w 2887"/>
                <a:gd name="T47" fmla="*/ 898 h 1330"/>
                <a:gd name="T48" fmla="*/ 1513 w 2887"/>
                <a:gd name="T49" fmla="*/ 926 h 1330"/>
                <a:gd name="T50" fmla="*/ 1584 w 2887"/>
                <a:gd name="T51" fmla="*/ 926 h 1330"/>
                <a:gd name="T52" fmla="*/ 1631 w 2887"/>
                <a:gd name="T53" fmla="*/ 948 h 1330"/>
                <a:gd name="T54" fmla="*/ 2223 w 2887"/>
                <a:gd name="T55" fmla="*/ 1329 h 1330"/>
                <a:gd name="T56" fmla="*/ 2887 w 2887"/>
                <a:gd name="T57" fmla="*/ 665 h 1330"/>
                <a:gd name="T58" fmla="*/ 2223 w 2887"/>
                <a:gd name="T59" fmla="*/ 1 h 1330"/>
                <a:gd name="T60" fmla="*/ 2223 w 2887"/>
                <a:gd name="T61" fmla="*/ 1155 h 1330"/>
                <a:gd name="T62" fmla="*/ 2218 w 2887"/>
                <a:gd name="T63" fmla="*/ 1155 h 1330"/>
                <a:gd name="T64" fmla="*/ 2209 w 2887"/>
                <a:gd name="T65" fmla="*/ 1126 h 1330"/>
                <a:gd name="T66" fmla="*/ 2209 w 2887"/>
                <a:gd name="T67" fmla="*/ 204 h 1330"/>
                <a:gd name="T68" fmla="*/ 2218 w 2887"/>
                <a:gd name="T69" fmla="*/ 175 h 1330"/>
                <a:gd name="T70" fmla="*/ 2223 w 2887"/>
                <a:gd name="T71" fmla="*/ 175 h 1330"/>
                <a:gd name="T72" fmla="*/ 2713 w 2887"/>
                <a:gd name="T73" fmla="*/ 665 h 1330"/>
                <a:gd name="T74" fmla="*/ 2223 w 2887"/>
                <a:gd name="T75" fmla="*/ 1155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7" h="1330">
                  <a:moveTo>
                    <a:pt x="2223" y="1"/>
                  </a:moveTo>
                  <a:cubicBezTo>
                    <a:pt x="1766" y="2"/>
                    <a:pt x="1620" y="406"/>
                    <a:pt x="1620" y="406"/>
                  </a:cubicBezTo>
                  <a:cubicBezTo>
                    <a:pt x="1610" y="419"/>
                    <a:pt x="1589" y="429"/>
                    <a:pt x="1573" y="429"/>
                  </a:cubicBezTo>
                  <a:cubicBezTo>
                    <a:pt x="212" y="429"/>
                    <a:pt x="212" y="429"/>
                    <a:pt x="212" y="429"/>
                  </a:cubicBezTo>
                  <a:cubicBezTo>
                    <a:pt x="196" y="429"/>
                    <a:pt x="175" y="439"/>
                    <a:pt x="165" y="452"/>
                  </a:cubicBezTo>
                  <a:cubicBezTo>
                    <a:pt x="10" y="649"/>
                    <a:pt x="10" y="649"/>
                    <a:pt x="10" y="649"/>
                  </a:cubicBezTo>
                  <a:cubicBezTo>
                    <a:pt x="0" y="661"/>
                    <a:pt x="2" y="680"/>
                    <a:pt x="14" y="690"/>
                  </a:cubicBezTo>
                  <a:cubicBezTo>
                    <a:pt x="161" y="811"/>
                    <a:pt x="161" y="811"/>
                    <a:pt x="161" y="811"/>
                  </a:cubicBezTo>
                  <a:cubicBezTo>
                    <a:pt x="173" y="821"/>
                    <a:pt x="196" y="829"/>
                    <a:pt x="212" y="829"/>
                  </a:cubicBezTo>
                  <a:cubicBezTo>
                    <a:pt x="310" y="829"/>
                    <a:pt x="310" y="829"/>
                    <a:pt x="310" y="829"/>
                  </a:cubicBezTo>
                  <a:cubicBezTo>
                    <a:pt x="326" y="829"/>
                    <a:pt x="348" y="820"/>
                    <a:pt x="360" y="809"/>
                  </a:cubicBezTo>
                  <a:cubicBezTo>
                    <a:pt x="444" y="724"/>
                    <a:pt x="444" y="724"/>
                    <a:pt x="444" y="724"/>
                  </a:cubicBezTo>
                  <a:cubicBezTo>
                    <a:pt x="456" y="713"/>
                    <a:pt x="474" y="713"/>
                    <a:pt x="485" y="724"/>
                  </a:cubicBezTo>
                  <a:cubicBezTo>
                    <a:pt x="570" y="809"/>
                    <a:pt x="570" y="809"/>
                    <a:pt x="570" y="809"/>
                  </a:cubicBezTo>
                  <a:cubicBezTo>
                    <a:pt x="581" y="820"/>
                    <a:pt x="603" y="829"/>
                    <a:pt x="619" y="829"/>
                  </a:cubicBezTo>
                  <a:cubicBezTo>
                    <a:pt x="663" y="829"/>
                    <a:pt x="663" y="829"/>
                    <a:pt x="663" y="829"/>
                  </a:cubicBezTo>
                  <a:cubicBezTo>
                    <a:pt x="679" y="829"/>
                    <a:pt x="701" y="820"/>
                    <a:pt x="713" y="809"/>
                  </a:cubicBezTo>
                  <a:cubicBezTo>
                    <a:pt x="748" y="773"/>
                    <a:pt x="748" y="773"/>
                    <a:pt x="748" y="773"/>
                  </a:cubicBezTo>
                  <a:cubicBezTo>
                    <a:pt x="760" y="762"/>
                    <a:pt x="778" y="762"/>
                    <a:pt x="789" y="773"/>
                  </a:cubicBezTo>
                  <a:cubicBezTo>
                    <a:pt x="825" y="809"/>
                    <a:pt x="825" y="809"/>
                    <a:pt x="825" y="809"/>
                  </a:cubicBezTo>
                  <a:cubicBezTo>
                    <a:pt x="836" y="820"/>
                    <a:pt x="858" y="829"/>
                    <a:pt x="874" y="829"/>
                  </a:cubicBezTo>
                  <a:cubicBezTo>
                    <a:pt x="1455" y="829"/>
                    <a:pt x="1455" y="829"/>
                    <a:pt x="1455" y="829"/>
                  </a:cubicBezTo>
                  <a:cubicBezTo>
                    <a:pt x="1471" y="829"/>
                    <a:pt x="1484" y="842"/>
                    <a:pt x="1484" y="858"/>
                  </a:cubicBezTo>
                  <a:cubicBezTo>
                    <a:pt x="1484" y="898"/>
                    <a:pt x="1484" y="898"/>
                    <a:pt x="1484" y="898"/>
                  </a:cubicBezTo>
                  <a:cubicBezTo>
                    <a:pt x="1484" y="913"/>
                    <a:pt x="1497" y="926"/>
                    <a:pt x="1513" y="926"/>
                  </a:cubicBezTo>
                  <a:cubicBezTo>
                    <a:pt x="1584" y="926"/>
                    <a:pt x="1584" y="926"/>
                    <a:pt x="1584" y="926"/>
                  </a:cubicBezTo>
                  <a:cubicBezTo>
                    <a:pt x="1599" y="926"/>
                    <a:pt x="1621" y="936"/>
                    <a:pt x="1631" y="948"/>
                  </a:cubicBezTo>
                  <a:cubicBezTo>
                    <a:pt x="1631" y="948"/>
                    <a:pt x="1771" y="1330"/>
                    <a:pt x="2223" y="1329"/>
                  </a:cubicBezTo>
                  <a:cubicBezTo>
                    <a:pt x="2590" y="1328"/>
                    <a:pt x="2887" y="1032"/>
                    <a:pt x="2887" y="665"/>
                  </a:cubicBezTo>
                  <a:cubicBezTo>
                    <a:pt x="2887" y="298"/>
                    <a:pt x="2590" y="0"/>
                    <a:pt x="2223" y="1"/>
                  </a:cubicBezTo>
                  <a:close/>
                  <a:moveTo>
                    <a:pt x="2223" y="1155"/>
                  </a:moveTo>
                  <a:cubicBezTo>
                    <a:pt x="2218" y="1155"/>
                    <a:pt x="2218" y="1155"/>
                    <a:pt x="2218" y="1155"/>
                  </a:cubicBezTo>
                  <a:cubicBezTo>
                    <a:pt x="2213" y="1155"/>
                    <a:pt x="2209" y="1142"/>
                    <a:pt x="2209" y="1126"/>
                  </a:cubicBezTo>
                  <a:cubicBezTo>
                    <a:pt x="2209" y="204"/>
                    <a:pt x="2209" y="204"/>
                    <a:pt x="2209" y="204"/>
                  </a:cubicBezTo>
                  <a:cubicBezTo>
                    <a:pt x="2209" y="188"/>
                    <a:pt x="2213" y="175"/>
                    <a:pt x="2218" y="175"/>
                  </a:cubicBezTo>
                  <a:cubicBezTo>
                    <a:pt x="2218" y="175"/>
                    <a:pt x="2218" y="175"/>
                    <a:pt x="2223" y="175"/>
                  </a:cubicBezTo>
                  <a:cubicBezTo>
                    <a:pt x="2494" y="175"/>
                    <a:pt x="2713" y="394"/>
                    <a:pt x="2713" y="665"/>
                  </a:cubicBezTo>
                  <a:cubicBezTo>
                    <a:pt x="2713" y="936"/>
                    <a:pt x="2494" y="1155"/>
                    <a:pt x="2223" y="1155"/>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292929"/>
                </a:solidFill>
              </a:endParaRPr>
            </a:p>
          </p:txBody>
        </p:sp>
      </p:grpSp>
      <p:grpSp>
        <p:nvGrpSpPr>
          <p:cNvPr id="104" name="Group 103"/>
          <p:cNvGrpSpPr/>
          <p:nvPr/>
        </p:nvGrpSpPr>
        <p:grpSpPr>
          <a:xfrm>
            <a:off x="6587539" y="4436706"/>
            <a:ext cx="1323267" cy="771588"/>
            <a:chOff x="6585950" y="4436706"/>
            <a:chExt cx="1323267" cy="771588"/>
          </a:xfrm>
        </p:grpSpPr>
        <p:sp>
          <p:nvSpPr>
            <p:cNvPr id="160" name="Freeform 13"/>
            <p:cNvSpPr>
              <a:spLocks noEditPoints="1"/>
            </p:cNvSpPr>
            <p:nvPr/>
          </p:nvSpPr>
          <p:spPr bwMode="auto">
            <a:xfrm>
              <a:off x="6585950" y="4436706"/>
              <a:ext cx="644482" cy="655852"/>
            </a:xfrm>
            <a:custGeom>
              <a:avLst/>
              <a:gdLst>
                <a:gd name="T0" fmla="*/ 592 w 624"/>
                <a:gd name="T1" fmla="*/ 187 h 635"/>
                <a:gd name="T2" fmla="*/ 427 w 624"/>
                <a:gd name="T3" fmla="*/ 187 h 635"/>
                <a:gd name="T4" fmla="*/ 327 w 624"/>
                <a:gd name="T5" fmla="*/ 14 h 635"/>
                <a:gd name="T6" fmla="*/ 298 w 624"/>
                <a:gd name="T7" fmla="*/ 14 h 635"/>
                <a:gd name="T8" fmla="*/ 198 w 624"/>
                <a:gd name="T9" fmla="*/ 187 h 635"/>
                <a:gd name="T10" fmla="*/ 32 w 624"/>
                <a:gd name="T11" fmla="*/ 187 h 635"/>
                <a:gd name="T12" fmla="*/ 0 w 624"/>
                <a:gd name="T13" fmla="*/ 219 h 635"/>
                <a:gd name="T14" fmla="*/ 32 w 624"/>
                <a:gd name="T15" fmla="*/ 251 h 635"/>
                <a:gd name="T16" fmla="*/ 161 w 624"/>
                <a:gd name="T17" fmla="*/ 251 h 635"/>
                <a:gd name="T18" fmla="*/ 68 w 624"/>
                <a:gd name="T19" fmla="*/ 412 h 635"/>
                <a:gd name="T20" fmla="*/ 82 w 624"/>
                <a:gd name="T21" fmla="*/ 437 h 635"/>
                <a:gd name="T22" fmla="*/ 280 w 624"/>
                <a:gd name="T23" fmla="*/ 437 h 635"/>
                <a:gd name="T24" fmla="*/ 280 w 624"/>
                <a:gd name="T25" fmla="*/ 603 h 635"/>
                <a:gd name="T26" fmla="*/ 312 w 624"/>
                <a:gd name="T27" fmla="*/ 635 h 635"/>
                <a:gd name="T28" fmla="*/ 344 w 624"/>
                <a:gd name="T29" fmla="*/ 603 h 635"/>
                <a:gd name="T30" fmla="*/ 344 w 624"/>
                <a:gd name="T31" fmla="*/ 437 h 635"/>
                <a:gd name="T32" fmla="*/ 542 w 624"/>
                <a:gd name="T33" fmla="*/ 437 h 635"/>
                <a:gd name="T34" fmla="*/ 556 w 624"/>
                <a:gd name="T35" fmla="*/ 412 h 635"/>
                <a:gd name="T36" fmla="*/ 464 w 624"/>
                <a:gd name="T37" fmla="*/ 251 h 635"/>
                <a:gd name="T38" fmla="*/ 592 w 624"/>
                <a:gd name="T39" fmla="*/ 251 h 635"/>
                <a:gd name="T40" fmla="*/ 624 w 624"/>
                <a:gd name="T41" fmla="*/ 219 h 635"/>
                <a:gd name="T42" fmla="*/ 592 w 624"/>
                <a:gd name="T43" fmla="*/ 187 h 635"/>
                <a:gd name="T44" fmla="*/ 194 w 624"/>
                <a:gd name="T45" fmla="*/ 365 h 635"/>
                <a:gd name="T46" fmla="*/ 312 w 624"/>
                <a:gd name="T47" fmla="*/ 160 h 635"/>
                <a:gd name="T48" fmla="*/ 431 w 624"/>
                <a:gd name="T49" fmla="*/ 365 h 635"/>
                <a:gd name="T50" fmla="*/ 194 w 624"/>
                <a:gd name="T51" fmla="*/ 365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4" h="635">
                  <a:moveTo>
                    <a:pt x="592" y="187"/>
                  </a:moveTo>
                  <a:cubicBezTo>
                    <a:pt x="427" y="187"/>
                    <a:pt x="427" y="187"/>
                    <a:pt x="427" y="187"/>
                  </a:cubicBezTo>
                  <a:cubicBezTo>
                    <a:pt x="327" y="14"/>
                    <a:pt x="327" y="14"/>
                    <a:pt x="327" y="14"/>
                  </a:cubicBezTo>
                  <a:cubicBezTo>
                    <a:pt x="319" y="0"/>
                    <a:pt x="306" y="0"/>
                    <a:pt x="298" y="14"/>
                  </a:cubicBezTo>
                  <a:cubicBezTo>
                    <a:pt x="198" y="187"/>
                    <a:pt x="198" y="187"/>
                    <a:pt x="198" y="187"/>
                  </a:cubicBezTo>
                  <a:cubicBezTo>
                    <a:pt x="32" y="187"/>
                    <a:pt x="32" y="187"/>
                    <a:pt x="32" y="187"/>
                  </a:cubicBezTo>
                  <a:cubicBezTo>
                    <a:pt x="15" y="187"/>
                    <a:pt x="0" y="201"/>
                    <a:pt x="0" y="219"/>
                  </a:cubicBezTo>
                  <a:cubicBezTo>
                    <a:pt x="0" y="237"/>
                    <a:pt x="15" y="251"/>
                    <a:pt x="32" y="251"/>
                  </a:cubicBezTo>
                  <a:cubicBezTo>
                    <a:pt x="161" y="251"/>
                    <a:pt x="161" y="251"/>
                    <a:pt x="161" y="251"/>
                  </a:cubicBezTo>
                  <a:cubicBezTo>
                    <a:pt x="68" y="412"/>
                    <a:pt x="68" y="412"/>
                    <a:pt x="68" y="412"/>
                  </a:cubicBezTo>
                  <a:cubicBezTo>
                    <a:pt x="60" y="426"/>
                    <a:pt x="67" y="437"/>
                    <a:pt x="82" y="437"/>
                  </a:cubicBezTo>
                  <a:cubicBezTo>
                    <a:pt x="280" y="437"/>
                    <a:pt x="280" y="437"/>
                    <a:pt x="280" y="437"/>
                  </a:cubicBezTo>
                  <a:cubicBezTo>
                    <a:pt x="280" y="603"/>
                    <a:pt x="280" y="603"/>
                    <a:pt x="280" y="603"/>
                  </a:cubicBezTo>
                  <a:cubicBezTo>
                    <a:pt x="280" y="621"/>
                    <a:pt x="295" y="635"/>
                    <a:pt x="312" y="635"/>
                  </a:cubicBezTo>
                  <a:cubicBezTo>
                    <a:pt x="330" y="635"/>
                    <a:pt x="344" y="621"/>
                    <a:pt x="344" y="603"/>
                  </a:cubicBezTo>
                  <a:cubicBezTo>
                    <a:pt x="344" y="437"/>
                    <a:pt x="344" y="437"/>
                    <a:pt x="344" y="437"/>
                  </a:cubicBezTo>
                  <a:cubicBezTo>
                    <a:pt x="542" y="437"/>
                    <a:pt x="542" y="437"/>
                    <a:pt x="542" y="437"/>
                  </a:cubicBezTo>
                  <a:cubicBezTo>
                    <a:pt x="558" y="437"/>
                    <a:pt x="564" y="426"/>
                    <a:pt x="556" y="412"/>
                  </a:cubicBezTo>
                  <a:cubicBezTo>
                    <a:pt x="464" y="251"/>
                    <a:pt x="464" y="251"/>
                    <a:pt x="464" y="251"/>
                  </a:cubicBezTo>
                  <a:cubicBezTo>
                    <a:pt x="592" y="251"/>
                    <a:pt x="592" y="251"/>
                    <a:pt x="592" y="251"/>
                  </a:cubicBezTo>
                  <a:cubicBezTo>
                    <a:pt x="610" y="251"/>
                    <a:pt x="624" y="237"/>
                    <a:pt x="624" y="219"/>
                  </a:cubicBezTo>
                  <a:cubicBezTo>
                    <a:pt x="624" y="201"/>
                    <a:pt x="610" y="187"/>
                    <a:pt x="592" y="187"/>
                  </a:cubicBezTo>
                  <a:close/>
                  <a:moveTo>
                    <a:pt x="194" y="365"/>
                  </a:moveTo>
                  <a:cubicBezTo>
                    <a:pt x="312" y="160"/>
                    <a:pt x="312" y="160"/>
                    <a:pt x="312" y="160"/>
                  </a:cubicBezTo>
                  <a:cubicBezTo>
                    <a:pt x="431" y="365"/>
                    <a:pt x="431" y="365"/>
                    <a:pt x="431" y="365"/>
                  </a:cubicBezTo>
                  <a:lnTo>
                    <a:pt x="194" y="365"/>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defTabSz="914363"/>
              <a:endParaRPr lang="en-US">
                <a:solidFill>
                  <a:srgbClr val="292929"/>
                </a:solidFill>
              </a:endParaRPr>
            </a:p>
          </p:txBody>
        </p:sp>
        <p:sp>
          <p:nvSpPr>
            <p:cNvPr id="191" name="TextBox 190"/>
            <p:cNvSpPr txBox="1"/>
            <p:nvPr/>
          </p:nvSpPr>
          <p:spPr>
            <a:xfrm>
              <a:off x="7007570" y="4922066"/>
              <a:ext cx="901647" cy="286228"/>
            </a:xfrm>
            <a:prstGeom prst="rect">
              <a:avLst/>
            </a:prstGeom>
            <a:noFill/>
          </p:spPr>
          <p:txBody>
            <a:bodyPr wrap="none" lIns="91435" tIns="45718" rIns="91435" bIns="45718" rtlCol="0">
              <a:spAutoFit/>
            </a:bodyPr>
            <a:lstStyle/>
            <a:p>
              <a:pPr defTabSz="914363">
                <a:lnSpc>
                  <a:spcPct val="90000"/>
                </a:lnSpc>
              </a:pPr>
              <a:r>
                <a:rPr lang="en-US" sz="1400" dirty="0">
                  <a:ln>
                    <a:solidFill>
                      <a:srgbClr val="FFFFFF">
                        <a:alpha val="0"/>
                      </a:srgbClr>
                    </a:solidFill>
                  </a:ln>
                  <a:gradFill>
                    <a:gsLst>
                      <a:gs pos="0">
                        <a:srgbClr val="595959"/>
                      </a:gs>
                      <a:gs pos="86000">
                        <a:srgbClr val="595959"/>
                      </a:gs>
                    </a:gsLst>
                    <a:lin ang="5400000" scaled="0"/>
                  </a:gradFill>
                </a:rPr>
                <a:t>WS-Trust</a:t>
              </a:r>
            </a:p>
          </p:txBody>
        </p:sp>
      </p:grpSp>
      <p:grpSp>
        <p:nvGrpSpPr>
          <p:cNvPr id="105" name="Group 104"/>
          <p:cNvGrpSpPr/>
          <p:nvPr/>
        </p:nvGrpSpPr>
        <p:grpSpPr>
          <a:xfrm>
            <a:off x="6587539" y="5707402"/>
            <a:ext cx="1960045" cy="742188"/>
            <a:chOff x="6585950" y="5707402"/>
            <a:chExt cx="1960045" cy="742188"/>
          </a:xfrm>
        </p:grpSpPr>
        <p:sp>
          <p:nvSpPr>
            <p:cNvPr id="161" name="Freeform 13"/>
            <p:cNvSpPr>
              <a:spLocks noEditPoints="1"/>
            </p:cNvSpPr>
            <p:nvPr/>
          </p:nvSpPr>
          <p:spPr bwMode="auto">
            <a:xfrm>
              <a:off x="6585950" y="5707402"/>
              <a:ext cx="644482" cy="655852"/>
            </a:xfrm>
            <a:custGeom>
              <a:avLst/>
              <a:gdLst>
                <a:gd name="T0" fmla="*/ 592 w 624"/>
                <a:gd name="T1" fmla="*/ 187 h 635"/>
                <a:gd name="T2" fmla="*/ 427 w 624"/>
                <a:gd name="T3" fmla="*/ 187 h 635"/>
                <a:gd name="T4" fmla="*/ 327 w 624"/>
                <a:gd name="T5" fmla="*/ 14 h 635"/>
                <a:gd name="T6" fmla="*/ 298 w 624"/>
                <a:gd name="T7" fmla="*/ 14 h 635"/>
                <a:gd name="T8" fmla="*/ 198 w 624"/>
                <a:gd name="T9" fmla="*/ 187 h 635"/>
                <a:gd name="T10" fmla="*/ 32 w 624"/>
                <a:gd name="T11" fmla="*/ 187 h 635"/>
                <a:gd name="T12" fmla="*/ 0 w 624"/>
                <a:gd name="T13" fmla="*/ 219 h 635"/>
                <a:gd name="T14" fmla="*/ 32 w 624"/>
                <a:gd name="T15" fmla="*/ 251 h 635"/>
                <a:gd name="T16" fmla="*/ 161 w 624"/>
                <a:gd name="T17" fmla="*/ 251 h 635"/>
                <a:gd name="T18" fmla="*/ 68 w 624"/>
                <a:gd name="T19" fmla="*/ 412 h 635"/>
                <a:gd name="T20" fmla="*/ 82 w 624"/>
                <a:gd name="T21" fmla="*/ 437 h 635"/>
                <a:gd name="T22" fmla="*/ 280 w 624"/>
                <a:gd name="T23" fmla="*/ 437 h 635"/>
                <a:gd name="T24" fmla="*/ 280 w 624"/>
                <a:gd name="T25" fmla="*/ 603 h 635"/>
                <a:gd name="T26" fmla="*/ 312 w 624"/>
                <a:gd name="T27" fmla="*/ 635 h 635"/>
                <a:gd name="T28" fmla="*/ 344 w 624"/>
                <a:gd name="T29" fmla="*/ 603 h 635"/>
                <a:gd name="T30" fmla="*/ 344 w 624"/>
                <a:gd name="T31" fmla="*/ 437 h 635"/>
                <a:gd name="T32" fmla="*/ 542 w 624"/>
                <a:gd name="T33" fmla="*/ 437 h 635"/>
                <a:gd name="T34" fmla="*/ 556 w 624"/>
                <a:gd name="T35" fmla="*/ 412 h 635"/>
                <a:gd name="T36" fmla="*/ 464 w 624"/>
                <a:gd name="T37" fmla="*/ 251 h 635"/>
                <a:gd name="T38" fmla="*/ 592 w 624"/>
                <a:gd name="T39" fmla="*/ 251 h 635"/>
                <a:gd name="T40" fmla="*/ 624 w 624"/>
                <a:gd name="T41" fmla="*/ 219 h 635"/>
                <a:gd name="T42" fmla="*/ 592 w 624"/>
                <a:gd name="T43" fmla="*/ 187 h 635"/>
                <a:gd name="T44" fmla="*/ 194 w 624"/>
                <a:gd name="T45" fmla="*/ 365 h 635"/>
                <a:gd name="T46" fmla="*/ 312 w 624"/>
                <a:gd name="T47" fmla="*/ 160 h 635"/>
                <a:gd name="T48" fmla="*/ 431 w 624"/>
                <a:gd name="T49" fmla="*/ 365 h 635"/>
                <a:gd name="T50" fmla="*/ 194 w 624"/>
                <a:gd name="T51" fmla="*/ 365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4" h="635">
                  <a:moveTo>
                    <a:pt x="592" y="187"/>
                  </a:moveTo>
                  <a:cubicBezTo>
                    <a:pt x="427" y="187"/>
                    <a:pt x="427" y="187"/>
                    <a:pt x="427" y="187"/>
                  </a:cubicBezTo>
                  <a:cubicBezTo>
                    <a:pt x="327" y="14"/>
                    <a:pt x="327" y="14"/>
                    <a:pt x="327" y="14"/>
                  </a:cubicBezTo>
                  <a:cubicBezTo>
                    <a:pt x="319" y="0"/>
                    <a:pt x="306" y="0"/>
                    <a:pt x="298" y="14"/>
                  </a:cubicBezTo>
                  <a:cubicBezTo>
                    <a:pt x="198" y="187"/>
                    <a:pt x="198" y="187"/>
                    <a:pt x="198" y="187"/>
                  </a:cubicBezTo>
                  <a:cubicBezTo>
                    <a:pt x="32" y="187"/>
                    <a:pt x="32" y="187"/>
                    <a:pt x="32" y="187"/>
                  </a:cubicBezTo>
                  <a:cubicBezTo>
                    <a:pt x="15" y="187"/>
                    <a:pt x="0" y="201"/>
                    <a:pt x="0" y="219"/>
                  </a:cubicBezTo>
                  <a:cubicBezTo>
                    <a:pt x="0" y="237"/>
                    <a:pt x="15" y="251"/>
                    <a:pt x="32" y="251"/>
                  </a:cubicBezTo>
                  <a:cubicBezTo>
                    <a:pt x="161" y="251"/>
                    <a:pt x="161" y="251"/>
                    <a:pt x="161" y="251"/>
                  </a:cubicBezTo>
                  <a:cubicBezTo>
                    <a:pt x="68" y="412"/>
                    <a:pt x="68" y="412"/>
                    <a:pt x="68" y="412"/>
                  </a:cubicBezTo>
                  <a:cubicBezTo>
                    <a:pt x="60" y="426"/>
                    <a:pt x="67" y="437"/>
                    <a:pt x="82" y="437"/>
                  </a:cubicBezTo>
                  <a:cubicBezTo>
                    <a:pt x="280" y="437"/>
                    <a:pt x="280" y="437"/>
                    <a:pt x="280" y="437"/>
                  </a:cubicBezTo>
                  <a:cubicBezTo>
                    <a:pt x="280" y="603"/>
                    <a:pt x="280" y="603"/>
                    <a:pt x="280" y="603"/>
                  </a:cubicBezTo>
                  <a:cubicBezTo>
                    <a:pt x="280" y="621"/>
                    <a:pt x="295" y="635"/>
                    <a:pt x="312" y="635"/>
                  </a:cubicBezTo>
                  <a:cubicBezTo>
                    <a:pt x="330" y="635"/>
                    <a:pt x="344" y="621"/>
                    <a:pt x="344" y="603"/>
                  </a:cubicBezTo>
                  <a:cubicBezTo>
                    <a:pt x="344" y="437"/>
                    <a:pt x="344" y="437"/>
                    <a:pt x="344" y="437"/>
                  </a:cubicBezTo>
                  <a:cubicBezTo>
                    <a:pt x="542" y="437"/>
                    <a:pt x="542" y="437"/>
                    <a:pt x="542" y="437"/>
                  </a:cubicBezTo>
                  <a:cubicBezTo>
                    <a:pt x="558" y="437"/>
                    <a:pt x="564" y="426"/>
                    <a:pt x="556" y="412"/>
                  </a:cubicBezTo>
                  <a:cubicBezTo>
                    <a:pt x="464" y="251"/>
                    <a:pt x="464" y="251"/>
                    <a:pt x="464" y="251"/>
                  </a:cubicBezTo>
                  <a:cubicBezTo>
                    <a:pt x="592" y="251"/>
                    <a:pt x="592" y="251"/>
                    <a:pt x="592" y="251"/>
                  </a:cubicBezTo>
                  <a:cubicBezTo>
                    <a:pt x="610" y="251"/>
                    <a:pt x="624" y="237"/>
                    <a:pt x="624" y="219"/>
                  </a:cubicBezTo>
                  <a:cubicBezTo>
                    <a:pt x="624" y="201"/>
                    <a:pt x="610" y="187"/>
                    <a:pt x="592" y="187"/>
                  </a:cubicBezTo>
                  <a:close/>
                  <a:moveTo>
                    <a:pt x="194" y="365"/>
                  </a:moveTo>
                  <a:cubicBezTo>
                    <a:pt x="312" y="160"/>
                    <a:pt x="312" y="160"/>
                    <a:pt x="312" y="160"/>
                  </a:cubicBezTo>
                  <a:cubicBezTo>
                    <a:pt x="431" y="365"/>
                    <a:pt x="431" y="365"/>
                    <a:pt x="431" y="365"/>
                  </a:cubicBezTo>
                  <a:lnTo>
                    <a:pt x="194" y="36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defTabSz="914363"/>
              <a:endParaRPr lang="en-US">
                <a:solidFill>
                  <a:srgbClr val="292929"/>
                </a:solidFill>
              </a:endParaRPr>
            </a:p>
          </p:txBody>
        </p:sp>
        <p:sp>
          <p:nvSpPr>
            <p:cNvPr id="193" name="TextBox 192"/>
            <p:cNvSpPr txBox="1"/>
            <p:nvPr/>
          </p:nvSpPr>
          <p:spPr>
            <a:xfrm>
              <a:off x="7007571" y="6163362"/>
              <a:ext cx="1538424" cy="286228"/>
            </a:xfrm>
            <a:prstGeom prst="rect">
              <a:avLst/>
            </a:prstGeom>
            <a:noFill/>
          </p:spPr>
          <p:txBody>
            <a:bodyPr wrap="none" lIns="91435" tIns="45718" rIns="91435" bIns="45718" rtlCol="0">
              <a:spAutoFit/>
            </a:bodyPr>
            <a:lstStyle/>
            <a:p>
              <a:pPr defTabSz="914363">
                <a:lnSpc>
                  <a:spcPct val="90000"/>
                </a:lnSpc>
              </a:pPr>
              <a:r>
                <a:rPr lang="en-US" sz="1400" dirty="0">
                  <a:ln>
                    <a:solidFill>
                      <a:srgbClr val="FFFFFF">
                        <a:alpha val="0"/>
                      </a:srgbClr>
                    </a:solidFill>
                  </a:ln>
                  <a:gradFill>
                    <a:gsLst>
                      <a:gs pos="0">
                        <a:srgbClr val="595959"/>
                      </a:gs>
                      <a:gs pos="86000">
                        <a:srgbClr val="595959"/>
                      </a:gs>
                    </a:gsLst>
                    <a:lin ang="5400000" scaled="0"/>
                  </a:gradFill>
                </a:rPr>
                <a:t>OAuth WRAP/2.0</a:t>
              </a:r>
            </a:p>
          </p:txBody>
        </p:sp>
      </p:grpSp>
      <p:sp>
        <p:nvSpPr>
          <p:cNvPr id="194" name="Right Arrow 193"/>
          <p:cNvSpPr/>
          <p:nvPr/>
        </p:nvSpPr>
        <p:spPr bwMode="auto">
          <a:xfrm flipV="1">
            <a:off x="8532945" y="6103446"/>
            <a:ext cx="1609155" cy="403614"/>
          </a:xfrm>
          <a:prstGeom prst="rightArrow">
            <a:avLst>
              <a:gd name="adj1" fmla="val 50000"/>
              <a:gd name="adj2" fmla="val 61111"/>
            </a:avLst>
          </a:prstGeom>
          <a:solidFill>
            <a:schemeClr val="accent4">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Tree>
    <p:extLst>
      <p:ext uri="{BB962C8B-B14F-4D97-AF65-F5344CB8AC3E}">
        <p14:creationId xmlns:p14="http://schemas.microsoft.com/office/powerpoint/2010/main" val="17463175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123"/>
                                        </p:tgtEl>
                                        <p:attrNameLst>
                                          <p:attrName>style.visibility</p:attrName>
                                        </p:attrNameLst>
                                      </p:cBhvr>
                                      <p:to>
                                        <p:strVal val="visible"/>
                                      </p:to>
                                    </p:set>
                                    <p:animEffect transition="in" filter="fade">
                                      <p:cBhvr>
                                        <p:cTn id="7" dur="500"/>
                                        <p:tgtEl>
                                          <p:spTgt spid="412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125"/>
                                        </p:tgtEl>
                                        <p:attrNameLst>
                                          <p:attrName>style.visibility</p:attrName>
                                        </p:attrNameLst>
                                      </p:cBhvr>
                                      <p:to>
                                        <p:strVal val="visible"/>
                                      </p:to>
                                    </p:set>
                                    <p:animEffect transition="in" filter="fade">
                                      <p:cBhvr>
                                        <p:cTn id="12" dur="500"/>
                                        <p:tgtEl>
                                          <p:spTgt spid="412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126"/>
                                        </p:tgtEl>
                                        <p:attrNameLst>
                                          <p:attrName>style.visibility</p:attrName>
                                        </p:attrNameLst>
                                      </p:cBhvr>
                                      <p:to>
                                        <p:strVal val="visible"/>
                                      </p:to>
                                    </p:set>
                                    <p:animEffect transition="in" filter="fade">
                                      <p:cBhvr>
                                        <p:cTn id="17" dur="500"/>
                                        <p:tgtEl>
                                          <p:spTgt spid="412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4"/>
                                        </p:tgtEl>
                                        <p:attrNameLst>
                                          <p:attrName>style.visibility</p:attrName>
                                        </p:attrNameLst>
                                      </p:cBhvr>
                                      <p:to>
                                        <p:strVal val="visible"/>
                                      </p:to>
                                    </p:set>
                                    <p:animEffect transition="in" filter="fade">
                                      <p:cBhvr>
                                        <p:cTn id="22" dur="500"/>
                                        <p:tgtEl>
                                          <p:spTgt spid="104"/>
                                        </p:tgtEl>
                                      </p:cBhvr>
                                    </p:animEffect>
                                  </p:childTnLst>
                                </p:cTn>
                              </p:par>
                              <p:par>
                                <p:cTn id="23" presetID="10" presetClass="entr" presetSubtype="0" fill="hold" nodeType="withEffect">
                                  <p:stCondLst>
                                    <p:cond delay="0"/>
                                  </p:stCondLst>
                                  <p:childTnLst>
                                    <p:set>
                                      <p:cBhvr>
                                        <p:cTn id="24" dur="1" fill="hold">
                                          <p:stCondLst>
                                            <p:cond delay="0"/>
                                          </p:stCondLst>
                                        </p:cTn>
                                        <p:tgtEl>
                                          <p:spTgt spid="165"/>
                                        </p:tgtEl>
                                        <p:attrNameLst>
                                          <p:attrName>style.visibility</p:attrName>
                                        </p:attrNameLst>
                                      </p:cBhvr>
                                      <p:to>
                                        <p:strVal val="visible"/>
                                      </p:to>
                                    </p:set>
                                    <p:animEffect transition="in" filter="fade">
                                      <p:cBhvr>
                                        <p:cTn id="25" dur="500"/>
                                        <p:tgtEl>
                                          <p:spTgt spid="16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63"/>
                                        </p:tgtEl>
                                        <p:attrNameLst>
                                          <p:attrName>style.visibility</p:attrName>
                                        </p:attrNameLst>
                                      </p:cBhvr>
                                      <p:to>
                                        <p:strVal val="visible"/>
                                      </p:to>
                                    </p:set>
                                    <p:animEffect transition="in" filter="fade">
                                      <p:cBhvr>
                                        <p:cTn id="28" dur="500"/>
                                        <p:tgtEl>
                                          <p:spTgt spid="16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8"/>
                                        </p:tgtEl>
                                        <p:attrNameLst>
                                          <p:attrName>style.visibility</p:attrName>
                                        </p:attrNameLst>
                                      </p:cBhvr>
                                      <p:to>
                                        <p:strVal val="visible"/>
                                      </p:to>
                                    </p:set>
                                    <p:animEffect transition="in" filter="fade">
                                      <p:cBhvr>
                                        <p:cTn id="31" dur="500"/>
                                        <p:tgtEl>
                                          <p:spTgt spid="17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77"/>
                                        </p:tgtEl>
                                        <p:attrNameLst>
                                          <p:attrName>style.visibility</p:attrName>
                                        </p:attrNameLst>
                                      </p:cBhvr>
                                      <p:to>
                                        <p:strVal val="visible"/>
                                      </p:to>
                                    </p:set>
                                    <p:animEffect transition="in" filter="fade">
                                      <p:cBhvr>
                                        <p:cTn id="34" dur="500"/>
                                        <p:tgtEl>
                                          <p:spTgt spid="17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79"/>
                                        </p:tgtEl>
                                        <p:attrNameLst>
                                          <p:attrName>style.visibility</p:attrName>
                                        </p:attrNameLst>
                                      </p:cBhvr>
                                      <p:to>
                                        <p:strVal val="visible"/>
                                      </p:to>
                                    </p:set>
                                    <p:animEffect transition="in" filter="fade">
                                      <p:cBhvr>
                                        <p:cTn id="37" dur="500"/>
                                        <p:tgtEl>
                                          <p:spTgt spid="179"/>
                                        </p:tgtEl>
                                      </p:cBhvr>
                                    </p:animEffect>
                                  </p:childTnLst>
                                </p:cTn>
                              </p:par>
                              <p:par>
                                <p:cTn id="38" presetID="10" presetClass="entr" presetSubtype="0" fill="hold" nodeType="withEffect">
                                  <p:stCondLst>
                                    <p:cond delay="0"/>
                                  </p:stCondLst>
                                  <p:childTnLst>
                                    <p:set>
                                      <p:cBhvr>
                                        <p:cTn id="39" dur="1" fill="hold">
                                          <p:stCondLst>
                                            <p:cond delay="0"/>
                                          </p:stCondLst>
                                        </p:cTn>
                                        <p:tgtEl>
                                          <p:spTgt spid="4120"/>
                                        </p:tgtEl>
                                        <p:attrNameLst>
                                          <p:attrName>style.visibility</p:attrName>
                                        </p:attrNameLst>
                                      </p:cBhvr>
                                      <p:to>
                                        <p:strVal val="visible"/>
                                      </p:to>
                                    </p:set>
                                    <p:animEffect transition="in" filter="fade">
                                      <p:cBhvr>
                                        <p:cTn id="40" dur="500"/>
                                        <p:tgtEl>
                                          <p:spTgt spid="412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9"/>
                                        </p:tgtEl>
                                        <p:attrNameLst>
                                          <p:attrName>style.visibility</p:attrName>
                                        </p:attrNameLst>
                                      </p:cBhvr>
                                      <p:to>
                                        <p:strVal val="visible"/>
                                      </p:to>
                                    </p:set>
                                    <p:animEffect transition="in" filter="fade">
                                      <p:cBhvr>
                                        <p:cTn id="43" dur="500"/>
                                        <p:tgtEl>
                                          <p:spTgt spid="19"/>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0"/>
                                        </p:tgtEl>
                                        <p:attrNameLst>
                                          <p:attrName>style.visibility</p:attrName>
                                        </p:attrNameLst>
                                      </p:cBhvr>
                                      <p:to>
                                        <p:strVal val="visible"/>
                                      </p:to>
                                    </p:set>
                                    <p:animEffect transition="in" filter="fade">
                                      <p:cBhvr>
                                        <p:cTn id="46" dur="500"/>
                                        <p:tgtEl>
                                          <p:spTgt spid="20"/>
                                        </p:tgtEl>
                                      </p:cBhvr>
                                    </p:animEffect>
                                  </p:childTnLst>
                                </p:cTn>
                              </p:par>
                              <p:par>
                                <p:cTn id="47" presetID="10" presetClass="entr" presetSubtype="0" fill="hold" nodeType="withEffect">
                                  <p:stCondLst>
                                    <p:cond delay="0"/>
                                  </p:stCondLst>
                                  <p:childTnLst>
                                    <p:set>
                                      <p:cBhvr>
                                        <p:cTn id="48" dur="1" fill="hold">
                                          <p:stCondLst>
                                            <p:cond delay="0"/>
                                          </p:stCondLst>
                                        </p:cTn>
                                        <p:tgtEl>
                                          <p:spTgt spid="4116"/>
                                        </p:tgtEl>
                                        <p:attrNameLst>
                                          <p:attrName>style.visibility</p:attrName>
                                        </p:attrNameLst>
                                      </p:cBhvr>
                                      <p:to>
                                        <p:strVal val="visible"/>
                                      </p:to>
                                    </p:set>
                                    <p:animEffect transition="in" filter="fade">
                                      <p:cBhvr>
                                        <p:cTn id="49" dur="500"/>
                                        <p:tgtEl>
                                          <p:spTgt spid="4116"/>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105"/>
                                        </p:tgtEl>
                                        <p:attrNameLst>
                                          <p:attrName>style.visibility</p:attrName>
                                        </p:attrNameLst>
                                      </p:cBhvr>
                                      <p:to>
                                        <p:strVal val="visible"/>
                                      </p:to>
                                    </p:set>
                                    <p:animEffect transition="in" filter="fade">
                                      <p:cBhvr>
                                        <p:cTn id="54" dur="500"/>
                                        <p:tgtEl>
                                          <p:spTgt spid="105"/>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82"/>
                                        </p:tgtEl>
                                        <p:attrNameLst>
                                          <p:attrName>style.visibility</p:attrName>
                                        </p:attrNameLst>
                                      </p:cBhvr>
                                      <p:to>
                                        <p:strVal val="visible"/>
                                      </p:to>
                                    </p:set>
                                    <p:animEffect transition="in" filter="fade">
                                      <p:cBhvr>
                                        <p:cTn id="57" dur="500"/>
                                        <p:tgtEl>
                                          <p:spTgt spid="182"/>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80"/>
                                        </p:tgtEl>
                                        <p:attrNameLst>
                                          <p:attrName>style.visibility</p:attrName>
                                        </p:attrNameLst>
                                      </p:cBhvr>
                                      <p:to>
                                        <p:strVal val="visible"/>
                                      </p:to>
                                    </p:set>
                                    <p:animEffect transition="in" filter="fade">
                                      <p:cBhvr>
                                        <p:cTn id="60" dur="500"/>
                                        <p:tgtEl>
                                          <p:spTgt spid="180"/>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81"/>
                                        </p:tgtEl>
                                        <p:attrNameLst>
                                          <p:attrName>style.visibility</p:attrName>
                                        </p:attrNameLst>
                                      </p:cBhvr>
                                      <p:to>
                                        <p:strVal val="visible"/>
                                      </p:to>
                                    </p:set>
                                    <p:animEffect transition="in" filter="fade">
                                      <p:cBhvr>
                                        <p:cTn id="63" dur="500"/>
                                        <p:tgtEl>
                                          <p:spTgt spid="181"/>
                                        </p:tgtEl>
                                      </p:cBhvr>
                                    </p:animEffect>
                                  </p:childTnLst>
                                </p:cTn>
                              </p:par>
                              <p:par>
                                <p:cTn id="64" presetID="10" presetClass="entr" presetSubtype="0" fill="hold" nodeType="withEffect">
                                  <p:stCondLst>
                                    <p:cond delay="0"/>
                                  </p:stCondLst>
                                  <p:childTnLst>
                                    <p:set>
                                      <p:cBhvr>
                                        <p:cTn id="65" dur="1" fill="hold">
                                          <p:stCondLst>
                                            <p:cond delay="0"/>
                                          </p:stCondLst>
                                        </p:cTn>
                                        <p:tgtEl>
                                          <p:spTgt spid="170"/>
                                        </p:tgtEl>
                                        <p:attrNameLst>
                                          <p:attrName>style.visibility</p:attrName>
                                        </p:attrNameLst>
                                      </p:cBhvr>
                                      <p:to>
                                        <p:strVal val="visible"/>
                                      </p:to>
                                    </p:set>
                                    <p:animEffect transition="in" filter="fade">
                                      <p:cBhvr>
                                        <p:cTn id="66" dur="500"/>
                                        <p:tgtEl>
                                          <p:spTgt spid="170"/>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94"/>
                                        </p:tgtEl>
                                        <p:attrNameLst>
                                          <p:attrName>style.visibility</p:attrName>
                                        </p:attrNameLst>
                                      </p:cBhvr>
                                      <p:to>
                                        <p:strVal val="visible"/>
                                      </p:to>
                                    </p:set>
                                    <p:animEffect transition="in" filter="fade">
                                      <p:cBhvr>
                                        <p:cTn id="69" dur="500"/>
                                        <p:tgtEl>
                                          <p:spTgt spid="194"/>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nodeType="clickEffect">
                                  <p:stCondLst>
                                    <p:cond delay="0"/>
                                  </p:stCondLst>
                                  <p:childTnLst>
                                    <p:set>
                                      <p:cBhvr>
                                        <p:cTn id="73" dur="1" fill="hold">
                                          <p:stCondLst>
                                            <p:cond delay="0"/>
                                          </p:stCondLst>
                                        </p:cTn>
                                        <p:tgtEl>
                                          <p:spTgt spid="4127"/>
                                        </p:tgtEl>
                                        <p:attrNameLst>
                                          <p:attrName>style.visibility</p:attrName>
                                        </p:attrNameLst>
                                      </p:cBhvr>
                                      <p:to>
                                        <p:strVal val="visible"/>
                                      </p:to>
                                    </p:set>
                                    <p:animEffect transition="in" filter="fade">
                                      <p:cBhvr>
                                        <p:cTn id="74" dur="500"/>
                                        <p:tgtEl>
                                          <p:spTgt spid="4127"/>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nodeType="clickEffect">
                                  <p:stCondLst>
                                    <p:cond delay="0"/>
                                  </p:stCondLst>
                                  <p:childTnLst>
                                    <p:set>
                                      <p:cBhvr>
                                        <p:cTn id="78" dur="1" fill="hold">
                                          <p:stCondLst>
                                            <p:cond delay="0"/>
                                          </p:stCondLst>
                                        </p:cTn>
                                        <p:tgtEl>
                                          <p:spTgt spid="100"/>
                                        </p:tgtEl>
                                        <p:attrNameLst>
                                          <p:attrName>style.visibility</p:attrName>
                                        </p:attrNameLst>
                                      </p:cBhvr>
                                      <p:to>
                                        <p:strVal val="visible"/>
                                      </p:to>
                                    </p:set>
                                    <p:animEffect transition="in" filter="fade">
                                      <p:cBhvr>
                                        <p:cTn id="79" dur="5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 grpId="0" animBg="1"/>
      <p:bldP spid="178" grpId="0" animBg="1"/>
      <p:bldP spid="180" grpId="0" animBg="1"/>
      <p:bldP spid="179" grpId="0" animBg="1"/>
      <p:bldP spid="181" grpId="0" animBg="1"/>
      <p:bldP spid="182" grpId="0" animBg="1"/>
      <p:bldP spid="19" grpId="0"/>
      <p:bldP spid="20" grpId="0"/>
      <p:bldP spid="177" grpId="0" animBg="1"/>
      <p:bldP spid="194" grpId="0" animBg="1"/>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ight Arrow 80"/>
          <p:cNvSpPr/>
          <p:nvPr/>
        </p:nvSpPr>
        <p:spPr bwMode="auto">
          <a:xfrm rot="20730103">
            <a:off x="2113657" y="4630174"/>
            <a:ext cx="5126183" cy="435526"/>
          </a:xfrm>
          <a:prstGeom prst="rightArrow">
            <a:avLst>
              <a:gd name="adj1" fmla="val 50000"/>
              <a:gd name="adj2" fmla="val 61111"/>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rgbClr val="FFFFFF">
                    <a:alpha val="0"/>
                  </a:srgbClr>
                </a:solidFill>
              </a:ln>
              <a:solidFill>
                <a:srgbClr val="292929">
                  <a:lumMod val="75000"/>
                  <a:lumOff val="25000"/>
                </a:srgbClr>
              </a:solidFill>
            </a:endParaRPr>
          </a:p>
        </p:txBody>
      </p:sp>
      <p:sp>
        <p:nvSpPr>
          <p:cNvPr id="141" name="Right Arrow 140"/>
          <p:cNvSpPr/>
          <p:nvPr/>
        </p:nvSpPr>
        <p:spPr bwMode="auto">
          <a:xfrm rot="20140915">
            <a:off x="2011816" y="4373741"/>
            <a:ext cx="3334718" cy="435526"/>
          </a:xfrm>
          <a:prstGeom prst="rightArrow">
            <a:avLst>
              <a:gd name="adj1" fmla="val 50000"/>
              <a:gd name="adj2" fmla="val 61111"/>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rgbClr val="FFFFFF">
                    <a:alpha val="0"/>
                  </a:srgbClr>
                </a:solidFill>
              </a:ln>
              <a:solidFill>
                <a:srgbClr val="292929">
                  <a:lumMod val="75000"/>
                  <a:lumOff val="25000"/>
                </a:srgbClr>
              </a:solidFill>
            </a:endParaRPr>
          </a:p>
        </p:txBody>
      </p:sp>
      <p:sp>
        <p:nvSpPr>
          <p:cNvPr id="105" name="Oval Blue"/>
          <p:cNvSpPr>
            <a:spLocks noChangeAspect="1"/>
          </p:cNvSpPr>
          <p:nvPr/>
        </p:nvSpPr>
        <p:spPr bwMode="auto">
          <a:xfrm rot="5400000">
            <a:off x="1193875" y="5584636"/>
            <a:ext cx="568284" cy="1938386"/>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sp>
        <p:nvSpPr>
          <p:cNvPr id="30" name="Oval 40"/>
          <p:cNvSpPr/>
          <p:nvPr/>
        </p:nvSpPr>
        <p:spPr bwMode="auto">
          <a:xfrm rot="16200000">
            <a:off x="7320003" y="3178870"/>
            <a:ext cx="878275" cy="1322189"/>
          </a:xfrm>
          <a:custGeom>
            <a:avLst/>
            <a:gdLst/>
            <a:ahLst/>
            <a:cxnLst/>
            <a:rect l="l" t="t" r="r" b="b"/>
            <a:pathLst>
              <a:path w="1722466" h="2062880">
                <a:moveTo>
                  <a:pt x="861233" y="1937150"/>
                </a:moveTo>
                <a:cubicBezTo>
                  <a:pt x="747514" y="1937150"/>
                  <a:pt x="655327" y="1960701"/>
                  <a:pt x="655327" y="1989752"/>
                </a:cubicBezTo>
                <a:cubicBezTo>
                  <a:pt x="655327" y="2018803"/>
                  <a:pt x="747514" y="2042354"/>
                  <a:pt x="861233" y="2042354"/>
                </a:cubicBezTo>
                <a:cubicBezTo>
                  <a:pt x="974952" y="2042354"/>
                  <a:pt x="1067139" y="2018803"/>
                  <a:pt x="1067139" y="1989752"/>
                </a:cubicBezTo>
                <a:cubicBezTo>
                  <a:pt x="1067139" y="1960701"/>
                  <a:pt x="974952" y="1937150"/>
                  <a:pt x="861233" y="1937150"/>
                </a:cubicBezTo>
                <a:close/>
                <a:moveTo>
                  <a:pt x="474194" y="1595858"/>
                </a:moveTo>
                <a:lnTo>
                  <a:pt x="472390" y="1600429"/>
                </a:lnTo>
                <a:cubicBezTo>
                  <a:pt x="472390" y="1654797"/>
                  <a:pt x="644910" y="1698870"/>
                  <a:pt x="857725" y="1698870"/>
                </a:cubicBezTo>
                <a:cubicBezTo>
                  <a:pt x="1070539" y="1698870"/>
                  <a:pt x="1243059" y="1654797"/>
                  <a:pt x="1243059" y="1600429"/>
                </a:cubicBezTo>
                <a:cubicBezTo>
                  <a:pt x="1243059" y="1598811"/>
                  <a:pt x="1242906" y="1597202"/>
                  <a:pt x="1241255" y="1595858"/>
                </a:cubicBezTo>
                <a:cubicBezTo>
                  <a:pt x="1232698" y="1645845"/>
                  <a:pt x="1064171" y="1685414"/>
                  <a:pt x="857725" y="1685414"/>
                </a:cubicBezTo>
                <a:cubicBezTo>
                  <a:pt x="651278" y="1685414"/>
                  <a:pt x="482751" y="1645845"/>
                  <a:pt x="474194" y="1595858"/>
                </a:cubicBezTo>
                <a:close/>
                <a:moveTo>
                  <a:pt x="861233" y="20523"/>
                </a:moveTo>
                <a:cubicBezTo>
                  <a:pt x="446350" y="20523"/>
                  <a:pt x="110021" y="102497"/>
                  <a:pt x="110021" y="203617"/>
                </a:cubicBezTo>
                <a:cubicBezTo>
                  <a:pt x="110021" y="304737"/>
                  <a:pt x="446350" y="386711"/>
                  <a:pt x="861233" y="386711"/>
                </a:cubicBezTo>
                <a:cubicBezTo>
                  <a:pt x="1276116" y="386711"/>
                  <a:pt x="1612445" y="304737"/>
                  <a:pt x="1612445" y="203617"/>
                </a:cubicBezTo>
                <a:cubicBezTo>
                  <a:pt x="1612445" y="102497"/>
                  <a:pt x="1276116" y="20523"/>
                  <a:pt x="861233" y="20523"/>
                </a:cubicBezTo>
                <a:close/>
                <a:moveTo>
                  <a:pt x="861233" y="0"/>
                </a:moveTo>
                <a:cubicBezTo>
                  <a:pt x="1336879" y="0"/>
                  <a:pt x="1722466" y="98506"/>
                  <a:pt x="1722466" y="220019"/>
                </a:cubicBezTo>
                <a:lnTo>
                  <a:pt x="1720940" y="227742"/>
                </a:lnTo>
                <a:lnTo>
                  <a:pt x="1722465" y="227742"/>
                </a:lnTo>
                <a:lnTo>
                  <a:pt x="1718849" y="238319"/>
                </a:lnTo>
                <a:cubicBezTo>
                  <a:pt x="1718753" y="240702"/>
                  <a:pt x="1717917" y="242876"/>
                  <a:pt x="1716605" y="244883"/>
                </a:cubicBezTo>
                <a:lnTo>
                  <a:pt x="1572468" y="666477"/>
                </a:lnTo>
                <a:lnTo>
                  <a:pt x="1570303" y="660990"/>
                </a:lnTo>
                <a:cubicBezTo>
                  <a:pt x="1554590" y="752777"/>
                  <a:pt x="1245138" y="825435"/>
                  <a:pt x="866059" y="825435"/>
                </a:cubicBezTo>
                <a:cubicBezTo>
                  <a:pt x="486980" y="825435"/>
                  <a:pt x="177528" y="752777"/>
                  <a:pt x="161815" y="660990"/>
                </a:cubicBezTo>
                <a:lnTo>
                  <a:pt x="158503" y="669384"/>
                </a:lnTo>
                <a:cubicBezTo>
                  <a:pt x="158503" y="769214"/>
                  <a:pt x="475287" y="850143"/>
                  <a:pt x="866059" y="850143"/>
                </a:cubicBezTo>
                <a:cubicBezTo>
                  <a:pt x="1207565" y="850143"/>
                  <a:pt x="1492563" y="788334"/>
                  <a:pt x="1558933" y="706066"/>
                </a:cubicBezTo>
                <a:lnTo>
                  <a:pt x="1400536" y="1169371"/>
                </a:lnTo>
                <a:lnTo>
                  <a:pt x="1400092" y="1168244"/>
                </a:lnTo>
                <a:cubicBezTo>
                  <a:pt x="1388176" y="1237847"/>
                  <a:pt x="1153517" y="1292944"/>
                  <a:pt x="866059" y="1292944"/>
                </a:cubicBezTo>
                <a:cubicBezTo>
                  <a:pt x="578601" y="1292944"/>
                  <a:pt x="343942" y="1237847"/>
                  <a:pt x="332027" y="1168244"/>
                </a:cubicBezTo>
                <a:lnTo>
                  <a:pt x="329515" y="1174609"/>
                </a:lnTo>
                <a:cubicBezTo>
                  <a:pt x="329515" y="1250311"/>
                  <a:pt x="569734" y="1311680"/>
                  <a:pt x="866059" y="1311680"/>
                </a:cubicBezTo>
                <a:cubicBezTo>
                  <a:pt x="1120811" y="1311680"/>
                  <a:pt x="1334096" y="1266323"/>
                  <a:pt x="1388360" y="1204984"/>
                </a:cubicBezTo>
                <a:lnTo>
                  <a:pt x="1118504" y="1994302"/>
                </a:lnTo>
                <a:cubicBezTo>
                  <a:pt x="1119455" y="1995076"/>
                  <a:pt x="1119527" y="1995983"/>
                  <a:pt x="1119527" y="1996894"/>
                </a:cubicBezTo>
                <a:cubicBezTo>
                  <a:pt x="1119527" y="2033337"/>
                  <a:pt x="1003885" y="2062880"/>
                  <a:pt x="861233" y="2062880"/>
                </a:cubicBezTo>
                <a:cubicBezTo>
                  <a:pt x="718581" y="2062880"/>
                  <a:pt x="602939" y="2033337"/>
                  <a:pt x="602939" y="1996894"/>
                </a:cubicBezTo>
                <a:lnTo>
                  <a:pt x="603961" y="1994304"/>
                </a:lnTo>
                <a:lnTo>
                  <a:pt x="5859" y="244879"/>
                </a:lnTo>
                <a:cubicBezTo>
                  <a:pt x="4549" y="242875"/>
                  <a:pt x="3714" y="240705"/>
                  <a:pt x="3619" y="238326"/>
                </a:cubicBezTo>
                <a:lnTo>
                  <a:pt x="0" y="227742"/>
                </a:lnTo>
                <a:lnTo>
                  <a:pt x="1526" y="227742"/>
                </a:lnTo>
                <a:cubicBezTo>
                  <a:pt x="181" y="225270"/>
                  <a:pt x="0" y="222650"/>
                  <a:pt x="0" y="220019"/>
                </a:cubicBezTo>
                <a:cubicBezTo>
                  <a:pt x="0" y="98506"/>
                  <a:pt x="385587" y="0"/>
                  <a:pt x="861233"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ts val="200"/>
              </a:spcBef>
              <a:spcAft>
                <a:spcPct val="0"/>
              </a:spcAft>
            </a:pPr>
            <a:endParaRPr lang="en-US" sz="2800" dirty="0">
              <a:ln>
                <a:solidFill>
                  <a:srgbClr val="FFFFFF">
                    <a:alpha val="0"/>
                  </a:srgbClr>
                </a:solidFill>
              </a:ln>
              <a:solidFill>
                <a:srgbClr val="FFFFFF"/>
              </a:solidFill>
            </a:endParaRPr>
          </a:p>
        </p:txBody>
      </p:sp>
      <p:sp>
        <p:nvSpPr>
          <p:cNvPr id="2" name="Title 1"/>
          <p:cNvSpPr>
            <a:spLocks noGrp="1"/>
          </p:cNvSpPr>
          <p:nvPr>
            <p:ph type="title"/>
          </p:nvPr>
        </p:nvSpPr>
        <p:spPr>
          <a:xfrm>
            <a:off x="520701" y="228600"/>
            <a:ext cx="11669713" cy="581698"/>
          </a:xfrm>
        </p:spPr>
        <p:txBody>
          <a:bodyPr/>
          <a:lstStyle/>
          <a:p>
            <a:r>
              <a:rPr lang="en-US" sz="4200" dirty="0"/>
              <a:t>Authenticating Users from Web and Social Providers</a:t>
            </a:r>
          </a:p>
        </p:txBody>
      </p:sp>
      <p:grpSp>
        <p:nvGrpSpPr>
          <p:cNvPr id="14" name="Group 13"/>
          <p:cNvGrpSpPr/>
          <p:nvPr/>
        </p:nvGrpSpPr>
        <p:grpSpPr>
          <a:xfrm>
            <a:off x="5087888" y="4194868"/>
            <a:ext cx="3693175" cy="2190515"/>
            <a:chOff x="5086299" y="4194867"/>
            <a:chExt cx="3693175" cy="2190515"/>
          </a:xfrm>
        </p:grpSpPr>
        <p:sp>
          <p:nvSpPr>
            <p:cNvPr id="152" name="Rectangle 151"/>
            <p:cNvSpPr/>
            <p:nvPr/>
          </p:nvSpPr>
          <p:spPr bwMode="auto">
            <a:xfrm>
              <a:off x="5086299" y="5314320"/>
              <a:ext cx="3693175" cy="991303"/>
            </a:xfrm>
            <a:prstGeom prst="rect">
              <a:avLst/>
            </a:prstGeom>
            <a:solidFill>
              <a:schemeClr val="bg1">
                <a:lumMod val="85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endParaRPr lang="en-US" sz="1600" dirty="0">
                <a:solidFill>
                  <a:srgbClr val="DDDDDD">
                    <a:lumMod val="50000"/>
                    <a:alpha val="99000"/>
                  </a:srgbClr>
                </a:solidFill>
              </a:endParaRPr>
            </a:p>
          </p:txBody>
        </p:sp>
        <p:sp>
          <p:nvSpPr>
            <p:cNvPr id="16" name="Down Arrow 15"/>
            <p:cNvSpPr/>
            <p:nvPr/>
          </p:nvSpPr>
          <p:spPr bwMode="auto">
            <a:xfrm flipV="1">
              <a:off x="5639571" y="4194867"/>
              <a:ext cx="484632" cy="1119453"/>
            </a:xfrm>
            <a:prstGeom prst="downArrow">
              <a:avLst/>
            </a:prstGeom>
            <a:solidFill>
              <a:schemeClr val="bg1">
                <a:lumMod val="85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600" dirty="0">
                <a:solidFill>
                  <a:srgbClr val="DDDDDD">
                    <a:lumMod val="50000"/>
                    <a:alpha val="99000"/>
                  </a:srgbClr>
                </a:solidFill>
              </a:endParaRPr>
            </a:p>
          </p:txBody>
        </p:sp>
        <p:sp>
          <p:nvSpPr>
            <p:cNvPr id="71" name="Down Arrow 70"/>
            <p:cNvSpPr/>
            <p:nvPr/>
          </p:nvSpPr>
          <p:spPr bwMode="auto">
            <a:xfrm flipV="1">
              <a:off x="7515235" y="4194867"/>
              <a:ext cx="484632" cy="1119452"/>
            </a:xfrm>
            <a:prstGeom prst="downArrow">
              <a:avLst/>
            </a:prstGeom>
            <a:solidFill>
              <a:schemeClr val="bg1">
                <a:lumMod val="85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600" dirty="0">
                <a:solidFill>
                  <a:srgbClr val="DDDDDD">
                    <a:lumMod val="50000"/>
                    <a:alpha val="99000"/>
                  </a:srgbClr>
                </a:solidFill>
              </a:endParaRPr>
            </a:p>
          </p:txBody>
        </p:sp>
        <p:sp>
          <p:nvSpPr>
            <p:cNvPr id="17" name="TextBox 16"/>
            <p:cNvSpPr txBox="1"/>
            <p:nvPr/>
          </p:nvSpPr>
          <p:spPr>
            <a:xfrm>
              <a:off x="5086299" y="5314320"/>
              <a:ext cx="3449983" cy="1071062"/>
            </a:xfrm>
            <a:prstGeom prst="rect">
              <a:avLst/>
            </a:prstGeom>
            <a:noFill/>
          </p:spPr>
          <p:txBody>
            <a:bodyPr wrap="none" lIns="91440" tIns="91440" rIns="91440" bIns="91440" rtlCol="0">
              <a:spAutoFit/>
            </a:bodyPr>
            <a:lstStyle/>
            <a:p>
              <a:pPr defTabSz="914363">
                <a:lnSpc>
                  <a:spcPct val="80000"/>
                </a:lnSpc>
              </a:pPr>
              <a:r>
                <a:rPr lang="en-US" sz="3600" spc="-100" dirty="0">
                  <a:ln>
                    <a:solidFill>
                      <a:srgbClr val="FFFFFF">
                        <a:alpha val="0"/>
                      </a:srgbClr>
                    </a:solidFill>
                  </a:ln>
                  <a:solidFill>
                    <a:srgbClr val="00AEEF">
                      <a:alpha val="99000"/>
                    </a:srgbClr>
                  </a:solidFill>
                  <a:latin typeface="Segoe UI Light" pitchFamily="34" charset="0"/>
                </a:rPr>
                <a:t>Sign-up and </a:t>
              </a:r>
              <a:br>
                <a:rPr lang="en-US" sz="3600" spc="-100" dirty="0">
                  <a:ln>
                    <a:solidFill>
                      <a:srgbClr val="FFFFFF">
                        <a:alpha val="0"/>
                      </a:srgbClr>
                    </a:solidFill>
                  </a:ln>
                  <a:solidFill>
                    <a:srgbClr val="00AEEF">
                      <a:alpha val="99000"/>
                    </a:srgbClr>
                  </a:solidFill>
                  <a:latin typeface="Segoe UI Light" pitchFamily="34" charset="0"/>
                </a:rPr>
              </a:br>
              <a:r>
                <a:rPr lang="en-US" sz="3600" spc="-100" dirty="0">
                  <a:ln>
                    <a:solidFill>
                      <a:srgbClr val="FFFFFF">
                        <a:alpha val="0"/>
                      </a:srgbClr>
                    </a:solidFill>
                  </a:ln>
                  <a:solidFill>
                    <a:srgbClr val="00AEEF">
                      <a:alpha val="99000"/>
                    </a:srgbClr>
                  </a:solidFill>
                  <a:latin typeface="Segoe UI Light" pitchFamily="34" charset="0"/>
                </a:rPr>
                <a:t>claims enrichment</a:t>
              </a:r>
            </a:p>
          </p:txBody>
        </p:sp>
      </p:grpSp>
      <p:grpSp>
        <p:nvGrpSpPr>
          <p:cNvPr id="54" name="Group 53"/>
          <p:cNvGrpSpPr/>
          <p:nvPr/>
        </p:nvGrpSpPr>
        <p:grpSpPr>
          <a:xfrm>
            <a:off x="520699" y="1912927"/>
            <a:ext cx="986817" cy="986816"/>
            <a:chOff x="1546018" y="1304764"/>
            <a:chExt cx="763524" cy="763524"/>
          </a:xfrm>
        </p:grpSpPr>
        <p:sp>
          <p:nvSpPr>
            <p:cNvPr id="55" name="Oval Blue"/>
            <p:cNvSpPr>
              <a:spLocks noChangeAspect="1"/>
            </p:cNvSpPr>
            <p:nvPr/>
          </p:nvSpPr>
          <p:spPr bwMode="auto">
            <a:xfrm>
              <a:off x="1546018" y="1304764"/>
              <a:ext cx="763524" cy="763524"/>
            </a:xfrm>
            <a:prstGeom prst="rect">
              <a:avLst/>
            </a:prstGeom>
            <a:solidFill>
              <a:schemeClr val="bg1">
                <a:lumMod val="85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grpSp>
          <p:nvGrpSpPr>
            <p:cNvPr id="57" name="Group 56"/>
            <p:cNvGrpSpPr/>
            <p:nvPr/>
          </p:nvGrpSpPr>
          <p:grpSpPr bwMode="black">
            <a:xfrm>
              <a:off x="1729258" y="1488056"/>
              <a:ext cx="397044" cy="396940"/>
              <a:chOff x="3249834" y="963808"/>
              <a:chExt cx="1000896" cy="1000896"/>
            </a:xfrm>
          </p:grpSpPr>
          <p:sp>
            <p:nvSpPr>
              <p:cNvPr id="60" name="Freeform 6"/>
              <p:cNvSpPr>
                <a:spLocks/>
              </p:cNvSpPr>
              <p:nvPr/>
            </p:nvSpPr>
            <p:spPr bwMode="black">
              <a:xfrm>
                <a:off x="3249834" y="963808"/>
                <a:ext cx="1000896" cy="1000896"/>
              </a:xfrm>
              <a:custGeom>
                <a:avLst/>
                <a:gdLst>
                  <a:gd name="T0" fmla="*/ 0 w 1550"/>
                  <a:gd name="T1" fmla="*/ 278 h 1550"/>
                  <a:gd name="T2" fmla="*/ 0 w 1550"/>
                  <a:gd name="T3" fmla="*/ 1272 h 1550"/>
                  <a:gd name="T4" fmla="*/ 278 w 1550"/>
                  <a:gd name="T5" fmla="*/ 1550 h 1550"/>
                  <a:gd name="T6" fmla="*/ 1272 w 1550"/>
                  <a:gd name="T7" fmla="*/ 1550 h 1550"/>
                  <a:gd name="T8" fmla="*/ 1550 w 1550"/>
                  <a:gd name="T9" fmla="*/ 1272 h 1550"/>
                  <a:gd name="T10" fmla="*/ 1550 w 1550"/>
                  <a:gd name="T11" fmla="*/ 278 h 1550"/>
                  <a:gd name="T12" fmla="*/ 1272 w 1550"/>
                  <a:gd name="T13" fmla="*/ 0 h 1550"/>
                  <a:gd name="T14" fmla="*/ 278 w 1550"/>
                  <a:gd name="T15" fmla="*/ 0 h 1550"/>
                  <a:gd name="T16" fmla="*/ 0 w 1550"/>
                  <a:gd name="T17" fmla="*/ 278 h 1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0" h="1550">
                    <a:moveTo>
                      <a:pt x="0" y="278"/>
                    </a:moveTo>
                    <a:cubicBezTo>
                      <a:pt x="0" y="1272"/>
                      <a:pt x="0" y="1272"/>
                      <a:pt x="0" y="1272"/>
                    </a:cubicBezTo>
                    <a:cubicBezTo>
                      <a:pt x="0" y="1425"/>
                      <a:pt x="125" y="1550"/>
                      <a:pt x="278" y="1550"/>
                    </a:cubicBezTo>
                    <a:cubicBezTo>
                      <a:pt x="1272" y="1550"/>
                      <a:pt x="1272" y="1550"/>
                      <a:pt x="1272" y="1550"/>
                    </a:cubicBezTo>
                    <a:cubicBezTo>
                      <a:pt x="1425" y="1550"/>
                      <a:pt x="1550" y="1425"/>
                      <a:pt x="1550" y="1272"/>
                    </a:cubicBezTo>
                    <a:cubicBezTo>
                      <a:pt x="1550" y="278"/>
                      <a:pt x="1550" y="278"/>
                      <a:pt x="1550" y="278"/>
                    </a:cubicBezTo>
                    <a:cubicBezTo>
                      <a:pt x="1550" y="125"/>
                      <a:pt x="1425" y="0"/>
                      <a:pt x="1272" y="0"/>
                    </a:cubicBezTo>
                    <a:cubicBezTo>
                      <a:pt x="278" y="0"/>
                      <a:pt x="278" y="0"/>
                      <a:pt x="278" y="0"/>
                    </a:cubicBezTo>
                    <a:cubicBezTo>
                      <a:pt x="125" y="0"/>
                      <a:pt x="0" y="125"/>
                      <a:pt x="0" y="278"/>
                    </a:cubicBezTo>
                  </a:path>
                </a:pathLst>
              </a:cu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rgbClr val="292929">
                      <a:lumMod val="50000"/>
                    </a:srgbClr>
                  </a:solidFill>
                  <a:latin typeface="Segoe Light" pitchFamily="34" charset="0"/>
                </a:endParaRPr>
              </a:p>
            </p:txBody>
          </p:sp>
          <p:sp>
            <p:nvSpPr>
              <p:cNvPr id="61" name="Freeform 7"/>
              <p:cNvSpPr>
                <a:spLocks/>
              </p:cNvSpPr>
              <p:nvPr/>
            </p:nvSpPr>
            <p:spPr bwMode="black">
              <a:xfrm>
                <a:off x="3678126" y="1087075"/>
                <a:ext cx="420912" cy="796726"/>
              </a:xfrm>
              <a:custGeom>
                <a:avLst/>
                <a:gdLst>
                  <a:gd name="T0" fmla="*/ 548 w 652"/>
                  <a:gd name="T1" fmla="*/ 211 h 1234"/>
                  <a:gd name="T2" fmla="*/ 652 w 652"/>
                  <a:gd name="T3" fmla="*/ 211 h 1234"/>
                  <a:gd name="T4" fmla="*/ 652 w 652"/>
                  <a:gd name="T5" fmla="*/ 0 h 1234"/>
                  <a:gd name="T6" fmla="*/ 426 w 652"/>
                  <a:gd name="T7" fmla="*/ 0 h 1234"/>
                  <a:gd name="T8" fmla="*/ 178 w 652"/>
                  <a:gd name="T9" fmla="*/ 248 h 1234"/>
                  <a:gd name="T10" fmla="*/ 178 w 652"/>
                  <a:gd name="T11" fmla="*/ 374 h 1234"/>
                  <a:gd name="T12" fmla="*/ 0 w 652"/>
                  <a:gd name="T13" fmla="*/ 374 h 1234"/>
                  <a:gd name="T14" fmla="*/ 0 w 652"/>
                  <a:gd name="T15" fmla="*/ 585 h 1234"/>
                  <a:gd name="T16" fmla="*/ 178 w 652"/>
                  <a:gd name="T17" fmla="*/ 585 h 1234"/>
                  <a:gd name="T18" fmla="*/ 178 w 652"/>
                  <a:gd name="T19" fmla="*/ 1234 h 1234"/>
                  <a:gd name="T20" fmla="*/ 455 w 652"/>
                  <a:gd name="T21" fmla="*/ 1234 h 1234"/>
                  <a:gd name="T22" fmla="*/ 455 w 652"/>
                  <a:gd name="T23" fmla="*/ 585 h 1234"/>
                  <a:gd name="T24" fmla="*/ 652 w 652"/>
                  <a:gd name="T25" fmla="*/ 585 h 1234"/>
                  <a:gd name="T26" fmla="*/ 652 w 652"/>
                  <a:gd name="T27" fmla="*/ 374 h 1234"/>
                  <a:gd name="T28" fmla="*/ 455 w 652"/>
                  <a:gd name="T29" fmla="*/ 374 h 1234"/>
                  <a:gd name="T30" fmla="*/ 455 w 652"/>
                  <a:gd name="T31" fmla="*/ 304 h 1234"/>
                  <a:gd name="T32" fmla="*/ 548 w 652"/>
                  <a:gd name="T33" fmla="*/ 211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2" h="1234">
                    <a:moveTo>
                      <a:pt x="548" y="211"/>
                    </a:moveTo>
                    <a:cubicBezTo>
                      <a:pt x="652" y="211"/>
                      <a:pt x="652" y="211"/>
                      <a:pt x="652" y="211"/>
                    </a:cubicBezTo>
                    <a:cubicBezTo>
                      <a:pt x="652" y="0"/>
                      <a:pt x="652" y="0"/>
                      <a:pt x="652" y="0"/>
                    </a:cubicBezTo>
                    <a:cubicBezTo>
                      <a:pt x="426" y="0"/>
                      <a:pt x="426" y="0"/>
                      <a:pt x="426" y="0"/>
                    </a:cubicBezTo>
                    <a:cubicBezTo>
                      <a:pt x="289" y="0"/>
                      <a:pt x="178" y="111"/>
                      <a:pt x="178" y="248"/>
                    </a:cubicBezTo>
                    <a:cubicBezTo>
                      <a:pt x="178" y="374"/>
                      <a:pt x="178" y="374"/>
                      <a:pt x="178" y="374"/>
                    </a:cubicBezTo>
                    <a:cubicBezTo>
                      <a:pt x="0" y="374"/>
                      <a:pt x="0" y="374"/>
                      <a:pt x="0" y="374"/>
                    </a:cubicBezTo>
                    <a:cubicBezTo>
                      <a:pt x="0" y="585"/>
                      <a:pt x="0" y="585"/>
                      <a:pt x="0" y="585"/>
                    </a:cubicBezTo>
                    <a:cubicBezTo>
                      <a:pt x="178" y="585"/>
                      <a:pt x="178" y="585"/>
                      <a:pt x="178" y="585"/>
                    </a:cubicBezTo>
                    <a:cubicBezTo>
                      <a:pt x="178" y="1234"/>
                      <a:pt x="178" y="1234"/>
                      <a:pt x="178" y="1234"/>
                    </a:cubicBezTo>
                    <a:cubicBezTo>
                      <a:pt x="455" y="1234"/>
                      <a:pt x="455" y="1234"/>
                      <a:pt x="455" y="1234"/>
                    </a:cubicBezTo>
                    <a:cubicBezTo>
                      <a:pt x="455" y="585"/>
                      <a:pt x="455" y="585"/>
                      <a:pt x="455" y="585"/>
                    </a:cubicBezTo>
                    <a:cubicBezTo>
                      <a:pt x="652" y="585"/>
                      <a:pt x="652" y="585"/>
                      <a:pt x="652" y="585"/>
                    </a:cubicBezTo>
                    <a:cubicBezTo>
                      <a:pt x="652" y="374"/>
                      <a:pt x="652" y="374"/>
                      <a:pt x="652" y="374"/>
                    </a:cubicBezTo>
                    <a:cubicBezTo>
                      <a:pt x="455" y="374"/>
                      <a:pt x="455" y="374"/>
                      <a:pt x="455" y="374"/>
                    </a:cubicBezTo>
                    <a:cubicBezTo>
                      <a:pt x="455" y="304"/>
                      <a:pt x="455" y="304"/>
                      <a:pt x="455" y="304"/>
                    </a:cubicBezTo>
                    <a:cubicBezTo>
                      <a:pt x="455" y="252"/>
                      <a:pt x="496" y="211"/>
                      <a:pt x="548" y="211"/>
                    </a:cubicBezTo>
                  </a:path>
                </a:pathLst>
              </a:custGeom>
              <a:solidFill>
                <a:schemeClr val="bg1"/>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pPr>
                <a:endParaRPr lang="en-US" sz="1200">
                  <a:gradFill>
                    <a:gsLst>
                      <a:gs pos="0">
                        <a:srgbClr val="FFFFFF"/>
                      </a:gs>
                      <a:gs pos="100000">
                        <a:srgbClr val="FFFFFF"/>
                      </a:gs>
                    </a:gsLst>
                    <a:lin ang="5400000" scaled="0"/>
                  </a:gradFill>
                </a:endParaRPr>
              </a:p>
            </p:txBody>
          </p:sp>
        </p:grpSp>
      </p:grpSp>
      <p:grpSp>
        <p:nvGrpSpPr>
          <p:cNvPr id="63" name="Group 62"/>
          <p:cNvGrpSpPr/>
          <p:nvPr/>
        </p:nvGrpSpPr>
        <p:grpSpPr>
          <a:xfrm>
            <a:off x="1645030" y="1912927"/>
            <a:ext cx="986817" cy="986816"/>
            <a:chOff x="4079927" y="1556792"/>
            <a:chExt cx="763524" cy="763524"/>
          </a:xfrm>
        </p:grpSpPr>
        <p:sp>
          <p:nvSpPr>
            <p:cNvPr id="68" name="Oval Blue"/>
            <p:cNvSpPr>
              <a:spLocks noChangeAspect="1"/>
            </p:cNvSpPr>
            <p:nvPr/>
          </p:nvSpPr>
          <p:spPr bwMode="auto">
            <a:xfrm>
              <a:off x="4079927" y="1556792"/>
              <a:ext cx="763524" cy="763524"/>
            </a:xfrm>
            <a:prstGeom prst="rect">
              <a:avLst/>
            </a:prstGeom>
            <a:solidFill>
              <a:schemeClr val="bg1">
                <a:lumMod val="85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grpSp>
          <p:nvGrpSpPr>
            <p:cNvPr id="69" name="Group 68"/>
            <p:cNvGrpSpPr/>
            <p:nvPr/>
          </p:nvGrpSpPr>
          <p:grpSpPr>
            <a:xfrm>
              <a:off x="4146687" y="1706533"/>
              <a:ext cx="505841" cy="476163"/>
              <a:chOff x="4985657" y="7068129"/>
              <a:chExt cx="592808" cy="558028"/>
            </a:xfrm>
          </p:grpSpPr>
          <p:sp>
            <p:nvSpPr>
              <p:cNvPr id="70" name="Freeform 79"/>
              <p:cNvSpPr>
                <a:spLocks noEditPoints="1"/>
              </p:cNvSpPr>
              <p:nvPr/>
            </p:nvSpPr>
            <p:spPr bwMode="black">
              <a:xfrm>
                <a:off x="5128768" y="7068129"/>
                <a:ext cx="449697" cy="5580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accent6"/>
              </a:solidFill>
              <a:ln>
                <a:noFill/>
              </a:ln>
              <a:extLst/>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
            <p:nvSpPr>
              <p:cNvPr id="72" name="Right Arrow 71"/>
              <p:cNvSpPr/>
              <p:nvPr/>
            </p:nvSpPr>
            <p:spPr bwMode="auto">
              <a:xfrm>
                <a:off x="4985657" y="7206343"/>
                <a:ext cx="370114" cy="261257"/>
              </a:xfrm>
              <a:prstGeom prst="rightArrow">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grpSp>
        <p:nvGrpSpPr>
          <p:cNvPr id="73" name="Group 72"/>
          <p:cNvGrpSpPr/>
          <p:nvPr/>
        </p:nvGrpSpPr>
        <p:grpSpPr>
          <a:xfrm>
            <a:off x="3893692" y="1912927"/>
            <a:ext cx="986817" cy="986816"/>
            <a:chOff x="9928721" y="1628800"/>
            <a:chExt cx="763524" cy="763524"/>
          </a:xfrm>
        </p:grpSpPr>
        <p:sp>
          <p:nvSpPr>
            <p:cNvPr id="74" name="Oval Blue"/>
            <p:cNvSpPr>
              <a:spLocks noChangeAspect="1"/>
            </p:cNvSpPr>
            <p:nvPr/>
          </p:nvSpPr>
          <p:spPr bwMode="auto">
            <a:xfrm>
              <a:off x="9928721" y="1628800"/>
              <a:ext cx="763524" cy="763524"/>
            </a:xfrm>
            <a:prstGeom prst="rect">
              <a:avLst/>
            </a:prstGeom>
            <a:solidFill>
              <a:schemeClr val="bg1">
                <a:lumMod val="85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pic>
          <p:nvPicPr>
            <p:cNvPr id="75" name="Yahoo"/>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060522" y="1830246"/>
              <a:ext cx="569373" cy="360632"/>
            </a:xfrm>
            <a:prstGeom prst="rect">
              <a:avLst/>
            </a:prstGeom>
            <a:noFill/>
            <a:effectLst/>
            <a:extLst>
              <a:ext uri="{909E8E84-426E-40DD-AFC4-6F175D3DCCD1}">
                <a14:hiddenFill xmlns:a14="http://schemas.microsoft.com/office/drawing/2010/main">
                  <a:solidFill>
                    <a:srgbClr val="FFFFFF"/>
                  </a:solidFill>
                </a14:hiddenFill>
              </a:ext>
            </a:extLst>
          </p:spPr>
        </p:pic>
      </p:grpSp>
      <p:grpSp>
        <p:nvGrpSpPr>
          <p:cNvPr id="76" name="Group 75"/>
          <p:cNvGrpSpPr/>
          <p:nvPr/>
        </p:nvGrpSpPr>
        <p:grpSpPr>
          <a:xfrm>
            <a:off x="2769361" y="1912927"/>
            <a:ext cx="986817" cy="986816"/>
            <a:chOff x="9928721" y="1088740"/>
            <a:chExt cx="763524" cy="763524"/>
          </a:xfrm>
        </p:grpSpPr>
        <p:sp>
          <p:nvSpPr>
            <p:cNvPr id="77" name="Oval Blue"/>
            <p:cNvSpPr>
              <a:spLocks noChangeAspect="1"/>
            </p:cNvSpPr>
            <p:nvPr/>
          </p:nvSpPr>
          <p:spPr bwMode="auto">
            <a:xfrm>
              <a:off x="9928721" y="1088740"/>
              <a:ext cx="763524" cy="763524"/>
            </a:xfrm>
            <a:prstGeom prst="rect">
              <a:avLst/>
            </a:prstGeom>
            <a:solidFill>
              <a:schemeClr val="bg1">
                <a:lumMod val="85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pic>
          <p:nvPicPr>
            <p:cNvPr id="78" name="Google" descr="C:\Users\vittorib\Pictures\118003-matte-blue-and-white-square-icon-social-media-logos-google-g-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039090" y="1199109"/>
              <a:ext cx="542787" cy="542787"/>
            </a:xfrm>
            <a:prstGeom prst="rect">
              <a:avLst/>
            </a:prstGeom>
            <a:noFill/>
            <a:effectLst/>
            <a:extLst>
              <a:ext uri="{909E8E84-426E-40DD-AFC4-6F175D3DCCD1}">
                <a14:hiddenFill xmlns:a14="http://schemas.microsoft.com/office/drawing/2010/main">
                  <a:solidFill>
                    <a:srgbClr val="FFFFFF"/>
                  </a:solidFill>
                </a14:hiddenFill>
              </a:ext>
            </a:extLst>
          </p:spPr>
        </p:pic>
      </p:grpSp>
      <p:sp>
        <p:nvSpPr>
          <p:cNvPr id="79" name="Rectangle 78"/>
          <p:cNvSpPr/>
          <p:nvPr/>
        </p:nvSpPr>
        <p:spPr bwMode="auto">
          <a:xfrm>
            <a:off x="520700" y="4202504"/>
            <a:ext cx="2103120" cy="2103120"/>
          </a:xfrm>
          <a:prstGeom prst="rect">
            <a:avLst/>
          </a:prstGeom>
          <a:solidFill>
            <a:schemeClr val="bg1">
              <a:lumMod val="85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600" dirty="0">
              <a:solidFill>
                <a:srgbClr val="DDDDDD">
                  <a:lumMod val="50000"/>
                  <a:alpha val="99000"/>
                </a:srgbClr>
              </a:solidFill>
            </a:endParaRPr>
          </a:p>
        </p:txBody>
      </p:sp>
      <p:sp>
        <p:nvSpPr>
          <p:cNvPr id="82" name="Right Arrow 81"/>
          <p:cNvSpPr/>
          <p:nvPr/>
        </p:nvSpPr>
        <p:spPr bwMode="auto">
          <a:xfrm rot="16200000">
            <a:off x="458230" y="3588239"/>
            <a:ext cx="1812514" cy="435526"/>
          </a:xfrm>
          <a:prstGeom prst="rightArrow">
            <a:avLst>
              <a:gd name="adj1" fmla="val 50000"/>
              <a:gd name="adj2" fmla="val 6111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rgbClr val="FFFFFF">
                    <a:alpha val="0"/>
                  </a:srgbClr>
                </a:solidFill>
              </a:ln>
              <a:solidFill>
                <a:srgbClr val="292929">
                  <a:lumMod val="75000"/>
                  <a:lumOff val="25000"/>
                </a:srgbClr>
              </a:solidFill>
            </a:endParaRPr>
          </a:p>
        </p:txBody>
      </p:sp>
      <p:grpSp>
        <p:nvGrpSpPr>
          <p:cNvPr id="83" name="Group 82"/>
          <p:cNvGrpSpPr/>
          <p:nvPr/>
        </p:nvGrpSpPr>
        <p:grpSpPr>
          <a:xfrm>
            <a:off x="1213531" y="4689842"/>
            <a:ext cx="1043866" cy="771107"/>
            <a:chOff x="-649698" y="1228115"/>
            <a:chExt cx="1168810" cy="863403"/>
          </a:xfrm>
        </p:grpSpPr>
        <p:grpSp>
          <p:nvGrpSpPr>
            <p:cNvPr id="84" name="Group 83"/>
            <p:cNvGrpSpPr/>
            <p:nvPr/>
          </p:nvGrpSpPr>
          <p:grpSpPr>
            <a:xfrm>
              <a:off x="-649698" y="1228115"/>
              <a:ext cx="1168810" cy="863403"/>
              <a:chOff x="-1631694" y="803378"/>
              <a:chExt cx="1168810" cy="863403"/>
            </a:xfrm>
          </p:grpSpPr>
          <p:sp>
            <p:nvSpPr>
              <p:cNvPr id="86" name="Rectangle 85"/>
              <p:cNvSpPr/>
              <p:nvPr/>
            </p:nvSpPr>
            <p:spPr bwMode="auto">
              <a:xfrm>
                <a:off x="-1595493" y="940789"/>
                <a:ext cx="1109718" cy="7134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7" name="Freeform 6"/>
              <p:cNvSpPr>
                <a:spLocks noEditPoints="1"/>
              </p:cNvSpPr>
              <p:nvPr/>
            </p:nvSpPr>
            <p:spPr bwMode="auto">
              <a:xfrm>
                <a:off x="-1631694" y="803378"/>
                <a:ext cx="1168810" cy="863403"/>
              </a:xfrm>
              <a:custGeom>
                <a:avLst/>
                <a:gdLst>
                  <a:gd name="T0" fmla="*/ 917 w 946"/>
                  <a:gd name="T1" fmla="*/ 0 h 699"/>
                  <a:gd name="T2" fmla="*/ 29 w 946"/>
                  <a:gd name="T3" fmla="*/ 0 h 699"/>
                  <a:gd name="T4" fmla="*/ 0 w 946"/>
                  <a:gd name="T5" fmla="*/ 29 h 699"/>
                  <a:gd name="T6" fmla="*/ 0 w 946"/>
                  <a:gd name="T7" fmla="*/ 670 h 699"/>
                  <a:gd name="T8" fmla="*/ 29 w 946"/>
                  <a:gd name="T9" fmla="*/ 699 h 699"/>
                  <a:gd name="T10" fmla="*/ 917 w 946"/>
                  <a:gd name="T11" fmla="*/ 699 h 699"/>
                  <a:gd name="T12" fmla="*/ 946 w 946"/>
                  <a:gd name="T13" fmla="*/ 670 h 699"/>
                  <a:gd name="T14" fmla="*/ 946 w 946"/>
                  <a:gd name="T15" fmla="*/ 29 h 699"/>
                  <a:gd name="T16" fmla="*/ 917 w 946"/>
                  <a:gd name="T17" fmla="*/ 0 h 699"/>
                  <a:gd name="T18" fmla="*/ 910 w 946"/>
                  <a:gd name="T19" fmla="*/ 668 h 699"/>
                  <a:gd name="T20" fmla="*/ 36 w 946"/>
                  <a:gd name="T21" fmla="*/ 668 h 699"/>
                  <a:gd name="T22" fmla="*/ 36 w 946"/>
                  <a:gd name="T23" fmla="*/ 134 h 699"/>
                  <a:gd name="T24" fmla="*/ 910 w 946"/>
                  <a:gd name="T25" fmla="*/ 134 h 699"/>
                  <a:gd name="T26" fmla="*/ 910 w 946"/>
                  <a:gd name="T27" fmla="*/ 668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6" h="699">
                    <a:moveTo>
                      <a:pt x="917" y="0"/>
                    </a:moveTo>
                    <a:cubicBezTo>
                      <a:pt x="29" y="0"/>
                      <a:pt x="29" y="0"/>
                      <a:pt x="29" y="0"/>
                    </a:cubicBezTo>
                    <a:cubicBezTo>
                      <a:pt x="13" y="0"/>
                      <a:pt x="0" y="13"/>
                      <a:pt x="0" y="29"/>
                    </a:cubicBezTo>
                    <a:cubicBezTo>
                      <a:pt x="0" y="670"/>
                      <a:pt x="0" y="670"/>
                      <a:pt x="0" y="670"/>
                    </a:cubicBezTo>
                    <a:cubicBezTo>
                      <a:pt x="0" y="686"/>
                      <a:pt x="13" y="699"/>
                      <a:pt x="29" y="699"/>
                    </a:cubicBezTo>
                    <a:cubicBezTo>
                      <a:pt x="917" y="699"/>
                      <a:pt x="917" y="699"/>
                      <a:pt x="917" y="699"/>
                    </a:cubicBezTo>
                    <a:cubicBezTo>
                      <a:pt x="933" y="699"/>
                      <a:pt x="946" y="686"/>
                      <a:pt x="946" y="670"/>
                    </a:cubicBezTo>
                    <a:cubicBezTo>
                      <a:pt x="946" y="29"/>
                      <a:pt x="946" y="29"/>
                      <a:pt x="946" y="29"/>
                    </a:cubicBezTo>
                    <a:cubicBezTo>
                      <a:pt x="946" y="13"/>
                      <a:pt x="933" y="0"/>
                      <a:pt x="917" y="0"/>
                    </a:cubicBezTo>
                    <a:close/>
                    <a:moveTo>
                      <a:pt x="910" y="668"/>
                    </a:moveTo>
                    <a:cubicBezTo>
                      <a:pt x="36" y="668"/>
                      <a:pt x="36" y="668"/>
                      <a:pt x="36" y="668"/>
                    </a:cubicBezTo>
                    <a:cubicBezTo>
                      <a:pt x="36" y="134"/>
                      <a:pt x="36" y="134"/>
                      <a:pt x="36" y="134"/>
                    </a:cubicBezTo>
                    <a:cubicBezTo>
                      <a:pt x="910" y="134"/>
                      <a:pt x="910" y="134"/>
                      <a:pt x="910" y="134"/>
                    </a:cubicBezTo>
                    <a:lnTo>
                      <a:pt x="910" y="66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914363"/>
                <a:endParaRPr lang="en-US">
                  <a:solidFill>
                    <a:srgbClr val="292929"/>
                  </a:solidFill>
                </a:endParaRPr>
              </a:p>
            </p:txBody>
          </p:sp>
        </p:grpSp>
        <p:pic>
          <p:nvPicPr>
            <p:cNvPr id="85" name="Picture 3"/>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284368" y="1502379"/>
              <a:ext cx="552450" cy="4684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p:cNvGrpSpPr/>
          <p:nvPr/>
        </p:nvGrpSpPr>
        <p:grpSpPr>
          <a:xfrm>
            <a:off x="1382347" y="4928769"/>
            <a:ext cx="1043866" cy="771107"/>
            <a:chOff x="1380759" y="4928768"/>
            <a:chExt cx="1043866" cy="771107"/>
          </a:xfrm>
        </p:grpSpPr>
        <p:grpSp>
          <p:nvGrpSpPr>
            <p:cNvPr id="107" name="Group 106"/>
            <p:cNvGrpSpPr/>
            <p:nvPr/>
          </p:nvGrpSpPr>
          <p:grpSpPr>
            <a:xfrm>
              <a:off x="1380759" y="4928768"/>
              <a:ext cx="1043866" cy="771107"/>
              <a:chOff x="-1631694" y="803378"/>
              <a:chExt cx="1168810" cy="863403"/>
            </a:xfrm>
          </p:grpSpPr>
          <p:sp>
            <p:nvSpPr>
              <p:cNvPr id="109" name="Rectangle 108"/>
              <p:cNvSpPr/>
              <p:nvPr/>
            </p:nvSpPr>
            <p:spPr bwMode="auto">
              <a:xfrm>
                <a:off x="-1595493" y="940789"/>
                <a:ext cx="1109718" cy="7134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0" name="Freeform 6"/>
              <p:cNvSpPr>
                <a:spLocks noEditPoints="1"/>
              </p:cNvSpPr>
              <p:nvPr/>
            </p:nvSpPr>
            <p:spPr bwMode="auto">
              <a:xfrm>
                <a:off x="-1631694" y="803378"/>
                <a:ext cx="1168810" cy="863403"/>
              </a:xfrm>
              <a:custGeom>
                <a:avLst/>
                <a:gdLst>
                  <a:gd name="T0" fmla="*/ 917 w 946"/>
                  <a:gd name="T1" fmla="*/ 0 h 699"/>
                  <a:gd name="T2" fmla="*/ 29 w 946"/>
                  <a:gd name="T3" fmla="*/ 0 h 699"/>
                  <a:gd name="T4" fmla="*/ 0 w 946"/>
                  <a:gd name="T5" fmla="*/ 29 h 699"/>
                  <a:gd name="T6" fmla="*/ 0 w 946"/>
                  <a:gd name="T7" fmla="*/ 670 h 699"/>
                  <a:gd name="T8" fmla="*/ 29 w 946"/>
                  <a:gd name="T9" fmla="*/ 699 h 699"/>
                  <a:gd name="T10" fmla="*/ 917 w 946"/>
                  <a:gd name="T11" fmla="*/ 699 h 699"/>
                  <a:gd name="T12" fmla="*/ 946 w 946"/>
                  <a:gd name="T13" fmla="*/ 670 h 699"/>
                  <a:gd name="T14" fmla="*/ 946 w 946"/>
                  <a:gd name="T15" fmla="*/ 29 h 699"/>
                  <a:gd name="T16" fmla="*/ 917 w 946"/>
                  <a:gd name="T17" fmla="*/ 0 h 699"/>
                  <a:gd name="T18" fmla="*/ 910 w 946"/>
                  <a:gd name="T19" fmla="*/ 668 h 699"/>
                  <a:gd name="T20" fmla="*/ 36 w 946"/>
                  <a:gd name="T21" fmla="*/ 668 h 699"/>
                  <a:gd name="T22" fmla="*/ 36 w 946"/>
                  <a:gd name="T23" fmla="*/ 134 h 699"/>
                  <a:gd name="T24" fmla="*/ 910 w 946"/>
                  <a:gd name="T25" fmla="*/ 134 h 699"/>
                  <a:gd name="T26" fmla="*/ 910 w 946"/>
                  <a:gd name="T27" fmla="*/ 668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6" h="699">
                    <a:moveTo>
                      <a:pt x="917" y="0"/>
                    </a:moveTo>
                    <a:cubicBezTo>
                      <a:pt x="29" y="0"/>
                      <a:pt x="29" y="0"/>
                      <a:pt x="29" y="0"/>
                    </a:cubicBezTo>
                    <a:cubicBezTo>
                      <a:pt x="13" y="0"/>
                      <a:pt x="0" y="13"/>
                      <a:pt x="0" y="29"/>
                    </a:cubicBezTo>
                    <a:cubicBezTo>
                      <a:pt x="0" y="670"/>
                      <a:pt x="0" y="670"/>
                      <a:pt x="0" y="670"/>
                    </a:cubicBezTo>
                    <a:cubicBezTo>
                      <a:pt x="0" y="686"/>
                      <a:pt x="13" y="699"/>
                      <a:pt x="29" y="699"/>
                    </a:cubicBezTo>
                    <a:cubicBezTo>
                      <a:pt x="917" y="699"/>
                      <a:pt x="917" y="699"/>
                      <a:pt x="917" y="699"/>
                    </a:cubicBezTo>
                    <a:cubicBezTo>
                      <a:pt x="933" y="699"/>
                      <a:pt x="946" y="686"/>
                      <a:pt x="946" y="670"/>
                    </a:cubicBezTo>
                    <a:cubicBezTo>
                      <a:pt x="946" y="29"/>
                      <a:pt x="946" y="29"/>
                      <a:pt x="946" y="29"/>
                    </a:cubicBezTo>
                    <a:cubicBezTo>
                      <a:pt x="946" y="13"/>
                      <a:pt x="933" y="0"/>
                      <a:pt x="917" y="0"/>
                    </a:cubicBezTo>
                    <a:close/>
                    <a:moveTo>
                      <a:pt x="910" y="668"/>
                    </a:moveTo>
                    <a:cubicBezTo>
                      <a:pt x="36" y="668"/>
                      <a:pt x="36" y="668"/>
                      <a:pt x="36" y="668"/>
                    </a:cubicBezTo>
                    <a:cubicBezTo>
                      <a:pt x="36" y="134"/>
                      <a:pt x="36" y="134"/>
                      <a:pt x="36" y="134"/>
                    </a:cubicBezTo>
                    <a:cubicBezTo>
                      <a:pt x="910" y="134"/>
                      <a:pt x="910" y="134"/>
                      <a:pt x="910" y="134"/>
                    </a:cubicBezTo>
                    <a:lnTo>
                      <a:pt x="910" y="66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914363"/>
                <a:endParaRPr lang="en-US">
                  <a:solidFill>
                    <a:srgbClr val="292929"/>
                  </a:solidFill>
                </a:endParaRPr>
              </a:p>
            </p:txBody>
          </p:sp>
        </p:grpSp>
        <p:grpSp>
          <p:nvGrpSpPr>
            <p:cNvPr id="125" name="Group 124"/>
            <p:cNvGrpSpPr/>
            <p:nvPr/>
          </p:nvGrpSpPr>
          <p:grpSpPr bwMode="black">
            <a:xfrm>
              <a:off x="1558054" y="5119916"/>
              <a:ext cx="236079" cy="236017"/>
              <a:chOff x="3249834" y="963808"/>
              <a:chExt cx="1000896" cy="1000896"/>
            </a:xfrm>
          </p:grpSpPr>
          <p:sp>
            <p:nvSpPr>
              <p:cNvPr id="126" name="Freeform 6"/>
              <p:cNvSpPr>
                <a:spLocks/>
              </p:cNvSpPr>
              <p:nvPr/>
            </p:nvSpPr>
            <p:spPr bwMode="black">
              <a:xfrm>
                <a:off x="3249834" y="963808"/>
                <a:ext cx="1000896" cy="1000896"/>
              </a:xfrm>
              <a:custGeom>
                <a:avLst/>
                <a:gdLst>
                  <a:gd name="T0" fmla="*/ 0 w 1550"/>
                  <a:gd name="T1" fmla="*/ 278 h 1550"/>
                  <a:gd name="T2" fmla="*/ 0 w 1550"/>
                  <a:gd name="T3" fmla="*/ 1272 h 1550"/>
                  <a:gd name="T4" fmla="*/ 278 w 1550"/>
                  <a:gd name="T5" fmla="*/ 1550 h 1550"/>
                  <a:gd name="T6" fmla="*/ 1272 w 1550"/>
                  <a:gd name="T7" fmla="*/ 1550 h 1550"/>
                  <a:gd name="T8" fmla="*/ 1550 w 1550"/>
                  <a:gd name="T9" fmla="*/ 1272 h 1550"/>
                  <a:gd name="T10" fmla="*/ 1550 w 1550"/>
                  <a:gd name="T11" fmla="*/ 278 h 1550"/>
                  <a:gd name="T12" fmla="*/ 1272 w 1550"/>
                  <a:gd name="T13" fmla="*/ 0 h 1550"/>
                  <a:gd name="T14" fmla="*/ 278 w 1550"/>
                  <a:gd name="T15" fmla="*/ 0 h 1550"/>
                  <a:gd name="T16" fmla="*/ 0 w 1550"/>
                  <a:gd name="T17" fmla="*/ 278 h 1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0" h="1550">
                    <a:moveTo>
                      <a:pt x="0" y="278"/>
                    </a:moveTo>
                    <a:cubicBezTo>
                      <a:pt x="0" y="1272"/>
                      <a:pt x="0" y="1272"/>
                      <a:pt x="0" y="1272"/>
                    </a:cubicBezTo>
                    <a:cubicBezTo>
                      <a:pt x="0" y="1425"/>
                      <a:pt x="125" y="1550"/>
                      <a:pt x="278" y="1550"/>
                    </a:cubicBezTo>
                    <a:cubicBezTo>
                      <a:pt x="1272" y="1550"/>
                      <a:pt x="1272" y="1550"/>
                      <a:pt x="1272" y="1550"/>
                    </a:cubicBezTo>
                    <a:cubicBezTo>
                      <a:pt x="1425" y="1550"/>
                      <a:pt x="1550" y="1425"/>
                      <a:pt x="1550" y="1272"/>
                    </a:cubicBezTo>
                    <a:cubicBezTo>
                      <a:pt x="1550" y="278"/>
                      <a:pt x="1550" y="278"/>
                      <a:pt x="1550" y="278"/>
                    </a:cubicBezTo>
                    <a:cubicBezTo>
                      <a:pt x="1550" y="125"/>
                      <a:pt x="1425" y="0"/>
                      <a:pt x="1272" y="0"/>
                    </a:cubicBezTo>
                    <a:cubicBezTo>
                      <a:pt x="278" y="0"/>
                      <a:pt x="278" y="0"/>
                      <a:pt x="278" y="0"/>
                    </a:cubicBezTo>
                    <a:cubicBezTo>
                      <a:pt x="125" y="0"/>
                      <a:pt x="0" y="125"/>
                      <a:pt x="0" y="278"/>
                    </a:cubicBezTo>
                  </a:path>
                </a:pathLst>
              </a:cu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rgbClr val="292929">
                      <a:lumMod val="50000"/>
                    </a:srgbClr>
                  </a:solidFill>
                  <a:latin typeface="Segoe Light" pitchFamily="34" charset="0"/>
                </a:endParaRPr>
              </a:p>
            </p:txBody>
          </p:sp>
          <p:sp>
            <p:nvSpPr>
              <p:cNvPr id="127" name="Freeform 7"/>
              <p:cNvSpPr>
                <a:spLocks/>
              </p:cNvSpPr>
              <p:nvPr/>
            </p:nvSpPr>
            <p:spPr bwMode="black">
              <a:xfrm>
                <a:off x="3678126" y="1087075"/>
                <a:ext cx="420912" cy="796726"/>
              </a:xfrm>
              <a:custGeom>
                <a:avLst/>
                <a:gdLst>
                  <a:gd name="T0" fmla="*/ 548 w 652"/>
                  <a:gd name="T1" fmla="*/ 211 h 1234"/>
                  <a:gd name="T2" fmla="*/ 652 w 652"/>
                  <a:gd name="T3" fmla="*/ 211 h 1234"/>
                  <a:gd name="T4" fmla="*/ 652 w 652"/>
                  <a:gd name="T5" fmla="*/ 0 h 1234"/>
                  <a:gd name="T6" fmla="*/ 426 w 652"/>
                  <a:gd name="T7" fmla="*/ 0 h 1234"/>
                  <a:gd name="T8" fmla="*/ 178 w 652"/>
                  <a:gd name="T9" fmla="*/ 248 h 1234"/>
                  <a:gd name="T10" fmla="*/ 178 w 652"/>
                  <a:gd name="T11" fmla="*/ 374 h 1234"/>
                  <a:gd name="T12" fmla="*/ 0 w 652"/>
                  <a:gd name="T13" fmla="*/ 374 h 1234"/>
                  <a:gd name="T14" fmla="*/ 0 w 652"/>
                  <a:gd name="T15" fmla="*/ 585 h 1234"/>
                  <a:gd name="T16" fmla="*/ 178 w 652"/>
                  <a:gd name="T17" fmla="*/ 585 h 1234"/>
                  <a:gd name="T18" fmla="*/ 178 w 652"/>
                  <a:gd name="T19" fmla="*/ 1234 h 1234"/>
                  <a:gd name="T20" fmla="*/ 455 w 652"/>
                  <a:gd name="T21" fmla="*/ 1234 h 1234"/>
                  <a:gd name="T22" fmla="*/ 455 w 652"/>
                  <a:gd name="T23" fmla="*/ 585 h 1234"/>
                  <a:gd name="T24" fmla="*/ 652 w 652"/>
                  <a:gd name="T25" fmla="*/ 585 h 1234"/>
                  <a:gd name="T26" fmla="*/ 652 w 652"/>
                  <a:gd name="T27" fmla="*/ 374 h 1234"/>
                  <a:gd name="T28" fmla="*/ 455 w 652"/>
                  <a:gd name="T29" fmla="*/ 374 h 1234"/>
                  <a:gd name="T30" fmla="*/ 455 w 652"/>
                  <a:gd name="T31" fmla="*/ 304 h 1234"/>
                  <a:gd name="T32" fmla="*/ 548 w 652"/>
                  <a:gd name="T33" fmla="*/ 211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2" h="1234">
                    <a:moveTo>
                      <a:pt x="548" y="211"/>
                    </a:moveTo>
                    <a:cubicBezTo>
                      <a:pt x="652" y="211"/>
                      <a:pt x="652" y="211"/>
                      <a:pt x="652" y="211"/>
                    </a:cubicBezTo>
                    <a:cubicBezTo>
                      <a:pt x="652" y="0"/>
                      <a:pt x="652" y="0"/>
                      <a:pt x="652" y="0"/>
                    </a:cubicBezTo>
                    <a:cubicBezTo>
                      <a:pt x="426" y="0"/>
                      <a:pt x="426" y="0"/>
                      <a:pt x="426" y="0"/>
                    </a:cubicBezTo>
                    <a:cubicBezTo>
                      <a:pt x="289" y="0"/>
                      <a:pt x="178" y="111"/>
                      <a:pt x="178" y="248"/>
                    </a:cubicBezTo>
                    <a:cubicBezTo>
                      <a:pt x="178" y="374"/>
                      <a:pt x="178" y="374"/>
                      <a:pt x="178" y="374"/>
                    </a:cubicBezTo>
                    <a:cubicBezTo>
                      <a:pt x="0" y="374"/>
                      <a:pt x="0" y="374"/>
                      <a:pt x="0" y="374"/>
                    </a:cubicBezTo>
                    <a:cubicBezTo>
                      <a:pt x="0" y="585"/>
                      <a:pt x="0" y="585"/>
                      <a:pt x="0" y="585"/>
                    </a:cubicBezTo>
                    <a:cubicBezTo>
                      <a:pt x="178" y="585"/>
                      <a:pt x="178" y="585"/>
                      <a:pt x="178" y="585"/>
                    </a:cubicBezTo>
                    <a:cubicBezTo>
                      <a:pt x="178" y="1234"/>
                      <a:pt x="178" y="1234"/>
                      <a:pt x="178" y="1234"/>
                    </a:cubicBezTo>
                    <a:cubicBezTo>
                      <a:pt x="455" y="1234"/>
                      <a:pt x="455" y="1234"/>
                      <a:pt x="455" y="1234"/>
                    </a:cubicBezTo>
                    <a:cubicBezTo>
                      <a:pt x="455" y="585"/>
                      <a:pt x="455" y="585"/>
                      <a:pt x="455" y="585"/>
                    </a:cubicBezTo>
                    <a:cubicBezTo>
                      <a:pt x="652" y="585"/>
                      <a:pt x="652" y="585"/>
                      <a:pt x="652" y="585"/>
                    </a:cubicBezTo>
                    <a:cubicBezTo>
                      <a:pt x="652" y="374"/>
                      <a:pt x="652" y="374"/>
                      <a:pt x="652" y="374"/>
                    </a:cubicBezTo>
                    <a:cubicBezTo>
                      <a:pt x="455" y="374"/>
                      <a:pt x="455" y="374"/>
                      <a:pt x="455" y="374"/>
                    </a:cubicBezTo>
                    <a:cubicBezTo>
                      <a:pt x="455" y="304"/>
                      <a:pt x="455" y="304"/>
                      <a:pt x="455" y="304"/>
                    </a:cubicBezTo>
                    <a:cubicBezTo>
                      <a:pt x="455" y="252"/>
                      <a:pt x="496" y="211"/>
                      <a:pt x="548" y="211"/>
                    </a:cubicBezTo>
                  </a:path>
                </a:pathLst>
              </a:custGeom>
              <a:solidFill>
                <a:schemeClr val="bg1"/>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pPr>
                <a:endParaRPr lang="en-US" sz="1200">
                  <a:gradFill>
                    <a:gsLst>
                      <a:gs pos="0">
                        <a:srgbClr val="FFFFFF"/>
                      </a:gs>
                      <a:gs pos="100000">
                        <a:srgbClr val="FFFFFF"/>
                      </a:gs>
                    </a:gsLst>
                    <a:lin ang="5400000" scaled="0"/>
                  </a:gradFill>
                </a:endParaRPr>
              </a:p>
            </p:txBody>
          </p:sp>
        </p:grpSp>
        <p:grpSp>
          <p:nvGrpSpPr>
            <p:cNvPr id="121" name="Group 120"/>
            <p:cNvGrpSpPr/>
            <p:nvPr/>
          </p:nvGrpSpPr>
          <p:grpSpPr>
            <a:xfrm>
              <a:off x="1934597" y="5099967"/>
              <a:ext cx="300768" cy="283121"/>
              <a:chOff x="4985657" y="7068129"/>
              <a:chExt cx="592808" cy="558028"/>
            </a:xfrm>
          </p:grpSpPr>
          <p:sp>
            <p:nvSpPr>
              <p:cNvPr id="122" name="Freeform 79"/>
              <p:cNvSpPr>
                <a:spLocks noEditPoints="1"/>
              </p:cNvSpPr>
              <p:nvPr/>
            </p:nvSpPr>
            <p:spPr bwMode="black">
              <a:xfrm>
                <a:off x="5128768" y="7068129"/>
                <a:ext cx="449697" cy="5580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accent6"/>
              </a:solidFill>
              <a:ln>
                <a:noFill/>
              </a:ln>
              <a:extLst/>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
            <p:nvSpPr>
              <p:cNvPr id="123" name="Right Arrow 122"/>
              <p:cNvSpPr/>
              <p:nvPr/>
            </p:nvSpPr>
            <p:spPr bwMode="auto">
              <a:xfrm>
                <a:off x="4985657" y="7206343"/>
                <a:ext cx="370114" cy="261257"/>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pic>
          <p:nvPicPr>
            <p:cNvPr id="119" name="Yahoo"/>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1942891" y="5420071"/>
              <a:ext cx="338544" cy="214428"/>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17" name="Google" descr="C:\Users\vittorib\Pictures\118003-matte-blue-and-white-square-icon-social-media-logos-google-g-logo.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501164" y="5348538"/>
              <a:ext cx="349773" cy="349773"/>
            </a:xfrm>
            <a:prstGeom prst="rect">
              <a:avLst/>
            </a:prstGeom>
            <a:noFill/>
            <a:effectLst/>
            <a:extLst>
              <a:ext uri="{909E8E84-426E-40DD-AFC4-6F175D3DCCD1}">
                <a14:hiddenFill xmlns:a14="http://schemas.microsoft.com/office/drawing/2010/main">
                  <a:solidFill>
                    <a:srgbClr val="FFFFFF"/>
                  </a:solidFill>
                </a14:hiddenFill>
              </a:ext>
            </a:extLst>
          </p:spPr>
        </p:pic>
      </p:grpSp>
      <p:grpSp>
        <p:nvGrpSpPr>
          <p:cNvPr id="88" name="Group 87"/>
          <p:cNvGrpSpPr/>
          <p:nvPr/>
        </p:nvGrpSpPr>
        <p:grpSpPr>
          <a:xfrm>
            <a:off x="644854" y="4699490"/>
            <a:ext cx="1032829" cy="1043779"/>
            <a:chOff x="4309069" y="4226808"/>
            <a:chExt cx="1032829" cy="1043779"/>
          </a:xfrm>
        </p:grpSpPr>
        <p:sp>
          <p:nvSpPr>
            <p:cNvPr id="89" name="Freeform 6"/>
            <p:cNvSpPr>
              <a:spLocks/>
            </p:cNvSpPr>
            <p:nvPr/>
          </p:nvSpPr>
          <p:spPr bwMode="auto">
            <a:xfrm>
              <a:off x="4309069" y="4578993"/>
              <a:ext cx="306564" cy="478095"/>
            </a:xfrm>
            <a:custGeom>
              <a:avLst/>
              <a:gdLst>
                <a:gd name="T0" fmla="*/ 945 w 945"/>
                <a:gd name="T1" fmla="*/ 0 h 1472"/>
                <a:gd name="T2" fmla="*/ 945 w 945"/>
                <a:gd name="T3" fmla="*/ 0 h 1472"/>
                <a:gd name="T4" fmla="*/ 243 w 945"/>
                <a:gd name="T5" fmla="*/ 709 h 1472"/>
                <a:gd name="T6" fmla="*/ 486 w 945"/>
                <a:gd name="T7" fmla="*/ 1445 h 1472"/>
                <a:gd name="T8" fmla="*/ 486 w 945"/>
                <a:gd name="T9" fmla="*/ 927 h 1472"/>
                <a:gd name="T10" fmla="*/ 945 w 945"/>
                <a:gd name="T11" fmla="*/ 0 h 1472"/>
              </a:gdLst>
              <a:ahLst/>
              <a:cxnLst>
                <a:cxn ang="0">
                  <a:pos x="T0" y="T1"/>
                </a:cxn>
                <a:cxn ang="0">
                  <a:pos x="T2" y="T3"/>
                </a:cxn>
                <a:cxn ang="0">
                  <a:pos x="T4" y="T5"/>
                </a:cxn>
                <a:cxn ang="0">
                  <a:pos x="T6" y="T7"/>
                </a:cxn>
                <a:cxn ang="0">
                  <a:pos x="T8" y="T9"/>
                </a:cxn>
                <a:cxn ang="0">
                  <a:pos x="T10" y="T11"/>
                </a:cxn>
              </a:cxnLst>
              <a:rect l="0" t="0" r="r" b="b"/>
              <a:pathLst>
                <a:path w="945" h="1472">
                  <a:moveTo>
                    <a:pt x="945" y="0"/>
                  </a:moveTo>
                  <a:cubicBezTo>
                    <a:pt x="945" y="0"/>
                    <a:pt x="945" y="0"/>
                    <a:pt x="945" y="0"/>
                  </a:cubicBezTo>
                  <a:cubicBezTo>
                    <a:pt x="783" y="55"/>
                    <a:pt x="459" y="191"/>
                    <a:pt x="243" y="709"/>
                  </a:cubicBezTo>
                  <a:cubicBezTo>
                    <a:pt x="0" y="1200"/>
                    <a:pt x="270" y="1472"/>
                    <a:pt x="486" y="1445"/>
                  </a:cubicBezTo>
                  <a:cubicBezTo>
                    <a:pt x="486" y="927"/>
                    <a:pt x="486" y="927"/>
                    <a:pt x="486" y="927"/>
                  </a:cubicBezTo>
                  <a:cubicBezTo>
                    <a:pt x="486" y="545"/>
                    <a:pt x="675" y="191"/>
                    <a:pt x="945" y="0"/>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sp>
          <p:nvSpPr>
            <p:cNvPr id="90" name="Freeform 7"/>
            <p:cNvSpPr>
              <a:spLocks/>
            </p:cNvSpPr>
            <p:nvPr/>
          </p:nvSpPr>
          <p:spPr bwMode="auto">
            <a:xfrm>
              <a:off x="5031684" y="4578993"/>
              <a:ext cx="310214" cy="478095"/>
            </a:xfrm>
            <a:custGeom>
              <a:avLst/>
              <a:gdLst>
                <a:gd name="T0" fmla="*/ 0 w 956"/>
                <a:gd name="T1" fmla="*/ 0 h 1472"/>
                <a:gd name="T2" fmla="*/ 0 w 956"/>
                <a:gd name="T3" fmla="*/ 0 h 1472"/>
                <a:gd name="T4" fmla="*/ 711 w 956"/>
                <a:gd name="T5" fmla="*/ 709 h 1472"/>
                <a:gd name="T6" fmla="*/ 465 w 956"/>
                <a:gd name="T7" fmla="*/ 1445 h 1472"/>
                <a:gd name="T8" fmla="*/ 465 w 956"/>
                <a:gd name="T9" fmla="*/ 927 h 1472"/>
                <a:gd name="T10" fmla="*/ 0 w 956"/>
                <a:gd name="T11" fmla="*/ 0 h 1472"/>
              </a:gdLst>
              <a:ahLst/>
              <a:cxnLst>
                <a:cxn ang="0">
                  <a:pos x="T0" y="T1"/>
                </a:cxn>
                <a:cxn ang="0">
                  <a:pos x="T2" y="T3"/>
                </a:cxn>
                <a:cxn ang="0">
                  <a:pos x="T4" y="T5"/>
                </a:cxn>
                <a:cxn ang="0">
                  <a:pos x="T6" y="T7"/>
                </a:cxn>
                <a:cxn ang="0">
                  <a:pos x="T8" y="T9"/>
                </a:cxn>
                <a:cxn ang="0">
                  <a:pos x="T10" y="T11"/>
                </a:cxn>
              </a:cxnLst>
              <a:rect l="0" t="0" r="r" b="b"/>
              <a:pathLst>
                <a:path w="956" h="1472">
                  <a:moveTo>
                    <a:pt x="0" y="0"/>
                  </a:moveTo>
                  <a:cubicBezTo>
                    <a:pt x="0" y="0"/>
                    <a:pt x="0" y="0"/>
                    <a:pt x="0" y="0"/>
                  </a:cubicBezTo>
                  <a:cubicBezTo>
                    <a:pt x="164" y="55"/>
                    <a:pt x="492" y="191"/>
                    <a:pt x="711" y="709"/>
                  </a:cubicBezTo>
                  <a:cubicBezTo>
                    <a:pt x="956" y="1200"/>
                    <a:pt x="683" y="1472"/>
                    <a:pt x="465" y="1445"/>
                  </a:cubicBezTo>
                  <a:cubicBezTo>
                    <a:pt x="465" y="927"/>
                    <a:pt x="465" y="927"/>
                    <a:pt x="465" y="927"/>
                  </a:cubicBezTo>
                  <a:cubicBezTo>
                    <a:pt x="465" y="545"/>
                    <a:pt x="274" y="191"/>
                    <a:pt x="0" y="0"/>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sp>
          <p:nvSpPr>
            <p:cNvPr id="91" name="Freeform 8"/>
            <p:cNvSpPr>
              <a:spLocks/>
            </p:cNvSpPr>
            <p:nvPr/>
          </p:nvSpPr>
          <p:spPr bwMode="auto">
            <a:xfrm>
              <a:off x="4518920" y="4602714"/>
              <a:ext cx="611304" cy="667873"/>
            </a:xfrm>
            <a:custGeom>
              <a:avLst/>
              <a:gdLst>
                <a:gd name="T0" fmla="*/ 1877 w 1877"/>
                <a:gd name="T1" fmla="*/ 794 h 2053"/>
                <a:gd name="T2" fmla="*/ 1577 w 1877"/>
                <a:gd name="T3" fmla="*/ 0 h 2053"/>
                <a:gd name="T4" fmla="*/ 952 w 1877"/>
                <a:gd name="T5" fmla="*/ 274 h 2053"/>
                <a:gd name="T6" fmla="*/ 353 w 1877"/>
                <a:gd name="T7" fmla="*/ 0 h 2053"/>
                <a:gd name="T8" fmla="*/ 0 w 1877"/>
                <a:gd name="T9" fmla="*/ 794 h 2053"/>
                <a:gd name="T10" fmla="*/ 0 w 1877"/>
                <a:gd name="T11" fmla="*/ 1615 h 2053"/>
                <a:gd name="T12" fmla="*/ 380 w 1877"/>
                <a:gd name="T13" fmla="*/ 2053 h 2053"/>
                <a:gd name="T14" fmla="*/ 1550 w 1877"/>
                <a:gd name="T15" fmla="*/ 2053 h 2053"/>
                <a:gd name="T16" fmla="*/ 1550 w 1877"/>
                <a:gd name="T17" fmla="*/ 2053 h 2053"/>
                <a:gd name="T18" fmla="*/ 1877 w 1877"/>
                <a:gd name="T19" fmla="*/ 1013 h 2053"/>
                <a:gd name="T20" fmla="*/ 1877 w 1877"/>
                <a:gd name="T21" fmla="*/ 794 h 2053"/>
                <a:gd name="T22" fmla="*/ 1877 w 1877"/>
                <a:gd name="T23" fmla="*/ 794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2053">
                  <a:moveTo>
                    <a:pt x="1877" y="794"/>
                  </a:moveTo>
                  <a:cubicBezTo>
                    <a:pt x="1877" y="493"/>
                    <a:pt x="1768" y="192"/>
                    <a:pt x="1577" y="0"/>
                  </a:cubicBezTo>
                  <a:cubicBezTo>
                    <a:pt x="1414" y="165"/>
                    <a:pt x="1196" y="274"/>
                    <a:pt x="952" y="274"/>
                  </a:cubicBezTo>
                  <a:cubicBezTo>
                    <a:pt x="707" y="274"/>
                    <a:pt x="489" y="165"/>
                    <a:pt x="353" y="0"/>
                  </a:cubicBezTo>
                  <a:cubicBezTo>
                    <a:pt x="136" y="192"/>
                    <a:pt x="0" y="493"/>
                    <a:pt x="0" y="794"/>
                  </a:cubicBezTo>
                  <a:cubicBezTo>
                    <a:pt x="0" y="1615"/>
                    <a:pt x="0" y="1615"/>
                    <a:pt x="0" y="1615"/>
                  </a:cubicBezTo>
                  <a:cubicBezTo>
                    <a:pt x="0" y="1862"/>
                    <a:pt x="190" y="2053"/>
                    <a:pt x="380" y="2053"/>
                  </a:cubicBezTo>
                  <a:cubicBezTo>
                    <a:pt x="1550" y="2053"/>
                    <a:pt x="1550" y="2053"/>
                    <a:pt x="1550" y="2053"/>
                  </a:cubicBezTo>
                  <a:cubicBezTo>
                    <a:pt x="1550" y="2053"/>
                    <a:pt x="1550" y="2053"/>
                    <a:pt x="1550" y="2053"/>
                  </a:cubicBezTo>
                  <a:cubicBezTo>
                    <a:pt x="1740" y="2053"/>
                    <a:pt x="1877" y="1944"/>
                    <a:pt x="1877" y="1013"/>
                  </a:cubicBezTo>
                  <a:cubicBezTo>
                    <a:pt x="1877" y="794"/>
                    <a:pt x="1877" y="794"/>
                    <a:pt x="1877" y="794"/>
                  </a:cubicBezTo>
                  <a:cubicBezTo>
                    <a:pt x="1877" y="794"/>
                    <a:pt x="1877" y="794"/>
                    <a:pt x="1877" y="794"/>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sp>
          <p:nvSpPr>
            <p:cNvPr id="92" name="Oval 9"/>
            <p:cNvSpPr>
              <a:spLocks noChangeArrowheads="1"/>
            </p:cNvSpPr>
            <p:nvPr/>
          </p:nvSpPr>
          <p:spPr bwMode="auto">
            <a:xfrm>
              <a:off x="4626582" y="4226808"/>
              <a:ext cx="405103" cy="403278"/>
            </a:xfrm>
            <a:prstGeom prst="ellipse">
              <a:avLst/>
            </a:pr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grpSp>
      <p:sp>
        <p:nvSpPr>
          <p:cNvPr id="128" name="Freeform 11"/>
          <p:cNvSpPr>
            <a:spLocks noEditPoints="1"/>
          </p:cNvSpPr>
          <p:nvPr/>
        </p:nvSpPr>
        <p:spPr bwMode="auto">
          <a:xfrm>
            <a:off x="5002821" y="2899746"/>
            <a:ext cx="1761309" cy="1268347"/>
          </a:xfrm>
          <a:custGeom>
            <a:avLst/>
            <a:gdLst>
              <a:gd name="T0" fmla="*/ 870 w 882"/>
              <a:gd name="T1" fmla="*/ 426 h 635"/>
              <a:gd name="T2" fmla="*/ 826 w 882"/>
              <a:gd name="T3" fmla="*/ 415 h 635"/>
              <a:gd name="T4" fmla="*/ 842 w 882"/>
              <a:gd name="T5" fmla="*/ 371 h 635"/>
              <a:gd name="T6" fmla="*/ 814 w 882"/>
              <a:gd name="T7" fmla="*/ 354 h 635"/>
              <a:gd name="T8" fmla="*/ 773 w 882"/>
              <a:gd name="T9" fmla="*/ 375 h 635"/>
              <a:gd name="T10" fmla="*/ 757 w 882"/>
              <a:gd name="T11" fmla="*/ 325 h 635"/>
              <a:gd name="T12" fmla="*/ 724 w 882"/>
              <a:gd name="T13" fmla="*/ 331 h 635"/>
              <a:gd name="T14" fmla="*/ 705 w 882"/>
              <a:gd name="T15" fmla="*/ 379 h 635"/>
              <a:gd name="T16" fmla="*/ 665 w 882"/>
              <a:gd name="T17" fmla="*/ 354 h 635"/>
              <a:gd name="T18" fmla="*/ 643 w 882"/>
              <a:gd name="T19" fmla="*/ 380 h 635"/>
              <a:gd name="T20" fmla="*/ 656 w 882"/>
              <a:gd name="T21" fmla="*/ 424 h 635"/>
              <a:gd name="T22" fmla="*/ 610 w 882"/>
              <a:gd name="T23" fmla="*/ 432 h 635"/>
              <a:gd name="T24" fmla="*/ 609 w 882"/>
              <a:gd name="T25" fmla="*/ 465 h 635"/>
              <a:gd name="T26" fmla="*/ 648 w 882"/>
              <a:gd name="T27" fmla="*/ 491 h 635"/>
              <a:gd name="T28" fmla="*/ 618 w 882"/>
              <a:gd name="T29" fmla="*/ 526 h 635"/>
              <a:gd name="T30" fmla="*/ 639 w 882"/>
              <a:gd name="T31" fmla="*/ 552 h 635"/>
              <a:gd name="T32" fmla="*/ 685 w 882"/>
              <a:gd name="T33" fmla="*/ 547 h 635"/>
              <a:gd name="T34" fmla="*/ 684 w 882"/>
              <a:gd name="T35" fmla="*/ 593 h 635"/>
              <a:gd name="T36" fmla="*/ 717 w 882"/>
              <a:gd name="T37" fmla="*/ 600 h 635"/>
              <a:gd name="T38" fmla="*/ 744 w 882"/>
              <a:gd name="T39" fmla="*/ 567 h 635"/>
              <a:gd name="T40" fmla="*/ 770 w 882"/>
              <a:gd name="T41" fmla="*/ 600 h 635"/>
              <a:gd name="T42" fmla="*/ 803 w 882"/>
              <a:gd name="T43" fmla="*/ 593 h 635"/>
              <a:gd name="T44" fmla="*/ 802 w 882"/>
              <a:gd name="T45" fmla="*/ 547 h 635"/>
              <a:gd name="T46" fmla="*/ 849 w 882"/>
              <a:gd name="T47" fmla="*/ 552 h 635"/>
              <a:gd name="T48" fmla="*/ 869 w 882"/>
              <a:gd name="T49" fmla="*/ 526 h 635"/>
              <a:gd name="T50" fmla="*/ 839 w 882"/>
              <a:gd name="T51" fmla="*/ 491 h 635"/>
              <a:gd name="T52" fmla="*/ 878 w 882"/>
              <a:gd name="T53" fmla="*/ 465 h 635"/>
              <a:gd name="T54" fmla="*/ 877 w 882"/>
              <a:gd name="T55" fmla="*/ 432 h 635"/>
              <a:gd name="T56" fmla="*/ 744 w 882"/>
              <a:gd name="T57" fmla="*/ 523 h 635"/>
              <a:gd name="T58" fmla="*/ 689 w 882"/>
              <a:gd name="T59" fmla="*/ 468 h 635"/>
              <a:gd name="T60" fmla="*/ 744 w 882"/>
              <a:gd name="T61" fmla="*/ 414 h 635"/>
              <a:gd name="T62" fmla="*/ 799 w 882"/>
              <a:gd name="T63" fmla="*/ 468 h 635"/>
              <a:gd name="T64" fmla="*/ 624 w 882"/>
              <a:gd name="T65" fmla="*/ 219 h 635"/>
              <a:gd name="T66" fmla="*/ 427 w 882"/>
              <a:gd name="T67" fmla="*/ 187 h 635"/>
              <a:gd name="T68" fmla="*/ 298 w 882"/>
              <a:gd name="T69" fmla="*/ 14 h 635"/>
              <a:gd name="T70" fmla="*/ 32 w 882"/>
              <a:gd name="T71" fmla="*/ 187 h 635"/>
              <a:gd name="T72" fmla="*/ 32 w 882"/>
              <a:gd name="T73" fmla="*/ 251 h 635"/>
              <a:gd name="T74" fmla="*/ 68 w 882"/>
              <a:gd name="T75" fmla="*/ 412 h 635"/>
              <a:gd name="T76" fmla="*/ 280 w 882"/>
              <a:gd name="T77" fmla="*/ 437 h 635"/>
              <a:gd name="T78" fmla="*/ 312 w 882"/>
              <a:gd name="T79" fmla="*/ 635 h 635"/>
              <a:gd name="T80" fmla="*/ 344 w 882"/>
              <a:gd name="T81" fmla="*/ 437 h 635"/>
              <a:gd name="T82" fmla="*/ 557 w 882"/>
              <a:gd name="T83" fmla="*/ 412 h 635"/>
              <a:gd name="T84" fmla="*/ 592 w 882"/>
              <a:gd name="T85" fmla="*/ 251 h 635"/>
              <a:gd name="T86" fmla="*/ 194 w 882"/>
              <a:gd name="T87" fmla="*/ 365 h 635"/>
              <a:gd name="T88" fmla="*/ 431 w 882"/>
              <a:gd name="T89" fmla="*/ 365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2" h="635">
                <a:moveTo>
                  <a:pt x="877" y="432"/>
                </a:moveTo>
                <a:cubicBezTo>
                  <a:pt x="876" y="429"/>
                  <a:pt x="874" y="427"/>
                  <a:pt x="870" y="426"/>
                </a:cubicBezTo>
                <a:cubicBezTo>
                  <a:pt x="832" y="424"/>
                  <a:pt x="832" y="424"/>
                  <a:pt x="832" y="424"/>
                </a:cubicBezTo>
                <a:cubicBezTo>
                  <a:pt x="830" y="421"/>
                  <a:pt x="828" y="417"/>
                  <a:pt x="826" y="415"/>
                </a:cubicBezTo>
                <a:cubicBezTo>
                  <a:pt x="844" y="380"/>
                  <a:pt x="844" y="380"/>
                  <a:pt x="844" y="380"/>
                </a:cubicBezTo>
                <a:cubicBezTo>
                  <a:pt x="846" y="377"/>
                  <a:pt x="845" y="373"/>
                  <a:pt x="842" y="371"/>
                </a:cubicBezTo>
                <a:cubicBezTo>
                  <a:pt x="822" y="355"/>
                  <a:pt x="822" y="355"/>
                  <a:pt x="822" y="355"/>
                </a:cubicBezTo>
                <a:cubicBezTo>
                  <a:pt x="820" y="352"/>
                  <a:pt x="816" y="352"/>
                  <a:pt x="814" y="354"/>
                </a:cubicBezTo>
                <a:cubicBezTo>
                  <a:pt x="782" y="379"/>
                  <a:pt x="782" y="379"/>
                  <a:pt x="782" y="379"/>
                </a:cubicBezTo>
                <a:cubicBezTo>
                  <a:pt x="780" y="377"/>
                  <a:pt x="777" y="376"/>
                  <a:pt x="773" y="375"/>
                </a:cubicBezTo>
                <a:cubicBezTo>
                  <a:pt x="764" y="331"/>
                  <a:pt x="764" y="331"/>
                  <a:pt x="764" y="331"/>
                </a:cubicBezTo>
                <a:cubicBezTo>
                  <a:pt x="763" y="328"/>
                  <a:pt x="760" y="325"/>
                  <a:pt x="757" y="325"/>
                </a:cubicBezTo>
                <a:cubicBezTo>
                  <a:pt x="730" y="325"/>
                  <a:pt x="730" y="325"/>
                  <a:pt x="730" y="325"/>
                </a:cubicBezTo>
                <a:cubicBezTo>
                  <a:pt x="728" y="325"/>
                  <a:pt x="725" y="328"/>
                  <a:pt x="724" y="331"/>
                </a:cubicBezTo>
                <a:cubicBezTo>
                  <a:pt x="714" y="375"/>
                  <a:pt x="714" y="375"/>
                  <a:pt x="714" y="375"/>
                </a:cubicBezTo>
                <a:cubicBezTo>
                  <a:pt x="711" y="376"/>
                  <a:pt x="708" y="377"/>
                  <a:pt x="705" y="379"/>
                </a:cubicBezTo>
                <a:cubicBezTo>
                  <a:pt x="674" y="354"/>
                  <a:pt x="674" y="354"/>
                  <a:pt x="674" y="354"/>
                </a:cubicBezTo>
                <a:cubicBezTo>
                  <a:pt x="671" y="352"/>
                  <a:pt x="667" y="352"/>
                  <a:pt x="665" y="354"/>
                </a:cubicBezTo>
                <a:cubicBezTo>
                  <a:pt x="645" y="371"/>
                  <a:pt x="645" y="371"/>
                  <a:pt x="645" y="371"/>
                </a:cubicBezTo>
                <a:cubicBezTo>
                  <a:pt x="642" y="373"/>
                  <a:pt x="642" y="377"/>
                  <a:pt x="643" y="380"/>
                </a:cubicBezTo>
                <a:cubicBezTo>
                  <a:pt x="661" y="415"/>
                  <a:pt x="661" y="415"/>
                  <a:pt x="661" y="415"/>
                </a:cubicBezTo>
                <a:cubicBezTo>
                  <a:pt x="659" y="417"/>
                  <a:pt x="658" y="421"/>
                  <a:pt x="656" y="424"/>
                </a:cubicBezTo>
                <a:cubicBezTo>
                  <a:pt x="617" y="426"/>
                  <a:pt x="617" y="426"/>
                  <a:pt x="617" y="426"/>
                </a:cubicBezTo>
                <a:cubicBezTo>
                  <a:pt x="613" y="426"/>
                  <a:pt x="611" y="429"/>
                  <a:pt x="610" y="432"/>
                </a:cubicBezTo>
                <a:cubicBezTo>
                  <a:pt x="606" y="457"/>
                  <a:pt x="606" y="457"/>
                  <a:pt x="606" y="457"/>
                </a:cubicBezTo>
                <a:cubicBezTo>
                  <a:pt x="606" y="460"/>
                  <a:pt x="607" y="464"/>
                  <a:pt x="609" y="465"/>
                </a:cubicBezTo>
                <a:cubicBezTo>
                  <a:pt x="646" y="480"/>
                  <a:pt x="646" y="480"/>
                  <a:pt x="646" y="480"/>
                </a:cubicBezTo>
                <a:cubicBezTo>
                  <a:pt x="647" y="484"/>
                  <a:pt x="647" y="487"/>
                  <a:pt x="648" y="491"/>
                </a:cubicBezTo>
                <a:cubicBezTo>
                  <a:pt x="619" y="518"/>
                  <a:pt x="619" y="518"/>
                  <a:pt x="619" y="518"/>
                </a:cubicBezTo>
                <a:cubicBezTo>
                  <a:pt x="617" y="519"/>
                  <a:pt x="616" y="523"/>
                  <a:pt x="618" y="526"/>
                </a:cubicBezTo>
                <a:cubicBezTo>
                  <a:pt x="631" y="549"/>
                  <a:pt x="631" y="549"/>
                  <a:pt x="631" y="549"/>
                </a:cubicBezTo>
                <a:cubicBezTo>
                  <a:pt x="632" y="551"/>
                  <a:pt x="636" y="553"/>
                  <a:pt x="639" y="552"/>
                </a:cubicBezTo>
                <a:cubicBezTo>
                  <a:pt x="677" y="539"/>
                  <a:pt x="677" y="539"/>
                  <a:pt x="677" y="539"/>
                </a:cubicBezTo>
                <a:cubicBezTo>
                  <a:pt x="679" y="542"/>
                  <a:pt x="682" y="545"/>
                  <a:pt x="685" y="547"/>
                </a:cubicBezTo>
                <a:cubicBezTo>
                  <a:pt x="680" y="586"/>
                  <a:pt x="680" y="586"/>
                  <a:pt x="680" y="586"/>
                </a:cubicBezTo>
                <a:cubicBezTo>
                  <a:pt x="679" y="589"/>
                  <a:pt x="681" y="592"/>
                  <a:pt x="684" y="593"/>
                </a:cubicBezTo>
                <a:cubicBezTo>
                  <a:pt x="709" y="602"/>
                  <a:pt x="709" y="602"/>
                  <a:pt x="709" y="602"/>
                </a:cubicBezTo>
                <a:cubicBezTo>
                  <a:pt x="712" y="603"/>
                  <a:pt x="715" y="602"/>
                  <a:pt x="717" y="600"/>
                </a:cubicBezTo>
                <a:cubicBezTo>
                  <a:pt x="738" y="566"/>
                  <a:pt x="738" y="566"/>
                  <a:pt x="738" y="566"/>
                </a:cubicBezTo>
                <a:cubicBezTo>
                  <a:pt x="740" y="566"/>
                  <a:pt x="742" y="567"/>
                  <a:pt x="744" y="567"/>
                </a:cubicBezTo>
                <a:cubicBezTo>
                  <a:pt x="746" y="567"/>
                  <a:pt x="747" y="566"/>
                  <a:pt x="749" y="566"/>
                </a:cubicBezTo>
                <a:cubicBezTo>
                  <a:pt x="770" y="600"/>
                  <a:pt x="770" y="600"/>
                  <a:pt x="770" y="600"/>
                </a:cubicBezTo>
                <a:cubicBezTo>
                  <a:pt x="772" y="602"/>
                  <a:pt x="776" y="603"/>
                  <a:pt x="779" y="602"/>
                </a:cubicBezTo>
                <a:cubicBezTo>
                  <a:pt x="803" y="593"/>
                  <a:pt x="803" y="593"/>
                  <a:pt x="803" y="593"/>
                </a:cubicBezTo>
                <a:cubicBezTo>
                  <a:pt x="806" y="592"/>
                  <a:pt x="808" y="589"/>
                  <a:pt x="807" y="586"/>
                </a:cubicBezTo>
                <a:cubicBezTo>
                  <a:pt x="802" y="547"/>
                  <a:pt x="802" y="547"/>
                  <a:pt x="802" y="547"/>
                </a:cubicBezTo>
                <a:cubicBezTo>
                  <a:pt x="805" y="544"/>
                  <a:pt x="808" y="542"/>
                  <a:pt x="811" y="539"/>
                </a:cubicBezTo>
                <a:cubicBezTo>
                  <a:pt x="849" y="552"/>
                  <a:pt x="849" y="552"/>
                  <a:pt x="849" y="552"/>
                </a:cubicBezTo>
                <a:cubicBezTo>
                  <a:pt x="851" y="553"/>
                  <a:pt x="855" y="551"/>
                  <a:pt x="856" y="549"/>
                </a:cubicBezTo>
                <a:cubicBezTo>
                  <a:pt x="869" y="526"/>
                  <a:pt x="869" y="526"/>
                  <a:pt x="869" y="526"/>
                </a:cubicBezTo>
                <a:cubicBezTo>
                  <a:pt x="871" y="523"/>
                  <a:pt x="870" y="519"/>
                  <a:pt x="869" y="518"/>
                </a:cubicBezTo>
                <a:cubicBezTo>
                  <a:pt x="839" y="491"/>
                  <a:pt x="839" y="491"/>
                  <a:pt x="839" y="491"/>
                </a:cubicBezTo>
                <a:cubicBezTo>
                  <a:pt x="840" y="487"/>
                  <a:pt x="840" y="484"/>
                  <a:pt x="841" y="480"/>
                </a:cubicBezTo>
                <a:cubicBezTo>
                  <a:pt x="878" y="465"/>
                  <a:pt x="878" y="465"/>
                  <a:pt x="878" y="465"/>
                </a:cubicBezTo>
                <a:cubicBezTo>
                  <a:pt x="881" y="464"/>
                  <a:pt x="882" y="461"/>
                  <a:pt x="882" y="457"/>
                </a:cubicBezTo>
                <a:cubicBezTo>
                  <a:pt x="877" y="432"/>
                  <a:pt x="877" y="432"/>
                  <a:pt x="877" y="432"/>
                </a:cubicBezTo>
                <a:close/>
                <a:moveTo>
                  <a:pt x="782" y="507"/>
                </a:moveTo>
                <a:cubicBezTo>
                  <a:pt x="772" y="517"/>
                  <a:pt x="759" y="523"/>
                  <a:pt x="744" y="523"/>
                </a:cubicBezTo>
                <a:cubicBezTo>
                  <a:pt x="729" y="523"/>
                  <a:pt x="715" y="517"/>
                  <a:pt x="705" y="507"/>
                </a:cubicBezTo>
                <a:cubicBezTo>
                  <a:pt x="695" y="497"/>
                  <a:pt x="689" y="484"/>
                  <a:pt x="689" y="468"/>
                </a:cubicBezTo>
                <a:cubicBezTo>
                  <a:pt x="689" y="453"/>
                  <a:pt x="695" y="439"/>
                  <a:pt x="705" y="430"/>
                </a:cubicBezTo>
                <a:cubicBezTo>
                  <a:pt x="715" y="419"/>
                  <a:pt x="729" y="414"/>
                  <a:pt x="744" y="414"/>
                </a:cubicBezTo>
                <a:cubicBezTo>
                  <a:pt x="759" y="414"/>
                  <a:pt x="772" y="419"/>
                  <a:pt x="782" y="430"/>
                </a:cubicBezTo>
                <a:cubicBezTo>
                  <a:pt x="792" y="439"/>
                  <a:pt x="799" y="453"/>
                  <a:pt x="799" y="468"/>
                </a:cubicBezTo>
                <a:cubicBezTo>
                  <a:pt x="799" y="484"/>
                  <a:pt x="792" y="497"/>
                  <a:pt x="782" y="507"/>
                </a:cubicBezTo>
                <a:close/>
                <a:moveTo>
                  <a:pt x="624" y="219"/>
                </a:moveTo>
                <a:cubicBezTo>
                  <a:pt x="624" y="201"/>
                  <a:pt x="610" y="187"/>
                  <a:pt x="592" y="187"/>
                </a:cubicBezTo>
                <a:cubicBezTo>
                  <a:pt x="427" y="187"/>
                  <a:pt x="427" y="187"/>
                  <a:pt x="427" y="187"/>
                </a:cubicBezTo>
                <a:cubicBezTo>
                  <a:pt x="327" y="14"/>
                  <a:pt x="327" y="14"/>
                  <a:pt x="327" y="14"/>
                </a:cubicBezTo>
                <a:cubicBezTo>
                  <a:pt x="319" y="0"/>
                  <a:pt x="306" y="0"/>
                  <a:pt x="298" y="14"/>
                </a:cubicBezTo>
                <a:cubicBezTo>
                  <a:pt x="198" y="187"/>
                  <a:pt x="198" y="187"/>
                  <a:pt x="198" y="187"/>
                </a:cubicBezTo>
                <a:cubicBezTo>
                  <a:pt x="32" y="187"/>
                  <a:pt x="32" y="187"/>
                  <a:pt x="32" y="187"/>
                </a:cubicBezTo>
                <a:cubicBezTo>
                  <a:pt x="15" y="187"/>
                  <a:pt x="0" y="201"/>
                  <a:pt x="0" y="219"/>
                </a:cubicBezTo>
                <a:cubicBezTo>
                  <a:pt x="0" y="237"/>
                  <a:pt x="15" y="251"/>
                  <a:pt x="32" y="251"/>
                </a:cubicBezTo>
                <a:cubicBezTo>
                  <a:pt x="161" y="251"/>
                  <a:pt x="161" y="251"/>
                  <a:pt x="161" y="251"/>
                </a:cubicBezTo>
                <a:cubicBezTo>
                  <a:pt x="68" y="412"/>
                  <a:pt x="68" y="412"/>
                  <a:pt x="68" y="412"/>
                </a:cubicBezTo>
                <a:cubicBezTo>
                  <a:pt x="60" y="426"/>
                  <a:pt x="67" y="437"/>
                  <a:pt x="83" y="437"/>
                </a:cubicBezTo>
                <a:cubicBezTo>
                  <a:pt x="280" y="437"/>
                  <a:pt x="280" y="437"/>
                  <a:pt x="280" y="437"/>
                </a:cubicBezTo>
                <a:cubicBezTo>
                  <a:pt x="280" y="603"/>
                  <a:pt x="280" y="603"/>
                  <a:pt x="280" y="603"/>
                </a:cubicBezTo>
                <a:cubicBezTo>
                  <a:pt x="280" y="621"/>
                  <a:pt x="295" y="635"/>
                  <a:pt x="312" y="635"/>
                </a:cubicBezTo>
                <a:cubicBezTo>
                  <a:pt x="330" y="635"/>
                  <a:pt x="344" y="621"/>
                  <a:pt x="344" y="603"/>
                </a:cubicBezTo>
                <a:cubicBezTo>
                  <a:pt x="344" y="437"/>
                  <a:pt x="344" y="437"/>
                  <a:pt x="344" y="437"/>
                </a:cubicBezTo>
                <a:cubicBezTo>
                  <a:pt x="542" y="437"/>
                  <a:pt x="542" y="437"/>
                  <a:pt x="542" y="437"/>
                </a:cubicBezTo>
                <a:cubicBezTo>
                  <a:pt x="558" y="437"/>
                  <a:pt x="564" y="426"/>
                  <a:pt x="557" y="412"/>
                </a:cubicBezTo>
                <a:cubicBezTo>
                  <a:pt x="464" y="251"/>
                  <a:pt x="464" y="251"/>
                  <a:pt x="464" y="251"/>
                </a:cubicBezTo>
                <a:cubicBezTo>
                  <a:pt x="592" y="251"/>
                  <a:pt x="592" y="251"/>
                  <a:pt x="592" y="251"/>
                </a:cubicBezTo>
                <a:cubicBezTo>
                  <a:pt x="610" y="251"/>
                  <a:pt x="624" y="237"/>
                  <a:pt x="624" y="219"/>
                </a:cubicBezTo>
                <a:close/>
                <a:moveTo>
                  <a:pt x="194" y="365"/>
                </a:moveTo>
                <a:cubicBezTo>
                  <a:pt x="312" y="160"/>
                  <a:pt x="312" y="160"/>
                  <a:pt x="312" y="160"/>
                </a:cubicBezTo>
                <a:cubicBezTo>
                  <a:pt x="431" y="365"/>
                  <a:pt x="431" y="365"/>
                  <a:pt x="431" y="365"/>
                </a:cubicBezTo>
                <a:lnTo>
                  <a:pt x="194" y="365"/>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defTabSz="914363"/>
            <a:endParaRPr lang="en-US">
              <a:solidFill>
                <a:srgbClr val="292929"/>
              </a:solidFill>
            </a:endParaRPr>
          </a:p>
        </p:txBody>
      </p:sp>
      <p:grpSp>
        <p:nvGrpSpPr>
          <p:cNvPr id="130" name="Group 129"/>
          <p:cNvGrpSpPr/>
          <p:nvPr/>
        </p:nvGrpSpPr>
        <p:grpSpPr>
          <a:xfrm>
            <a:off x="8296623" y="2637572"/>
            <a:ext cx="3373091" cy="1724548"/>
            <a:chOff x="8295034" y="1343838"/>
            <a:chExt cx="3373091" cy="1724548"/>
          </a:xfrm>
        </p:grpSpPr>
        <p:grpSp>
          <p:nvGrpSpPr>
            <p:cNvPr id="131" name="Group 130"/>
            <p:cNvGrpSpPr/>
            <p:nvPr/>
          </p:nvGrpSpPr>
          <p:grpSpPr>
            <a:xfrm>
              <a:off x="9095117" y="1343838"/>
              <a:ext cx="2573008" cy="1724548"/>
              <a:chOff x="9408951" y="-890895"/>
              <a:chExt cx="2573008" cy="1724548"/>
            </a:xfrm>
          </p:grpSpPr>
          <p:sp>
            <p:nvSpPr>
              <p:cNvPr id="136" name="Freeform 6"/>
              <p:cNvSpPr>
                <a:spLocks/>
              </p:cNvSpPr>
              <p:nvPr/>
            </p:nvSpPr>
            <p:spPr bwMode="auto">
              <a:xfrm>
                <a:off x="9408951" y="-890895"/>
                <a:ext cx="2573008" cy="1724548"/>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57200" rIns="82305" bIns="41153" numCol="1" anchor="t" anchorCtr="0" compatLnSpc="1">
                <a:prstTxWarp prst="textNoShape">
                  <a:avLst/>
                </a:prstTxWarp>
              </a:bodyPr>
              <a:lstStyle/>
              <a:p>
                <a:pPr algn="ctr" defTabSz="914363"/>
                <a:endParaRPr lang="en-US" sz="1600" dirty="0">
                  <a:solidFill>
                    <a:srgbClr val="FFFFFF">
                      <a:alpha val="99000"/>
                    </a:srgbClr>
                  </a:solidFill>
                </a:endParaRPr>
              </a:p>
            </p:txBody>
          </p:sp>
          <p:sp>
            <p:nvSpPr>
              <p:cNvPr id="137" name="Rectangle 136"/>
              <p:cNvSpPr/>
              <p:nvPr/>
            </p:nvSpPr>
            <p:spPr>
              <a:xfrm>
                <a:off x="9763148" y="-228095"/>
                <a:ext cx="1864613" cy="978729"/>
              </a:xfrm>
              <a:prstGeom prst="rect">
                <a:avLst/>
              </a:prstGeom>
            </p:spPr>
            <p:txBody>
              <a:bodyPr wrap="none">
                <a:spAutoFit/>
              </a:bodyPr>
              <a:lstStyle/>
              <a:p>
                <a:pPr algn="ctr" defTabSz="914363">
                  <a:lnSpc>
                    <a:spcPct val="90000"/>
                  </a:lnSpc>
                </a:pPr>
                <a:r>
                  <a:rPr lang="en-US" sz="3200" dirty="0">
                    <a:solidFill>
                      <a:srgbClr val="FFFFFF">
                        <a:alpha val="99000"/>
                      </a:srgbClr>
                    </a:solidFill>
                    <a:latin typeface="Segoe UI Light" pitchFamily="34" charset="0"/>
                  </a:rPr>
                  <a:t>Windows </a:t>
                </a:r>
                <a:br>
                  <a:rPr lang="en-US" sz="3200" dirty="0">
                    <a:solidFill>
                      <a:srgbClr val="FFFFFF">
                        <a:alpha val="99000"/>
                      </a:srgbClr>
                    </a:solidFill>
                    <a:latin typeface="Segoe UI Light" pitchFamily="34" charset="0"/>
                  </a:rPr>
                </a:br>
                <a:r>
                  <a:rPr lang="en-US" sz="3200" dirty="0">
                    <a:solidFill>
                      <a:srgbClr val="FFFFFF">
                        <a:alpha val="99000"/>
                      </a:srgbClr>
                    </a:solidFill>
                    <a:latin typeface="Segoe UI Light" pitchFamily="34" charset="0"/>
                  </a:rPr>
                  <a:t>Azure</a:t>
                </a:r>
              </a:p>
            </p:txBody>
          </p:sp>
        </p:grpSp>
        <p:grpSp>
          <p:nvGrpSpPr>
            <p:cNvPr id="132" name="Group 131"/>
            <p:cNvGrpSpPr/>
            <p:nvPr/>
          </p:nvGrpSpPr>
          <p:grpSpPr>
            <a:xfrm>
              <a:off x="8295034" y="1908815"/>
              <a:ext cx="1119305" cy="910604"/>
              <a:chOff x="8126216" y="-1012633"/>
              <a:chExt cx="1119305" cy="910604"/>
            </a:xfrm>
          </p:grpSpPr>
          <p:sp>
            <p:nvSpPr>
              <p:cNvPr id="133" name="Freeform 86"/>
              <p:cNvSpPr>
                <a:spLocks noEditPoints="1"/>
              </p:cNvSpPr>
              <p:nvPr/>
            </p:nvSpPr>
            <p:spPr bwMode="black">
              <a:xfrm>
                <a:off x="8126216" y="-923822"/>
                <a:ext cx="817270" cy="821793"/>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34" name="Oval 87"/>
              <p:cNvSpPr>
                <a:spLocks noChangeArrowheads="1"/>
              </p:cNvSpPr>
              <p:nvPr/>
            </p:nvSpPr>
            <p:spPr bwMode="black">
              <a:xfrm>
                <a:off x="8459047" y="-574501"/>
                <a:ext cx="151610" cy="151570"/>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35" name="Freeform 88"/>
              <p:cNvSpPr>
                <a:spLocks noEditPoints="1"/>
              </p:cNvSpPr>
              <p:nvPr/>
            </p:nvSpPr>
            <p:spPr bwMode="black">
              <a:xfrm>
                <a:off x="8830964" y="-1012633"/>
                <a:ext cx="414557" cy="446421"/>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grpSp>
      <p:grpSp>
        <p:nvGrpSpPr>
          <p:cNvPr id="138" name="green id"/>
          <p:cNvGrpSpPr/>
          <p:nvPr/>
        </p:nvGrpSpPr>
        <p:grpSpPr>
          <a:xfrm>
            <a:off x="5207218" y="3075727"/>
            <a:ext cx="848238" cy="848238"/>
            <a:chOff x="2713130" y="2800130"/>
            <a:chExt cx="848238" cy="848238"/>
          </a:xfrm>
        </p:grpSpPr>
        <p:sp>
          <p:nvSpPr>
            <p:cNvPr id="139" name="Oval Blue"/>
            <p:cNvSpPr>
              <a:spLocks noChangeAspect="1"/>
            </p:cNvSpPr>
            <p:nvPr/>
          </p:nvSpPr>
          <p:spPr bwMode="auto">
            <a:xfrm>
              <a:off x="2713130" y="2800130"/>
              <a:ext cx="848238" cy="848238"/>
            </a:xfrm>
            <a:prstGeom prst="rect">
              <a:avLst/>
            </a:prstGeom>
            <a:solidFill>
              <a:schemeClr val="accent4">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sp>
          <p:nvSpPr>
            <p:cNvPr id="140" name="Freeform 164"/>
            <p:cNvSpPr>
              <a:spLocks noEditPoints="1"/>
            </p:cNvSpPr>
            <p:nvPr/>
          </p:nvSpPr>
          <p:spPr bwMode="black">
            <a:xfrm>
              <a:off x="2926384" y="2931905"/>
              <a:ext cx="421730" cy="58468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grpSp>
      <p:pic>
        <p:nvPicPr>
          <p:cNvPr id="4120" name="Picture 6" descr="C:\Users\vittorib\Desktop\PDCPics\96. FshippingHom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440262" y="2074375"/>
            <a:ext cx="1885894" cy="1071188"/>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p:cNvGrpSpPr/>
          <p:nvPr/>
        </p:nvGrpSpPr>
        <p:grpSpPr>
          <a:xfrm>
            <a:off x="1775582" y="3075727"/>
            <a:ext cx="848238" cy="848238"/>
            <a:chOff x="2818048" y="3075727"/>
            <a:chExt cx="848238" cy="848238"/>
          </a:xfrm>
        </p:grpSpPr>
        <p:sp>
          <p:nvSpPr>
            <p:cNvPr id="143" name="Oval Blue"/>
            <p:cNvSpPr>
              <a:spLocks noChangeAspect="1"/>
            </p:cNvSpPr>
            <p:nvPr/>
          </p:nvSpPr>
          <p:spPr bwMode="auto">
            <a:xfrm>
              <a:off x="2818048" y="3075727"/>
              <a:ext cx="848238" cy="848238"/>
            </a:xfrm>
            <a:prstGeom prst="rect">
              <a:avLst/>
            </a:prstGeom>
            <a:solidFill>
              <a:schemeClr val="accent1">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sp>
          <p:nvSpPr>
            <p:cNvPr id="145" name="Octagon 144"/>
            <p:cNvSpPr/>
            <p:nvPr/>
          </p:nvSpPr>
          <p:spPr bwMode="auto">
            <a:xfrm>
              <a:off x="2940149" y="3219989"/>
              <a:ext cx="604037" cy="559714"/>
            </a:xfrm>
            <a:prstGeom prst="octagon">
              <a:avLst/>
            </a:prstGeom>
            <a:solidFill>
              <a:schemeClr val="bg1"/>
            </a:solidFill>
            <a:ln>
              <a:headEnd type="none" w="med" len="med"/>
              <a:tailEnd type="none" w="med" len="med"/>
            </a:ln>
            <a:effectLst/>
            <a:scene3d>
              <a:camera prst="orthographicFront">
                <a:rot lat="0" lon="0" rev="0"/>
              </a:camera>
              <a:lightRig rig="threePt" dir="t">
                <a:rot lat="0" lon="0" rev="20400000"/>
              </a:lightRig>
            </a:scene3d>
            <a:sp3d>
              <a:contourClr>
                <a:schemeClr val="accent1">
                  <a:shade val="25000"/>
                  <a:satMod val="150000"/>
                </a:schemeClr>
              </a:contourClr>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gradFill>
                  <a:gsLst>
                    <a:gs pos="0">
                      <a:srgbClr val="000000"/>
                    </a:gs>
                    <a:gs pos="100000">
                      <a:srgbClr val="000000"/>
                    </a:gs>
                  </a:gsLst>
                  <a:lin ang="5400000" scaled="0"/>
                </a:gradFill>
              </a:endParaRPr>
            </a:p>
          </p:txBody>
        </p:sp>
      </p:grpSp>
    </p:spTree>
    <p:extLst>
      <p:ext uri="{BB962C8B-B14F-4D97-AF65-F5344CB8AC3E}">
        <p14:creationId xmlns:p14="http://schemas.microsoft.com/office/powerpoint/2010/main" val="32886219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3"/>
                                        </p:tgtEl>
                                        <p:attrNameLst>
                                          <p:attrName>style.visibility</p:attrName>
                                        </p:attrNameLst>
                                      </p:cBhvr>
                                      <p:to>
                                        <p:strVal val="visible"/>
                                      </p:to>
                                    </p:set>
                                    <p:animEffect transition="in" filter="fade">
                                      <p:cBhvr>
                                        <p:cTn id="11" dur="500"/>
                                        <p:tgtEl>
                                          <p:spTgt spid="6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76"/>
                                        </p:tgtEl>
                                        <p:attrNameLst>
                                          <p:attrName>style.visibility</p:attrName>
                                        </p:attrNameLst>
                                      </p:cBhvr>
                                      <p:to>
                                        <p:strVal val="visible"/>
                                      </p:to>
                                    </p:set>
                                    <p:animEffect transition="in" filter="fade">
                                      <p:cBhvr>
                                        <p:cTn id="15" dur="500"/>
                                        <p:tgtEl>
                                          <p:spTgt spid="76"/>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3"/>
                                        </p:tgtEl>
                                        <p:attrNameLst>
                                          <p:attrName>style.visibility</p:attrName>
                                        </p:attrNameLst>
                                      </p:cBhvr>
                                      <p:to>
                                        <p:strVal val="visible"/>
                                      </p:to>
                                    </p:set>
                                    <p:animEffect transition="in" filter="fade">
                                      <p:cBhvr>
                                        <p:cTn id="19" dur="500"/>
                                        <p:tgtEl>
                                          <p:spTgt spid="73"/>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grpId="0" nodeType="clickEffect">
                                  <p:stCondLst>
                                    <p:cond delay="0"/>
                                  </p:stCondLst>
                                  <p:childTnLst>
                                    <p:set>
                                      <p:cBhvr>
                                        <p:cTn id="23" dur="1" fill="hold">
                                          <p:stCondLst>
                                            <p:cond delay="0"/>
                                          </p:stCondLst>
                                        </p:cTn>
                                        <p:tgtEl>
                                          <p:spTgt spid="81"/>
                                        </p:tgtEl>
                                        <p:attrNameLst>
                                          <p:attrName>style.visibility</p:attrName>
                                        </p:attrNameLst>
                                      </p:cBhvr>
                                      <p:to>
                                        <p:strVal val="visible"/>
                                      </p:to>
                                    </p:set>
                                    <p:animEffect transition="in" filter="wipe(left)">
                                      <p:cBhvr>
                                        <p:cTn id="24" dur="500"/>
                                        <p:tgtEl>
                                          <p:spTgt spid="81"/>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141"/>
                                        </p:tgtEl>
                                        <p:attrNameLst>
                                          <p:attrName>style.visibility</p:attrName>
                                        </p:attrNameLst>
                                      </p:cBhvr>
                                      <p:to>
                                        <p:strVal val="visible"/>
                                      </p:to>
                                    </p:set>
                                    <p:animEffect transition="in" filter="wipe(left)">
                                      <p:cBhvr>
                                        <p:cTn id="29" dur="500"/>
                                        <p:tgtEl>
                                          <p:spTgt spid="141"/>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fade">
                                      <p:cBhvr>
                                        <p:cTn id="34" dur="500"/>
                                        <p:tgtEl>
                                          <p:spTgt spid="9"/>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4" fill="hold" grpId="0" nodeType="clickEffect">
                                  <p:stCondLst>
                                    <p:cond delay="0"/>
                                  </p:stCondLst>
                                  <p:childTnLst>
                                    <p:set>
                                      <p:cBhvr>
                                        <p:cTn id="38" dur="1" fill="hold">
                                          <p:stCondLst>
                                            <p:cond delay="0"/>
                                          </p:stCondLst>
                                        </p:cTn>
                                        <p:tgtEl>
                                          <p:spTgt spid="82"/>
                                        </p:tgtEl>
                                        <p:attrNameLst>
                                          <p:attrName>style.visibility</p:attrName>
                                        </p:attrNameLst>
                                      </p:cBhvr>
                                      <p:to>
                                        <p:strVal val="visible"/>
                                      </p:to>
                                    </p:set>
                                    <p:animEffect transition="in" filter="wipe(down)">
                                      <p:cBhvr>
                                        <p:cTn id="39" dur="500"/>
                                        <p:tgtEl>
                                          <p:spTgt spid="82"/>
                                        </p:tgtEl>
                                      </p:cBhvr>
                                    </p:animEffect>
                                  </p:childTnLst>
                                </p:cTn>
                              </p:par>
                            </p:childTnLst>
                          </p:cTn>
                        </p:par>
                        <p:par>
                          <p:cTn id="40" fill="hold">
                            <p:stCondLst>
                              <p:cond delay="500"/>
                            </p:stCondLst>
                            <p:childTnLst>
                              <p:par>
                                <p:cTn id="41" presetID="10" presetClass="entr" presetSubtype="0" fill="hold" nodeType="after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500"/>
                                        <p:tgtEl>
                                          <p:spTgt spid="13"/>
                                        </p:tgtEl>
                                      </p:cBhvr>
                                    </p:animEffect>
                                  </p:childTnLst>
                                </p:cTn>
                              </p:par>
                            </p:childTnLst>
                          </p:cTn>
                        </p:par>
                      </p:childTnLst>
                    </p:cTn>
                  </p:par>
                  <p:par>
                    <p:cTn id="44" fill="hold">
                      <p:stCondLst>
                        <p:cond delay="indefinite"/>
                      </p:stCondLst>
                      <p:childTnLst>
                        <p:par>
                          <p:cTn id="45" fill="hold">
                            <p:stCondLst>
                              <p:cond delay="0"/>
                            </p:stCondLst>
                            <p:childTnLst>
                              <p:par>
                                <p:cTn id="46" presetID="42" presetClass="path" presetSubtype="0" fill="hold" nodeType="clickEffect">
                                  <p:stCondLst>
                                    <p:cond delay="0"/>
                                  </p:stCondLst>
                                  <p:childTnLst>
                                    <p:animMotion origin="layout" path="M 1.66667E-6 4.81481E-6 L 1.66667E-6 0.23541 " pathEditMode="relative" rAng="0" ptsTypes="AA">
                                      <p:cBhvr>
                                        <p:cTn id="47" dur="500" fill="hold"/>
                                        <p:tgtEl>
                                          <p:spTgt spid="13"/>
                                        </p:tgtEl>
                                        <p:attrNameLst>
                                          <p:attrName>ppt_x</p:attrName>
                                          <p:attrName>ppt_y</p:attrName>
                                        </p:attrNameLst>
                                      </p:cBhvr>
                                      <p:rCtr x="0" y="11759"/>
                                    </p:animMotion>
                                  </p:childTnLst>
                                </p:cTn>
                              </p:par>
                              <p:par>
                                <p:cTn id="48" presetID="63" presetClass="path" presetSubtype="0" decel="100000" fill="hold" nodeType="withEffect">
                                  <p:stCondLst>
                                    <p:cond delay="500"/>
                                  </p:stCondLst>
                                  <p:childTnLst>
                                    <p:animMotion origin="layout" path="M 1.66667E-6 0.23541 L 0.28151 4.81481E-6 " pathEditMode="relative" rAng="0" ptsTypes="AA">
                                      <p:cBhvr>
                                        <p:cTn id="49" dur="1500" fill="hold"/>
                                        <p:tgtEl>
                                          <p:spTgt spid="13"/>
                                        </p:tgtEl>
                                        <p:attrNameLst>
                                          <p:attrName>ppt_x</p:attrName>
                                          <p:attrName>ppt_y</p:attrName>
                                        </p:attrNameLst>
                                      </p:cBhvr>
                                      <p:rCtr x="14076" y="-11782"/>
                                    </p:animMotion>
                                  </p:childTnLst>
                                </p:cTn>
                              </p:par>
                            </p:childTnLst>
                          </p:cTn>
                        </p:par>
                      </p:childTnLst>
                    </p:cTn>
                  </p:par>
                  <p:par>
                    <p:cTn id="50" fill="hold">
                      <p:stCondLst>
                        <p:cond delay="indefinite"/>
                      </p:stCondLst>
                      <p:childTnLst>
                        <p:par>
                          <p:cTn id="51" fill="hold">
                            <p:stCondLst>
                              <p:cond delay="0"/>
                            </p:stCondLst>
                            <p:childTnLst>
                              <p:par>
                                <p:cTn id="52" presetID="10" presetClass="exit" presetSubtype="0" fill="hold" nodeType="clickEffect">
                                  <p:stCondLst>
                                    <p:cond delay="0"/>
                                  </p:stCondLst>
                                  <p:childTnLst>
                                    <p:animEffect transition="out" filter="fade">
                                      <p:cBhvr>
                                        <p:cTn id="53" dur="1000"/>
                                        <p:tgtEl>
                                          <p:spTgt spid="13"/>
                                        </p:tgtEl>
                                      </p:cBhvr>
                                    </p:animEffect>
                                    <p:set>
                                      <p:cBhvr>
                                        <p:cTn id="54" dur="1" fill="hold">
                                          <p:stCondLst>
                                            <p:cond delay="999"/>
                                          </p:stCondLst>
                                        </p:cTn>
                                        <p:tgtEl>
                                          <p:spTgt spid="13"/>
                                        </p:tgtEl>
                                        <p:attrNameLst>
                                          <p:attrName>style.visibility</p:attrName>
                                        </p:attrNameLst>
                                      </p:cBhvr>
                                      <p:to>
                                        <p:strVal val="hidden"/>
                                      </p:to>
                                    </p:set>
                                  </p:childTnLst>
                                </p:cTn>
                              </p:par>
                              <p:par>
                                <p:cTn id="55" presetID="10" presetClass="entr" presetSubtype="0" fill="hold" nodeType="withEffect">
                                  <p:stCondLst>
                                    <p:cond delay="0"/>
                                  </p:stCondLst>
                                  <p:childTnLst>
                                    <p:set>
                                      <p:cBhvr>
                                        <p:cTn id="56" dur="1" fill="hold">
                                          <p:stCondLst>
                                            <p:cond delay="0"/>
                                          </p:stCondLst>
                                        </p:cTn>
                                        <p:tgtEl>
                                          <p:spTgt spid="138"/>
                                        </p:tgtEl>
                                        <p:attrNameLst>
                                          <p:attrName>style.visibility</p:attrName>
                                        </p:attrNameLst>
                                      </p:cBhvr>
                                      <p:to>
                                        <p:strVal val="visible"/>
                                      </p:to>
                                    </p:set>
                                    <p:animEffect transition="in" filter="fade">
                                      <p:cBhvr>
                                        <p:cTn id="57" dur="1000"/>
                                        <p:tgtEl>
                                          <p:spTgt spid="138"/>
                                        </p:tgtEl>
                                      </p:cBhvr>
                                    </p:animEffect>
                                  </p:childTnLst>
                                </p:cTn>
                              </p:par>
                            </p:childTnLst>
                          </p:cTn>
                        </p:par>
                      </p:childTnLst>
                    </p:cTn>
                  </p:par>
                  <p:par>
                    <p:cTn id="58" fill="hold">
                      <p:stCondLst>
                        <p:cond delay="indefinite"/>
                      </p:stCondLst>
                      <p:childTnLst>
                        <p:par>
                          <p:cTn id="59" fill="hold">
                            <p:stCondLst>
                              <p:cond delay="0"/>
                            </p:stCondLst>
                            <p:childTnLst>
                              <p:par>
                                <p:cTn id="60" presetID="64" presetClass="path" presetSubtype="0" fill="hold" nodeType="clickEffect">
                                  <p:stCondLst>
                                    <p:cond delay="0"/>
                                  </p:stCondLst>
                                  <p:childTnLst>
                                    <p:animMotion origin="layout" path="M 1.25E-6 4.81481E-6 L -0.28151 0.23541 " pathEditMode="relative" rAng="0" ptsTypes="AA">
                                      <p:cBhvr>
                                        <p:cTn id="61" dur="1250" fill="hold"/>
                                        <p:tgtEl>
                                          <p:spTgt spid="138"/>
                                        </p:tgtEl>
                                        <p:attrNameLst>
                                          <p:attrName>ppt_x</p:attrName>
                                          <p:attrName>ppt_y</p:attrName>
                                        </p:attrNameLst>
                                      </p:cBhvr>
                                      <p:rCtr x="-14076" y="11759"/>
                                    </p:animMotion>
                                  </p:childTnLst>
                                </p:cTn>
                              </p:par>
                              <p:par>
                                <p:cTn id="62" presetID="63" presetClass="path" presetSubtype="0" decel="100000" fill="hold" nodeType="withEffect">
                                  <p:stCondLst>
                                    <p:cond delay="1250"/>
                                  </p:stCondLst>
                                  <p:childTnLst>
                                    <p:animMotion origin="layout" path="M -0.28151 0.23541 L 0.13307 0.04907 " pathEditMode="relative" rAng="0" ptsTypes="AA">
                                      <p:cBhvr>
                                        <p:cTn id="63" dur="2000" fill="hold"/>
                                        <p:tgtEl>
                                          <p:spTgt spid="138"/>
                                        </p:tgtEl>
                                        <p:attrNameLst>
                                          <p:attrName>ppt_x</p:attrName>
                                          <p:attrName>ppt_y</p:attrName>
                                        </p:attrNameLst>
                                      </p:cBhvr>
                                      <p:rCtr x="20729" y="-9329"/>
                                    </p:animMotion>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14"/>
                                        </p:tgtEl>
                                        <p:attrNameLst>
                                          <p:attrName>style.visibility</p:attrName>
                                        </p:attrNameLst>
                                      </p:cBhvr>
                                      <p:to>
                                        <p:strVal val="visible"/>
                                      </p:to>
                                    </p:set>
                                    <p:animEffect transition="in" filter="fade">
                                      <p:cBhvr>
                                        <p:cTn id="68" dur="500"/>
                                        <p:tgtEl>
                                          <p:spTgt spid="14"/>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4120"/>
                                        </p:tgtEl>
                                        <p:attrNameLst>
                                          <p:attrName>style.visibility</p:attrName>
                                        </p:attrNameLst>
                                      </p:cBhvr>
                                      <p:to>
                                        <p:strVal val="visible"/>
                                      </p:to>
                                    </p:set>
                                    <p:animEffect transition="in" filter="fade">
                                      <p:cBhvr>
                                        <p:cTn id="73" dur="500"/>
                                        <p:tgtEl>
                                          <p:spTgt spid="4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P spid="141" grpId="0" animBg="1"/>
      <p:bldP spid="82" grpId="0" animBg="1"/>
    </p:bldLst>
  </p:timing>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loud 2"/>
          <p:cNvSpPr/>
          <p:nvPr/>
        </p:nvSpPr>
        <p:spPr bwMode="auto">
          <a:xfrm>
            <a:off x="8602927" y="3109926"/>
            <a:ext cx="3369939" cy="1435566"/>
          </a:xfrm>
          <a:prstGeom prst="cloud">
            <a:avLst/>
          </a:prstGeom>
          <a:solidFill>
            <a:schemeClr val="accent2">
              <a:lumMod val="20000"/>
              <a:lumOff val="80000"/>
            </a:schemeClr>
          </a:solidFill>
          <a:ln>
            <a:solidFill>
              <a:schemeClr val="accent2">
                <a:shade val="95000"/>
                <a:satMod val="105000"/>
                <a:alpha val="15000"/>
              </a:schemeClr>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a:ln>
                <a:solidFill>
                  <a:srgbClr val="FFFFFF">
                    <a:alpha val="0"/>
                  </a:srgbClr>
                </a:solidFill>
              </a:ln>
              <a:solidFill>
                <a:srgbClr val="FFFFFF"/>
              </a:solidFill>
            </a:endParaRPr>
          </a:p>
        </p:txBody>
      </p:sp>
      <p:sp>
        <p:nvSpPr>
          <p:cNvPr id="30" name="Oval 40"/>
          <p:cNvSpPr/>
          <p:nvPr/>
        </p:nvSpPr>
        <p:spPr bwMode="auto">
          <a:xfrm rot="16200000">
            <a:off x="8354925" y="3123102"/>
            <a:ext cx="766740" cy="1322189"/>
          </a:xfrm>
          <a:custGeom>
            <a:avLst/>
            <a:gdLst/>
            <a:ahLst/>
            <a:cxnLst/>
            <a:rect l="l" t="t" r="r" b="b"/>
            <a:pathLst>
              <a:path w="1722466" h="2062880">
                <a:moveTo>
                  <a:pt x="861233" y="1937150"/>
                </a:moveTo>
                <a:cubicBezTo>
                  <a:pt x="747514" y="1937150"/>
                  <a:pt x="655327" y="1960701"/>
                  <a:pt x="655327" y="1989752"/>
                </a:cubicBezTo>
                <a:cubicBezTo>
                  <a:pt x="655327" y="2018803"/>
                  <a:pt x="747514" y="2042354"/>
                  <a:pt x="861233" y="2042354"/>
                </a:cubicBezTo>
                <a:cubicBezTo>
                  <a:pt x="974952" y="2042354"/>
                  <a:pt x="1067139" y="2018803"/>
                  <a:pt x="1067139" y="1989752"/>
                </a:cubicBezTo>
                <a:cubicBezTo>
                  <a:pt x="1067139" y="1960701"/>
                  <a:pt x="974952" y="1937150"/>
                  <a:pt x="861233" y="1937150"/>
                </a:cubicBezTo>
                <a:close/>
                <a:moveTo>
                  <a:pt x="474194" y="1595858"/>
                </a:moveTo>
                <a:lnTo>
                  <a:pt x="472390" y="1600429"/>
                </a:lnTo>
                <a:cubicBezTo>
                  <a:pt x="472390" y="1654797"/>
                  <a:pt x="644910" y="1698870"/>
                  <a:pt x="857725" y="1698870"/>
                </a:cubicBezTo>
                <a:cubicBezTo>
                  <a:pt x="1070539" y="1698870"/>
                  <a:pt x="1243059" y="1654797"/>
                  <a:pt x="1243059" y="1600429"/>
                </a:cubicBezTo>
                <a:cubicBezTo>
                  <a:pt x="1243059" y="1598811"/>
                  <a:pt x="1242906" y="1597202"/>
                  <a:pt x="1241255" y="1595858"/>
                </a:cubicBezTo>
                <a:cubicBezTo>
                  <a:pt x="1232698" y="1645845"/>
                  <a:pt x="1064171" y="1685414"/>
                  <a:pt x="857725" y="1685414"/>
                </a:cubicBezTo>
                <a:cubicBezTo>
                  <a:pt x="651278" y="1685414"/>
                  <a:pt x="482751" y="1645845"/>
                  <a:pt x="474194" y="1595858"/>
                </a:cubicBezTo>
                <a:close/>
                <a:moveTo>
                  <a:pt x="861233" y="20523"/>
                </a:moveTo>
                <a:cubicBezTo>
                  <a:pt x="446350" y="20523"/>
                  <a:pt x="110021" y="102497"/>
                  <a:pt x="110021" y="203617"/>
                </a:cubicBezTo>
                <a:cubicBezTo>
                  <a:pt x="110021" y="304737"/>
                  <a:pt x="446350" y="386711"/>
                  <a:pt x="861233" y="386711"/>
                </a:cubicBezTo>
                <a:cubicBezTo>
                  <a:pt x="1276116" y="386711"/>
                  <a:pt x="1612445" y="304737"/>
                  <a:pt x="1612445" y="203617"/>
                </a:cubicBezTo>
                <a:cubicBezTo>
                  <a:pt x="1612445" y="102497"/>
                  <a:pt x="1276116" y="20523"/>
                  <a:pt x="861233" y="20523"/>
                </a:cubicBezTo>
                <a:close/>
                <a:moveTo>
                  <a:pt x="861233" y="0"/>
                </a:moveTo>
                <a:cubicBezTo>
                  <a:pt x="1336879" y="0"/>
                  <a:pt x="1722466" y="98506"/>
                  <a:pt x="1722466" y="220019"/>
                </a:cubicBezTo>
                <a:lnTo>
                  <a:pt x="1720940" y="227742"/>
                </a:lnTo>
                <a:lnTo>
                  <a:pt x="1722465" y="227742"/>
                </a:lnTo>
                <a:lnTo>
                  <a:pt x="1718849" y="238319"/>
                </a:lnTo>
                <a:cubicBezTo>
                  <a:pt x="1718753" y="240702"/>
                  <a:pt x="1717917" y="242876"/>
                  <a:pt x="1716605" y="244883"/>
                </a:cubicBezTo>
                <a:lnTo>
                  <a:pt x="1572468" y="666477"/>
                </a:lnTo>
                <a:lnTo>
                  <a:pt x="1570303" y="660990"/>
                </a:lnTo>
                <a:cubicBezTo>
                  <a:pt x="1554590" y="752777"/>
                  <a:pt x="1245138" y="825435"/>
                  <a:pt x="866059" y="825435"/>
                </a:cubicBezTo>
                <a:cubicBezTo>
                  <a:pt x="486980" y="825435"/>
                  <a:pt x="177528" y="752777"/>
                  <a:pt x="161815" y="660990"/>
                </a:cubicBezTo>
                <a:lnTo>
                  <a:pt x="158503" y="669384"/>
                </a:lnTo>
                <a:cubicBezTo>
                  <a:pt x="158503" y="769214"/>
                  <a:pt x="475287" y="850143"/>
                  <a:pt x="866059" y="850143"/>
                </a:cubicBezTo>
                <a:cubicBezTo>
                  <a:pt x="1207565" y="850143"/>
                  <a:pt x="1492563" y="788334"/>
                  <a:pt x="1558933" y="706066"/>
                </a:cubicBezTo>
                <a:lnTo>
                  <a:pt x="1400536" y="1169371"/>
                </a:lnTo>
                <a:lnTo>
                  <a:pt x="1400092" y="1168244"/>
                </a:lnTo>
                <a:cubicBezTo>
                  <a:pt x="1388176" y="1237847"/>
                  <a:pt x="1153517" y="1292944"/>
                  <a:pt x="866059" y="1292944"/>
                </a:cubicBezTo>
                <a:cubicBezTo>
                  <a:pt x="578601" y="1292944"/>
                  <a:pt x="343942" y="1237847"/>
                  <a:pt x="332027" y="1168244"/>
                </a:cubicBezTo>
                <a:lnTo>
                  <a:pt x="329515" y="1174609"/>
                </a:lnTo>
                <a:cubicBezTo>
                  <a:pt x="329515" y="1250311"/>
                  <a:pt x="569734" y="1311680"/>
                  <a:pt x="866059" y="1311680"/>
                </a:cubicBezTo>
                <a:cubicBezTo>
                  <a:pt x="1120811" y="1311680"/>
                  <a:pt x="1334096" y="1266323"/>
                  <a:pt x="1388360" y="1204984"/>
                </a:cubicBezTo>
                <a:lnTo>
                  <a:pt x="1118504" y="1994302"/>
                </a:lnTo>
                <a:cubicBezTo>
                  <a:pt x="1119455" y="1995076"/>
                  <a:pt x="1119527" y="1995983"/>
                  <a:pt x="1119527" y="1996894"/>
                </a:cubicBezTo>
                <a:cubicBezTo>
                  <a:pt x="1119527" y="2033337"/>
                  <a:pt x="1003885" y="2062880"/>
                  <a:pt x="861233" y="2062880"/>
                </a:cubicBezTo>
                <a:cubicBezTo>
                  <a:pt x="718581" y="2062880"/>
                  <a:pt x="602939" y="2033337"/>
                  <a:pt x="602939" y="1996894"/>
                </a:cubicBezTo>
                <a:lnTo>
                  <a:pt x="603961" y="1994304"/>
                </a:lnTo>
                <a:lnTo>
                  <a:pt x="5859" y="244879"/>
                </a:lnTo>
                <a:cubicBezTo>
                  <a:pt x="4549" y="242875"/>
                  <a:pt x="3714" y="240705"/>
                  <a:pt x="3619" y="238326"/>
                </a:cubicBezTo>
                <a:lnTo>
                  <a:pt x="0" y="227742"/>
                </a:lnTo>
                <a:lnTo>
                  <a:pt x="1526" y="227742"/>
                </a:lnTo>
                <a:cubicBezTo>
                  <a:pt x="181" y="225270"/>
                  <a:pt x="0" y="222650"/>
                  <a:pt x="0" y="220019"/>
                </a:cubicBezTo>
                <a:cubicBezTo>
                  <a:pt x="0" y="98506"/>
                  <a:pt x="385587" y="0"/>
                  <a:pt x="861233"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ts val="200"/>
              </a:spcBef>
              <a:spcAft>
                <a:spcPct val="0"/>
              </a:spcAft>
            </a:pPr>
            <a:endParaRPr lang="en-US" sz="2800" dirty="0">
              <a:ln>
                <a:solidFill>
                  <a:srgbClr val="FFFFFF">
                    <a:alpha val="0"/>
                  </a:srgbClr>
                </a:solidFill>
              </a:ln>
              <a:solidFill>
                <a:srgbClr val="FFFFFF"/>
              </a:solidFill>
            </a:endParaRPr>
          </a:p>
        </p:txBody>
      </p:sp>
      <p:cxnSp>
        <p:nvCxnSpPr>
          <p:cNvPr id="62" name="arrow 3"/>
          <p:cNvCxnSpPr>
            <a:endCxn id="4098" idx="2"/>
          </p:cNvCxnSpPr>
          <p:nvPr/>
        </p:nvCxnSpPr>
        <p:spPr>
          <a:xfrm rot="16200000" flipV="1">
            <a:off x="-330332" y="3317295"/>
            <a:ext cx="3497890" cy="988706"/>
          </a:xfrm>
          <a:prstGeom prst="bentConnector3">
            <a:avLst>
              <a:gd name="adj1" fmla="val 50000"/>
            </a:avLst>
          </a:prstGeom>
          <a:ln w="57150">
            <a:solidFill>
              <a:schemeClr val="accent1"/>
            </a:solidFill>
            <a:headEnd type="none" w="med" len="med"/>
            <a:tailEnd type="stealth"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520701" y="228600"/>
            <a:ext cx="11669713" cy="581698"/>
          </a:xfrm>
        </p:spPr>
        <p:txBody>
          <a:bodyPr/>
          <a:lstStyle/>
          <a:p>
            <a:r>
              <a:rPr lang="en-US" sz="4200" dirty="0"/>
              <a:t>Authenticating Users from Web and Social Providers</a:t>
            </a:r>
          </a:p>
        </p:txBody>
      </p:sp>
      <p:pic>
        <p:nvPicPr>
          <p:cNvPr id="4098" name="Picture 2" descr="C:\Users\vittorib\Desktop\PDCPics\95. logo FB.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9245" y="1552673"/>
            <a:ext cx="510031" cy="510031"/>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3" descr="C:\Users\vittorib\Desktop\PDCPics\95. logo 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237679" y="1471119"/>
            <a:ext cx="673139" cy="673139"/>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C:\Users\vittorib\Desktop\PDCPics\95. logo wlid.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674" y="1555895"/>
            <a:ext cx="479607" cy="503587"/>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browser"/>
          <p:cNvGrpSpPr/>
          <p:nvPr/>
        </p:nvGrpSpPr>
        <p:grpSpPr>
          <a:xfrm>
            <a:off x="914400" y="4891088"/>
            <a:ext cx="1195388" cy="976313"/>
            <a:chOff x="4899025" y="2452687"/>
            <a:chExt cx="2390775" cy="1952625"/>
          </a:xfrm>
          <a:scene3d>
            <a:camera prst="perspectiveHeroicExtremeLeftFacing"/>
            <a:lightRig rig="threePt" dir="t"/>
          </a:scene3d>
        </p:grpSpPr>
        <p:pic>
          <p:nvPicPr>
            <p:cNvPr id="34" name="Picture 2" descr="C:\DVD_Art_Sept-2-2010\Artwork_Imagery\Icons - Illustrations\_ WINDOWS SERVER ICONS\Documents\Window Application program.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99025" y="2452687"/>
              <a:ext cx="2390775" cy="1952625"/>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 descr="C:\DVD_Art_Sept-2-2010\Artwork_Imagery\Icons - Illustrations\_ WINDOWS SERVER ICONS\Search\Globe earth internet world web 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541962" y="2824162"/>
              <a:ext cx="1104900" cy="1209675"/>
            </a:xfrm>
            <a:prstGeom prst="rect">
              <a:avLst/>
            </a:prstGeom>
            <a:noFill/>
            <a:extLst>
              <a:ext uri="{909E8E84-426E-40DD-AFC4-6F175D3DCCD1}">
                <a14:hiddenFill xmlns:a14="http://schemas.microsoft.com/office/drawing/2010/main">
                  <a:solidFill>
                    <a:srgbClr val="FFFFFF"/>
                  </a:solidFill>
                </a14:hiddenFill>
              </a:ext>
            </a:extLst>
          </p:spPr>
        </p:pic>
      </p:grpSp>
      <p:pic>
        <p:nvPicPr>
          <p:cNvPr id="36" name="User"/>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flipH="1">
            <a:off x="378499" y="5016498"/>
            <a:ext cx="922098" cy="1086758"/>
          </a:xfrm>
          <a:prstGeom prst="rect">
            <a:avLst/>
          </a:prstGeom>
          <a:noFill/>
          <a:extLst>
            <a:ext uri="{909E8E84-426E-40DD-AFC4-6F175D3DCCD1}">
              <a14:hiddenFill xmlns:a14="http://schemas.microsoft.com/office/drawing/2010/main">
                <a:solidFill>
                  <a:srgbClr val="FFFFFF"/>
                </a:solidFill>
              </a14:hiddenFill>
            </a:ext>
          </a:extLst>
        </p:spPr>
      </p:pic>
      <p:cxnSp>
        <p:nvCxnSpPr>
          <p:cNvPr id="51" name="arrow 3"/>
          <p:cNvCxnSpPr/>
          <p:nvPr/>
        </p:nvCxnSpPr>
        <p:spPr>
          <a:xfrm flipV="1">
            <a:off x="1608162" y="3891404"/>
            <a:ext cx="6540950" cy="1074107"/>
          </a:xfrm>
          <a:prstGeom prst="bentConnector3">
            <a:avLst>
              <a:gd name="adj1" fmla="val 87429"/>
            </a:avLst>
          </a:prstGeom>
          <a:ln w="57150">
            <a:solidFill>
              <a:srgbClr val="FF0000"/>
            </a:solidFill>
            <a:headEnd type="none" w="med" len="med"/>
            <a:tailEnd type="stealth" w="med" len="med"/>
          </a:ln>
        </p:spPr>
        <p:style>
          <a:lnRef idx="1">
            <a:schemeClr val="accent1"/>
          </a:lnRef>
          <a:fillRef idx="0">
            <a:schemeClr val="accent1"/>
          </a:fillRef>
          <a:effectRef idx="0">
            <a:schemeClr val="accent1"/>
          </a:effectRef>
          <a:fontRef idx="minor">
            <a:schemeClr val="tx1"/>
          </a:fontRef>
        </p:style>
      </p:cxnSp>
      <p:pic>
        <p:nvPicPr>
          <p:cNvPr id="56" name="Picture 3" descr="C:\Users\vittorib\Desktop\TEChinaPics\93. STS-RP.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410201" y="3078111"/>
            <a:ext cx="1362693" cy="1412176"/>
          </a:xfrm>
          <a:prstGeom prst="rect">
            <a:avLst/>
          </a:prstGeom>
          <a:noFill/>
          <a:extLst>
            <a:ext uri="{909E8E84-426E-40DD-AFC4-6F175D3DCCD1}">
              <a14:hiddenFill xmlns:a14="http://schemas.microsoft.com/office/drawing/2010/main">
                <a:solidFill>
                  <a:srgbClr val="FFFFFF"/>
                </a:solidFill>
              </a14:hiddenFill>
            </a:ext>
          </a:extLst>
        </p:spPr>
      </p:pic>
      <p:cxnSp>
        <p:nvCxnSpPr>
          <p:cNvPr id="58" name="arrow 3"/>
          <p:cNvCxnSpPr>
            <a:endCxn id="56" idx="1"/>
          </p:cNvCxnSpPr>
          <p:nvPr/>
        </p:nvCxnSpPr>
        <p:spPr>
          <a:xfrm flipV="1">
            <a:off x="1760562" y="3784199"/>
            <a:ext cx="3649638" cy="1333712"/>
          </a:xfrm>
          <a:prstGeom prst="bentConnector3">
            <a:avLst>
              <a:gd name="adj1" fmla="val 73438"/>
            </a:avLst>
          </a:prstGeom>
          <a:ln w="57150">
            <a:solidFill>
              <a:srgbClr val="FF0000"/>
            </a:solidFill>
            <a:headEnd type="none" w="med" len="med"/>
            <a:tailEnd type="stealth" w="med" len="med"/>
          </a:ln>
        </p:spPr>
        <p:style>
          <a:lnRef idx="1">
            <a:schemeClr val="accent1"/>
          </a:lnRef>
          <a:fillRef idx="0">
            <a:schemeClr val="accent1"/>
          </a:fillRef>
          <a:effectRef idx="0">
            <a:schemeClr val="accent1"/>
          </a:effectRef>
          <a:fontRef idx="minor">
            <a:schemeClr val="tx1"/>
          </a:fontRef>
        </p:style>
      </p:cxnSp>
      <p:pic>
        <p:nvPicPr>
          <p:cNvPr id="59" name="Token" descr="C:\Users\vittorib\Desktop\PDCPics\6. Token.png"/>
          <p:cNvPicPr>
            <a:picLocks noChangeAspect="1" noChangeArrowheads="1"/>
          </p:cNvPicPr>
          <p:nvPr/>
        </p:nvPicPr>
        <p:blipFill>
          <a:blip r:embed="rId10" cstate="print">
            <a:duotone>
              <a:schemeClr val="accent4">
                <a:shade val="45000"/>
                <a:satMod val="135000"/>
              </a:schemeClr>
              <a:prstClr val="white"/>
            </a:duotone>
            <a:extLst>
              <a:ext uri="{BEBA8EAE-BF5A-486C-A8C5-ECC9F3942E4B}">
                <a14:imgProps xmlns:a14="http://schemas.microsoft.com/office/drawing/2010/main">
                  <a14:imgLayer r:embed="rId11">
                    <a14:imgEffect>
                      <a14:colorTemperature colorTemp="4700"/>
                    </a14:imgEffect>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4515025" y="3784198"/>
            <a:ext cx="1126134" cy="1037843"/>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3200216" y="1563729"/>
            <a:ext cx="770331" cy="487916"/>
          </a:xfrm>
          <a:prstGeom prst="rect">
            <a:avLst/>
          </a:prstGeom>
          <a:noFill/>
          <a:extLst>
            <a:ext uri="{909E8E84-426E-40DD-AFC4-6F175D3DCCD1}">
              <a14:hiddenFill xmlns:a14="http://schemas.microsoft.com/office/drawing/2010/main">
                <a:solidFill>
                  <a:srgbClr val="FFFFFF"/>
                </a:solidFill>
              </a14:hiddenFill>
            </a:ext>
          </a:extLst>
        </p:spPr>
      </p:pic>
      <p:sp>
        <p:nvSpPr>
          <p:cNvPr id="12" name="Octagon 11"/>
          <p:cNvSpPr/>
          <p:nvPr/>
        </p:nvSpPr>
        <p:spPr bwMode="auto">
          <a:xfrm>
            <a:off x="1026319" y="2631953"/>
            <a:ext cx="762000" cy="706086"/>
          </a:xfrm>
          <a:prstGeom prst="octagon">
            <a:avLst/>
          </a:prstGeom>
          <a:solidFill>
            <a:schemeClr val="accent1"/>
          </a:solidFill>
          <a:ln>
            <a:headEnd type="none" w="med" len="med"/>
            <a:tailEnd type="none" w="med" len="med"/>
          </a:ln>
          <a:effectLst/>
          <a:scene3d>
            <a:camera prst="orthographicFront">
              <a:rot lat="0" lon="0" rev="0"/>
            </a:camera>
            <a:lightRig rig="threePt" dir="t">
              <a:rot lat="0" lon="0" rev="20400000"/>
            </a:lightRig>
          </a:scene3d>
          <a:sp3d>
            <a:contourClr>
              <a:schemeClr val="accent1">
                <a:shade val="25000"/>
                <a:satMod val="150000"/>
              </a:schemeClr>
            </a:contourClr>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gradFill>
                <a:gsLst>
                  <a:gs pos="0">
                    <a:srgbClr val="000000"/>
                  </a:gs>
                  <a:gs pos="100000">
                    <a:srgbClr val="000000"/>
                  </a:gs>
                </a:gsLst>
                <a:lin ang="5400000" scaled="0"/>
              </a:gradFill>
            </a:endParaRPr>
          </a:p>
        </p:txBody>
      </p:sp>
      <p:grpSp>
        <p:nvGrpSpPr>
          <p:cNvPr id="15" name="Group 14"/>
          <p:cNvGrpSpPr/>
          <p:nvPr/>
        </p:nvGrpSpPr>
        <p:grpSpPr>
          <a:xfrm>
            <a:off x="1143000" y="5101818"/>
            <a:ext cx="1195388" cy="994182"/>
            <a:chOff x="4166248" y="5364905"/>
            <a:chExt cx="1195388" cy="994182"/>
          </a:xfrm>
          <a:scene3d>
            <a:camera prst="perspectiveHeroicExtremeLeftFacing"/>
            <a:lightRig rig="threePt" dir="t"/>
          </a:scene3d>
        </p:grpSpPr>
        <p:pic>
          <p:nvPicPr>
            <p:cNvPr id="48" name="Picture 2" descr="C:\DVD_Art_Sept-2-2010\Artwork_Imagery\Icons - Illustrations\_ WINDOWS SERVER ICONS\Documents\Window Application program.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66248" y="5364905"/>
              <a:ext cx="1195388" cy="976313"/>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2" descr="C:\Users\vittorib\Desktop\PDCPics\95. logo FB.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291521" y="5511317"/>
              <a:ext cx="355091" cy="355091"/>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3" descr="C:\Users\vittorib\Desktop\PDCPics\95. logo G.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265612" y="5831100"/>
              <a:ext cx="527987" cy="527987"/>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4" descr="C:\Users\vittorib\Desktop\PDCPics\95. logo wlid.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72134" y="5518146"/>
              <a:ext cx="331678" cy="348261"/>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2" descr="C:\Users\vittorib\Desktop\PDCPics\95. logo Y.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722812" y="5902266"/>
              <a:ext cx="565132" cy="331650"/>
            </a:xfrm>
            <a:prstGeom prst="rect">
              <a:avLst/>
            </a:prstGeom>
            <a:noFill/>
            <a:extLst>
              <a:ext uri="{909E8E84-426E-40DD-AFC4-6F175D3DCCD1}">
                <a14:hiddenFill xmlns:a14="http://schemas.microsoft.com/office/drawing/2010/main">
                  <a:solidFill>
                    <a:srgbClr val="FFFFFF"/>
                  </a:solidFill>
                </a14:hiddenFill>
              </a:ext>
            </a:extLst>
          </p:spPr>
        </p:pic>
      </p:grpSp>
      <p:pic>
        <p:nvPicPr>
          <p:cNvPr id="4120" name="Picture 6" descr="C:\Users\vittorib\Desktop\PDCPics\96. FshippingHome.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149470" y="2133600"/>
            <a:ext cx="2509130" cy="1425186"/>
          </a:xfrm>
          <a:prstGeom prst="rect">
            <a:avLst/>
          </a:prstGeom>
          <a:noFill/>
          <a:extLst>
            <a:ext uri="{909E8E84-426E-40DD-AFC4-6F175D3DCCD1}">
              <a14:hiddenFill xmlns:a14="http://schemas.microsoft.com/office/drawing/2010/main">
                <a:solidFill>
                  <a:srgbClr val="FFFFFF"/>
                </a:solidFill>
              </a14:hiddenFill>
            </a:ext>
          </a:extLst>
        </p:spPr>
      </p:pic>
      <p:pic>
        <p:nvPicPr>
          <p:cNvPr id="32" name="App" descr="C:\Users\vittorib\Desktop\PDCPics\3. Application.png"/>
          <p:cNvPicPr>
            <a:picLocks noChangeAspect="1" noChangeArrowheads="1"/>
          </p:cNvPicPr>
          <p:nvPr/>
        </p:nvPicPr>
        <p:blipFill>
          <a:blip r:embed="rId17">
            <a:extLst>
              <a:ext uri="{BEBA8EAE-BF5A-486C-A8C5-ECC9F3942E4B}">
                <a14:imgProps xmlns:a14="http://schemas.microsoft.com/office/drawing/2010/main">
                  <a14:imgLayer r:embed="rId1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8991601" y="3197970"/>
            <a:ext cx="1045703" cy="1172456"/>
          </a:xfrm>
          <a:prstGeom prst="rect">
            <a:avLst/>
          </a:prstGeom>
          <a:noFill/>
          <a:extLst>
            <a:ext uri="{909E8E84-426E-40DD-AFC4-6F175D3DCCD1}">
              <a14:hiddenFill xmlns:a14="http://schemas.microsoft.com/office/drawing/2010/main">
                <a:solidFill>
                  <a:srgbClr val="FFFFFF"/>
                </a:solidFill>
              </a14:hiddenFill>
            </a:ext>
          </a:extLst>
        </p:spPr>
      </p:pic>
      <p:sp>
        <p:nvSpPr>
          <p:cNvPr id="16" name="Down Arrow 15"/>
          <p:cNvSpPr/>
          <p:nvPr/>
        </p:nvSpPr>
        <p:spPr bwMode="auto">
          <a:xfrm flipV="1">
            <a:off x="5641159" y="4343400"/>
            <a:ext cx="484632" cy="978408"/>
          </a:xfrm>
          <a:prstGeom prst="downArrow">
            <a:avLst/>
          </a:prstGeom>
          <a:solidFill>
            <a:schemeClr val="bg1">
              <a:lumMod val="75000"/>
            </a:schemeClr>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gradFill>
                <a:gsLst>
                  <a:gs pos="0">
                    <a:srgbClr val="000000"/>
                  </a:gs>
                  <a:gs pos="100000">
                    <a:srgbClr val="000000"/>
                  </a:gs>
                </a:gsLst>
                <a:lin ang="5400000" scaled="0"/>
              </a:gradFill>
            </a:endParaRPr>
          </a:p>
        </p:txBody>
      </p:sp>
      <p:sp>
        <p:nvSpPr>
          <p:cNvPr id="71" name="Down Arrow 70"/>
          <p:cNvSpPr/>
          <p:nvPr/>
        </p:nvSpPr>
        <p:spPr bwMode="auto">
          <a:xfrm flipV="1">
            <a:off x="8369820" y="4194869"/>
            <a:ext cx="484632" cy="978408"/>
          </a:xfrm>
          <a:prstGeom prst="downArrow">
            <a:avLst/>
          </a:prstGeom>
          <a:solidFill>
            <a:schemeClr val="bg1">
              <a:lumMod val="75000"/>
            </a:schemeClr>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gradFill>
                <a:gsLst>
                  <a:gs pos="0">
                    <a:srgbClr val="000000"/>
                  </a:gs>
                  <a:gs pos="100000">
                    <a:srgbClr val="000000"/>
                  </a:gs>
                </a:gsLst>
                <a:lin ang="5400000" scaled="0"/>
              </a:gradFill>
            </a:endParaRPr>
          </a:p>
        </p:txBody>
      </p:sp>
      <p:sp>
        <p:nvSpPr>
          <p:cNvPr id="17" name="TextBox 16"/>
          <p:cNvSpPr txBox="1"/>
          <p:nvPr/>
        </p:nvSpPr>
        <p:spPr>
          <a:xfrm>
            <a:off x="4951479" y="5271794"/>
            <a:ext cx="5615320" cy="553998"/>
          </a:xfrm>
          <a:prstGeom prst="rect">
            <a:avLst/>
          </a:prstGeom>
          <a:noFill/>
        </p:spPr>
        <p:txBody>
          <a:bodyPr wrap="none" lIns="0" tIns="0" rIns="0" bIns="0" rtlCol="0">
            <a:spAutoFit/>
          </a:bodyPr>
          <a:lstStyle/>
          <a:p>
            <a:pPr defTabSz="914363"/>
            <a:r>
              <a:rPr lang="en-US" sz="3600" spc="-100" dirty="0">
                <a:ln>
                  <a:solidFill>
                    <a:srgbClr val="FFFFFF">
                      <a:alpha val="0"/>
                    </a:srgbClr>
                  </a:solidFill>
                </a:ln>
                <a:solidFill>
                  <a:srgbClr val="00AEEF"/>
                </a:solidFill>
                <a:latin typeface="Segoe UI Light" pitchFamily="34" charset="0"/>
              </a:rPr>
              <a:t>Sign-up and claims enrichment</a:t>
            </a:r>
          </a:p>
        </p:txBody>
      </p:sp>
      <p:pic>
        <p:nvPicPr>
          <p:cNvPr id="1027" name="Picture 3"/>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644075" y="3770870"/>
            <a:ext cx="1936751" cy="9378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678880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98"/>
                                        </p:tgtEl>
                                        <p:attrNameLst>
                                          <p:attrName>style.visibility</p:attrName>
                                        </p:attrNameLst>
                                      </p:cBhvr>
                                      <p:to>
                                        <p:strVal val="visible"/>
                                      </p:to>
                                    </p:set>
                                    <p:animEffect transition="in" filter="fade">
                                      <p:cBhvr>
                                        <p:cTn id="7" dur="500"/>
                                        <p:tgtEl>
                                          <p:spTgt spid="409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00"/>
                                        </p:tgtEl>
                                        <p:attrNameLst>
                                          <p:attrName>style.visibility</p:attrName>
                                        </p:attrNameLst>
                                      </p:cBhvr>
                                      <p:to>
                                        <p:strVal val="visible"/>
                                      </p:to>
                                    </p:set>
                                    <p:animEffect transition="in" filter="fade">
                                      <p:cBhvr>
                                        <p:cTn id="11" dur="500"/>
                                        <p:tgtEl>
                                          <p:spTgt spid="4100"/>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099"/>
                                        </p:tgtEl>
                                        <p:attrNameLst>
                                          <p:attrName>style.visibility</p:attrName>
                                        </p:attrNameLst>
                                      </p:cBhvr>
                                      <p:to>
                                        <p:strVal val="visible"/>
                                      </p:to>
                                    </p:set>
                                    <p:animEffect transition="in" filter="fade">
                                      <p:cBhvr>
                                        <p:cTn id="15" dur="500"/>
                                        <p:tgtEl>
                                          <p:spTgt spid="4099"/>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5122"/>
                                        </p:tgtEl>
                                        <p:attrNameLst>
                                          <p:attrName>style.visibility</p:attrName>
                                        </p:attrNameLst>
                                      </p:cBhvr>
                                      <p:to>
                                        <p:strVal val="visible"/>
                                      </p:to>
                                    </p:set>
                                    <p:animEffect transition="in" filter="fade">
                                      <p:cBhvr>
                                        <p:cTn id="19" dur="500"/>
                                        <p:tgtEl>
                                          <p:spTgt spid="5122"/>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wipe(left)">
                                      <p:cBhvr>
                                        <p:cTn id="24" dur="500"/>
                                        <p:tgtEl>
                                          <p:spTgt spid="51"/>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58"/>
                                        </p:tgtEl>
                                        <p:attrNameLst>
                                          <p:attrName>style.visibility</p:attrName>
                                        </p:attrNameLst>
                                      </p:cBhvr>
                                      <p:to>
                                        <p:strVal val="visible"/>
                                      </p:to>
                                    </p:set>
                                    <p:animEffect transition="in" filter="wipe(left)">
                                      <p:cBhvr>
                                        <p:cTn id="29" dur="500"/>
                                        <p:tgtEl>
                                          <p:spTgt spid="58"/>
                                        </p:tgtEl>
                                      </p:cBhvr>
                                    </p:animEffect>
                                  </p:childTnLst>
                                </p:cTn>
                              </p:par>
                            </p:childTnLst>
                          </p:cTn>
                        </p:par>
                      </p:childTnLst>
                    </p:cTn>
                  </p:par>
                  <p:par>
                    <p:cTn id="30" fill="hold">
                      <p:stCondLst>
                        <p:cond delay="indefinite"/>
                      </p:stCondLst>
                      <p:childTnLst>
                        <p:par>
                          <p:cTn id="31" fill="hold">
                            <p:stCondLst>
                              <p:cond delay="0"/>
                            </p:stCondLst>
                            <p:childTnLst>
                              <p:par>
                                <p:cTn id="32" presetID="53" presetClass="entr" presetSubtype="16" fill="hold" nodeType="clickEffect">
                                  <p:stCondLst>
                                    <p:cond delay="0"/>
                                  </p:stCondLst>
                                  <p:childTnLst>
                                    <p:set>
                                      <p:cBhvr>
                                        <p:cTn id="33" dur="1" fill="hold">
                                          <p:stCondLst>
                                            <p:cond delay="0"/>
                                          </p:stCondLst>
                                        </p:cTn>
                                        <p:tgtEl>
                                          <p:spTgt spid="15"/>
                                        </p:tgtEl>
                                        <p:attrNameLst>
                                          <p:attrName>style.visibility</p:attrName>
                                        </p:attrNameLst>
                                      </p:cBhvr>
                                      <p:to>
                                        <p:strVal val="visible"/>
                                      </p:to>
                                    </p:set>
                                    <p:anim calcmode="lin" valueType="num">
                                      <p:cBhvr>
                                        <p:cTn id="34" dur="500" fill="hold"/>
                                        <p:tgtEl>
                                          <p:spTgt spid="15"/>
                                        </p:tgtEl>
                                        <p:attrNameLst>
                                          <p:attrName>ppt_w</p:attrName>
                                        </p:attrNameLst>
                                      </p:cBhvr>
                                      <p:tavLst>
                                        <p:tav tm="0">
                                          <p:val>
                                            <p:fltVal val="0"/>
                                          </p:val>
                                        </p:tav>
                                        <p:tav tm="100000">
                                          <p:val>
                                            <p:strVal val="#ppt_w"/>
                                          </p:val>
                                        </p:tav>
                                      </p:tavLst>
                                    </p:anim>
                                    <p:anim calcmode="lin" valueType="num">
                                      <p:cBhvr>
                                        <p:cTn id="35" dur="500" fill="hold"/>
                                        <p:tgtEl>
                                          <p:spTgt spid="15"/>
                                        </p:tgtEl>
                                        <p:attrNameLst>
                                          <p:attrName>ppt_h</p:attrName>
                                        </p:attrNameLst>
                                      </p:cBhvr>
                                      <p:tavLst>
                                        <p:tav tm="0">
                                          <p:val>
                                            <p:fltVal val="0"/>
                                          </p:val>
                                        </p:tav>
                                        <p:tav tm="100000">
                                          <p:val>
                                            <p:strVal val="#ppt_h"/>
                                          </p:val>
                                        </p:tav>
                                      </p:tavLst>
                                    </p:anim>
                                    <p:animEffect transition="in" filter="fade">
                                      <p:cBhvr>
                                        <p:cTn id="36" dur="500"/>
                                        <p:tgtEl>
                                          <p:spTgt spid="15"/>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4" fill="hold" nodeType="click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wipe(down)">
                                      <p:cBhvr>
                                        <p:cTn id="41" dur="500"/>
                                        <p:tgtEl>
                                          <p:spTgt spid="62"/>
                                        </p:tgtEl>
                                      </p:cBhvr>
                                    </p:animEffect>
                                  </p:childTnLst>
                                </p:cTn>
                              </p:par>
                            </p:childTnLst>
                          </p:cTn>
                        </p:par>
                        <p:par>
                          <p:cTn id="42" fill="hold">
                            <p:stCondLst>
                              <p:cond delay="500"/>
                            </p:stCondLst>
                            <p:childTnLst>
                              <p:par>
                                <p:cTn id="43" presetID="53" presetClass="entr" presetSubtype="16" fill="hold" grpId="0" nodeType="afterEffect">
                                  <p:stCondLst>
                                    <p:cond delay="0"/>
                                  </p:stCondLst>
                                  <p:childTnLst>
                                    <p:set>
                                      <p:cBhvr>
                                        <p:cTn id="44" dur="1" fill="hold">
                                          <p:stCondLst>
                                            <p:cond delay="0"/>
                                          </p:stCondLst>
                                        </p:cTn>
                                        <p:tgtEl>
                                          <p:spTgt spid="12"/>
                                        </p:tgtEl>
                                        <p:attrNameLst>
                                          <p:attrName>style.visibility</p:attrName>
                                        </p:attrNameLst>
                                      </p:cBhvr>
                                      <p:to>
                                        <p:strVal val="visible"/>
                                      </p:to>
                                    </p:set>
                                    <p:anim calcmode="lin" valueType="num">
                                      <p:cBhvr>
                                        <p:cTn id="45" dur="500" fill="hold"/>
                                        <p:tgtEl>
                                          <p:spTgt spid="12"/>
                                        </p:tgtEl>
                                        <p:attrNameLst>
                                          <p:attrName>ppt_w</p:attrName>
                                        </p:attrNameLst>
                                      </p:cBhvr>
                                      <p:tavLst>
                                        <p:tav tm="0">
                                          <p:val>
                                            <p:fltVal val="0"/>
                                          </p:val>
                                        </p:tav>
                                        <p:tav tm="100000">
                                          <p:val>
                                            <p:strVal val="#ppt_w"/>
                                          </p:val>
                                        </p:tav>
                                      </p:tavLst>
                                    </p:anim>
                                    <p:anim calcmode="lin" valueType="num">
                                      <p:cBhvr>
                                        <p:cTn id="46" dur="500" fill="hold"/>
                                        <p:tgtEl>
                                          <p:spTgt spid="12"/>
                                        </p:tgtEl>
                                        <p:attrNameLst>
                                          <p:attrName>ppt_h</p:attrName>
                                        </p:attrNameLst>
                                      </p:cBhvr>
                                      <p:tavLst>
                                        <p:tav tm="0">
                                          <p:val>
                                            <p:fltVal val="0"/>
                                          </p:val>
                                        </p:tav>
                                        <p:tav tm="100000">
                                          <p:val>
                                            <p:strVal val="#ppt_h"/>
                                          </p:val>
                                        </p:tav>
                                      </p:tavLst>
                                    </p:anim>
                                    <p:animEffect transition="in" filter="fade">
                                      <p:cBhvr>
                                        <p:cTn id="47" dur="500"/>
                                        <p:tgtEl>
                                          <p:spTgt spid="12"/>
                                        </p:tgtEl>
                                      </p:cBhvr>
                                    </p:animEffect>
                                  </p:childTnLst>
                                </p:cTn>
                              </p:par>
                            </p:childTnLst>
                          </p:cTn>
                        </p:par>
                      </p:childTnLst>
                    </p:cTn>
                  </p:par>
                  <p:par>
                    <p:cTn id="48" fill="hold">
                      <p:stCondLst>
                        <p:cond delay="indefinite"/>
                      </p:stCondLst>
                      <p:childTnLst>
                        <p:par>
                          <p:cTn id="49" fill="hold">
                            <p:stCondLst>
                              <p:cond delay="0"/>
                            </p:stCondLst>
                            <p:childTnLst>
                              <p:par>
                                <p:cTn id="50" presetID="0" presetClass="path" presetSubtype="0" accel="50000" decel="50000" fill="hold" grpId="1" nodeType="clickEffect">
                                  <p:stCondLst>
                                    <p:cond delay="0"/>
                                  </p:stCondLst>
                                  <p:childTnLst>
                                    <p:animMotion origin="layout" path="M 0 0 L 0.0069 0.28538 L 0.02241 0.36332 L 0.01759 0.28191 L 0.30215 0.20236 " pathEditMode="relative" ptsTypes="AAAAA">
                                      <p:cBhvr>
                                        <p:cTn id="51" dur="2000" fill="hold"/>
                                        <p:tgtEl>
                                          <p:spTgt spid="12"/>
                                        </p:tgtEl>
                                        <p:attrNameLst>
                                          <p:attrName>ppt_x</p:attrName>
                                          <p:attrName>ppt_y</p:attrName>
                                        </p:attrNameLst>
                                      </p:cBhvr>
                                    </p:animMotion>
                                  </p:childTnLst>
                                </p:cTn>
                              </p:par>
                            </p:childTnLst>
                          </p:cTn>
                        </p:par>
                      </p:childTnLst>
                    </p:cTn>
                  </p:par>
                  <p:par>
                    <p:cTn id="52" fill="hold">
                      <p:stCondLst>
                        <p:cond delay="indefinite"/>
                      </p:stCondLst>
                      <p:childTnLst>
                        <p:par>
                          <p:cTn id="53" fill="hold">
                            <p:stCondLst>
                              <p:cond delay="0"/>
                            </p:stCondLst>
                            <p:childTnLst>
                              <p:par>
                                <p:cTn id="54" presetID="14" presetClass="exit" presetSubtype="10" fill="hold" grpId="2" nodeType="clickEffect">
                                  <p:stCondLst>
                                    <p:cond delay="0"/>
                                  </p:stCondLst>
                                  <p:childTnLst>
                                    <p:animEffect transition="out" filter="randombar(horizontal)">
                                      <p:cBhvr>
                                        <p:cTn id="55" dur="1250"/>
                                        <p:tgtEl>
                                          <p:spTgt spid="12"/>
                                        </p:tgtEl>
                                      </p:cBhvr>
                                    </p:animEffect>
                                    <p:set>
                                      <p:cBhvr>
                                        <p:cTn id="56" dur="1" fill="hold">
                                          <p:stCondLst>
                                            <p:cond delay="1249"/>
                                          </p:stCondLst>
                                        </p:cTn>
                                        <p:tgtEl>
                                          <p:spTgt spid="12"/>
                                        </p:tgtEl>
                                        <p:attrNameLst>
                                          <p:attrName>style.visibility</p:attrName>
                                        </p:attrNameLst>
                                      </p:cBhvr>
                                      <p:to>
                                        <p:strVal val="hidden"/>
                                      </p:to>
                                    </p:set>
                                  </p:childTnLst>
                                </p:cTn>
                              </p:par>
                              <p:par>
                                <p:cTn id="57" presetID="14" presetClass="entr" presetSubtype="10" fill="hold" nodeType="withEffect">
                                  <p:stCondLst>
                                    <p:cond delay="0"/>
                                  </p:stCondLst>
                                  <p:childTnLst>
                                    <p:set>
                                      <p:cBhvr>
                                        <p:cTn id="58" dur="1" fill="hold">
                                          <p:stCondLst>
                                            <p:cond delay="0"/>
                                          </p:stCondLst>
                                        </p:cTn>
                                        <p:tgtEl>
                                          <p:spTgt spid="59"/>
                                        </p:tgtEl>
                                        <p:attrNameLst>
                                          <p:attrName>style.visibility</p:attrName>
                                        </p:attrNameLst>
                                      </p:cBhvr>
                                      <p:to>
                                        <p:strVal val="visible"/>
                                      </p:to>
                                    </p:set>
                                    <p:animEffect transition="in" filter="randombar(horizontal)">
                                      <p:cBhvr>
                                        <p:cTn id="59" dur="1750"/>
                                        <p:tgtEl>
                                          <p:spTgt spid="59"/>
                                        </p:tgtEl>
                                      </p:cBhvr>
                                    </p:animEffect>
                                  </p:childTnLst>
                                </p:cTn>
                              </p:par>
                            </p:childTnLst>
                          </p:cTn>
                        </p:par>
                      </p:childTnLst>
                    </p:cTn>
                  </p:par>
                  <p:par>
                    <p:cTn id="60" fill="hold">
                      <p:stCondLst>
                        <p:cond delay="indefinite"/>
                      </p:stCondLst>
                      <p:childTnLst>
                        <p:par>
                          <p:cTn id="61" fill="hold">
                            <p:stCondLst>
                              <p:cond delay="0"/>
                            </p:stCondLst>
                            <p:childTnLst>
                              <p:par>
                                <p:cTn id="62" presetID="0" presetClass="path" presetSubtype="0" accel="50000" decel="50000" fill="hold" nodeType="clickEffect">
                                  <p:stCondLst>
                                    <p:cond delay="0"/>
                                  </p:stCondLst>
                                  <p:childTnLst>
                                    <p:animMotion origin="layout" path="M -4.72313E-6 -5.20814E-6 L -0.29133 0.15216 L 0.21733 0.02589 " pathEditMode="relative" ptsTypes="AAA">
                                      <p:cBhvr>
                                        <p:cTn id="63" dur="2000" fill="hold"/>
                                        <p:tgtEl>
                                          <p:spTgt spid="59"/>
                                        </p:tgtEl>
                                        <p:attrNameLst>
                                          <p:attrName>ppt_x</p:attrName>
                                          <p:attrName>ppt_y</p:attrName>
                                        </p:attrNameLst>
                                      </p:cBhvr>
                                    </p:animMotion>
                                  </p:childTnLst>
                                </p:cTn>
                              </p:par>
                            </p:childTnLst>
                          </p:cTn>
                        </p:par>
                      </p:childTnLst>
                    </p:cTn>
                  </p:par>
                  <p:par>
                    <p:cTn id="64" fill="hold">
                      <p:stCondLst>
                        <p:cond delay="indefinite"/>
                      </p:stCondLst>
                      <p:childTnLst>
                        <p:par>
                          <p:cTn id="65" fill="hold">
                            <p:stCondLst>
                              <p:cond delay="0"/>
                            </p:stCondLst>
                            <p:childTnLst>
                              <p:par>
                                <p:cTn id="66" presetID="22" presetClass="entr" presetSubtype="4" fill="hold" grpId="0" nodeType="clickEffect">
                                  <p:stCondLst>
                                    <p:cond delay="0"/>
                                  </p:stCondLst>
                                  <p:childTnLst>
                                    <p:set>
                                      <p:cBhvr>
                                        <p:cTn id="67" dur="1" fill="hold">
                                          <p:stCondLst>
                                            <p:cond delay="0"/>
                                          </p:stCondLst>
                                        </p:cTn>
                                        <p:tgtEl>
                                          <p:spTgt spid="17"/>
                                        </p:tgtEl>
                                        <p:attrNameLst>
                                          <p:attrName>style.visibility</p:attrName>
                                        </p:attrNameLst>
                                      </p:cBhvr>
                                      <p:to>
                                        <p:strVal val="visible"/>
                                      </p:to>
                                    </p:set>
                                    <p:animEffect transition="in" filter="wipe(down)">
                                      <p:cBhvr>
                                        <p:cTn id="68" dur="500"/>
                                        <p:tgtEl>
                                          <p:spTgt spid="17"/>
                                        </p:tgtEl>
                                      </p:cBhvr>
                                    </p:animEffect>
                                  </p:childTnLst>
                                </p:cTn>
                              </p:par>
                              <p:par>
                                <p:cTn id="69" presetID="22" presetClass="entr" presetSubtype="4" fill="hold" grpId="0" nodeType="withEffect" nodePh="1">
                                  <p:stCondLst>
                                    <p:cond delay="0"/>
                                  </p:stCondLst>
                                  <p:endCondLst>
                                    <p:cond evt="begin" delay="0">
                                      <p:tn val="69"/>
                                    </p:cond>
                                  </p:endCondLst>
                                  <p:childTnLst>
                                    <p:set>
                                      <p:cBhvr>
                                        <p:cTn id="70" dur="1" fill="hold">
                                          <p:stCondLst>
                                            <p:cond delay="0"/>
                                          </p:stCondLst>
                                        </p:cTn>
                                        <p:tgtEl>
                                          <p:spTgt spid="16"/>
                                        </p:tgtEl>
                                        <p:attrNameLst>
                                          <p:attrName>style.visibility</p:attrName>
                                        </p:attrNameLst>
                                      </p:cBhvr>
                                      <p:to>
                                        <p:strVal val="visible"/>
                                      </p:to>
                                    </p:set>
                                    <p:animEffect transition="in" filter="wipe(down)">
                                      <p:cBhvr>
                                        <p:cTn id="71" dur="500"/>
                                        <p:tgtEl>
                                          <p:spTgt spid="16"/>
                                        </p:tgtEl>
                                      </p:cBhvr>
                                    </p:animEffect>
                                  </p:childTnLst>
                                </p:cTn>
                              </p:par>
                              <p:par>
                                <p:cTn id="72" presetID="22" presetClass="entr" presetSubtype="4" fill="hold" grpId="0" nodeType="withEffect">
                                  <p:stCondLst>
                                    <p:cond delay="0"/>
                                  </p:stCondLst>
                                  <p:childTnLst>
                                    <p:set>
                                      <p:cBhvr>
                                        <p:cTn id="73" dur="1" fill="hold">
                                          <p:stCondLst>
                                            <p:cond delay="0"/>
                                          </p:stCondLst>
                                        </p:cTn>
                                        <p:tgtEl>
                                          <p:spTgt spid="71"/>
                                        </p:tgtEl>
                                        <p:attrNameLst>
                                          <p:attrName>style.visibility</p:attrName>
                                        </p:attrNameLst>
                                      </p:cBhvr>
                                      <p:to>
                                        <p:strVal val="visible"/>
                                      </p:to>
                                    </p:set>
                                    <p:animEffect transition="in" filter="wipe(down)">
                                      <p:cBhvr>
                                        <p:cTn id="74" dur="500"/>
                                        <p:tgtEl>
                                          <p:spTgt spid="71"/>
                                        </p:tgtEl>
                                      </p:cBhvr>
                                    </p:animEffect>
                                  </p:childTnLst>
                                </p:cTn>
                              </p:par>
                            </p:childTnLst>
                          </p:cTn>
                        </p:par>
                      </p:childTnLst>
                    </p:cTn>
                  </p:par>
                  <p:par>
                    <p:cTn id="75" fill="hold">
                      <p:stCondLst>
                        <p:cond delay="indefinite"/>
                      </p:stCondLst>
                      <p:childTnLst>
                        <p:par>
                          <p:cTn id="76" fill="hold">
                            <p:stCondLst>
                              <p:cond delay="0"/>
                            </p:stCondLst>
                            <p:childTnLst>
                              <p:par>
                                <p:cTn id="77" presetID="53" presetClass="entr" presetSubtype="16" fill="hold" nodeType="clickEffect">
                                  <p:stCondLst>
                                    <p:cond delay="0"/>
                                  </p:stCondLst>
                                  <p:childTnLst>
                                    <p:set>
                                      <p:cBhvr>
                                        <p:cTn id="78" dur="1" fill="hold">
                                          <p:stCondLst>
                                            <p:cond delay="0"/>
                                          </p:stCondLst>
                                        </p:cTn>
                                        <p:tgtEl>
                                          <p:spTgt spid="4120"/>
                                        </p:tgtEl>
                                        <p:attrNameLst>
                                          <p:attrName>style.visibility</p:attrName>
                                        </p:attrNameLst>
                                      </p:cBhvr>
                                      <p:to>
                                        <p:strVal val="visible"/>
                                      </p:to>
                                    </p:set>
                                    <p:anim calcmode="lin" valueType="num">
                                      <p:cBhvr>
                                        <p:cTn id="79" dur="500" fill="hold"/>
                                        <p:tgtEl>
                                          <p:spTgt spid="4120"/>
                                        </p:tgtEl>
                                        <p:attrNameLst>
                                          <p:attrName>ppt_w</p:attrName>
                                        </p:attrNameLst>
                                      </p:cBhvr>
                                      <p:tavLst>
                                        <p:tav tm="0">
                                          <p:val>
                                            <p:fltVal val="0"/>
                                          </p:val>
                                        </p:tav>
                                        <p:tav tm="100000">
                                          <p:val>
                                            <p:strVal val="#ppt_w"/>
                                          </p:val>
                                        </p:tav>
                                      </p:tavLst>
                                    </p:anim>
                                    <p:anim calcmode="lin" valueType="num">
                                      <p:cBhvr>
                                        <p:cTn id="80" dur="500" fill="hold"/>
                                        <p:tgtEl>
                                          <p:spTgt spid="4120"/>
                                        </p:tgtEl>
                                        <p:attrNameLst>
                                          <p:attrName>ppt_h</p:attrName>
                                        </p:attrNameLst>
                                      </p:cBhvr>
                                      <p:tavLst>
                                        <p:tav tm="0">
                                          <p:val>
                                            <p:fltVal val="0"/>
                                          </p:val>
                                        </p:tav>
                                        <p:tav tm="100000">
                                          <p:val>
                                            <p:strVal val="#ppt_h"/>
                                          </p:val>
                                        </p:tav>
                                      </p:tavLst>
                                    </p:anim>
                                    <p:animEffect transition="in" filter="fade">
                                      <p:cBhvr>
                                        <p:cTn id="81" dur="500"/>
                                        <p:tgtEl>
                                          <p:spTgt spid="4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6" grpId="0" animBg="1"/>
      <p:bldP spid="71" grpId="0" animBg="1"/>
      <p:bldP spid="17" grpId="0"/>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061" y="2060513"/>
            <a:ext cx="2892488" cy="2892488"/>
          </a:xfrm>
          <a:prstGeom prst="rect">
            <a:avLst/>
          </a:prstGeom>
        </p:spPr>
      </p:pic>
      <p:sp>
        <p:nvSpPr>
          <p:cNvPr id="5" name="Title 1"/>
          <p:cNvSpPr txBox="1">
            <a:spLocks/>
          </p:cNvSpPr>
          <p:nvPr/>
        </p:nvSpPr>
        <p:spPr>
          <a:xfrm>
            <a:off x="4665029" y="2487169"/>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a:solidFill>
                  <a:srgbClr val="5F5F5F">
                    <a:alpha val="99000"/>
                  </a:srgbClr>
                </a:solidFill>
              </a:rPr>
              <a:t>Service bus</a:t>
            </a:r>
          </a:p>
        </p:txBody>
      </p:sp>
      <p:sp>
        <p:nvSpPr>
          <p:cNvPr id="7" name="Content Placeholder 2"/>
          <p:cNvSpPr txBox="1">
            <a:spLocks/>
          </p:cNvSpPr>
          <p:nvPr/>
        </p:nvSpPr>
        <p:spPr>
          <a:xfrm>
            <a:off x="4688033" y="3286125"/>
            <a:ext cx="6380162" cy="125572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lnSpc>
                <a:spcPct val="100000"/>
              </a:lnSpc>
              <a:buNone/>
            </a:pPr>
            <a:r>
              <a:rPr lang="en-US" sz="2400" dirty="0">
                <a:solidFill>
                  <a:srgbClr val="5F5F5F">
                    <a:alpha val="99000"/>
                  </a:srgbClr>
                </a:solidFill>
                <a:latin typeface="Segoe UI"/>
              </a:rPr>
              <a:t>Secure messaging and relay capabilities</a:t>
            </a:r>
          </a:p>
          <a:p>
            <a:pPr marL="3175" indent="0">
              <a:lnSpc>
                <a:spcPct val="100000"/>
              </a:lnSpc>
              <a:buNone/>
            </a:pPr>
            <a:r>
              <a:rPr lang="en-US" sz="2400" dirty="0">
                <a:solidFill>
                  <a:srgbClr val="5F5F5F">
                    <a:alpha val="99000"/>
                  </a:srgbClr>
                </a:solidFill>
                <a:latin typeface="Segoe UI"/>
              </a:rPr>
              <a:t>Easily build hybrid apps</a:t>
            </a:r>
          </a:p>
          <a:p>
            <a:pPr marL="3175" indent="0">
              <a:lnSpc>
                <a:spcPct val="100000"/>
              </a:lnSpc>
              <a:buNone/>
            </a:pPr>
            <a:r>
              <a:rPr lang="en-US" sz="2400" dirty="0">
                <a:solidFill>
                  <a:srgbClr val="5F5F5F">
                    <a:alpha val="99000"/>
                  </a:srgbClr>
                </a:solidFill>
                <a:latin typeface="Segoe UI"/>
              </a:rPr>
              <a:t>Enable loosely coupled solutions</a:t>
            </a:r>
          </a:p>
        </p:txBody>
      </p:sp>
    </p:spTree>
    <p:extLst>
      <p:ext uri="{BB962C8B-B14F-4D97-AF65-F5344CB8AC3E}">
        <p14:creationId xmlns:p14="http://schemas.microsoft.com/office/powerpoint/2010/main" val="3465356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7">
                                            <p:txEl>
                                              <p:pRg st="0" end="0"/>
                                            </p:txEl>
                                          </p:spTgt>
                                        </p:tgtEl>
                                        <p:attrNameLst>
                                          <p:attrName>style.visibility</p:attrName>
                                        </p:attrNameLst>
                                      </p:cBhvr>
                                      <p:to>
                                        <p:strVal val="visible"/>
                                      </p:to>
                                    </p:set>
                                    <p:animEffect transition="in" filter="fade">
                                      <p:cBhvr>
                                        <p:cTn id="15" dur="250"/>
                                        <p:tgtEl>
                                          <p:spTgt spid="7">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7">
                                            <p:txEl>
                                              <p:pRg st="1" end="1"/>
                                            </p:txEl>
                                          </p:spTgt>
                                        </p:tgtEl>
                                        <p:attrNameLst>
                                          <p:attrName>style.visibility</p:attrName>
                                        </p:attrNameLst>
                                      </p:cBhvr>
                                      <p:to>
                                        <p:strVal val="visible"/>
                                      </p:to>
                                    </p:set>
                                    <p:animEffect transition="in" filter="fade">
                                      <p:cBhvr>
                                        <p:cTn id="19" dur="250"/>
                                        <p:tgtEl>
                                          <p:spTgt spid="7">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7">
                                            <p:txEl>
                                              <p:pRg st="2" end="2"/>
                                            </p:txEl>
                                          </p:spTgt>
                                        </p:tgtEl>
                                        <p:attrNameLst>
                                          <p:attrName>style.visibility</p:attrName>
                                        </p:attrNameLst>
                                      </p:cBhvr>
                                      <p:to>
                                        <p:strVal val="visible"/>
                                      </p:to>
                                    </p:set>
                                    <p:animEffect transition="in" filter="fade">
                                      <p:cBhvr>
                                        <p:cTn id="23" dur="25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build="p"/>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935414" y="953994"/>
            <a:ext cx="7791199" cy="1962622"/>
            <a:chOff x="3933825" y="953994"/>
            <a:chExt cx="7791199" cy="1962622"/>
          </a:xfrm>
        </p:grpSpPr>
        <p:sp>
          <p:nvSpPr>
            <p:cNvPr id="4" name="Rounded Rectangle 3"/>
            <p:cNvSpPr/>
            <p:nvPr/>
          </p:nvSpPr>
          <p:spPr bwMode="auto">
            <a:xfrm>
              <a:off x="3933825" y="953994"/>
              <a:ext cx="7791199" cy="1962622"/>
            </a:xfrm>
            <a:prstGeom prst="roundRect">
              <a:avLst>
                <a:gd name="adj" fmla="val 7482"/>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0" name="TextBox 29"/>
            <p:cNvSpPr txBox="1"/>
            <p:nvPr/>
          </p:nvSpPr>
          <p:spPr>
            <a:xfrm>
              <a:off x="4098581" y="1093367"/>
              <a:ext cx="2615878" cy="221599"/>
            </a:xfrm>
            <a:prstGeom prst="rect">
              <a:avLst/>
            </a:prstGeom>
            <a:noFill/>
          </p:spPr>
          <p:txBody>
            <a:bodyPr wrap="square" lIns="0" tIns="0" rIns="0" bIns="0" rtlCol="0">
              <a:spAutoFit/>
            </a:bodyPr>
            <a:lstStyle/>
            <a:p>
              <a:pPr defTabSz="1218987">
                <a:lnSpc>
                  <a:spcPct val="80000"/>
                </a:lnSpc>
                <a:buSzPct val="80000"/>
              </a:pPr>
              <a:r>
                <a:rPr lang="en-US" dirty="0">
                  <a:gradFill>
                    <a:gsLst>
                      <a:gs pos="0">
                        <a:srgbClr val="FFFFFF"/>
                      </a:gs>
                      <a:gs pos="100000">
                        <a:srgbClr val="FFFFFF"/>
                      </a:gs>
                    </a:gsLst>
                    <a:lin ang="5400000" scaled="0"/>
                  </a:gradFill>
                </a:rPr>
                <a:t>Windows Azure</a:t>
              </a:r>
            </a:p>
          </p:txBody>
        </p:sp>
        <p:grpSp>
          <p:nvGrpSpPr>
            <p:cNvPr id="38" name="Group 37"/>
            <p:cNvGrpSpPr/>
            <p:nvPr/>
          </p:nvGrpSpPr>
          <p:grpSpPr>
            <a:xfrm>
              <a:off x="7247248" y="1440301"/>
              <a:ext cx="4281055" cy="1251732"/>
              <a:chOff x="3093834" y="4675909"/>
              <a:chExt cx="4281055" cy="1251732"/>
            </a:xfrm>
          </p:grpSpPr>
          <p:sp>
            <p:nvSpPr>
              <p:cNvPr id="39" name="Rectangle 38"/>
              <p:cNvSpPr/>
              <p:nvPr/>
            </p:nvSpPr>
            <p:spPr bwMode="auto">
              <a:xfrm>
                <a:off x="3093834" y="4675909"/>
                <a:ext cx="4281055" cy="12517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0" name="TextBox 39"/>
              <p:cNvSpPr txBox="1"/>
              <p:nvPr/>
            </p:nvSpPr>
            <p:spPr>
              <a:xfrm>
                <a:off x="4199540" y="5173345"/>
                <a:ext cx="2840863" cy="295466"/>
              </a:xfrm>
              <a:prstGeom prst="rect">
                <a:avLst/>
              </a:prstGeom>
              <a:noFill/>
            </p:spPr>
            <p:txBody>
              <a:bodyPr wrap="square" lIns="0" tIns="0" rIns="0" bIns="0" rtlCol="0">
                <a:spAutoFit/>
              </a:bodyPr>
              <a:lstStyle/>
              <a:p>
                <a:pPr defTabSz="1218987">
                  <a:lnSpc>
                    <a:spcPct val="80000"/>
                  </a:lnSpc>
                  <a:buSzPct val="80000"/>
                </a:pPr>
                <a:r>
                  <a:rPr lang="en-US" sz="2400" dirty="0">
                    <a:gradFill>
                      <a:gsLst>
                        <a:gs pos="0">
                          <a:srgbClr val="FFFFFF"/>
                        </a:gs>
                        <a:gs pos="100000">
                          <a:srgbClr val="FFFFFF"/>
                        </a:gs>
                      </a:gsLst>
                      <a:lin ang="5400000" scaled="0"/>
                    </a:gradFill>
                  </a:rPr>
                  <a:t>Service bus relay</a:t>
                </a:r>
              </a:p>
            </p:txBody>
          </p:sp>
          <p:pic>
            <p:nvPicPr>
              <p:cNvPr id="41" name="Picture 40"/>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142102" y="4797948"/>
                <a:ext cx="1025838" cy="1025838"/>
              </a:xfrm>
              <a:prstGeom prst="rect">
                <a:avLst/>
              </a:prstGeom>
            </p:spPr>
          </p:pic>
        </p:grpSp>
        <p:sp>
          <p:nvSpPr>
            <p:cNvPr id="31" name="Rounded Rectangle 30"/>
            <p:cNvSpPr/>
            <p:nvPr/>
          </p:nvSpPr>
          <p:spPr bwMode="auto">
            <a:xfrm>
              <a:off x="4480345" y="1440301"/>
              <a:ext cx="2197362" cy="1251732"/>
            </a:xfrm>
            <a:prstGeom prst="roundRect">
              <a:avLst>
                <a:gd name="adj" fmla="val 399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120650" indent="-120650" defTabSz="914099" fontAlgn="base">
                <a:spcBef>
                  <a:spcPct val="0"/>
                </a:spcBef>
                <a:spcAft>
                  <a:spcPct val="0"/>
                </a:spcAft>
              </a:pPr>
              <a:r>
                <a:rPr lang="en-US" sz="2400" dirty="0">
                  <a:gradFill>
                    <a:gsLst>
                      <a:gs pos="0">
                        <a:srgbClr val="FFFFFF"/>
                      </a:gs>
                      <a:gs pos="100000">
                        <a:srgbClr val="FFFFFF"/>
                      </a:gs>
                    </a:gsLst>
                    <a:lin ang="5400000" scaled="0"/>
                  </a:gradFill>
                </a:rPr>
                <a:t>	Cloud application</a:t>
              </a:r>
            </a:p>
          </p:txBody>
        </p:sp>
      </p:grpSp>
      <p:sp>
        <p:nvSpPr>
          <p:cNvPr id="42" name="Down Arrow 41"/>
          <p:cNvSpPr/>
          <p:nvPr/>
        </p:nvSpPr>
        <p:spPr bwMode="auto">
          <a:xfrm rot="16200000">
            <a:off x="3379385" y="1217048"/>
            <a:ext cx="480736" cy="1630523"/>
          </a:xfrm>
          <a:prstGeom prst="downArrow">
            <a:avLst>
              <a:gd name="adj1" fmla="val 42122"/>
              <a:gd name="adj2" fmla="val 62085"/>
            </a:avLst>
          </a:prstGeom>
          <a:solidFill>
            <a:schemeClr val="tx1">
              <a:lumMod val="20000"/>
              <a:lumOff val="8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5" name="Group 4"/>
          <p:cNvGrpSpPr/>
          <p:nvPr/>
        </p:nvGrpSpPr>
        <p:grpSpPr>
          <a:xfrm>
            <a:off x="4368688" y="3379210"/>
            <a:ext cx="2524447" cy="737755"/>
            <a:chOff x="4367099" y="3379209"/>
            <a:chExt cx="2524447" cy="737755"/>
          </a:xfrm>
        </p:grpSpPr>
        <p:pic>
          <p:nvPicPr>
            <p:cNvPr id="25" name="Picture 2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367099" y="3379209"/>
              <a:ext cx="737755" cy="737755"/>
            </a:xfrm>
            <a:prstGeom prst="rect">
              <a:avLst/>
            </a:prstGeom>
          </p:spPr>
        </p:pic>
        <p:sp>
          <p:nvSpPr>
            <p:cNvPr id="32" name="TextBox 31"/>
            <p:cNvSpPr txBox="1"/>
            <p:nvPr/>
          </p:nvSpPr>
          <p:spPr>
            <a:xfrm>
              <a:off x="5248252" y="3651932"/>
              <a:ext cx="1643294" cy="246221"/>
            </a:xfrm>
            <a:prstGeom prst="rect">
              <a:avLst/>
            </a:prstGeom>
            <a:noFill/>
          </p:spPr>
          <p:txBody>
            <a:bodyPr wrap="square" lIns="0" tIns="0" rIns="0" bIns="0" rtlCol="0">
              <a:spAutoFit/>
            </a:bodyPr>
            <a:lstStyle/>
            <a:p>
              <a:pPr defTabSz="1218987">
                <a:lnSpc>
                  <a:spcPct val="80000"/>
                </a:lnSpc>
                <a:buSzPct val="80000"/>
              </a:pPr>
              <a:r>
                <a:rPr lang="en-US" sz="2000" dirty="0">
                  <a:gradFill>
                    <a:gsLst>
                      <a:gs pos="0">
                        <a:srgbClr val="FFFFFF"/>
                      </a:gs>
                      <a:gs pos="100000">
                        <a:srgbClr val="FFFFFF"/>
                      </a:gs>
                    </a:gsLst>
                    <a:lin ang="5400000" scaled="0"/>
                  </a:gradFill>
                </a:rPr>
                <a:t>Internet</a:t>
              </a:r>
            </a:p>
          </p:txBody>
        </p:sp>
      </p:grpSp>
      <p:sp>
        <p:nvSpPr>
          <p:cNvPr id="27" name="Down Arrow 26"/>
          <p:cNvSpPr/>
          <p:nvPr/>
        </p:nvSpPr>
        <p:spPr bwMode="auto">
          <a:xfrm rot="16200000">
            <a:off x="6723699" y="1745110"/>
            <a:ext cx="480736" cy="569540"/>
          </a:xfrm>
          <a:prstGeom prst="downArrow">
            <a:avLst>
              <a:gd name="adj1" fmla="val 42122"/>
              <a:gd name="adj2" fmla="val 62085"/>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9" name="Down Arrow 28"/>
          <p:cNvSpPr/>
          <p:nvPr/>
        </p:nvSpPr>
        <p:spPr bwMode="auto">
          <a:xfrm rot="10800000">
            <a:off x="9987539" y="2800348"/>
            <a:ext cx="480736" cy="2238376"/>
          </a:xfrm>
          <a:prstGeom prst="downArrow">
            <a:avLst>
              <a:gd name="adj1" fmla="val 42122"/>
              <a:gd name="adj2" fmla="val 62085"/>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2" name="Group 1"/>
          <p:cNvGrpSpPr/>
          <p:nvPr/>
        </p:nvGrpSpPr>
        <p:grpSpPr>
          <a:xfrm>
            <a:off x="3935414" y="4524375"/>
            <a:ext cx="7791199" cy="1771650"/>
            <a:chOff x="3933825" y="4524375"/>
            <a:chExt cx="7791199" cy="1771650"/>
          </a:xfrm>
        </p:grpSpPr>
        <p:sp>
          <p:nvSpPr>
            <p:cNvPr id="36" name="Rounded Rectangle 35"/>
            <p:cNvSpPr/>
            <p:nvPr/>
          </p:nvSpPr>
          <p:spPr bwMode="auto">
            <a:xfrm>
              <a:off x="3933825" y="4524375"/>
              <a:ext cx="7791199" cy="1771650"/>
            </a:xfrm>
            <a:prstGeom prst="roundRect">
              <a:avLst>
                <a:gd name="adj" fmla="val 7482"/>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6" name="TextBox 25"/>
            <p:cNvSpPr txBox="1"/>
            <p:nvPr/>
          </p:nvSpPr>
          <p:spPr>
            <a:xfrm>
              <a:off x="4098581" y="4659683"/>
              <a:ext cx="2615878" cy="221599"/>
            </a:xfrm>
            <a:prstGeom prst="rect">
              <a:avLst/>
            </a:prstGeom>
            <a:noFill/>
          </p:spPr>
          <p:txBody>
            <a:bodyPr wrap="square" lIns="0" tIns="0" rIns="0" bIns="0" rtlCol="0">
              <a:spAutoFit/>
            </a:bodyPr>
            <a:lstStyle/>
            <a:p>
              <a:pPr defTabSz="1218987">
                <a:lnSpc>
                  <a:spcPct val="80000"/>
                </a:lnSpc>
                <a:buSzPct val="80000"/>
              </a:pPr>
              <a:r>
                <a:rPr lang="en-US" dirty="0">
                  <a:gradFill>
                    <a:gsLst>
                      <a:gs pos="0">
                        <a:srgbClr val="FFFFFF"/>
                      </a:gs>
                      <a:gs pos="100000">
                        <a:srgbClr val="FFFFFF"/>
                      </a:gs>
                    </a:gsLst>
                    <a:lin ang="5400000" scaled="0"/>
                  </a:gradFill>
                </a:rPr>
                <a:t>Enterprise</a:t>
              </a:r>
            </a:p>
          </p:txBody>
        </p:sp>
        <p:grpSp>
          <p:nvGrpSpPr>
            <p:cNvPr id="58" name="Group 57"/>
            <p:cNvGrpSpPr/>
            <p:nvPr/>
          </p:nvGrpSpPr>
          <p:grpSpPr>
            <a:xfrm>
              <a:off x="7129727" y="4947960"/>
              <a:ext cx="4272237" cy="1111032"/>
              <a:chOff x="3093834" y="4675909"/>
              <a:chExt cx="4281056" cy="1633450"/>
            </a:xfrm>
          </p:grpSpPr>
          <p:sp>
            <p:nvSpPr>
              <p:cNvPr id="59" name="Rectangle 58"/>
              <p:cNvSpPr/>
              <p:nvPr/>
            </p:nvSpPr>
            <p:spPr bwMode="auto">
              <a:xfrm>
                <a:off x="3093834" y="4675909"/>
                <a:ext cx="4281056" cy="16334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0" name="TextBox 59"/>
              <p:cNvSpPr txBox="1"/>
              <p:nvPr/>
            </p:nvSpPr>
            <p:spPr>
              <a:xfrm>
                <a:off x="4478182" y="4913780"/>
                <a:ext cx="2638462" cy="1085991"/>
              </a:xfrm>
              <a:prstGeom prst="rect">
                <a:avLst/>
              </a:prstGeom>
              <a:noFill/>
            </p:spPr>
            <p:txBody>
              <a:bodyPr wrap="square" lIns="0" tIns="0" rIns="0" bIns="0" rtlCol="0">
                <a:spAutoFit/>
              </a:bodyPr>
              <a:lstStyle/>
              <a:p>
                <a:pPr defTabSz="1218987">
                  <a:buSzPct val="80000"/>
                </a:pPr>
                <a:r>
                  <a:rPr lang="en-US" sz="2400" dirty="0">
                    <a:gradFill>
                      <a:gsLst>
                        <a:gs pos="0">
                          <a:srgbClr val="FFFFFF"/>
                        </a:gs>
                        <a:gs pos="100000">
                          <a:srgbClr val="FFFFFF"/>
                        </a:gs>
                      </a:gsLst>
                      <a:lin ang="5400000" scaled="0"/>
                    </a:gradFill>
                  </a:rPr>
                  <a:t>App behind</a:t>
                </a:r>
                <a:br>
                  <a:rPr lang="en-US" sz="2400" dirty="0">
                    <a:gradFill>
                      <a:gsLst>
                        <a:gs pos="0">
                          <a:srgbClr val="FFFFFF"/>
                        </a:gs>
                        <a:gs pos="100000">
                          <a:srgbClr val="FFFFFF"/>
                        </a:gs>
                      </a:gsLst>
                      <a:lin ang="5400000" scaled="0"/>
                    </a:gradFill>
                  </a:rPr>
                </a:br>
                <a:r>
                  <a:rPr lang="en-US" sz="2400" dirty="0">
                    <a:gradFill>
                      <a:gsLst>
                        <a:gs pos="0">
                          <a:srgbClr val="FFFFFF"/>
                        </a:gs>
                        <a:gs pos="100000">
                          <a:srgbClr val="FFFFFF"/>
                        </a:gs>
                      </a:gsLst>
                      <a:lin ang="5400000" scaled="0"/>
                    </a:gradFill>
                  </a:rPr>
                  <a:t>firewall</a:t>
                </a:r>
              </a:p>
            </p:txBody>
          </p:sp>
        </p:grpSp>
        <p:pic>
          <p:nvPicPr>
            <p:cNvPr id="2050" name="Picture 2" descr="C:\Users\Jonahs\Dropbox\Critical Resources\Helveticons Basic\Png\512x512\Terminal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151831" y="4897011"/>
              <a:ext cx="1188573" cy="1188573"/>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576618" y="5109754"/>
              <a:ext cx="737955" cy="1075711"/>
            </a:xfrm>
            <a:prstGeom prst="rect">
              <a:avLst/>
            </a:prstGeom>
          </p:spPr>
        </p:pic>
        <p:pic>
          <p:nvPicPr>
            <p:cNvPr id="24" name="Picture 23"/>
            <p:cNvPicPr>
              <a:picLocks noChangeAspect="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040652" y="4881282"/>
              <a:ext cx="1385554" cy="1385554"/>
            </a:xfrm>
            <a:prstGeom prst="rect">
              <a:avLst/>
            </a:prstGeom>
          </p:spPr>
        </p:pic>
      </p:grpSp>
      <p:pic>
        <p:nvPicPr>
          <p:cNvPr id="28" name="Picture 27"/>
          <p:cNvPicPr>
            <a:picLocks noChangeAspect="1"/>
          </p:cNvPicPr>
          <p:nvPr/>
        </p:nvPicPr>
        <p:blipFill>
          <a:blip r:embed="rId12" cstate="email">
            <a:extLst>
              <a:ext uri="{28A0092B-C50C-407E-A947-70E740481C1C}">
                <a14:useLocalDpi xmlns:a14="http://schemas.microsoft.com/office/drawing/2010/main" val="0"/>
              </a:ext>
            </a:extLst>
          </a:blip>
          <a:stretch>
            <a:fillRect/>
          </a:stretch>
        </p:blipFill>
        <p:spPr>
          <a:xfrm>
            <a:off x="1377376" y="953994"/>
            <a:ext cx="1451751" cy="2322802"/>
          </a:xfrm>
          <a:prstGeom prst="rect">
            <a:avLst/>
          </a:prstGeom>
        </p:spPr>
      </p:pic>
    </p:spTree>
    <p:extLst>
      <p:ext uri="{BB962C8B-B14F-4D97-AF65-F5344CB8AC3E}">
        <p14:creationId xmlns:p14="http://schemas.microsoft.com/office/powerpoint/2010/main" val="24272608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entr" presetSubtype="0" fill="hold" nodeType="withEffect">
                                  <p:stCondLst>
                                    <p:cond delay="0"/>
                                  </p:stCondLst>
                                  <p:childTnLst>
                                    <p:set>
                                      <p:cBhvr>
                                        <p:cTn id="9" dur="1" fill="hold">
                                          <p:stCondLst>
                                            <p:cond delay="0"/>
                                          </p:stCondLst>
                                        </p:cTn>
                                        <p:tgtEl>
                                          <p:spTgt spid="28"/>
                                        </p:tgtEl>
                                        <p:attrNameLst>
                                          <p:attrName>style.visibility</p:attrName>
                                        </p:attrNameLst>
                                      </p:cBhvr>
                                      <p:to>
                                        <p:strVal val="visible"/>
                                      </p:to>
                                    </p:set>
                                    <p:animEffect transition="in" filter="fade">
                                      <p:cBhvr>
                                        <p:cTn id="10" dur="500"/>
                                        <p:tgtEl>
                                          <p:spTgt spid="28"/>
                                        </p:tgtEl>
                                      </p:cBhvr>
                                    </p:animEffect>
                                    <p:anim calcmode="lin" valueType="num">
                                      <p:cBhvr>
                                        <p:cTn id="11" dur="500" fill="hold"/>
                                        <p:tgtEl>
                                          <p:spTgt spid="28"/>
                                        </p:tgtEl>
                                        <p:attrNameLst>
                                          <p:attrName>ppt_x</p:attrName>
                                        </p:attrNameLst>
                                      </p:cBhvr>
                                      <p:tavLst>
                                        <p:tav tm="0">
                                          <p:val>
                                            <p:strVal val="#ppt_x"/>
                                          </p:val>
                                        </p:tav>
                                        <p:tav tm="100000">
                                          <p:val>
                                            <p:strVal val="#ppt_x"/>
                                          </p:val>
                                        </p:tav>
                                      </p:tavLst>
                                    </p:anim>
                                    <p:anim calcmode="lin" valueType="num">
                                      <p:cBhvr>
                                        <p:cTn id="12" dur="500" fill="hold"/>
                                        <p:tgtEl>
                                          <p:spTgt spid="28"/>
                                        </p:tgtEl>
                                        <p:attrNameLst>
                                          <p:attrName>ppt_y</p:attrName>
                                        </p:attrNameLst>
                                      </p:cBhvr>
                                      <p:tavLst>
                                        <p:tav tm="0">
                                          <p:val>
                                            <p:strVal val="#ppt_y+.1"/>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par>
                          <p:cTn id="18" fill="hold">
                            <p:stCondLst>
                              <p:cond delay="500"/>
                            </p:stCondLst>
                            <p:childTnLst>
                              <p:par>
                                <p:cTn id="19" presetID="10" presetClass="entr" presetSubtype="0" fill="hold" nodeType="afterEffect">
                                  <p:stCondLst>
                                    <p:cond delay="25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grpId="0" nodeType="clickEffect">
                                  <p:stCondLst>
                                    <p:cond delay="0"/>
                                  </p:stCondLst>
                                  <p:childTnLst>
                                    <p:set>
                                      <p:cBhvr>
                                        <p:cTn id="25" dur="1" fill="hold">
                                          <p:stCondLst>
                                            <p:cond delay="0"/>
                                          </p:stCondLst>
                                        </p:cTn>
                                        <p:tgtEl>
                                          <p:spTgt spid="29"/>
                                        </p:tgtEl>
                                        <p:attrNameLst>
                                          <p:attrName>style.visibility</p:attrName>
                                        </p:attrNameLst>
                                      </p:cBhvr>
                                      <p:to>
                                        <p:strVal val="visible"/>
                                      </p:to>
                                    </p:set>
                                    <p:animEffect transition="in" filter="fade">
                                      <p:cBhvr>
                                        <p:cTn id="26" dur="1000"/>
                                        <p:tgtEl>
                                          <p:spTgt spid="29"/>
                                        </p:tgtEl>
                                      </p:cBhvr>
                                    </p:animEffect>
                                    <p:anim calcmode="lin" valueType="num">
                                      <p:cBhvr>
                                        <p:cTn id="27" dur="1000" fill="hold"/>
                                        <p:tgtEl>
                                          <p:spTgt spid="29"/>
                                        </p:tgtEl>
                                        <p:attrNameLst>
                                          <p:attrName>ppt_x</p:attrName>
                                        </p:attrNameLst>
                                      </p:cBhvr>
                                      <p:tavLst>
                                        <p:tav tm="0">
                                          <p:val>
                                            <p:strVal val="#ppt_x"/>
                                          </p:val>
                                        </p:tav>
                                        <p:tav tm="100000">
                                          <p:val>
                                            <p:strVal val="#ppt_x"/>
                                          </p:val>
                                        </p:tav>
                                      </p:tavLst>
                                    </p:anim>
                                    <p:anim calcmode="lin" valueType="num">
                                      <p:cBhvr>
                                        <p:cTn id="28" dur="1000" fill="hold"/>
                                        <p:tgtEl>
                                          <p:spTgt spid="29"/>
                                        </p:tgtEl>
                                        <p:attrNameLst>
                                          <p:attrName>ppt_y</p:attrName>
                                        </p:attrNameLst>
                                      </p:cBhvr>
                                      <p:tavLst>
                                        <p:tav tm="0">
                                          <p:val>
                                            <p:strVal val="#ppt_y+.1"/>
                                          </p:val>
                                        </p:tav>
                                        <p:tav tm="100000">
                                          <p:val>
                                            <p:strVal val="#ppt_y"/>
                                          </p:val>
                                        </p:tav>
                                      </p:tavLst>
                                    </p:anim>
                                  </p:childTnLst>
                                </p:cTn>
                              </p:par>
                              <p:par>
                                <p:cTn id="29" presetID="22" presetClass="entr" presetSubtype="8" fill="hold" grpId="0"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wipe(left)">
                                      <p:cBhvr>
                                        <p:cTn id="31" dur="500"/>
                                        <p:tgtEl>
                                          <p:spTgt spid="27"/>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8" fill="hold" grpId="0" nodeType="clickEffect">
                                  <p:stCondLst>
                                    <p:cond delay="0"/>
                                  </p:stCondLst>
                                  <p:childTnLst>
                                    <p:set>
                                      <p:cBhvr>
                                        <p:cTn id="35" dur="1" fill="hold">
                                          <p:stCondLst>
                                            <p:cond delay="0"/>
                                          </p:stCondLst>
                                        </p:cTn>
                                        <p:tgtEl>
                                          <p:spTgt spid="42"/>
                                        </p:tgtEl>
                                        <p:attrNameLst>
                                          <p:attrName>style.visibility</p:attrName>
                                        </p:attrNameLst>
                                      </p:cBhvr>
                                      <p:to>
                                        <p:strVal val="visible"/>
                                      </p:to>
                                    </p:set>
                                    <p:animEffect transition="in" filter="wipe(left)">
                                      <p:cBhvr>
                                        <p:cTn id="36"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27" grpId="0" animBg="1"/>
      <p:bldP spid="29" grpId="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39757" y="2608711"/>
            <a:ext cx="4763322" cy="1495794"/>
          </a:xfrm>
        </p:spPr>
        <p:txBody>
          <a:bodyPr/>
          <a:lstStyle/>
          <a:p>
            <a:r>
              <a:rPr lang="en-US" dirty="0" smtClean="0"/>
              <a:t>Application</a:t>
            </a:r>
            <a:br>
              <a:rPr lang="en-US" dirty="0" smtClean="0"/>
            </a:br>
            <a:r>
              <a:rPr lang="en-US" dirty="0" smtClean="0"/>
              <a:t>building</a:t>
            </a:r>
            <a:r>
              <a:rPr lang="en-US" dirty="0"/>
              <a:t> </a:t>
            </a:r>
            <a:r>
              <a:rPr lang="en-US" dirty="0" smtClean="0"/>
              <a:t>blocks</a:t>
            </a:r>
            <a:endParaRPr lang="en-US" dirty="0"/>
          </a:p>
        </p:txBody>
      </p:sp>
      <p:grpSp>
        <p:nvGrpSpPr>
          <p:cNvPr id="37" name="Group 36"/>
          <p:cNvGrpSpPr/>
          <p:nvPr/>
        </p:nvGrpSpPr>
        <p:grpSpPr>
          <a:xfrm>
            <a:off x="5675990" y="622717"/>
            <a:ext cx="1896557" cy="1772642"/>
            <a:chOff x="5665775" y="2466267"/>
            <a:chExt cx="1896557" cy="1772642"/>
          </a:xfrm>
        </p:grpSpPr>
        <p:sp>
          <p:nvSpPr>
            <p:cNvPr id="17" name="Rectangle 16"/>
            <p:cNvSpPr/>
            <p:nvPr/>
          </p:nvSpPr>
          <p:spPr bwMode="auto">
            <a:xfrm>
              <a:off x="5665775"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739264" y="622717"/>
            <a:ext cx="1896557" cy="1772642"/>
            <a:chOff x="1685919" y="596839"/>
            <a:chExt cx="1896557" cy="1772642"/>
          </a:xfrm>
        </p:grpSpPr>
        <p:sp>
          <p:nvSpPr>
            <p:cNvPr id="8" name="Rectangle 7"/>
            <p:cNvSpPr/>
            <p:nvPr/>
          </p:nvSpPr>
          <p:spPr bwMode="auto">
            <a:xfrm>
              <a:off x="1685919"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675566" y="2467965"/>
            <a:ext cx="1896557" cy="1772642"/>
            <a:chOff x="3671322" y="4341709"/>
            <a:chExt cx="1896557" cy="1772642"/>
          </a:xfrm>
        </p:grpSpPr>
        <p:sp>
          <p:nvSpPr>
            <p:cNvPr id="26" name="Rectangle 25"/>
            <p:cNvSpPr/>
            <p:nvPr/>
          </p:nvSpPr>
          <p:spPr bwMode="auto">
            <a:xfrm>
              <a:off x="3671322"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5675567" y="4315831"/>
            <a:ext cx="1896557" cy="1772642"/>
            <a:chOff x="5656726" y="4341709"/>
            <a:chExt cx="1896557" cy="1772642"/>
          </a:xfrm>
        </p:grpSpPr>
        <p:sp>
          <p:nvSpPr>
            <p:cNvPr id="29" name="Rectangle 28"/>
            <p:cNvSpPr/>
            <p:nvPr/>
          </p:nvSpPr>
          <p:spPr bwMode="auto">
            <a:xfrm>
              <a:off x="5656726"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07416" y="622717"/>
            <a:ext cx="1896557" cy="1772642"/>
            <a:chOff x="3671323" y="596839"/>
            <a:chExt cx="1896557" cy="1772642"/>
          </a:xfrm>
        </p:grpSpPr>
        <p:sp>
          <p:nvSpPr>
            <p:cNvPr id="11" name="Rectangle 10"/>
            <p:cNvSpPr/>
            <p:nvPr/>
          </p:nvSpPr>
          <p:spPr bwMode="auto">
            <a:xfrm>
              <a:off x="3671323"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629968" y="2467965"/>
            <a:ext cx="1896557" cy="1772642"/>
            <a:chOff x="9645631" y="2476591"/>
            <a:chExt cx="1896557" cy="1772642"/>
          </a:xfrm>
        </p:grpSpPr>
        <p:sp>
          <p:nvSpPr>
            <p:cNvPr id="23" name="Rectangle 22"/>
            <p:cNvSpPr/>
            <p:nvPr/>
          </p:nvSpPr>
          <p:spPr bwMode="auto">
            <a:xfrm>
              <a:off x="9645631" y="2476591"/>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3707416" y="4315831"/>
            <a:ext cx="1896557" cy="1772642"/>
            <a:chOff x="5665775" y="596839"/>
            <a:chExt cx="1896557" cy="1772642"/>
          </a:xfrm>
        </p:grpSpPr>
        <p:sp>
          <p:nvSpPr>
            <p:cNvPr id="14" name="Rectangle 13"/>
            <p:cNvSpPr/>
            <p:nvPr/>
          </p:nvSpPr>
          <p:spPr bwMode="auto">
            <a:xfrm>
              <a:off x="5665775"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7652768" y="2466267"/>
            <a:ext cx="1896557" cy="1772642"/>
            <a:chOff x="7651179" y="2466267"/>
            <a:chExt cx="1896557" cy="1772642"/>
          </a:xfrm>
        </p:grpSpPr>
        <p:sp>
          <p:nvSpPr>
            <p:cNvPr id="20" name="Rectangle 19"/>
            <p:cNvSpPr/>
            <p:nvPr/>
          </p:nvSpPr>
          <p:spPr bwMode="auto">
            <a:xfrm>
              <a:off x="7651179"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7652767" y="4315831"/>
            <a:ext cx="1896557" cy="1772642"/>
            <a:chOff x="7651178" y="4341709"/>
            <a:chExt cx="1896557" cy="1772642"/>
          </a:xfrm>
        </p:grpSpPr>
        <p:sp>
          <p:nvSpPr>
            <p:cNvPr id="32" name="Rectangle 31"/>
            <p:cNvSpPr/>
            <p:nvPr/>
          </p:nvSpPr>
          <p:spPr bwMode="auto">
            <a:xfrm>
              <a:off x="7651178"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7660945" y="622717"/>
            <a:ext cx="1896557" cy="1772642"/>
            <a:chOff x="5665775" y="2466267"/>
            <a:chExt cx="1896557" cy="1772642"/>
          </a:xfrm>
        </p:grpSpPr>
        <p:sp>
          <p:nvSpPr>
            <p:cNvPr id="31" name="Rectangle 30"/>
            <p:cNvSpPr/>
            <p:nvPr/>
          </p:nvSpPr>
          <p:spPr bwMode="auto">
            <a:xfrm>
              <a:off x="5665775"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165248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0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35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4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nodeType="withEffect">
                                  <p:stCondLst>
                                    <p:cond delay="45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nodeType="withEffect">
                                  <p:stCondLst>
                                    <p:cond delay="5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4665029" y="2487169"/>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a:solidFill>
                  <a:srgbClr val="5F5F5F">
                    <a:alpha val="99000"/>
                  </a:srgbClr>
                </a:solidFill>
              </a:rPr>
              <a:t>Windows Azure Store</a:t>
            </a:r>
          </a:p>
        </p:txBody>
      </p:sp>
      <p:sp>
        <p:nvSpPr>
          <p:cNvPr id="7" name="Content Placeholder 2"/>
          <p:cNvSpPr txBox="1">
            <a:spLocks/>
          </p:cNvSpPr>
          <p:nvPr/>
        </p:nvSpPr>
        <p:spPr>
          <a:xfrm>
            <a:off x="4688033" y="3286125"/>
            <a:ext cx="6380162" cy="125572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lnSpc>
                <a:spcPct val="100000"/>
              </a:lnSpc>
              <a:buNone/>
            </a:pPr>
            <a:r>
              <a:rPr lang="en-US" sz="2400" dirty="0">
                <a:solidFill>
                  <a:srgbClr val="5F5F5F">
                    <a:alpha val="99000"/>
                  </a:srgbClr>
                </a:solidFill>
                <a:latin typeface="Segoe UI"/>
              </a:rPr>
              <a:t>Consume services from ecosystem of partners</a:t>
            </a:r>
          </a:p>
          <a:p>
            <a:pPr marL="3175" indent="0">
              <a:lnSpc>
                <a:spcPct val="100000"/>
              </a:lnSpc>
              <a:buNone/>
            </a:pPr>
            <a:r>
              <a:rPr lang="en-US" sz="2400" dirty="0">
                <a:solidFill>
                  <a:srgbClr val="5F5F5F">
                    <a:alpha val="99000"/>
                  </a:srgbClr>
                </a:solidFill>
                <a:latin typeface="Segoe UI"/>
              </a:rPr>
              <a:t>Easily try and purchase</a:t>
            </a:r>
          </a:p>
          <a:p>
            <a:pPr marL="3175" indent="0">
              <a:lnSpc>
                <a:spcPct val="100000"/>
              </a:lnSpc>
              <a:buNone/>
            </a:pPr>
            <a:r>
              <a:rPr lang="en-US" sz="2400" dirty="0">
                <a:solidFill>
                  <a:srgbClr val="5F5F5F">
                    <a:alpha val="99000"/>
                  </a:srgbClr>
                </a:solidFill>
                <a:latin typeface="Segoe UI"/>
              </a:rPr>
              <a:t>Billing integrated within your Azure bill</a:t>
            </a:r>
          </a:p>
        </p:txBody>
      </p:sp>
      <p:pic>
        <p:nvPicPr>
          <p:cNvPr id="8" name="Picture 7"/>
          <p:cNvPicPr>
            <a:picLocks noChangeAspect="1"/>
          </p:cNvPicPr>
          <p:nvPr/>
        </p:nvPicPr>
        <p:blipFill>
          <a:blip r:embed="rId3">
            <a:duotone>
              <a:prstClr val="black"/>
              <a:srgbClr val="616161">
                <a:tint val="45000"/>
                <a:satMod val="400000"/>
              </a:srgbClr>
            </a:duotone>
            <a:extLst>
              <a:ext uri="{BEBA8EAE-BF5A-486C-A8C5-ECC9F3942E4B}">
                <a14:imgProps xmlns:a14="http://schemas.microsoft.com/office/drawing/2010/main">
                  <a14:imgLayer r:embed="rId4">
                    <a14:imgEffect>
                      <a14:sharpenSoften amount="-5000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121765" y="2055767"/>
            <a:ext cx="3055556" cy="3055556"/>
          </a:xfrm>
          <a:prstGeom prst="rect">
            <a:avLst/>
          </a:prstGeom>
        </p:spPr>
      </p:pic>
    </p:spTree>
    <p:extLst>
      <p:ext uri="{BB962C8B-B14F-4D97-AF65-F5344CB8AC3E}">
        <p14:creationId xmlns:p14="http://schemas.microsoft.com/office/powerpoint/2010/main" val="38009830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7">
                                            <p:txEl>
                                              <p:pRg st="1" end="1"/>
                                            </p:txEl>
                                          </p:spTgt>
                                        </p:tgtEl>
                                        <p:attrNameLst>
                                          <p:attrName>style.visibility</p:attrName>
                                        </p:attrNameLst>
                                      </p:cBhvr>
                                      <p:to>
                                        <p:strVal val="visible"/>
                                      </p:to>
                                    </p:set>
                                    <p:animEffect transition="in" filter="fade">
                                      <p:cBhvr>
                                        <p:cTn id="15" dur="250"/>
                                        <p:tgtEl>
                                          <p:spTgt spid="7">
                                            <p:txEl>
                                              <p:pRg st="1" end="1"/>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7">
                                            <p:txEl>
                                              <p:pRg st="2" end="2"/>
                                            </p:txEl>
                                          </p:spTgt>
                                        </p:tgtEl>
                                        <p:attrNameLst>
                                          <p:attrName>style.visibility</p:attrName>
                                        </p:attrNameLst>
                                      </p:cBhvr>
                                      <p:to>
                                        <p:strVal val="visible"/>
                                      </p:to>
                                    </p:set>
                                    <p:animEffect transition="in" filter="fade">
                                      <p:cBhvr>
                                        <p:cTn id="19" dur="250"/>
                                        <p:tgtEl>
                                          <p:spTgt spid="7">
                                            <p:txEl>
                                              <p:pRg st="2" end="2"/>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2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Rectangle 108"/>
          <p:cNvSpPr/>
          <p:nvPr/>
        </p:nvSpPr>
        <p:spPr>
          <a:xfrm>
            <a:off x="1932411" y="3869144"/>
            <a:ext cx="3619581" cy="174193"/>
          </a:xfrm>
          <a:prstGeom prst="rect">
            <a:avLst/>
          </a:prstGeom>
          <a:pattFill prst="dkUpDiag">
            <a:fgClr>
              <a:srgbClr val="00B0F0"/>
            </a:fgClr>
            <a:bgClr>
              <a:schemeClr val="bg1"/>
            </a:bgClr>
          </a:pattFill>
          <a:ln w="9525" cap="flat" cmpd="sng" algn="ctr">
            <a:noFill/>
            <a:prstDash val="sysDash"/>
          </a:ln>
          <a:effectLst/>
        </p:spPr>
        <p:txBody>
          <a:bodyPr lIns="182799" tIns="64005" rIns="91400" bIns="64005" rtlCol="0" anchor="b" anchorCtr="0"/>
          <a:lstStyle/>
          <a:p>
            <a:pPr algn="r" defTabSz="1218398"/>
            <a:endParaRPr lang="en-US" sz="1400" dirty="0">
              <a:solidFill>
                <a:srgbClr val="FFFFFF">
                  <a:alpha val="99000"/>
                </a:srgbClr>
              </a:solidFill>
              <a:ea typeface="Segoe UI" pitchFamily="34" charset="0"/>
              <a:cs typeface="Segoe UI" pitchFamily="34" charset="0"/>
            </a:endParaRPr>
          </a:p>
        </p:txBody>
      </p:sp>
      <p:sp>
        <p:nvSpPr>
          <p:cNvPr id="2" name="Title 1"/>
          <p:cNvSpPr>
            <a:spLocks noGrp="1"/>
          </p:cNvSpPr>
          <p:nvPr>
            <p:ph type="title"/>
          </p:nvPr>
        </p:nvSpPr>
        <p:spPr>
          <a:xfrm>
            <a:off x="1757413" y="1739812"/>
            <a:ext cx="3710636" cy="512448"/>
          </a:xfrm>
        </p:spPr>
        <p:txBody>
          <a:bodyPr>
            <a:noAutofit/>
          </a:bodyPr>
          <a:lstStyle/>
          <a:p>
            <a:pPr algn="ctr"/>
            <a:r>
              <a:rPr lang="en-US" sz="4000" dirty="0">
                <a:solidFill>
                  <a:schemeClr val="tx1"/>
                </a:solidFill>
                <a:cs typeface="Segoe UI Light" panose="020B0502040204020203" pitchFamily="34" charset="0"/>
              </a:rPr>
              <a:t>Windows Azure </a:t>
            </a:r>
          </a:p>
        </p:txBody>
      </p:sp>
      <p:sp>
        <p:nvSpPr>
          <p:cNvPr id="96" name="AutoShape 59"/>
          <p:cNvSpPr>
            <a:spLocks noChangeAspect="1" noChangeArrowheads="1" noTextEdit="1"/>
          </p:cNvSpPr>
          <p:nvPr/>
        </p:nvSpPr>
        <p:spPr bwMode="auto">
          <a:xfrm>
            <a:off x="1984184" y="4142998"/>
            <a:ext cx="3596570" cy="1736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nvGrpSpPr>
          <p:cNvPr id="314" name="Group 313"/>
          <p:cNvGrpSpPr/>
          <p:nvPr/>
        </p:nvGrpSpPr>
        <p:grpSpPr>
          <a:xfrm>
            <a:off x="4993469" y="5160414"/>
            <a:ext cx="610282" cy="460845"/>
            <a:chOff x="9571038" y="4675188"/>
            <a:chExt cx="1160463" cy="669925"/>
          </a:xfrm>
          <a:solidFill>
            <a:srgbClr val="92D050"/>
          </a:solidFill>
        </p:grpSpPr>
        <p:sp>
          <p:nvSpPr>
            <p:cNvPr id="104" name="Freeform 68"/>
            <p:cNvSpPr>
              <a:spLocks noEditPoints="1"/>
            </p:cNvSpPr>
            <p:nvPr/>
          </p:nvSpPr>
          <p:spPr bwMode="auto">
            <a:xfrm>
              <a:off x="9574213" y="4675188"/>
              <a:ext cx="274638" cy="477838"/>
            </a:xfrm>
            <a:custGeom>
              <a:avLst/>
              <a:gdLst>
                <a:gd name="T0" fmla="*/ 24 w 73"/>
                <a:gd name="T1" fmla="*/ 84 h 127"/>
                <a:gd name="T2" fmla="*/ 24 w 73"/>
                <a:gd name="T3" fmla="*/ 127 h 127"/>
                <a:gd name="T4" fmla="*/ 0 w 73"/>
                <a:gd name="T5" fmla="*/ 127 h 127"/>
                <a:gd name="T6" fmla="*/ 0 w 73"/>
                <a:gd name="T7" fmla="*/ 0 h 127"/>
                <a:gd name="T8" fmla="*/ 36 w 73"/>
                <a:gd name="T9" fmla="*/ 0 h 127"/>
                <a:gd name="T10" fmla="*/ 63 w 73"/>
                <a:gd name="T11" fmla="*/ 10 h 127"/>
                <a:gd name="T12" fmla="*/ 73 w 73"/>
                <a:gd name="T13" fmla="*/ 40 h 127"/>
                <a:gd name="T14" fmla="*/ 62 w 73"/>
                <a:gd name="T15" fmla="*/ 72 h 127"/>
                <a:gd name="T16" fmla="*/ 34 w 73"/>
                <a:gd name="T17" fmla="*/ 84 h 127"/>
                <a:gd name="T18" fmla="*/ 24 w 73"/>
                <a:gd name="T19" fmla="*/ 84 h 127"/>
                <a:gd name="T20" fmla="*/ 24 w 73"/>
                <a:gd name="T21" fmla="*/ 21 h 127"/>
                <a:gd name="T22" fmla="*/ 24 w 73"/>
                <a:gd name="T23" fmla="*/ 63 h 127"/>
                <a:gd name="T24" fmla="*/ 32 w 73"/>
                <a:gd name="T25" fmla="*/ 63 h 127"/>
                <a:gd name="T26" fmla="*/ 48 w 73"/>
                <a:gd name="T27" fmla="*/ 42 h 127"/>
                <a:gd name="T28" fmla="*/ 44 w 73"/>
                <a:gd name="T29" fmla="*/ 26 h 127"/>
                <a:gd name="T30" fmla="*/ 32 w 73"/>
                <a:gd name="T31" fmla="*/ 21 h 127"/>
                <a:gd name="T32" fmla="*/ 24 w 73"/>
                <a:gd name="T33" fmla="*/ 21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127">
                  <a:moveTo>
                    <a:pt x="24" y="84"/>
                  </a:moveTo>
                  <a:cubicBezTo>
                    <a:pt x="24" y="127"/>
                    <a:pt x="24" y="127"/>
                    <a:pt x="24" y="127"/>
                  </a:cubicBezTo>
                  <a:cubicBezTo>
                    <a:pt x="0" y="127"/>
                    <a:pt x="0" y="127"/>
                    <a:pt x="0" y="127"/>
                  </a:cubicBezTo>
                  <a:cubicBezTo>
                    <a:pt x="0" y="0"/>
                    <a:pt x="0" y="0"/>
                    <a:pt x="0" y="0"/>
                  </a:cubicBezTo>
                  <a:cubicBezTo>
                    <a:pt x="36" y="0"/>
                    <a:pt x="36" y="0"/>
                    <a:pt x="36" y="0"/>
                  </a:cubicBezTo>
                  <a:cubicBezTo>
                    <a:pt x="48" y="0"/>
                    <a:pt x="57" y="3"/>
                    <a:pt x="63" y="10"/>
                  </a:cubicBezTo>
                  <a:cubicBezTo>
                    <a:pt x="70" y="17"/>
                    <a:pt x="73" y="27"/>
                    <a:pt x="73" y="40"/>
                  </a:cubicBezTo>
                  <a:cubicBezTo>
                    <a:pt x="73" y="53"/>
                    <a:pt x="70" y="63"/>
                    <a:pt x="62" y="72"/>
                  </a:cubicBezTo>
                  <a:cubicBezTo>
                    <a:pt x="55" y="80"/>
                    <a:pt x="46" y="84"/>
                    <a:pt x="34" y="84"/>
                  </a:cubicBezTo>
                  <a:lnTo>
                    <a:pt x="24" y="84"/>
                  </a:lnTo>
                  <a:close/>
                  <a:moveTo>
                    <a:pt x="24" y="21"/>
                  </a:moveTo>
                  <a:cubicBezTo>
                    <a:pt x="24" y="63"/>
                    <a:pt x="24" y="63"/>
                    <a:pt x="24" y="63"/>
                  </a:cubicBezTo>
                  <a:cubicBezTo>
                    <a:pt x="32" y="63"/>
                    <a:pt x="32" y="63"/>
                    <a:pt x="32" y="63"/>
                  </a:cubicBezTo>
                  <a:cubicBezTo>
                    <a:pt x="43" y="63"/>
                    <a:pt x="48" y="56"/>
                    <a:pt x="48" y="42"/>
                  </a:cubicBezTo>
                  <a:cubicBezTo>
                    <a:pt x="48" y="35"/>
                    <a:pt x="47" y="30"/>
                    <a:pt x="44" y="26"/>
                  </a:cubicBezTo>
                  <a:cubicBezTo>
                    <a:pt x="41" y="23"/>
                    <a:pt x="37" y="21"/>
                    <a:pt x="32" y="21"/>
                  </a:cubicBezTo>
                  <a:lnTo>
                    <a:pt x="24" y="21"/>
                  </a:ln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5" name="Freeform 69"/>
            <p:cNvSpPr>
              <a:spLocks noEditPoints="1"/>
            </p:cNvSpPr>
            <p:nvPr/>
          </p:nvSpPr>
          <p:spPr bwMode="auto">
            <a:xfrm>
              <a:off x="9837738" y="4675188"/>
              <a:ext cx="360363" cy="477838"/>
            </a:xfrm>
            <a:custGeom>
              <a:avLst/>
              <a:gdLst>
                <a:gd name="T0" fmla="*/ 70 w 96"/>
                <a:gd name="T1" fmla="*/ 127 h 127"/>
                <a:gd name="T2" fmla="*/ 63 w 96"/>
                <a:gd name="T3" fmla="*/ 96 h 127"/>
                <a:gd name="T4" fmla="*/ 32 w 96"/>
                <a:gd name="T5" fmla="*/ 96 h 127"/>
                <a:gd name="T6" fmla="*/ 25 w 96"/>
                <a:gd name="T7" fmla="*/ 127 h 127"/>
                <a:gd name="T8" fmla="*/ 0 w 96"/>
                <a:gd name="T9" fmla="*/ 127 h 127"/>
                <a:gd name="T10" fmla="*/ 35 w 96"/>
                <a:gd name="T11" fmla="*/ 0 h 127"/>
                <a:gd name="T12" fmla="*/ 63 w 96"/>
                <a:gd name="T13" fmla="*/ 0 h 127"/>
                <a:gd name="T14" fmla="*/ 96 w 96"/>
                <a:gd name="T15" fmla="*/ 127 h 127"/>
                <a:gd name="T16" fmla="*/ 70 w 96"/>
                <a:gd name="T17" fmla="*/ 127 h 127"/>
                <a:gd name="T18" fmla="*/ 51 w 96"/>
                <a:gd name="T19" fmla="*/ 36 h 127"/>
                <a:gd name="T20" fmla="*/ 49 w 96"/>
                <a:gd name="T21" fmla="*/ 23 h 127"/>
                <a:gd name="T22" fmla="*/ 48 w 96"/>
                <a:gd name="T23" fmla="*/ 20 h 127"/>
                <a:gd name="T24" fmla="*/ 48 w 96"/>
                <a:gd name="T25" fmla="*/ 20 h 127"/>
                <a:gd name="T26" fmla="*/ 45 w 96"/>
                <a:gd name="T27" fmla="*/ 36 h 127"/>
                <a:gd name="T28" fmla="*/ 36 w 96"/>
                <a:gd name="T29" fmla="*/ 77 h 127"/>
                <a:gd name="T30" fmla="*/ 59 w 96"/>
                <a:gd name="T31" fmla="*/ 77 h 127"/>
                <a:gd name="T32" fmla="*/ 51 w 96"/>
                <a:gd name="T33" fmla="*/ 3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127">
                  <a:moveTo>
                    <a:pt x="70" y="127"/>
                  </a:moveTo>
                  <a:cubicBezTo>
                    <a:pt x="63" y="96"/>
                    <a:pt x="63" y="96"/>
                    <a:pt x="63" y="96"/>
                  </a:cubicBezTo>
                  <a:cubicBezTo>
                    <a:pt x="32" y="96"/>
                    <a:pt x="32" y="96"/>
                    <a:pt x="32" y="96"/>
                  </a:cubicBezTo>
                  <a:cubicBezTo>
                    <a:pt x="25" y="127"/>
                    <a:pt x="25" y="127"/>
                    <a:pt x="25" y="127"/>
                  </a:cubicBezTo>
                  <a:cubicBezTo>
                    <a:pt x="0" y="127"/>
                    <a:pt x="0" y="127"/>
                    <a:pt x="0" y="127"/>
                  </a:cubicBezTo>
                  <a:cubicBezTo>
                    <a:pt x="35" y="0"/>
                    <a:pt x="35" y="0"/>
                    <a:pt x="35" y="0"/>
                  </a:cubicBezTo>
                  <a:cubicBezTo>
                    <a:pt x="63" y="0"/>
                    <a:pt x="63" y="0"/>
                    <a:pt x="63" y="0"/>
                  </a:cubicBezTo>
                  <a:cubicBezTo>
                    <a:pt x="96" y="127"/>
                    <a:pt x="96" y="127"/>
                    <a:pt x="96" y="127"/>
                  </a:cubicBezTo>
                  <a:lnTo>
                    <a:pt x="70" y="127"/>
                  </a:lnTo>
                  <a:close/>
                  <a:moveTo>
                    <a:pt x="51" y="36"/>
                  </a:moveTo>
                  <a:cubicBezTo>
                    <a:pt x="50" y="34"/>
                    <a:pt x="49" y="29"/>
                    <a:pt x="49" y="23"/>
                  </a:cubicBezTo>
                  <a:cubicBezTo>
                    <a:pt x="49" y="22"/>
                    <a:pt x="48" y="21"/>
                    <a:pt x="48" y="20"/>
                  </a:cubicBezTo>
                  <a:cubicBezTo>
                    <a:pt x="48" y="20"/>
                    <a:pt x="48" y="20"/>
                    <a:pt x="48" y="20"/>
                  </a:cubicBezTo>
                  <a:cubicBezTo>
                    <a:pt x="47" y="28"/>
                    <a:pt x="46" y="33"/>
                    <a:pt x="45" y="36"/>
                  </a:cubicBezTo>
                  <a:cubicBezTo>
                    <a:pt x="36" y="77"/>
                    <a:pt x="36" y="77"/>
                    <a:pt x="36" y="77"/>
                  </a:cubicBezTo>
                  <a:cubicBezTo>
                    <a:pt x="59" y="77"/>
                    <a:pt x="59" y="77"/>
                    <a:pt x="59" y="77"/>
                  </a:cubicBezTo>
                  <a:lnTo>
                    <a:pt x="51" y="36"/>
                  </a:ln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ln w="10160">
                  <a:solidFill>
                    <a:srgbClr val="4F81BD"/>
                  </a:solidFill>
                  <a:prstDash val="solid"/>
                </a:ln>
                <a:solidFill>
                  <a:srgbClr val="FFFFFF"/>
                </a:solidFill>
                <a:effectLst>
                  <a:outerShdw blurRad="38100" dist="32000" dir="5400000" algn="tl">
                    <a:srgbClr val="000000">
                      <a:alpha val="30000"/>
                    </a:srgbClr>
                  </a:outerShdw>
                </a:effectLst>
              </a:endParaRPr>
            </a:p>
          </p:txBody>
        </p:sp>
        <p:sp>
          <p:nvSpPr>
            <p:cNvPr id="106" name="Rectangle 70"/>
            <p:cNvSpPr>
              <a:spLocks noChangeArrowheads="1"/>
            </p:cNvSpPr>
            <p:nvPr/>
          </p:nvSpPr>
          <p:spPr bwMode="auto">
            <a:xfrm>
              <a:off x="10242550" y="4675188"/>
              <a:ext cx="90488" cy="477838"/>
            </a:xfrm>
            <a:prstGeom prst="rect">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7" name="Freeform 71"/>
            <p:cNvSpPr>
              <a:spLocks noEditPoints="1"/>
            </p:cNvSpPr>
            <p:nvPr/>
          </p:nvSpPr>
          <p:spPr bwMode="auto">
            <a:xfrm>
              <a:off x="10412413" y="4675188"/>
              <a:ext cx="319088" cy="477838"/>
            </a:xfrm>
            <a:custGeom>
              <a:avLst/>
              <a:gdLst>
                <a:gd name="T0" fmla="*/ 0 w 85"/>
                <a:gd name="T1" fmla="*/ 127 h 127"/>
                <a:gd name="T2" fmla="*/ 0 w 85"/>
                <a:gd name="T3" fmla="*/ 0 h 127"/>
                <a:gd name="T4" fmla="*/ 33 w 85"/>
                <a:gd name="T5" fmla="*/ 0 h 127"/>
                <a:gd name="T6" fmla="*/ 85 w 85"/>
                <a:gd name="T7" fmla="*/ 62 h 127"/>
                <a:gd name="T8" fmla="*/ 71 w 85"/>
                <a:gd name="T9" fmla="*/ 110 h 127"/>
                <a:gd name="T10" fmla="*/ 33 w 85"/>
                <a:gd name="T11" fmla="*/ 127 h 127"/>
                <a:gd name="T12" fmla="*/ 0 w 85"/>
                <a:gd name="T13" fmla="*/ 127 h 127"/>
                <a:gd name="T14" fmla="*/ 23 w 85"/>
                <a:gd name="T15" fmla="*/ 21 h 127"/>
                <a:gd name="T16" fmla="*/ 23 w 85"/>
                <a:gd name="T17" fmla="*/ 106 h 127"/>
                <a:gd name="T18" fmla="*/ 33 w 85"/>
                <a:gd name="T19" fmla="*/ 106 h 127"/>
                <a:gd name="T20" fmla="*/ 53 w 85"/>
                <a:gd name="T21" fmla="*/ 95 h 127"/>
                <a:gd name="T22" fmla="*/ 60 w 85"/>
                <a:gd name="T23" fmla="*/ 62 h 127"/>
                <a:gd name="T24" fmla="*/ 53 w 85"/>
                <a:gd name="T25" fmla="*/ 32 h 127"/>
                <a:gd name="T26" fmla="*/ 33 w 85"/>
                <a:gd name="T27" fmla="*/ 21 h 127"/>
                <a:gd name="T28" fmla="*/ 23 w 85"/>
                <a:gd name="T29" fmla="*/ 21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127">
                  <a:moveTo>
                    <a:pt x="0" y="127"/>
                  </a:moveTo>
                  <a:cubicBezTo>
                    <a:pt x="0" y="0"/>
                    <a:pt x="0" y="0"/>
                    <a:pt x="0" y="0"/>
                  </a:cubicBezTo>
                  <a:cubicBezTo>
                    <a:pt x="33" y="0"/>
                    <a:pt x="33" y="0"/>
                    <a:pt x="33" y="0"/>
                  </a:cubicBezTo>
                  <a:cubicBezTo>
                    <a:pt x="67" y="0"/>
                    <a:pt x="85" y="21"/>
                    <a:pt x="85" y="62"/>
                  </a:cubicBezTo>
                  <a:cubicBezTo>
                    <a:pt x="85" y="82"/>
                    <a:pt x="80" y="98"/>
                    <a:pt x="71" y="110"/>
                  </a:cubicBezTo>
                  <a:cubicBezTo>
                    <a:pt x="62" y="122"/>
                    <a:pt x="49" y="127"/>
                    <a:pt x="33" y="127"/>
                  </a:cubicBezTo>
                  <a:lnTo>
                    <a:pt x="0" y="127"/>
                  </a:lnTo>
                  <a:close/>
                  <a:moveTo>
                    <a:pt x="23" y="21"/>
                  </a:moveTo>
                  <a:cubicBezTo>
                    <a:pt x="23" y="106"/>
                    <a:pt x="23" y="106"/>
                    <a:pt x="23" y="106"/>
                  </a:cubicBezTo>
                  <a:cubicBezTo>
                    <a:pt x="33" y="106"/>
                    <a:pt x="33" y="106"/>
                    <a:pt x="33" y="106"/>
                  </a:cubicBezTo>
                  <a:cubicBezTo>
                    <a:pt x="41" y="106"/>
                    <a:pt x="48" y="102"/>
                    <a:pt x="53" y="95"/>
                  </a:cubicBezTo>
                  <a:cubicBezTo>
                    <a:pt x="57" y="87"/>
                    <a:pt x="60" y="76"/>
                    <a:pt x="60" y="62"/>
                  </a:cubicBezTo>
                  <a:cubicBezTo>
                    <a:pt x="60" y="49"/>
                    <a:pt x="57" y="39"/>
                    <a:pt x="53" y="32"/>
                  </a:cubicBezTo>
                  <a:cubicBezTo>
                    <a:pt x="48" y="25"/>
                    <a:pt x="42" y="21"/>
                    <a:pt x="33" y="21"/>
                  </a:cubicBezTo>
                  <a:lnTo>
                    <a:pt x="23" y="21"/>
                  </a:ln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8" name="Freeform 72"/>
            <p:cNvSpPr>
              <a:spLocks/>
            </p:cNvSpPr>
            <p:nvPr/>
          </p:nvSpPr>
          <p:spPr bwMode="auto">
            <a:xfrm>
              <a:off x="9571038" y="5199063"/>
              <a:ext cx="71438" cy="146050"/>
            </a:xfrm>
            <a:custGeom>
              <a:avLst/>
              <a:gdLst>
                <a:gd name="T0" fmla="*/ 0 w 19"/>
                <a:gd name="T1" fmla="*/ 37 h 39"/>
                <a:gd name="T2" fmla="*/ 0 w 19"/>
                <a:gd name="T3" fmla="*/ 29 h 39"/>
                <a:gd name="T4" fmla="*/ 8 w 19"/>
                <a:gd name="T5" fmla="*/ 32 h 39"/>
                <a:gd name="T6" fmla="*/ 11 w 19"/>
                <a:gd name="T7" fmla="*/ 31 h 39"/>
                <a:gd name="T8" fmla="*/ 12 w 19"/>
                <a:gd name="T9" fmla="*/ 28 h 39"/>
                <a:gd name="T10" fmla="*/ 11 w 19"/>
                <a:gd name="T11" fmla="*/ 25 h 39"/>
                <a:gd name="T12" fmla="*/ 7 w 19"/>
                <a:gd name="T13" fmla="*/ 22 h 39"/>
                <a:gd name="T14" fmla="*/ 0 w 19"/>
                <a:gd name="T15" fmla="*/ 11 h 39"/>
                <a:gd name="T16" fmla="*/ 3 w 19"/>
                <a:gd name="T17" fmla="*/ 3 h 39"/>
                <a:gd name="T18" fmla="*/ 11 w 19"/>
                <a:gd name="T19" fmla="*/ 0 h 39"/>
                <a:gd name="T20" fmla="*/ 18 w 19"/>
                <a:gd name="T21" fmla="*/ 1 h 39"/>
                <a:gd name="T22" fmla="*/ 18 w 19"/>
                <a:gd name="T23" fmla="*/ 8 h 39"/>
                <a:gd name="T24" fmla="*/ 11 w 19"/>
                <a:gd name="T25" fmla="*/ 6 h 39"/>
                <a:gd name="T26" fmla="*/ 9 w 19"/>
                <a:gd name="T27" fmla="*/ 8 h 39"/>
                <a:gd name="T28" fmla="*/ 7 w 19"/>
                <a:gd name="T29" fmla="*/ 10 h 39"/>
                <a:gd name="T30" fmla="*/ 12 w 19"/>
                <a:gd name="T31" fmla="*/ 16 h 39"/>
                <a:gd name="T32" fmla="*/ 18 w 19"/>
                <a:gd name="T33" fmla="*/ 22 h 39"/>
                <a:gd name="T34" fmla="*/ 19 w 19"/>
                <a:gd name="T35" fmla="*/ 28 h 39"/>
                <a:gd name="T36" fmla="*/ 16 w 19"/>
                <a:gd name="T37" fmla="*/ 36 h 39"/>
                <a:gd name="T38" fmla="*/ 8 w 19"/>
                <a:gd name="T39" fmla="*/ 39 h 39"/>
                <a:gd name="T40" fmla="*/ 4 w 19"/>
                <a:gd name="T41" fmla="*/ 38 h 39"/>
                <a:gd name="T42" fmla="*/ 0 w 19"/>
                <a:gd name="T43"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39">
                  <a:moveTo>
                    <a:pt x="0" y="37"/>
                  </a:moveTo>
                  <a:cubicBezTo>
                    <a:pt x="0" y="29"/>
                    <a:pt x="0" y="29"/>
                    <a:pt x="0" y="29"/>
                  </a:cubicBezTo>
                  <a:cubicBezTo>
                    <a:pt x="3" y="31"/>
                    <a:pt x="5" y="32"/>
                    <a:pt x="8" y="32"/>
                  </a:cubicBezTo>
                  <a:cubicBezTo>
                    <a:pt x="9" y="32"/>
                    <a:pt x="10" y="32"/>
                    <a:pt x="11" y="31"/>
                  </a:cubicBezTo>
                  <a:cubicBezTo>
                    <a:pt x="12" y="30"/>
                    <a:pt x="12" y="29"/>
                    <a:pt x="12" y="28"/>
                  </a:cubicBezTo>
                  <a:cubicBezTo>
                    <a:pt x="12" y="27"/>
                    <a:pt x="12" y="26"/>
                    <a:pt x="11" y="25"/>
                  </a:cubicBezTo>
                  <a:cubicBezTo>
                    <a:pt x="10" y="24"/>
                    <a:pt x="9" y="23"/>
                    <a:pt x="7" y="22"/>
                  </a:cubicBezTo>
                  <a:cubicBezTo>
                    <a:pt x="2" y="19"/>
                    <a:pt x="0" y="16"/>
                    <a:pt x="0" y="11"/>
                  </a:cubicBezTo>
                  <a:cubicBezTo>
                    <a:pt x="0" y="8"/>
                    <a:pt x="1" y="5"/>
                    <a:pt x="3" y="3"/>
                  </a:cubicBezTo>
                  <a:cubicBezTo>
                    <a:pt x="5" y="1"/>
                    <a:pt x="7" y="0"/>
                    <a:pt x="11" y="0"/>
                  </a:cubicBezTo>
                  <a:cubicBezTo>
                    <a:pt x="13" y="0"/>
                    <a:pt x="16" y="1"/>
                    <a:pt x="18" y="1"/>
                  </a:cubicBezTo>
                  <a:cubicBezTo>
                    <a:pt x="18" y="8"/>
                    <a:pt x="18" y="8"/>
                    <a:pt x="18" y="8"/>
                  </a:cubicBezTo>
                  <a:cubicBezTo>
                    <a:pt x="16" y="7"/>
                    <a:pt x="14" y="6"/>
                    <a:pt x="11" y="6"/>
                  </a:cubicBezTo>
                  <a:cubicBezTo>
                    <a:pt x="10" y="6"/>
                    <a:pt x="9" y="7"/>
                    <a:pt x="9" y="8"/>
                  </a:cubicBezTo>
                  <a:cubicBezTo>
                    <a:pt x="8" y="8"/>
                    <a:pt x="7" y="9"/>
                    <a:pt x="7" y="10"/>
                  </a:cubicBezTo>
                  <a:cubicBezTo>
                    <a:pt x="7" y="13"/>
                    <a:pt x="9" y="15"/>
                    <a:pt x="12" y="16"/>
                  </a:cubicBezTo>
                  <a:cubicBezTo>
                    <a:pt x="15" y="18"/>
                    <a:pt x="16" y="20"/>
                    <a:pt x="18" y="22"/>
                  </a:cubicBezTo>
                  <a:cubicBezTo>
                    <a:pt x="19" y="23"/>
                    <a:pt x="19" y="25"/>
                    <a:pt x="19" y="28"/>
                  </a:cubicBezTo>
                  <a:cubicBezTo>
                    <a:pt x="19" y="31"/>
                    <a:pt x="18" y="34"/>
                    <a:pt x="16" y="36"/>
                  </a:cubicBezTo>
                  <a:cubicBezTo>
                    <a:pt x="14" y="38"/>
                    <a:pt x="12" y="39"/>
                    <a:pt x="8" y="39"/>
                  </a:cubicBezTo>
                  <a:cubicBezTo>
                    <a:pt x="7" y="39"/>
                    <a:pt x="5" y="38"/>
                    <a:pt x="4" y="38"/>
                  </a:cubicBezTo>
                  <a:cubicBezTo>
                    <a:pt x="2" y="38"/>
                    <a:pt x="1" y="37"/>
                    <a:pt x="0" y="37"/>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9" name="Freeform 73"/>
            <p:cNvSpPr>
              <a:spLocks/>
            </p:cNvSpPr>
            <p:nvPr/>
          </p:nvSpPr>
          <p:spPr bwMode="auto">
            <a:xfrm>
              <a:off x="9659938" y="5202238"/>
              <a:ext cx="82550" cy="142875"/>
            </a:xfrm>
            <a:custGeom>
              <a:avLst/>
              <a:gdLst>
                <a:gd name="T0" fmla="*/ 22 w 22"/>
                <a:gd name="T1" fmla="*/ 21 h 38"/>
                <a:gd name="T2" fmla="*/ 11 w 22"/>
                <a:gd name="T3" fmla="*/ 38 h 38"/>
                <a:gd name="T4" fmla="*/ 0 w 22"/>
                <a:gd name="T5" fmla="*/ 22 h 38"/>
                <a:gd name="T6" fmla="*/ 0 w 22"/>
                <a:gd name="T7" fmla="*/ 0 h 38"/>
                <a:gd name="T8" fmla="*/ 7 w 22"/>
                <a:gd name="T9" fmla="*/ 0 h 38"/>
                <a:gd name="T10" fmla="*/ 7 w 22"/>
                <a:gd name="T11" fmla="*/ 22 h 38"/>
                <a:gd name="T12" fmla="*/ 11 w 22"/>
                <a:gd name="T13" fmla="*/ 31 h 38"/>
                <a:gd name="T14" fmla="*/ 14 w 22"/>
                <a:gd name="T15" fmla="*/ 29 h 38"/>
                <a:gd name="T16" fmla="*/ 15 w 22"/>
                <a:gd name="T17" fmla="*/ 23 h 38"/>
                <a:gd name="T18" fmla="*/ 15 w 22"/>
                <a:gd name="T19" fmla="*/ 0 h 38"/>
                <a:gd name="T20" fmla="*/ 22 w 22"/>
                <a:gd name="T21" fmla="*/ 0 h 38"/>
                <a:gd name="T22" fmla="*/ 22 w 22"/>
                <a:gd name="T23" fmla="*/ 2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8">
                  <a:moveTo>
                    <a:pt x="22" y="21"/>
                  </a:moveTo>
                  <a:cubicBezTo>
                    <a:pt x="22" y="32"/>
                    <a:pt x="18" y="38"/>
                    <a:pt x="11" y="38"/>
                  </a:cubicBezTo>
                  <a:cubicBezTo>
                    <a:pt x="3" y="38"/>
                    <a:pt x="0" y="32"/>
                    <a:pt x="0" y="22"/>
                  </a:cubicBezTo>
                  <a:cubicBezTo>
                    <a:pt x="0" y="0"/>
                    <a:pt x="0" y="0"/>
                    <a:pt x="0" y="0"/>
                  </a:cubicBezTo>
                  <a:cubicBezTo>
                    <a:pt x="7" y="0"/>
                    <a:pt x="7" y="0"/>
                    <a:pt x="7" y="0"/>
                  </a:cubicBezTo>
                  <a:cubicBezTo>
                    <a:pt x="7" y="22"/>
                    <a:pt x="7" y="22"/>
                    <a:pt x="7" y="22"/>
                  </a:cubicBezTo>
                  <a:cubicBezTo>
                    <a:pt x="7" y="28"/>
                    <a:pt x="8" y="31"/>
                    <a:pt x="11" y="31"/>
                  </a:cubicBezTo>
                  <a:cubicBezTo>
                    <a:pt x="12" y="31"/>
                    <a:pt x="14" y="31"/>
                    <a:pt x="14" y="29"/>
                  </a:cubicBezTo>
                  <a:cubicBezTo>
                    <a:pt x="15" y="28"/>
                    <a:pt x="15" y="26"/>
                    <a:pt x="15" y="23"/>
                  </a:cubicBezTo>
                  <a:cubicBezTo>
                    <a:pt x="15" y="0"/>
                    <a:pt x="15" y="0"/>
                    <a:pt x="15" y="0"/>
                  </a:cubicBezTo>
                  <a:cubicBezTo>
                    <a:pt x="22" y="0"/>
                    <a:pt x="22" y="0"/>
                    <a:pt x="22" y="0"/>
                  </a:cubicBezTo>
                  <a:lnTo>
                    <a:pt x="22" y="21"/>
                  </a:ln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0" name="Freeform 74"/>
            <p:cNvSpPr>
              <a:spLocks noEditPoints="1"/>
            </p:cNvSpPr>
            <p:nvPr/>
          </p:nvSpPr>
          <p:spPr bwMode="auto">
            <a:xfrm>
              <a:off x="9766300" y="5202238"/>
              <a:ext cx="82550" cy="139700"/>
            </a:xfrm>
            <a:custGeom>
              <a:avLst/>
              <a:gdLst>
                <a:gd name="T0" fmla="*/ 0 w 22"/>
                <a:gd name="T1" fmla="*/ 37 h 37"/>
                <a:gd name="T2" fmla="*/ 0 w 22"/>
                <a:gd name="T3" fmla="*/ 0 h 37"/>
                <a:gd name="T4" fmla="*/ 11 w 22"/>
                <a:gd name="T5" fmla="*/ 0 h 37"/>
                <a:gd name="T6" fmla="*/ 21 w 22"/>
                <a:gd name="T7" fmla="*/ 9 h 37"/>
                <a:gd name="T8" fmla="*/ 19 w 22"/>
                <a:gd name="T9" fmla="*/ 14 h 37"/>
                <a:gd name="T10" fmla="*/ 15 w 22"/>
                <a:gd name="T11" fmla="*/ 17 h 37"/>
                <a:gd name="T12" fmla="*/ 15 w 22"/>
                <a:gd name="T13" fmla="*/ 17 h 37"/>
                <a:gd name="T14" fmla="*/ 20 w 22"/>
                <a:gd name="T15" fmla="*/ 20 h 37"/>
                <a:gd name="T16" fmla="*/ 22 w 22"/>
                <a:gd name="T17" fmla="*/ 26 h 37"/>
                <a:gd name="T18" fmla="*/ 19 w 22"/>
                <a:gd name="T19" fmla="*/ 34 h 37"/>
                <a:gd name="T20" fmla="*/ 12 w 22"/>
                <a:gd name="T21" fmla="*/ 37 h 37"/>
                <a:gd name="T22" fmla="*/ 0 w 22"/>
                <a:gd name="T23" fmla="*/ 37 h 37"/>
                <a:gd name="T24" fmla="*/ 7 w 22"/>
                <a:gd name="T25" fmla="*/ 6 h 37"/>
                <a:gd name="T26" fmla="*/ 7 w 22"/>
                <a:gd name="T27" fmla="*/ 15 h 37"/>
                <a:gd name="T28" fmla="*/ 10 w 22"/>
                <a:gd name="T29" fmla="*/ 15 h 37"/>
                <a:gd name="T30" fmla="*/ 13 w 22"/>
                <a:gd name="T31" fmla="*/ 14 h 37"/>
                <a:gd name="T32" fmla="*/ 14 w 22"/>
                <a:gd name="T33" fmla="*/ 10 h 37"/>
                <a:gd name="T34" fmla="*/ 9 w 22"/>
                <a:gd name="T35" fmla="*/ 6 h 37"/>
                <a:gd name="T36" fmla="*/ 7 w 22"/>
                <a:gd name="T37" fmla="*/ 6 h 37"/>
                <a:gd name="T38" fmla="*/ 7 w 22"/>
                <a:gd name="T39" fmla="*/ 21 h 37"/>
                <a:gd name="T40" fmla="*/ 7 w 22"/>
                <a:gd name="T41" fmla="*/ 31 h 37"/>
                <a:gd name="T42" fmla="*/ 10 w 22"/>
                <a:gd name="T43" fmla="*/ 31 h 37"/>
                <a:gd name="T44" fmla="*/ 14 w 22"/>
                <a:gd name="T45" fmla="*/ 29 h 37"/>
                <a:gd name="T46" fmla="*/ 15 w 22"/>
                <a:gd name="T47" fmla="*/ 26 h 37"/>
                <a:gd name="T48" fmla="*/ 14 w 22"/>
                <a:gd name="T49" fmla="*/ 22 h 37"/>
                <a:gd name="T50" fmla="*/ 10 w 22"/>
                <a:gd name="T51" fmla="*/ 21 h 37"/>
                <a:gd name="T52" fmla="*/ 7 w 22"/>
                <a:gd name="T53" fmla="*/ 2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 h="37">
                  <a:moveTo>
                    <a:pt x="0" y="37"/>
                  </a:moveTo>
                  <a:cubicBezTo>
                    <a:pt x="0" y="0"/>
                    <a:pt x="0" y="0"/>
                    <a:pt x="0" y="0"/>
                  </a:cubicBezTo>
                  <a:cubicBezTo>
                    <a:pt x="11" y="0"/>
                    <a:pt x="11" y="0"/>
                    <a:pt x="11" y="0"/>
                  </a:cubicBezTo>
                  <a:cubicBezTo>
                    <a:pt x="18" y="0"/>
                    <a:pt x="21" y="3"/>
                    <a:pt x="21" y="9"/>
                  </a:cubicBezTo>
                  <a:cubicBezTo>
                    <a:pt x="21" y="11"/>
                    <a:pt x="20" y="12"/>
                    <a:pt x="19" y="14"/>
                  </a:cubicBezTo>
                  <a:cubicBezTo>
                    <a:pt x="18" y="15"/>
                    <a:pt x="17" y="16"/>
                    <a:pt x="15" y="17"/>
                  </a:cubicBezTo>
                  <a:cubicBezTo>
                    <a:pt x="15" y="17"/>
                    <a:pt x="15" y="17"/>
                    <a:pt x="15" y="17"/>
                  </a:cubicBezTo>
                  <a:cubicBezTo>
                    <a:pt x="17" y="17"/>
                    <a:pt x="19" y="18"/>
                    <a:pt x="20" y="20"/>
                  </a:cubicBezTo>
                  <a:cubicBezTo>
                    <a:pt x="21" y="22"/>
                    <a:pt x="22" y="24"/>
                    <a:pt x="22" y="26"/>
                  </a:cubicBezTo>
                  <a:cubicBezTo>
                    <a:pt x="22" y="29"/>
                    <a:pt x="21" y="32"/>
                    <a:pt x="19" y="34"/>
                  </a:cubicBezTo>
                  <a:cubicBezTo>
                    <a:pt x="18" y="36"/>
                    <a:pt x="15" y="37"/>
                    <a:pt x="12" y="37"/>
                  </a:cubicBezTo>
                  <a:lnTo>
                    <a:pt x="0" y="37"/>
                  </a:lnTo>
                  <a:close/>
                  <a:moveTo>
                    <a:pt x="7" y="6"/>
                  </a:moveTo>
                  <a:cubicBezTo>
                    <a:pt x="7" y="15"/>
                    <a:pt x="7" y="15"/>
                    <a:pt x="7" y="15"/>
                  </a:cubicBezTo>
                  <a:cubicBezTo>
                    <a:pt x="10" y="15"/>
                    <a:pt x="10" y="15"/>
                    <a:pt x="10" y="15"/>
                  </a:cubicBezTo>
                  <a:cubicBezTo>
                    <a:pt x="11" y="15"/>
                    <a:pt x="12" y="14"/>
                    <a:pt x="13" y="14"/>
                  </a:cubicBezTo>
                  <a:cubicBezTo>
                    <a:pt x="13" y="13"/>
                    <a:pt x="14" y="12"/>
                    <a:pt x="14" y="10"/>
                  </a:cubicBezTo>
                  <a:cubicBezTo>
                    <a:pt x="14" y="7"/>
                    <a:pt x="12" y="6"/>
                    <a:pt x="9" y="6"/>
                  </a:cubicBezTo>
                  <a:lnTo>
                    <a:pt x="7" y="6"/>
                  </a:lnTo>
                  <a:close/>
                  <a:moveTo>
                    <a:pt x="7" y="21"/>
                  </a:moveTo>
                  <a:cubicBezTo>
                    <a:pt x="7" y="31"/>
                    <a:pt x="7" y="31"/>
                    <a:pt x="7" y="31"/>
                  </a:cubicBezTo>
                  <a:cubicBezTo>
                    <a:pt x="10" y="31"/>
                    <a:pt x="10" y="31"/>
                    <a:pt x="10" y="31"/>
                  </a:cubicBezTo>
                  <a:cubicBezTo>
                    <a:pt x="12" y="31"/>
                    <a:pt x="13" y="30"/>
                    <a:pt x="14" y="29"/>
                  </a:cubicBezTo>
                  <a:cubicBezTo>
                    <a:pt x="14" y="29"/>
                    <a:pt x="15" y="27"/>
                    <a:pt x="15" y="26"/>
                  </a:cubicBezTo>
                  <a:cubicBezTo>
                    <a:pt x="15" y="24"/>
                    <a:pt x="14" y="23"/>
                    <a:pt x="14" y="22"/>
                  </a:cubicBezTo>
                  <a:cubicBezTo>
                    <a:pt x="13" y="21"/>
                    <a:pt x="12" y="21"/>
                    <a:pt x="10" y="21"/>
                  </a:cubicBezTo>
                  <a:lnTo>
                    <a:pt x="7" y="21"/>
                  </a:ln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1" name="Freeform 75"/>
            <p:cNvSpPr>
              <a:spLocks/>
            </p:cNvSpPr>
            <p:nvPr/>
          </p:nvSpPr>
          <p:spPr bwMode="auto">
            <a:xfrm>
              <a:off x="9863138" y="5199063"/>
              <a:ext cx="71438" cy="146050"/>
            </a:xfrm>
            <a:custGeom>
              <a:avLst/>
              <a:gdLst>
                <a:gd name="T0" fmla="*/ 0 w 19"/>
                <a:gd name="T1" fmla="*/ 37 h 39"/>
                <a:gd name="T2" fmla="*/ 0 w 19"/>
                <a:gd name="T3" fmla="*/ 29 h 39"/>
                <a:gd name="T4" fmla="*/ 7 w 19"/>
                <a:gd name="T5" fmla="*/ 32 h 39"/>
                <a:gd name="T6" fmla="*/ 10 w 19"/>
                <a:gd name="T7" fmla="*/ 31 h 39"/>
                <a:gd name="T8" fmla="*/ 11 w 19"/>
                <a:gd name="T9" fmla="*/ 28 h 39"/>
                <a:gd name="T10" fmla="*/ 10 w 19"/>
                <a:gd name="T11" fmla="*/ 25 h 39"/>
                <a:gd name="T12" fmla="*/ 6 w 19"/>
                <a:gd name="T13" fmla="*/ 22 h 39"/>
                <a:gd name="T14" fmla="*/ 0 w 19"/>
                <a:gd name="T15" fmla="*/ 11 h 39"/>
                <a:gd name="T16" fmla="*/ 2 w 19"/>
                <a:gd name="T17" fmla="*/ 3 h 39"/>
                <a:gd name="T18" fmla="*/ 10 w 19"/>
                <a:gd name="T19" fmla="*/ 0 h 39"/>
                <a:gd name="T20" fmla="*/ 17 w 19"/>
                <a:gd name="T21" fmla="*/ 1 h 39"/>
                <a:gd name="T22" fmla="*/ 17 w 19"/>
                <a:gd name="T23" fmla="*/ 8 h 39"/>
                <a:gd name="T24" fmla="*/ 11 w 19"/>
                <a:gd name="T25" fmla="*/ 6 h 39"/>
                <a:gd name="T26" fmla="*/ 8 w 19"/>
                <a:gd name="T27" fmla="*/ 8 h 39"/>
                <a:gd name="T28" fmla="*/ 7 w 19"/>
                <a:gd name="T29" fmla="*/ 10 h 39"/>
                <a:gd name="T30" fmla="*/ 11 w 19"/>
                <a:gd name="T31" fmla="*/ 16 h 39"/>
                <a:gd name="T32" fmla="*/ 17 w 19"/>
                <a:gd name="T33" fmla="*/ 22 h 39"/>
                <a:gd name="T34" fmla="*/ 19 w 19"/>
                <a:gd name="T35" fmla="*/ 28 h 39"/>
                <a:gd name="T36" fmla="*/ 16 w 19"/>
                <a:gd name="T37" fmla="*/ 36 h 39"/>
                <a:gd name="T38" fmla="*/ 8 w 19"/>
                <a:gd name="T39" fmla="*/ 39 h 39"/>
                <a:gd name="T40" fmla="*/ 3 w 19"/>
                <a:gd name="T41" fmla="*/ 38 h 39"/>
                <a:gd name="T42" fmla="*/ 0 w 19"/>
                <a:gd name="T43"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39">
                  <a:moveTo>
                    <a:pt x="0" y="37"/>
                  </a:moveTo>
                  <a:cubicBezTo>
                    <a:pt x="0" y="29"/>
                    <a:pt x="0" y="29"/>
                    <a:pt x="0" y="29"/>
                  </a:cubicBezTo>
                  <a:cubicBezTo>
                    <a:pt x="2" y="31"/>
                    <a:pt x="5" y="32"/>
                    <a:pt x="7" y="32"/>
                  </a:cubicBezTo>
                  <a:cubicBezTo>
                    <a:pt x="9" y="32"/>
                    <a:pt x="10" y="32"/>
                    <a:pt x="10" y="31"/>
                  </a:cubicBezTo>
                  <a:cubicBezTo>
                    <a:pt x="11" y="30"/>
                    <a:pt x="11" y="29"/>
                    <a:pt x="11" y="28"/>
                  </a:cubicBezTo>
                  <a:cubicBezTo>
                    <a:pt x="11" y="27"/>
                    <a:pt x="11" y="26"/>
                    <a:pt x="10" y="25"/>
                  </a:cubicBezTo>
                  <a:cubicBezTo>
                    <a:pt x="10" y="24"/>
                    <a:pt x="8" y="23"/>
                    <a:pt x="6" y="22"/>
                  </a:cubicBezTo>
                  <a:cubicBezTo>
                    <a:pt x="2" y="19"/>
                    <a:pt x="0" y="16"/>
                    <a:pt x="0" y="11"/>
                  </a:cubicBezTo>
                  <a:cubicBezTo>
                    <a:pt x="0" y="8"/>
                    <a:pt x="1" y="5"/>
                    <a:pt x="2" y="3"/>
                  </a:cubicBezTo>
                  <a:cubicBezTo>
                    <a:pt x="4" y="1"/>
                    <a:pt x="7" y="0"/>
                    <a:pt x="10" y="0"/>
                  </a:cubicBezTo>
                  <a:cubicBezTo>
                    <a:pt x="13" y="0"/>
                    <a:pt x="15" y="1"/>
                    <a:pt x="17" y="1"/>
                  </a:cubicBezTo>
                  <a:cubicBezTo>
                    <a:pt x="17" y="8"/>
                    <a:pt x="17" y="8"/>
                    <a:pt x="17" y="8"/>
                  </a:cubicBezTo>
                  <a:cubicBezTo>
                    <a:pt x="15" y="7"/>
                    <a:pt x="13" y="6"/>
                    <a:pt x="11" y="6"/>
                  </a:cubicBezTo>
                  <a:cubicBezTo>
                    <a:pt x="10" y="6"/>
                    <a:pt x="9" y="7"/>
                    <a:pt x="8" y="8"/>
                  </a:cubicBezTo>
                  <a:cubicBezTo>
                    <a:pt x="7" y="8"/>
                    <a:pt x="7" y="9"/>
                    <a:pt x="7" y="10"/>
                  </a:cubicBezTo>
                  <a:cubicBezTo>
                    <a:pt x="7" y="13"/>
                    <a:pt x="8" y="15"/>
                    <a:pt x="11" y="16"/>
                  </a:cubicBezTo>
                  <a:cubicBezTo>
                    <a:pt x="14" y="18"/>
                    <a:pt x="16" y="20"/>
                    <a:pt x="17" y="22"/>
                  </a:cubicBezTo>
                  <a:cubicBezTo>
                    <a:pt x="18" y="23"/>
                    <a:pt x="19" y="25"/>
                    <a:pt x="19" y="28"/>
                  </a:cubicBezTo>
                  <a:cubicBezTo>
                    <a:pt x="19" y="31"/>
                    <a:pt x="18" y="34"/>
                    <a:pt x="16" y="36"/>
                  </a:cubicBezTo>
                  <a:cubicBezTo>
                    <a:pt x="14" y="38"/>
                    <a:pt x="11" y="39"/>
                    <a:pt x="8" y="39"/>
                  </a:cubicBezTo>
                  <a:cubicBezTo>
                    <a:pt x="6" y="39"/>
                    <a:pt x="5" y="38"/>
                    <a:pt x="3" y="38"/>
                  </a:cubicBezTo>
                  <a:cubicBezTo>
                    <a:pt x="2" y="38"/>
                    <a:pt x="1" y="37"/>
                    <a:pt x="0" y="37"/>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2" name="Freeform 76"/>
            <p:cNvSpPr>
              <a:spLocks/>
            </p:cNvSpPr>
            <p:nvPr/>
          </p:nvSpPr>
          <p:spPr bwMode="auto">
            <a:xfrm>
              <a:off x="9945688" y="5199063"/>
              <a:ext cx="79375" cy="146050"/>
            </a:xfrm>
            <a:custGeom>
              <a:avLst/>
              <a:gdLst>
                <a:gd name="T0" fmla="*/ 21 w 21"/>
                <a:gd name="T1" fmla="*/ 37 h 39"/>
                <a:gd name="T2" fmla="*/ 14 w 21"/>
                <a:gd name="T3" fmla="*/ 39 h 39"/>
                <a:gd name="T4" fmla="*/ 4 w 21"/>
                <a:gd name="T5" fmla="*/ 34 h 39"/>
                <a:gd name="T6" fmla="*/ 0 w 21"/>
                <a:gd name="T7" fmla="*/ 20 h 39"/>
                <a:gd name="T8" fmla="*/ 4 w 21"/>
                <a:gd name="T9" fmla="*/ 5 h 39"/>
                <a:gd name="T10" fmla="*/ 15 w 21"/>
                <a:gd name="T11" fmla="*/ 0 h 39"/>
                <a:gd name="T12" fmla="*/ 21 w 21"/>
                <a:gd name="T13" fmla="*/ 1 h 39"/>
                <a:gd name="T14" fmla="*/ 21 w 21"/>
                <a:gd name="T15" fmla="*/ 8 h 39"/>
                <a:gd name="T16" fmla="*/ 15 w 21"/>
                <a:gd name="T17" fmla="*/ 6 h 39"/>
                <a:gd name="T18" fmla="*/ 9 w 21"/>
                <a:gd name="T19" fmla="*/ 10 h 39"/>
                <a:gd name="T20" fmla="*/ 7 w 21"/>
                <a:gd name="T21" fmla="*/ 20 h 39"/>
                <a:gd name="T22" fmla="*/ 9 w 21"/>
                <a:gd name="T23" fmla="*/ 29 h 39"/>
                <a:gd name="T24" fmla="*/ 15 w 21"/>
                <a:gd name="T25" fmla="*/ 32 h 39"/>
                <a:gd name="T26" fmla="*/ 21 w 21"/>
                <a:gd name="T27" fmla="*/ 30 h 39"/>
                <a:gd name="T28" fmla="*/ 21 w 21"/>
                <a:gd name="T29"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39">
                  <a:moveTo>
                    <a:pt x="21" y="37"/>
                  </a:moveTo>
                  <a:cubicBezTo>
                    <a:pt x="19" y="38"/>
                    <a:pt x="17" y="39"/>
                    <a:pt x="14" y="39"/>
                  </a:cubicBezTo>
                  <a:cubicBezTo>
                    <a:pt x="10" y="39"/>
                    <a:pt x="6" y="37"/>
                    <a:pt x="4" y="34"/>
                  </a:cubicBezTo>
                  <a:cubicBezTo>
                    <a:pt x="1" y="30"/>
                    <a:pt x="0" y="26"/>
                    <a:pt x="0" y="20"/>
                  </a:cubicBezTo>
                  <a:cubicBezTo>
                    <a:pt x="0" y="14"/>
                    <a:pt x="1" y="9"/>
                    <a:pt x="4" y="5"/>
                  </a:cubicBezTo>
                  <a:cubicBezTo>
                    <a:pt x="7" y="2"/>
                    <a:pt x="10" y="0"/>
                    <a:pt x="15" y="0"/>
                  </a:cubicBezTo>
                  <a:cubicBezTo>
                    <a:pt x="17" y="0"/>
                    <a:pt x="19" y="0"/>
                    <a:pt x="21" y="1"/>
                  </a:cubicBezTo>
                  <a:cubicBezTo>
                    <a:pt x="21" y="8"/>
                    <a:pt x="21" y="8"/>
                    <a:pt x="21" y="8"/>
                  </a:cubicBezTo>
                  <a:cubicBezTo>
                    <a:pt x="19" y="7"/>
                    <a:pt x="17" y="6"/>
                    <a:pt x="15" y="6"/>
                  </a:cubicBezTo>
                  <a:cubicBezTo>
                    <a:pt x="13" y="6"/>
                    <a:pt x="11" y="8"/>
                    <a:pt x="9" y="10"/>
                  </a:cubicBezTo>
                  <a:cubicBezTo>
                    <a:pt x="8" y="12"/>
                    <a:pt x="7" y="15"/>
                    <a:pt x="7" y="20"/>
                  </a:cubicBezTo>
                  <a:cubicBezTo>
                    <a:pt x="7" y="24"/>
                    <a:pt x="8" y="27"/>
                    <a:pt x="9" y="29"/>
                  </a:cubicBezTo>
                  <a:cubicBezTo>
                    <a:pt x="11" y="31"/>
                    <a:pt x="13" y="32"/>
                    <a:pt x="15" y="32"/>
                  </a:cubicBezTo>
                  <a:cubicBezTo>
                    <a:pt x="17" y="32"/>
                    <a:pt x="19" y="32"/>
                    <a:pt x="21" y="30"/>
                  </a:cubicBezTo>
                  <a:lnTo>
                    <a:pt x="21" y="37"/>
                  </a:ln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3" name="Freeform 77"/>
            <p:cNvSpPr>
              <a:spLocks noEditPoints="1"/>
            </p:cNvSpPr>
            <p:nvPr/>
          </p:nvSpPr>
          <p:spPr bwMode="auto">
            <a:xfrm>
              <a:off x="10044113" y="5202238"/>
              <a:ext cx="85725" cy="139700"/>
            </a:xfrm>
            <a:custGeom>
              <a:avLst/>
              <a:gdLst>
                <a:gd name="T0" fmla="*/ 15 w 23"/>
                <a:gd name="T1" fmla="*/ 37 h 37"/>
                <a:gd name="T2" fmla="*/ 12 w 23"/>
                <a:gd name="T3" fmla="*/ 28 h 37"/>
                <a:gd name="T4" fmla="*/ 8 w 23"/>
                <a:gd name="T5" fmla="*/ 23 h 37"/>
                <a:gd name="T6" fmla="*/ 7 w 23"/>
                <a:gd name="T7" fmla="*/ 23 h 37"/>
                <a:gd name="T8" fmla="*/ 7 w 23"/>
                <a:gd name="T9" fmla="*/ 37 h 37"/>
                <a:gd name="T10" fmla="*/ 0 w 23"/>
                <a:gd name="T11" fmla="*/ 37 h 37"/>
                <a:gd name="T12" fmla="*/ 0 w 23"/>
                <a:gd name="T13" fmla="*/ 0 h 37"/>
                <a:gd name="T14" fmla="*/ 10 w 23"/>
                <a:gd name="T15" fmla="*/ 0 h 37"/>
                <a:gd name="T16" fmla="*/ 21 w 23"/>
                <a:gd name="T17" fmla="*/ 10 h 37"/>
                <a:gd name="T18" fmla="*/ 15 w 23"/>
                <a:gd name="T19" fmla="*/ 20 h 37"/>
                <a:gd name="T20" fmla="*/ 15 w 23"/>
                <a:gd name="T21" fmla="*/ 20 h 37"/>
                <a:gd name="T22" fmla="*/ 19 w 23"/>
                <a:gd name="T23" fmla="*/ 27 h 37"/>
                <a:gd name="T24" fmla="*/ 23 w 23"/>
                <a:gd name="T25" fmla="*/ 37 h 37"/>
                <a:gd name="T26" fmla="*/ 15 w 23"/>
                <a:gd name="T27" fmla="*/ 37 h 37"/>
                <a:gd name="T28" fmla="*/ 7 w 23"/>
                <a:gd name="T29" fmla="*/ 6 h 37"/>
                <a:gd name="T30" fmla="*/ 7 w 23"/>
                <a:gd name="T31" fmla="*/ 17 h 37"/>
                <a:gd name="T32" fmla="*/ 9 w 23"/>
                <a:gd name="T33" fmla="*/ 17 h 37"/>
                <a:gd name="T34" fmla="*/ 13 w 23"/>
                <a:gd name="T35" fmla="*/ 15 h 37"/>
                <a:gd name="T36" fmla="*/ 14 w 23"/>
                <a:gd name="T37" fmla="*/ 11 h 37"/>
                <a:gd name="T38" fmla="*/ 13 w 23"/>
                <a:gd name="T39" fmla="*/ 7 h 37"/>
                <a:gd name="T40" fmla="*/ 9 w 23"/>
                <a:gd name="T41" fmla="*/ 6 h 37"/>
                <a:gd name="T42" fmla="*/ 7 w 23"/>
                <a:gd name="T43" fmla="*/ 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37">
                  <a:moveTo>
                    <a:pt x="15" y="37"/>
                  </a:moveTo>
                  <a:cubicBezTo>
                    <a:pt x="12" y="28"/>
                    <a:pt x="12" y="28"/>
                    <a:pt x="12" y="28"/>
                  </a:cubicBezTo>
                  <a:cubicBezTo>
                    <a:pt x="11" y="24"/>
                    <a:pt x="10" y="23"/>
                    <a:pt x="8" y="23"/>
                  </a:cubicBezTo>
                  <a:cubicBezTo>
                    <a:pt x="7" y="23"/>
                    <a:pt x="7" y="23"/>
                    <a:pt x="7" y="23"/>
                  </a:cubicBezTo>
                  <a:cubicBezTo>
                    <a:pt x="7" y="37"/>
                    <a:pt x="7" y="37"/>
                    <a:pt x="7" y="37"/>
                  </a:cubicBezTo>
                  <a:cubicBezTo>
                    <a:pt x="0" y="37"/>
                    <a:pt x="0" y="37"/>
                    <a:pt x="0" y="37"/>
                  </a:cubicBezTo>
                  <a:cubicBezTo>
                    <a:pt x="0" y="0"/>
                    <a:pt x="0" y="0"/>
                    <a:pt x="0" y="0"/>
                  </a:cubicBezTo>
                  <a:cubicBezTo>
                    <a:pt x="10" y="0"/>
                    <a:pt x="10" y="0"/>
                    <a:pt x="10" y="0"/>
                  </a:cubicBezTo>
                  <a:cubicBezTo>
                    <a:pt x="17" y="0"/>
                    <a:pt x="21" y="3"/>
                    <a:pt x="21" y="10"/>
                  </a:cubicBezTo>
                  <a:cubicBezTo>
                    <a:pt x="21" y="15"/>
                    <a:pt x="19" y="18"/>
                    <a:pt x="15" y="20"/>
                  </a:cubicBezTo>
                  <a:cubicBezTo>
                    <a:pt x="15" y="20"/>
                    <a:pt x="15" y="20"/>
                    <a:pt x="15" y="20"/>
                  </a:cubicBezTo>
                  <a:cubicBezTo>
                    <a:pt x="17" y="21"/>
                    <a:pt x="18" y="23"/>
                    <a:pt x="19" y="27"/>
                  </a:cubicBezTo>
                  <a:cubicBezTo>
                    <a:pt x="23" y="37"/>
                    <a:pt x="23" y="37"/>
                    <a:pt x="23" y="37"/>
                  </a:cubicBezTo>
                  <a:lnTo>
                    <a:pt x="15" y="37"/>
                  </a:lnTo>
                  <a:close/>
                  <a:moveTo>
                    <a:pt x="7" y="6"/>
                  </a:moveTo>
                  <a:cubicBezTo>
                    <a:pt x="7" y="17"/>
                    <a:pt x="7" y="17"/>
                    <a:pt x="7" y="17"/>
                  </a:cubicBezTo>
                  <a:cubicBezTo>
                    <a:pt x="9" y="17"/>
                    <a:pt x="9" y="17"/>
                    <a:pt x="9" y="17"/>
                  </a:cubicBezTo>
                  <a:cubicBezTo>
                    <a:pt x="11" y="17"/>
                    <a:pt x="12" y="16"/>
                    <a:pt x="13" y="15"/>
                  </a:cubicBezTo>
                  <a:cubicBezTo>
                    <a:pt x="13" y="14"/>
                    <a:pt x="14" y="12"/>
                    <a:pt x="14" y="11"/>
                  </a:cubicBezTo>
                  <a:cubicBezTo>
                    <a:pt x="14" y="9"/>
                    <a:pt x="13" y="8"/>
                    <a:pt x="13" y="7"/>
                  </a:cubicBezTo>
                  <a:cubicBezTo>
                    <a:pt x="12" y="6"/>
                    <a:pt x="11" y="6"/>
                    <a:pt x="9" y="6"/>
                  </a:cubicBezTo>
                  <a:lnTo>
                    <a:pt x="7" y="6"/>
                  </a:ln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4" name="Rectangle 78"/>
            <p:cNvSpPr>
              <a:spLocks noChangeArrowheads="1"/>
            </p:cNvSpPr>
            <p:nvPr/>
          </p:nvSpPr>
          <p:spPr bwMode="auto">
            <a:xfrm>
              <a:off x="10140950" y="5202238"/>
              <a:ext cx="26988" cy="139700"/>
            </a:xfrm>
            <a:prstGeom prst="rect">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5" name="Freeform 79"/>
            <p:cNvSpPr>
              <a:spLocks noEditPoints="1"/>
            </p:cNvSpPr>
            <p:nvPr/>
          </p:nvSpPr>
          <p:spPr bwMode="auto">
            <a:xfrm>
              <a:off x="10193338" y="5202238"/>
              <a:ext cx="79375" cy="139700"/>
            </a:xfrm>
            <a:custGeom>
              <a:avLst/>
              <a:gdLst>
                <a:gd name="T0" fmla="*/ 7 w 21"/>
                <a:gd name="T1" fmla="*/ 24 h 37"/>
                <a:gd name="T2" fmla="*/ 7 w 21"/>
                <a:gd name="T3" fmla="*/ 37 h 37"/>
                <a:gd name="T4" fmla="*/ 0 w 21"/>
                <a:gd name="T5" fmla="*/ 37 h 37"/>
                <a:gd name="T6" fmla="*/ 0 w 21"/>
                <a:gd name="T7" fmla="*/ 0 h 37"/>
                <a:gd name="T8" fmla="*/ 10 w 21"/>
                <a:gd name="T9" fmla="*/ 0 h 37"/>
                <a:gd name="T10" fmla="*/ 18 w 21"/>
                <a:gd name="T11" fmla="*/ 3 h 37"/>
                <a:gd name="T12" fmla="*/ 21 w 21"/>
                <a:gd name="T13" fmla="*/ 12 h 37"/>
                <a:gd name="T14" fmla="*/ 18 w 21"/>
                <a:gd name="T15" fmla="*/ 21 h 37"/>
                <a:gd name="T16" fmla="*/ 10 w 21"/>
                <a:gd name="T17" fmla="*/ 24 h 37"/>
                <a:gd name="T18" fmla="*/ 7 w 21"/>
                <a:gd name="T19" fmla="*/ 24 h 37"/>
                <a:gd name="T20" fmla="*/ 7 w 21"/>
                <a:gd name="T21" fmla="*/ 6 h 37"/>
                <a:gd name="T22" fmla="*/ 7 w 21"/>
                <a:gd name="T23" fmla="*/ 18 h 37"/>
                <a:gd name="T24" fmla="*/ 9 w 21"/>
                <a:gd name="T25" fmla="*/ 18 h 37"/>
                <a:gd name="T26" fmla="*/ 14 w 21"/>
                <a:gd name="T27" fmla="*/ 12 h 37"/>
                <a:gd name="T28" fmla="*/ 12 w 21"/>
                <a:gd name="T29" fmla="*/ 7 h 37"/>
                <a:gd name="T30" fmla="*/ 9 w 21"/>
                <a:gd name="T31" fmla="*/ 6 h 37"/>
                <a:gd name="T32" fmla="*/ 7 w 21"/>
                <a:gd name="T33" fmla="*/ 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7">
                  <a:moveTo>
                    <a:pt x="7" y="24"/>
                  </a:moveTo>
                  <a:cubicBezTo>
                    <a:pt x="7" y="37"/>
                    <a:pt x="7" y="37"/>
                    <a:pt x="7" y="37"/>
                  </a:cubicBezTo>
                  <a:cubicBezTo>
                    <a:pt x="0" y="37"/>
                    <a:pt x="0" y="37"/>
                    <a:pt x="0" y="37"/>
                  </a:cubicBezTo>
                  <a:cubicBezTo>
                    <a:pt x="0" y="0"/>
                    <a:pt x="0" y="0"/>
                    <a:pt x="0" y="0"/>
                  </a:cubicBezTo>
                  <a:cubicBezTo>
                    <a:pt x="10" y="0"/>
                    <a:pt x="10" y="0"/>
                    <a:pt x="10" y="0"/>
                  </a:cubicBezTo>
                  <a:cubicBezTo>
                    <a:pt x="14" y="0"/>
                    <a:pt x="16" y="1"/>
                    <a:pt x="18" y="3"/>
                  </a:cubicBezTo>
                  <a:cubicBezTo>
                    <a:pt x="20" y="5"/>
                    <a:pt x="21" y="8"/>
                    <a:pt x="21" y="12"/>
                  </a:cubicBezTo>
                  <a:cubicBezTo>
                    <a:pt x="21" y="15"/>
                    <a:pt x="20" y="18"/>
                    <a:pt x="18" y="21"/>
                  </a:cubicBezTo>
                  <a:cubicBezTo>
                    <a:pt x="16" y="23"/>
                    <a:pt x="13" y="24"/>
                    <a:pt x="10" y="24"/>
                  </a:cubicBezTo>
                  <a:lnTo>
                    <a:pt x="7" y="24"/>
                  </a:lnTo>
                  <a:close/>
                  <a:moveTo>
                    <a:pt x="7" y="6"/>
                  </a:moveTo>
                  <a:cubicBezTo>
                    <a:pt x="7" y="18"/>
                    <a:pt x="7" y="18"/>
                    <a:pt x="7" y="18"/>
                  </a:cubicBezTo>
                  <a:cubicBezTo>
                    <a:pt x="9" y="18"/>
                    <a:pt x="9" y="18"/>
                    <a:pt x="9" y="18"/>
                  </a:cubicBezTo>
                  <a:cubicBezTo>
                    <a:pt x="12" y="18"/>
                    <a:pt x="14" y="16"/>
                    <a:pt x="14" y="12"/>
                  </a:cubicBezTo>
                  <a:cubicBezTo>
                    <a:pt x="14" y="10"/>
                    <a:pt x="13" y="8"/>
                    <a:pt x="12" y="7"/>
                  </a:cubicBezTo>
                  <a:cubicBezTo>
                    <a:pt x="12" y="6"/>
                    <a:pt x="10" y="6"/>
                    <a:pt x="9" y="6"/>
                  </a:cubicBezTo>
                  <a:lnTo>
                    <a:pt x="7" y="6"/>
                  </a:ln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7" name="Freeform 80"/>
            <p:cNvSpPr>
              <a:spLocks/>
            </p:cNvSpPr>
            <p:nvPr/>
          </p:nvSpPr>
          <p:spPr bwMode="auto">
            <a:xfrm>
              <a:off x="10280650" y="5202238"/>
              <a:ext cx="82550" cy="139700"/>
            </a:xfrm>
            <a:custGeom>
              <a:avLst/>
              <a:gdLst>
                <a:gd name="T0" fmla="*/ 35 w 52"/>
                <a:gd name="T1" fmla="*/ 14 h 88"/>
                <a:gd name="T2" fmla="*/ 35 w 52"/>
                <a:gd name="T3" fmla="*/ 88 h 88"/>
                <a:gd name="T4" fmla="*/ 19 w 52"/>
                <a:gd name="T5" fmla="*/ 88 h 88"/>
                <a:gd name="T6" fmla="*/ 19 w 52"/>
                <a:gd name="T7" fmla="*/ 14 h 88"/>
                <a:gd name="T8" fmla="*/ 0 w 52"/>
                <a:gd name="T9" fmla="*/ 14 h 88"/>
                <a:gd name="T10" fmla="*/ 0 w 52"/>
                <a:gd name="T11" fmla="*/ 0 h 88"/>
                <a:gd name="T12" fmla="*/ 52 w 52"/>
                <a:gd name="T13" fmla="*/ 0 h 88"/>
                <a:gd name="T14" fmla="*/ 52 w 52"/>
                <a:gd name="T15" fmla="*/ 14 h 88"/>
                <a:gd name="T16" fmla="*/ 35 w 52"/>
                <a:gd name="T17" fmla="*/ 1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88">
                  <a:moveTo>
                    <a:pt x="35" y="14"/>
                  </a:moveTo>
                  <a:lnTo>
                    <a:pt x="35" y="88"/>
                  </a:lnTo>
                  <a:lnTo>
                    <a:pt x="19" y="88"/>
                  </a:lnTo>
                  <a:lnTo>
                    <a:pt x="19" y="14"/>
                  </a:lnTo>
                  <a:lnTo>
                    <a:pt x="0" y="14"/>
                  </a:lnTo>
                  <a:lnTo>
                    <a:pt x="0" y="0"/>
                  </a:lnTo>
                  <a:lnTo>
                    <a:pt x="52" y="0"/>
                  </a:lnTo>
                  <a:lnTo>
                    <a:pt x="52" y="14"/>
                  </a:lnTo>
                  <a:lnTo>
                    <a:pt x="35" y="14"/>
                  </a:ln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8" name="Rectangle 81"/>
            <p:cNvSpPr>
              <a:spLocks noChangeArrowheads="1"/>
            </p:cNvSpPr>
            <p:nvPr/>
          </p:nvSpPr>
          <p:spPr bwMode="auto">
            <a:xfrm>
              <a:off x="10377488" y="5202238"/>
              <a:ext cx="26988" cy="139700"/>
            </a:xfrm>
            <a:prstGeom prst="rect">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9" name="Freeform 82"/>
            <p:cNvSpPr>
              <a:spLocks noEditPoints="1"/>
            </p:cNvSpPr>
            <p:nvPr/>
          </p:nvSpPr>
          <p:spPr bwMode="auto">
            <a:xfrm>
              <a:off x="10423525" y="5199063"/>
              <a:ext cx="96838" cy="146050"/>
            </a:xfrm>
            <a:custGeom>
              <a:avLst/>
              <a:gdLst>
                <a:gd name="T0" fmla="*/ 13 w 26"/>
                <a:gd name="T1" fmla="*/ 39 h 39"/>
                <a:gd name="T2" fmla="*/ 3 w 26"/>
                <a:gd name="T3" fmla="*/ 34 h 39"/>
                <a:gd name="T4" fmla="*/ 0 w 26"/>
                <a:gd name="T5" fmla="*/ 20 h 39"/>
                <a:gd name="T6" fmla="*/ 3 w 26"/>
                <a:gd name="T7" fmla="*/ 5 h 39"/>
                <a:gd name="T8" fmla="*/ 13 w 26"/>
                <a:gd name="T9" fmla="*/ 0 h 39"/>
                <a:gd name="T10" fmla="*/ 23 w 26"/>
                <a:gd name="T11" fmla="*/ 5 h 39"/>
                <a:gd name="T12" fmla="*/ 26 w 26"/>
                <a:gd name="T13" fmla="*/ 19 h 39"/>
                <a:gd name="T14" fmla="*/ 22 w 26"/>
                <a:gd name="T15" fmla="*/ 34 h 39"/>
                <a:gd name="T16" fmla="*/ 13 w 26"/>
                <a:gd name="T17" fmla="*/ 39 h 39"/>
                <a:gd name="T18" fmla="*/ 13 w 26"/>
                <a:gd name="T19" fmla="*/ 6 h 39"/>
                <a:gd name="T20" fmla="*/ 7 w 26"/>
                <a:gd name="T21" fmla="*/ 19 h 39"/>
                <a:gd name="T22" fmla="*/ 13 w 26"/>
                <a:gd name="T23" fmla="*/ 32 h 39"/>
                <a:gd name="T24" fmla="*/ 17 w 26"/>
                <a:gd name="T25" fmla="*/ 29 h 39"/>
                <a:gd name="T26" fmla="*/ 19 w 26"/>
                <a:gd name="T27" fmla="*/ 20 h 39"/>
                <a:gd name="T28" fmla="*/ 13 w 26"/>
                <a:gd name="T29" fmla="*/ 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9">
                  <a:moveTo>
                    <a:pt x="13" y="39"/>
                  </a:moveTo>
                  <a:cubicBezTo>
                    <a:pt x="9" y="39"/>
                    <a:pt x="5" y="37"/>
                    <a:pt x="3" y="34"/>
                  </a:cubicBezTo>
                  <a:cubicBezTo>
                    <a:pt x="1" y="30"/>
                    <a:pt x="0" y="26"/>
                    <a:pt x="0" y="20"/>
                  </a:cubicBezTo>
                  <a:cubicBezTo>
                    <a:pt x="0" y="14"/>
                    <a:pt x="1" y="9"/>
                    <a:pt x="3" y="5"/>
                  </a:cubicBezTo>
                  <a:cubicBezTo>
                    <a:pt x="6" y="2"/>
                    <a:pt x="9" y="0"/>
                    <a:pt x="13" y="0"/>
                  </a:cubicBezTo>
                  <a:cubicBezTo>
                    <a:pt x="17" y="0"/>
                    <a:pt x="20" y="2"/>
                    <a:pt x="23" y="5"/>
                  </a:cubicBezTo>
                  <a:cubicBezTo>
                    <a:pt x="25" y="8"/>
                    <a:pt x="26" y="13"/>
                    <a:pt x="26" y="19"/>
                  </a:cubicBezTo>
                  <a:cubicBezTo>
                    <a:pt x="26" y="25"/>
                    <a:pt x="25" y="30"/>
                    <a:pt x="22" y="34"/>
                  </a:cubicBezTo>
                  <a:cubicBezTo>
                    <a:pt x="20" y="37"/>
                    <a:pt x="17" y="39"/>
                    <a:pt x="13" y="39"/>
                  </a:cubicBezTo>
                  <a:close/>
                  <a:moveTo>
                    <a:pt x="13" y="6"/>
                  </a:moveTo>
                  <a:cubicBezTo>
                    <a:pt x="9" y="6"/>
                    <a:pt x="7" y="11"/>
                    <a:pt x="7" y="19"/>
                  </a:cubicBezTo>
                  <a:cubicBezTo>
                    <a:pt x="7" y="28"/>
                    <a:pt x="9" y="32"/>
                    <a:pt x="13" y="32"/>
                  </a:cubicBezTo>
                  <a:cubicBezTo>
                    <a:pt x="15" y="32"/>
                    <a:pt x="16" y="31"/>
                    <a:pt x="17" y="29"/>
                  </a:cubicBezTo>
                  <a:cubicBezTo>
                    <a:pt x="18" y="27"/>
                    <a:pt x="19" y="24"/>
                    <a:pt x="19" y="20"/>
                  </a:cubicBezTo>
                  <a:cubicBezTo>
                    <a:pt x="19" y="11"/>
                    <a:pt x="17" y="6"/>
                    <a:pt x="13" y="6"/>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0" name="Freeform 83"/>
            <p:cNvSpPr>
              <a:spLocks/>
            </p:cNvSpPr>
            <p:nvPr/>
          </p:nvSpPr>
          <p:spPr bwMode="auto">
            <a:xfrm>
              <a:off x="10539413" y="5202238"/>
              <a:ext cx="85725" cy="139700"/>
            </a:xfrm>
            <a:custGeom>
              <a:avLst/>
              <a:gdLst>
                <a:gd name="T0" fmla="*/ 15 w 23"/>
                <a:gd name="T1" fmla="*/ 37 h 37"/>
                <a:gd name="T2" fmla="*/ 7 w 23"/>
                <a:gd name="T3" fmla="*/ 16 h 37"/>
                <a:gd name="T4" fmla="*/ 6 w 23"/>
                <a:gd name="T5" fmla="*/ 11 h 37"/>
                <a:gd name="T6" fmla="*/ 6 w 23"/>
                <a:gd name="T7" fmla="*/ 10 h 37"/>
                <a:gd name="T8" fmla="*/ 6 w 23"/>
                <a:gd name="T9" fmla="*/ 10 h 37"/>
                <a:gd name="T10" fmla="*/ 6 w 23"/>
                <a:gd name="T11" fmla="*/ 18 h 37"/>
                <a:gd name="T12" fmla="*/ 6 w 23"/>
                <a:gd name="T13" fmla="*/ 37 h 37"/>
                <a:gd name="T14" fmla="*/ 0 w 23"/>
                <a:gd name="T15" fmla="*/ 37 h 37"/>
                <a:gd name="T16" fmla="*/ 0 w 23"/>
                <a:gd name="T17" fmla="*/ 0 h 37"/>
                <a:gd name="T18" fmla="*/ 8 w 23"/>
                <a:gd name="T19" fmla="*/ 0 h 37"/>
                <a:gd name="T20" fmla="*/ 16 w 23"/>
                <a:gd name="T21" fmla="*/ 22 h 37"/>
                <a:gd name="T22" fmla="*/ 17 w 23"/>
                <a:gd name="T23" fmla="*/ 27 h 37"/>
                <a:gd name="T24" fmla="*/ 17 w 23"/>
                <a:gd name="T25" fmla="*/ 27 h 37"/>
                <a:gd name="T26" fmla="*/ 17 w 23"/>
                <a:gd name="T27" fmla="*/ 21 h 37"/>
                <a:gd name="T28" fmla="*/ 17 w 23"/>
                <a:gd name="T29" fmla="*/ 0 h 37"/>
                <a:gd name="T30" fmla="*/ 23 w 23"/>
                <a:gd name="T31" fmla="*/ 0 h 37"/>
                <a:gd name="T32" fmla="*/ 23 w 23"/>
                <a:gd name="T33" fmla="*/ 37 h 37"/>
                <a:gd name="T34" fmla="*/ 15 w 23"/>
                <a:gd name="T35"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37">
                  <a:moveTo>
                    <a:pt x="15" y="37"/>
                  </a:moveTo>
                  <a:cubicBezTo>
                    <a:pt x="7" y="16"/>
                    <a:pt x="7" y="16"/>
                    <a:pt x="7" y="16"/>
                  </a:cubicBezTo>
                  <a:cubicBezTo>
                    <a:pt x="7" y="15"/>
                    <a:pt x="7" y="13"/>
                    <a:pt x="6" y="11"/>
                  </a:cubicBezTo>
                  <a:cubicBezTo>
                    <a:pt x="6" y="11"/>
                    <a:pt x="6" y="11"/>
                    <a:pt x="6" y="10"/>
                  </a:cubicBezTo>
                  <a:cubicBezTo>
                    <a:pt x="6" y="10"/>
                    <a:pt x="6" y="10"/>
                    <a:pt x="6" y="10"/>
                  </a:cubicBezTo>
                  <a:cubicBezTo>
                    <a:pt x="6" y="13"/>
                    <a:pt x="6" y="16"/>
                    <a:pt x="6" y="18"/>
                  </a:cubicBezTo>
                  <a:cubicBezTo>
                    <a:pt x="6" y="37"/>
                    <a:pt x="6" y="37"/>
                    <a:pt x="6" y="37"/>
                  </a:cubicBezTo>
                  <a:cubicBezTo>
                    <a:pt x="0" y="37"/>
                    <a:pt x="0" y="37"/>
                    <a:pt x="0" y="37"/>
                  </a:cubicBezTo>
                  <a:cubicBezTo>
                    <a:pt x="0" y="0"/>
                    <a:pt x="0" y="0"/>
                    <a:pt x="0" y="0"/>
                  </a:cubicBezTo>
                  <a:cubicBezTo>
                    <a:pt x="8" y="0"/>
                    <a:pt x="8" y="0"/>
                    <a:pt x="8" y="0"/>
                  </a:cubicBezTo>
                  <a:cubicBezTo>
                    <a:pt x="16" y="22"/>
                    <a:pt x="16" y="22"/>
                    <a:pt x="16" y="22"/>
                  </a:cubicBezTo>
                  <a:cubicBezTo>
                    <a:pt x="16" y="22"/>
                    <a:pt x="17" y="24"/>
                    <a:pt x="17" y="27"/>
                  </a:cubicBezTo>
                  <a:cubicBezTo>
                    <a:pt x="17" y="27"/>
                    <a:pt x="17" y="27"/>
                    <a:pt x="17" y="27"/>
                  </a:cubicBezTo>
                  <a:cubicBezTo>
                    <a:pt x="17" y="21"/>
                    <a:pt x="17" y="21"/>
                    <a:pt x="17" y="21"/>
                  </a:cubicBezTo>
                  <a:cubicBezTo>
                    <a:pt x="17" y="0"/>
                    <a:pt x="17" y="0"/>
                    <a:pt x="17" y="0"/>
                  </a:cubicBezTo>
                  <a:cubicBezTo>
                    <a:pt x="23" y="0"/>
                    <a:pt x="23" y="0"/>
                    <a:pt x="23" y="0"/>
                  </a:cubicBezTo>
                  <a:cubicBezTo>
                    <a:pt x="23" y="37"/>
                    <a:pt x="23" y="37"/>
                    <a:pt x="23" y="37"/>
                  </a:cubicBezTo>
                  <a:lnTo>
                    <a:pt x="15" y="37"/>
                  </a:ln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1" name="Freeform 84"/>
            <p:cNvSpPr>
              <a:spLocks/>
            </p:cNvSpPr>
            <p:nvPr/>
          </p:nvSpPr>
          <p:spPr bwMode="auto">
            <a:xfrm>
              <a:off x="10644188" y="5199063"/>
              <a:ext cx="71438" cy="146050"/>
            </a:xfrm>
            <a:custGeom>
              <a:avLst/>
              <a:gdLst>
                <a:gd name="T0" fmla="*/ 0 w 19"/>
                <a:gd name="T1" fmla="*/ 37 h 39"/>
                <a:gd name="T2" fmla="*/ 0 w 19"/>
                <a:gd name="T3" fmla="*/ 29 h 39"/>
                <a:gd name="T4" fmla="*/ 8 w 19"/>
                <a:gd name="T5" fmla="*/ 32 h 39"/>
                <a:gd name="T6" fmla="*/ 11 w 19"/>
                <a:gd name="T7" fmla="*/ 31 h 39"/>
                <a:gd name="T8" fmla="*/ 12 w 19"/>
                <a:gd name="T9" fmla="*/ 28 h 39"/>
                <a:gd name="T10" fmla="*/ 11 w 19"/>
                <a:gd name="T11" fmla="*/ 25 h 39"/>
                <a:gd name="T12" fmla="*/ 7 w 19"/>
                <a:gd name="T13" fmla="*/ 22 h 39"/>
                <a:gd name="T14" fmla="*/ 0 w 19"/>
                <a:gd name="T15" fmla="*/ 11 h 39"/>
                <a:gd name="T16" fmla="*/ 3 w 19"/>
                <a:gd name="T17" fmla="*/ 3 h 39"/>
                <a:gd name="T18" fmla="*/ 11 w 19"/>
                <a:gd name="T19" fmla="*/ 0 h 39"/>
                <a:gd name="T20" fmla="*/ 18 w 19"/>
                <a:gd name="T21" fmla="*/ 1 h 39"/>
                <a:gd name="T22" fmla="*/ 18 w 19"/>
                <a:gd name="T23" fmla="*/ 8 h 39"/>
                <a:gd name="T24" fmla="*/ 11 w 19"/>
                <a:gd name="T25" fmla="*/ 6 h 39"/>
                <a:gd name="T26" fmla="*/ 8 w 19"/>
                <a:gd name="T27" fmla="*/ 8 h 39"/>
                <a:gd name="T28" fmla="*/ 7 w 19"/>
                <a:gd name="T29" fmla="*/ 10 h 39"/>
                <a:gd name="T30" fmla="*/ 12 w 19"/>
                <a:gd name="T31" fmla="*/ 16 h 39"/>
                <a:gd name="T32" fmla="*/ 18 w 19"/>
                <a:gd name="T33" fmla="*/ 22 h 39"/>
                <a:gd name="T34" fmla="*/ 19 w 19"/>
                <a:gd name="T35" fmla="*/ 28 h 39"/>
                <a:gd name="T36" fmla="*/ 16 w 19"/>
                <a:gd name="T37" fmla="*/ 36 h 39"/>
                <a:gd name="T38" fmla="*/ 8 w 19"/>
                <a:gd name="T39" fmla="*/ 39 h 39"/>
                <a:gd name="T40" fmla="*/ 4 w 19"/>
                <a:gd name="T41" fmla="*/ 38 h 39"/>
                <a:gd name="T42" fmla="*/ 0 w 19"/>
                <a:gd name="T43"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39">
                  <a:moveTo>
                    <a:pt x="0" y="37"/>
                  </a:moveTo>
                  <a:cubicBezTo>
                    <a:pt x="0" y="29"/>
                    <a:pt x="0" y="29"/>
                    <a:pt x="0" y="29"/>
                  </a:cubicBezTo>
                  <a:cubicBezTo>
                    <a:pt x="3" y="31"/>
                    <a:pt x="5" y="32"/>
                    <a:pt x="8" y="32"/>
                  </a:cubicBezTo>
                  <a:cubicBezTo>
                    <a:pt x="9" y="32"/>
                    <a:pt x="10" y="32"/>
                    <a:pt x="11" y="31"/>
                  </a:cubicBezTo>
                  <a:cubicBezTo>
                    <a:pt x="11" y="30"/>
                    <a:pt x="12" y="29"/>
                    <a:pt x="12" y="28"/>
                  </a:cubicBezTo>
                  <a:cubicBezTo>
                    <a:pt x="12" y="27"/>
                    <a:pt x="11" y="26"/>
                    <a:pt x="11" y="25"/>
                  </a:cubicBezTo>
                  <a:cubicBezTo>
                    <a:pt x="10" y="24"/>
                    <a:pt x="9" y="23"/>
                    <a:pt x="7" y="22"/>
                  </a:cubicBezTo>
                  <a:cubicBezTo>
                    <a:pt x="2" y="19"/>
                    <a:pt x="0" y="16"/>
                    <a:pt x="0" y="11"/>
                  </a:cubicBezTo>
                  <a:cubicBezTo>
                    <a:pt x="0" y="8"/>
                    <a:pt x="1" y="5"/>
                    <a:pt x="3" y="3"/>
                  </a:cubicBezTo>
                  <a:cubicBezTo>
                    <a:pt x="5" y="1"/>
                    <a:pt x="7" y="0"/>
                    <a:pt x="11" y="0"/>
                  </a:cubicBezTo>
                  <a:cubicBezTo>
                    <a:pt x="13" y="0"/>
                    <a:pt x="16" y="1"/>
                    <a:pt x="18" y="1"/>
                  </a:cubicBezTo>
                  <a:cubicBezTo>
                    <a:pt x="18" y="8"/>
                    <a:pt x="18" y="8"/>
                    <a:pt x="18" y="8"/>
                  </a:cubicBezTo>
                  <a:cubicBezTo>
                    <a:pt x="16" y="7"/>
                    <a:pt x="13" y="6"/>
                    <a:pt x="11" y="6"/>
                  </a:cubicBezTo>
                  <a:cubicBezTo>
                    <a:pt x="10" y="6"/>
                    <a:pt x="9" y="7"/>
                    <a:pt x="8" y="8"/>
                  </a:cubicBezTo>
                  <a:cubicBezTo>
                    <a:pt x="8" y="8"/>
                    <a:pt x="7" y="9"/>
                    <a:pt x="7" y="10"/>
                  </a:cubicBezTo>
                  <a:cubicBezTo>
                    <a:pt x="7" y="13"/>
                    <a:pt x="9" y="15"/>
                    <a:pt x="12" y="16"/>
                  </a:cubicBezTo>
                  <a:cubicBezTo>
                    <a:pt x="14" y="18"/>
                    <a:pt x="16" y="20"/>
                    <a:pt x="18" y="22"/>
                  </a:cubicBezTo>
                  <a:cubicBezTo>
                    <a:pt x="19" y="23"/>
                    <a:pt x="19" y="25"/>
                    <a:pt x="19" y="28"/>
                  </a:cubicBezTo>
                  <a:cubicBezTo>
                    <a:pt x="19" y="31"/>
                    <a:pt x="18" y="34"/>
                    <a:pt x="16" y="36"/>
                  </a:cubicBezTo>
                  <a:cubicBezTo>
                    <a:pt x="14" y="38"/>
                    <a:pt x="12" y="39"/>
                    <a:pt x="8" y="39"/>
                  </a:cubicBezTo>
                  <a:cubicBezTo>
                    <a:pt x="7" y="39"/>
                    <a:pt x="5" y="38"/>
                    <a:pt x="4" y="38"/>
                  </a:cubicBezTo>
                  <a:cubicBezTo>
                    <a:pt x="2" y="38"/>
                    <a:pt x="1" y="37"/>
                    <a:pt x="0" y="37"/>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sp>
        <p:nvSpPr>
          <p:cNvPr id="202" name="Freeform 85"/>
          <p:cNvSpPr>
            <a:spLocks noEditPoints="1"/>
          </p:cNvSpPr>
          <p:nvPr/>
        </p:nvSpPr>
        <p:spPr bwMode="auto">
          <a:xfrm>
            <a:off x="1984184" y="4193823"/>
            <a:ext cx="1444816" cy="1559726"/>
          </a:xfrm>
          <a:custGeom>
            <a:avLst/>
            <a:gdLst>
              <a:gd name="T0" fmla="*/ 664 w 664"/>
              <a:gd name="T1" fmla="*/ 72 h 651"/>
              <a:gd name="T2" fmla="*/ 91 w 664"/>
              <a:gd name="T3" fmla="*/ 72 h 651"/>
              <a:gd name="T4" fmla="*/ 133 w 664"/>
              <a:gd name="T5" fmla="*/ 72 h 651"/>
              <a:gd name="T6" fmla="*/ 196 w 664"/>
              <a:gd name="T7" fmla="*/ 65 h 651"/>
              <a:gd name="T8" fmla="*/ 238 w 664"/>
              <a:gd name="T9" fmla="*/ 44 h 651"/>
              <a:gd name="T10" fmla="*/ 280 w 664"/>
              <a:gd name="T11" fmla="*/ 65 h 651"/>
              <a:gd name="T12" fmla="*/ 343 w 664"/>
              <a:gd name="T13" fmla="*/ 72 h 651"/>
              <a:gd name="T14" fmla="*/ 385 w 664"/>
              <a:gd name="T15" fmla="*/ 72 h 651"/>
              <a:gd name="T16" fmla="*/ 448 w 664"/>
              <a:gd name="T17" fmla="*/ 65 h 651"/>
              <a:gd name="T18" fmla="*/ 490 w 664"/>
              <a:gd name="T19" fmla="*/ 44 h 651"/>
              <a:gd name="T20" fmla="*/ 532 w 664"/>
              <a:gd name="T21" fmla="*/ 65 h 651"/>
              <a:gd name="T22" fmla="*/ 574 w 664"/>
              <a:gd name="T23" fmla="*/ 72 h 651"/>
              <a:gd name="T24" fmla="*/ 505 w 664"/>
              <a:gd name="T25" fmla="*/ 527 h 651"/>
              <a:gd name="T26" fmla="*/ 626 w 664"/>
              <a:gd name="T27" fmla="*/ 527 h 651"/>
              <a:gd name="T28" fmla="*/ 521 w 664"/>
              <a:gd name="T29" fmla="*/ 527 h 651"/>
              <a:gd name="T30" fmla="*/ 279 w 664"/>
              <a:gd name="T31" fmla="*/ 542 h 651"/>
              <a:gd name="T32" fmla="*/ 160 w 664"/>
              <a:gd name="T33" fmla="*/ 542 h 651"/>
              <a:gd name="T34" fmla="*/ 264 w 664"/>
              <a:gd name="T35" fmla="*/ 542 h 651"/>
              <a:gd name="T36" fmla="*/ 400 w 664"/>
              <a:gd name="T37" fmla="*/ 542 h 651"/>
              <a:gd name="T38" fmla="*/ 279 w 664"/>
              <a:gd name="T39" fmla="*/ 439 h 651"/>
              <a:gd name="T40" fmla="*/ 385 w 664"/>
              <a:gd name="T41" fmla="*/ 439 h 651"/>
              <a:gd name="T42" fmla="*/ 264 w 664"/>
              <a:gd name="T43" fmla="*/ 527 h 651"/>
              <a:gd name="T44" fmla="*/ 39 w 664"/>
              <a:gd name="T45" fmla="*/ 439 h 651"/>
              <a:gd name="T46" fmla="*/ 144 w 664"/>
              <a:gd name="T47" fmla="*/ 439 h 651"/>
              <a:gd name="T48" fmla="*/ 144 w 664"/>
              <a:gd name="T49" fmla="*/ 542 h 651"/>
              <a:gd name="T50" fmla="*/ 626 w 664"/>
              <a:gd name="T51" fmla="*/ 542 h 651"/>
              <a:gd name="T52" fmla="*/ 626 w 664"/>
              <a:gd name="T53" fmla="*/ 620 h 651"/>
              <a:gd name="T54" fmla="*/ 626 w 664"/>
              <a:gd name="T55" fmla="*/ 423 h 651"/>
              <a:gd name="T56" fmla="*/ 400 w 664"/>
              <a:gd name="T57" fmla="*/ 335 h 651"/>
              <a:gd name="T58" fmla="*/ 505 w 664"/>
              <a:gd name="T59" fmla="*/ 335 h 651"/>
              <a:gd name="T60" fmla="*/ 385 w 664"/>
              <a:gd name="T61" fmla="*/ 423 h 651"/>
              <a:gd name="T62" fmla="*/ 160 w 664"/>
              <a:gd name="T63" fmla="*/ 335 h 651"/>
              <a:gd name="T64" fmla="*/ 264 w 664"/>
              <a:gd name="T65" fmla="*/ 335 h 651"/>
              <a:gd name="T66" fmla="*/ 144 w 664"/>
              <a:gd name="T67" fmla="*/ 423 h 651"/>
              <a:gd name="T68" fmla="*/ 521 w 664"/>
              <a:gd name="T69" fmla="*/ 232 h 651"/>
              <a:gd name="T70" fmla="*/ 626 w 664"/>
              <a:gd name="T71" fmla="*/ 232 h 651"/>
              <a:gd name="T72" fmla="*/ 505 w 664"/>
              <a:gd name="T73" fmla="*/ 319 h 651"/>
              <a:gd name="T74" fmla="*/ 279 w 664"/>
              <a:gd name="T75" fmla="*/ 232 h 651"/>
              <a:gd name="T76" fmla="*/ 385 w 664"/>
              <a:gd name="T77" fmla="*/ 232 h 651"/>
              <a:gd name="T78" fmla="*/ 264 w 664"/>
              <a:gd name="T79" fmla="*/ 319 h 651"/>
              <a:gd name="T80" fmla="*/ 39 w 664"/>
              <a:gd name="T81" fmla="*/ 232 h 651"/>
              <a:gd name="T82" fmla="*/ 144 w 664"/>
              <a:gd name="T83" fmla="*/ 232 h 651"/>
              <a:gd name="T84" fmla="*/ 532 w 664"/>
              <a:gd name="T85" fmla="*/ 117 h 651"/>
              <a:gd name="T86" fmla="*/ 490 w 664"/>
              <a:gd name="T87" fmla="*/ 138 h 651"/>
              <a:gd name="T88" fmla="*/ 448 w 664"/>
              <a:gd name="T89" fmla="*/ 117 h 651"/>
              <a:gd name="T90" fmla="*/ 385 w 664"/>
              <a:gd name="T91" fmla="*/ 103 h 651"/>
              <a:gd name="T92" fmla="*/ 343 w 664"/>
              <a:gd name="T93" fmla="*/ 103 h 651"/>
              <a:gd name="T94" fmla="*/ 280 w 664"/>
              <a:gd name="T95" fmla="*/ 117 h 651"/>
              <a:gd name="T96" fmla="*/ 238 w 664"/>
              <a:gd name="T97" fmla="*/ 138 h 651"/>
              <a:gd name="T98" fmla="*/ 196 w 664"/>
              <a:gd name="T99" fmla="*/ 117 h 651"/>
              <a:gd name="T100" fmla="*/ 133 w 664"/>
              <a:gd name="T101" fmla="*/ 103 h 651"/>
              <a:gd name="T102" fmla="*/ 91 w 664"/>
              <a:gd name="T103" fmla="*/ 103 h 651"/>
              <a:gd name="T104" fmla="*/ 634 w 664"/>
              <a:gd name="T105" fmla="*/ 103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4" h="651">
                <a:moveTo>
                  <a:pt x="509" y="0"/>
                </a:moveTo>
                <a:cubicBezTo>
                  <a:pt x="509" y="0"/>
                  <a:pt x="509" y="0"/>
                  <a:pt x="509" y="0"/>
                </a:cubicBezTo>
                <a:moveTo>
                  <a:pt x="574" y="72"/>
                </a:moveTo>
                <a:cubicBezTo>
                  <a:pt x="664" y="72"/>
                  <a:pt x="664" y="72"/>
                  <a:pt x="664" y="72"/>
                </a:cubicBezTo>
                <a:cubicBezTo>
                  <a:pt x="664" y="651"/>
                  <a:pt x="664" y="651"/>
                  <a:pt x="664" y="651"/>
                </a:cubicBezTo>
                <a:cubicBezTo>
                  <a:pt x="0" y="651"/>
                  <a:pt x="0" y="651"/>
                  <a:pt x="0" y="651"/>
                </a:cubicBezTo>
                <a:cubicBezTo>
                  <a:pt x="0" y="72"/>
                  <a:pt x="0" y="72"/>
                  <a:pt x="0" y="72"/>
                </a:cubicBezTo>
                <a:cubicBezTo>
                  <a:pt x="91" y="72"/>
                  <a:pt x="91" y="72"/>
                  <a:pt x="91" y="72"/>
                </a:cubicBezTo>
                <a:cubicBezTo>
                  <a:pt x="91" y="65"/>
                  <a:pt x="91" y="65"/>
                  <a:pt x="91" y="65"/>
                </a:cubicBezTo>
                <a:cubicBezTo>
                  <a:pt x="91" y="53"/>
                  <a:pt x="100" y="44"/>
                  <a:pt x="111" y="44"/>
                </a:cubicBezTo>
                <a:cubicBezTo>
                  <a:pt x="123" y="44"/>
                  <a:pt x="133" y="53"/>
                  <a:pt x="133" y="65"/>
                </a:cubicBezTo>
                <a:cubicBezTo>
                  <a:pt x="133" y="72"/>
                  <a:pt x="133" y="72"/>
                  <a:pt x="133" y="72"/>
                </a:cubicBezTo>
                <a:cubicBezTo>
                  <a:pt x="154" y="72"/>
                  <a:pt x="154" y="72"/>
                  <a:pt x="154" y="72"/>
                </a:cubicBezTo>
                <a:cubicBezTo>
                  <a:pt x="154" y="65"/>
                  <a:pt x="154" y="65"/>
                  <a:pt x="154" y="65"/>
                </a:cubicBezTo>
                <a:cubicBezTo>
                  <a:pt x="154" y="53"/>
                  <a:pt x="163" y="44"/>
                  <a:pt x="175" y="44"/>
                </a:cubicBezTo>
                <a:cubicBezTo>
                  <a:pt x="186" y="44"/>
                  <a:pt x="196" y="53"/>
                  <a:pt x="196" y="65"/>
                </a:cubicBezTo>
                <a:cubicBezTo>
                  <a:pt x="196" y="72"/>
                  <a:pt x="196" y="72"/>
                  <a:pt x="196" y="72"/>
                </a:cubicBezTo>
                <a:cubicBezTo>
                  <a:pt x="216" y="72"/>
                  <a:pt x="216" y="72"/>
                  <a:pt x="216" y="72"/>
                </a:cubicBezTo>
                <a:cubicBezTo>
                  <a:pt x="216" y="65"/>
                  <a:pt x="216" y="65"/>
                  <a:pt x="216" y="65"/>
                </a:cubicBezTo>
                <a:cubicBezTo>
                  <a:pt x="216" y="53"/>
                  <a:pt x="226" y="44"/>
                  <a:pt x="238" y="44"/>
                </a:cubicBezTo>
                <a:cubicBezTo>
                  <a:pt x="249" y="44"/>
                  <a:pt x="259" y="53"/>
                  <a:pt x="259" y="65"/>
                </a:cubicBezTo>
                <a:cubicBezTo>
                  <a:pt x="259" y="72"/>
                  <a:pt x="259" y="72"/>
                  <a:pt x="259" y="72"/>
                </a:cubicBezTo>
                <a:cubicBezTo>
                  <a:pt x="280" y="72"/>
                  <a:pt x="280" y="72"/>
                  <a:pt x="280" y="72"/>
                </a:cubicBezTo>
                <a:cubicBezTo>
                  <a:pt x="280" y="65"/>
                  <a:pt x="280" y="65"/>
                  <a:pt x="280" y="65"/>
                </a:cubicBezTo>
                <a:cubicBezTo>
                  <a:pt x="280" y="53"/>
                  <a:pt x="289" y="44"/>
                  <a:pt x="301" y="44"/>
                </a:cubicBezTo>
                <a:cubicBezTo>
                  <a:pt x="312" y="44"/>
                  <a:pt x="322" y="53"/>
                  <a:pt x="322" y="65"/>
                </a:cubicBezTo>
                <a:cubicBezTo>
                  <a:pt x="322" y="72"/>
                  <a:pt x="322" y="72"/>
                  <a:pt x="322" y="72"/>
                </a:cubicBezTo>
                <a:cubicBezTo>
                  <a:pt x="343" y="72"/>
                  <a:pt x="343" y="72"/>
                  <a:pt x="343" y="72"/>
                </a:cubicBezTo>
                <a:cubicBezTo>
                  <a:pt x="343" y="65"/>
                  <a:pt x="343" y="65"/>
                  <a:pt x="343" y="65"/>
                </a:cubicBezTo>
                <a:cubicBezTo>
                  <a:pt x="343" y="53"/>
                  <a:pt x="352" y="44"/>
                  <a:pt x="364" y="44"/>
                </a:cubicBezTo>
                <a:cubicBezTo>
                  <a:pt x="376" y="44"/>
                  <a:pt x="385" y="53"/>
                  <a:pt x="385" y="65"/>
                </a:cubicBezTo>
                <a:cubicBezTo>
                  <a:pt x="385" y="72"/>
                  <a:pt x="385" y="72"/>
                  <a:pt x="385" y="72"/>
                </a:cubicBezTo>
                <a:cubicBezTo>
                  <a:pt x="406" y="72"/>
                  <a:pt x="406" y="72"/>
                  <a:pt x="406" y="72"/>
                </a:cubicBezTo>
                <a:cubicBezTo>
                  <a:pt x="406" y="65"/>
                  <a:pt x="406" y="65"/>
                  <a:pt x="406" y="65"/>
                </a:cubicBezTo>
                <a:cubicBezTo>
                  <a:pt x="406" y="53"/>
                  <a:pt x="416" y="44"/>
                  <a:pt x="427" y="44"/>
                </a:cubicBezTo>
                <a:cubicBezTo>
                  <a:pt x="439" y="44"/>
                  <a:pt x="448" y="53"/>
                  <a:pt x="448" y="65"/>
                </a:cubicBezTo>
                <a:cubicBezTo>
                  <a:pt x="448" y="72"/>
                  <a:pt x="448" y="72"/>
                  <a:pt x="448" y="72"/>
                </a:cubicBezTo>
                <a:cubicBezTo>
                  <a:pt x="469" y="72"/>
                  <a:pt x="469" y="72"/>
                  <a:pt x="469" y="72"/>
                </a:cubicBezTo>
                <a:cubicBezTo>
                  <a:pt x="469" y="65"/>
                  <a:pt x="469" y="65"/>
                  <a:pt x="469" y="65"/>
                </a:cubicBezTo>
                <a:cubicBezTo>
                  <a:pt x="469" y="53"/>
                  <a:pt x="478" y="44"/>
                  <a:pt x="490" y="44"/>
                </a:cubicBezTo>
                <a:cubicBezTo>
                  <a:pt x="502" y="44"/>
                  <a:pt x="511" y="53"/>
                  <a:pt x="511" y="65"/>
                </a:cubicBezTo>
                <a:cubicBezTo>
                  <a:pt x="511" y="72"/>
                  <a:pt x="511" y="72"/>
                  <a:pt x="511" y="72"/>
                </a:cubicBezTo>
                <a:cubicBezTo>
                  <a:pt x="532" y="72"/>
                  <a:pt x="532" y="72"/>
                  <a:pt x="532" y="72"/>
                </a:cubicBezTo>
                <a:cubicBezTo>
                  <a:pt x="532" y="65"/>
                  <a:pt x="532" y="65"/>
                  <a:pt x="532" y="65"/>
                </a:cubicBezTo>
                <a:cubicBezTo>
                  <a:pt x="532" y="53"/>
                  <a:pt x="541" y="44"/>
                  <a:pt x="554" y="44"/>
                </a:cubicBezTo>
                <a:cubicBezTo>
                  <a:pt x="565" y="44"/>
                  <a:pt x="574" y="53"/>
                  <a:pt x="574" y="65"/>
                </a:cubicBezTo>
                <a:cubicBezTo>
                  <a:pt x="574" y="72"/>
                  <a:pt x="574" y="72"/>
                  <a:pt x="574" y="72"/>
                </a:cubicBezTo>
                <a:cubicBezTo>
                  <a:pt x="574" y="72"/>
                  <a:pt x="574" y="72"/>
                  <a:pt x="574" y="72"/>
                </a:cubicBezTo>
                <a:close/>
                <a:moveTo>
                  <a:pt x="505" y="439"/>
                </a:moveTo>
                <a:cubicBezTo>
                  <a:pt x="400" y="439"/>
                  <a:pt x="400" y="439"/>
                  <a:pt x="400" y="439"/>
                </a:cubicBezTo>
                <a:cubicBezTo>
                  <a:pt x="400" y="527"/>
                  <a:pt x="400" y="527"/>
                  <a:pt x="400" y="527"/>
                </a:cubicBezTo>
                <a:cubicBezTo>
                  <a:pt x="505" y="527"/>
                  <a:pt x="505" y="527"/>
                  <a:pt x="505" y="527"/>
                </a:cubicBezTo>
                <a:cubicBezTo>
                  <a:pt x="505" y="439"/>
                  <a:pt x="505" y="439"/>
                  <a:pt x="505" y="439"/>
                </a:cubicBezTo>
                <a:cubicBezTo>
                  <a:pt x="505" y="439"/>
                  <a:pt x="505" y="439"/>
                  <a:pt x="505" y="439"/>
                </a:cubicBezTo>
                <a:close/>
                <a:moveTo>
                  <a:pt x="521" y="527"/>
                </a:moveTo>
                <a:cubicBezTo>
                  <a:pt x="626" y="527"/>
                  <a:pt x="626" y="527"/>
                  <a:pt x="626" y="527"/>
                </a:cubicBezTo>
                <a:cubicBezTo>
                  <a:pt x="626" y="439"/>
                  <a:pt x="626" y="439"/>
                  <a:pt x="626" y="439"/>
                </a:cubicBezTo>
                <a:cubicBezTo>
                  <a:pt x="521" y="439"/>
                  <a:pt x="521" y="439"/>
                  <a:pt x="521" y="439"/>
                </a:cubicBezTo>
                <a:cubicBezTo>
                  <a:pt x="521" y="527"/>
                  <a:pt x="521" y="527"/>
                  <a:pt x="521" y="527"/>
                </a:cubicBezTo>
                <a:cubicBezTo>
                  <a:pt x="521" y="527"/>
                  <a:pt x="521" y="527"/>
                  <a:pt x="521" y="527"/>
                </a:cubicBezTo>
                <a:close/>
                <a:moveTo>
                  <a:pt x="279" y="620"/>
                </a:moveTo>
                <a:cubicBezTo>
                  <a:pt x="385" y="620"/>
                  <a:pt x="385" y="620"/>
                  <a:pt x="385" y="620"/>
                </a:cubicBezTo>
                <a:cubicBezTo>
                  <a:pt x="385" y="542"/>
                  <a:pt x="385" y="542"/>
                  <a:pt x="385" y="542"/>
                </a:cubicBezTo>
                <a:cubicBezTo>
                  <a:pt x="279" y="542"/>
                  <a:pt x="279" y="542"/>
                  <a:pt x="279" y="542"/>
                </a:cubicBezTo>
                <a:cubicBezTo>
                  <a:pt x="279" y="620"/>
                  <a:pt x="279" y="620"/>
                  <a:pt x="279" y="620"/>
                </a:cubicBezTo>
                <a:cubicBezTo>
                  <a:pt x="279" y="620"/>
                  <a:pt x="279" y="620"/>
                  <a:pt x="279" y="620"/>
                </a:cubicBezTo>
                <a:close/>
                <a:moveTo>
                  <a:pt x="264" y="542"/>
                </a:moveTo>
                <a:cubicBezTo>
                  <a:pt x="160" y="542"/>
                  <a:pt x="160" y="542"/>
                  <a:pt x="160" y="542"/>
                </a:cubicBezTo>
                <a:cubicBezTo>
                  <a:pt x="160" y="620"/>
                  <a:pt x="160" y="620"/>
                  <a:pt x="160" y="620"/>
                </a:cubicBezTo>
                <a:cubicBezTo>
                  <a:pt x="264" y="620"/>
                  <a:pt x="264" y="620"/>
                  <a:pt x="264" y="620"/>
                </a:cubicBezTo>
                <a:cubicBezTo>
                  <a:pt x="264" y="542"/>
                  <a:pt x="264" y="542"/>
                  <a:pt x="264" y="542"/>
                </a:cubicBezTo>
                <a:cubicBezTo>
                  <a:pt x="264" y="542"/>
                  <a:pt x="264" y="542"/>
                  <a:pt x="264" y="542"/>
                </a:cubicBezTo>
                <a:close/>
                <a:moveTo>
                  <a:pt x="400" y="620"/>
                </a:moveTo>
                <a:cubicBezTo>
                  <a:pt x="505" y="620"/>
                  <a:pt x="505" y="620"/>
                  <a:pt x="505" y="620"/>
                </a:cubicBezTo>
                <a:cubicBezTo>
                  <a:pt x="505" y="542"/>
                  <a:pt x="505" y="542"/>
                  <a:pt x="505" y="542"/>
                </a:cubicBezTo>
                <a:cubicBezTo>
                  <a:pt x="400" y="542"/>
                  <a:pt x="400" y="542"/>
                  <a:pt x="400" y="542"/>
                </a:cubicBezTo>
                <a:cubicBezTo>
                  <a:pt x="400" y="620"/>
                  <a:pt x="400" y="620"/>
                  <a:pt x="400" y="620"/>
                </a:cubicBezTo>
                <a:cubicBezTo>
                  <a:pt x="400" y="620"/>
                  <a:pt x="400" y="620"/>
                  <a:pt x="400" y="620"/>
                </a:cubicBezTo>
                <a:close/>
                <a:moveTo>
                  <a:pt x="385" y="439"/>
                </a:moveTo>
                <a:cubicBezTo>
                  <a:pt x="279" y="439"/>
                  <a:pt x="279" y="439"/>
                  <a:pt x="279" y="439"/>
                </a:cubicBezTo>
                <a:cubicBezTo>
                  <a:pt x="279" y="527"/>
                  <a:pt x="279" y="527"/>
                  <a:pt x="279" y="527"/>
                </a:cubicBezTo>
                <a:cubicBezTo>
                  <a:pt x="385" y="527"/>
                  <a:pt x="385" y="527"/>
                  <a:pt x="385" y="527"/>
                </a:cubicBezTo>
                <a:cubicBezTo>
                  <a:pt x="385" y="439"/>
                  <a:pt x="385" y="439"/>
                  <a:pt x="385" y="439"/>
                </a:cubicBezTo>
                <a:cubicBezTo>
                  <a:pt x="385" y="439"/>
                  <a:pt x="385" y="439"/>
                  <a:pt x="385" y="439"/>
                </a:cubicBezTo>
                <a:close/>
                <a:moveTo>
                  <a:pt x="264" y="439"/>
                </a:moveTo>
                <a:cubicBezTo>
                  <a:pt x="160" y="439"/>
                  <a:pt x="160" y="439"/>
                  <a:pt x="160" y="439"/>
                </a:cubicBezTo>
                <a:cubicBezTo>
                  <a:pt x="160" y="527"/>
                  <a:pt x="160" y="527"/>
                  <a:pt x="160" y="527"/>
                </a:cubicBezTo>
                <a:cubicBezTo>
                  <a:pt x="264" y="527"/>
                  <a:pt x="264" y="527"/>
                  <a:pt x="264" y="527"/>
                </a:cubicBezTo>
                <a:cubicBezTo>
                  <a:pt x="264" y="439"/>
                  <a:pt x="264" y="439"/>
                  <a:pt x="264" y="439"/>
                </a:cubicBezTo>
                <a:cubicBezTo>
                  <a:pt x="264" y="439"/>
                  <a:pt x="264" y="439"/>
                  <a:pt x="264" y="439"/>
                </a:cubicBezTo>
                <a:close/>
                <a:moveTo>
                  <a:pt x="144" y="439"/>
                </a:moveTo>
                <a:cubicBezTo>
                  <a:pt x="39" y="439"/>
                  <a:pt x="39" y="439"/>
                  <a:pt x="39" y="439"/>
                </a:cubicBezTo>
                <a:cubicBezTo>
                  <a:pt x="39" y="527"/>
                  <a:pt x="39" y="527"/>
                  <a:pt x="39" y="527"/>
                </a:cubicBezTo>
                <a:cubicBezTo>
                  <a:pt x="144" y="527"/>
                  <a:pt x="144" y="527"/>
                  <a:pt x="144" y="527"/>
                </a:cubicBezTo>
                <a:cubicBezTo>
                  <a:pt x="144" y="439"/>
                  <a:pt x="144" y="439"/>
                  <a:pt x="144" y="439"/>
                </a:cubicBezTo>
                <a:cubicBezTo>
                  <a:pt x="144" y="439"/>
                  <a:pt x="144" y="439"/>
                  <a:pt x="144" y="439"/>
                </a:cubicBezTo>
                <a:close/>
                <a:moveTo>
                  <a:pt x="39" y="542"/>
                </a:moveTo>
                <a:cubicBezTo>
                  <a:pt x="39" y="620"/>
                  <a:pt x="39" y="620"/>
                  <a:pt x="39" y="620"/>
                </a:cubicBezTo>
                <a:cubicBezTo>
                  <a:pt x="144" y="620"/>
                  <a:pt x="144" y="620"/>
                  <a:pt x="144" y="620"/>
                </a:cubicBezTo>
                <a:cubicBezTo>
                  <a:pt x="144" y="542"/>
                  <a:pt x="144" y="542"/>
                  <a:pt x="144" y="542"/>
                </a:cubicBezTo>
                <a:cubicBezTo>
                  <a:pt x="39" y="542"/>
                  <a:pt x="39" y="542"/>
                  <a:pt x="39" y="542"/>
                </a:cubicBezTo>
                <a:cubicBezTo>
                  <a:pt x="39" y="542"/>
                  <a:pt x="39" y="542"/>
                  <a:pt x="39" y="542"/>
                </a:cubicBezTo>
                <a:close/>
                <a:moveTo>
                  <a:pt x="626" y="620"/>
                </a:moveTo>
                <a:cubicBezTo>
                  <a:pt x="626" y="542"/>
                  <a:pt x="626" y="542"/>
                  <a:pt x="626" y="542"/>
                </a:cubicBezTo>
                <a:cubicBezTo>
                  <a:pt x="521" y="542"/>
                  <a:pt x="521" y="542"/>
                  <a:pt x="521" y="542"/>
                </a:cubicBezTo>
                <a:cubicBezTo>
                  <a:pt x="521" y="620"/>
                  <a:pt x="521" y="620"/>
                  <a:pt x="521" y="620"/>
                </a:cubicBezTo>
                <a:cubicBezTo>
                  <a:pt x="626" y="620"/>
                  <a:pt x="626" y="620"/>
                  <a:pt x="626" y="620"/>
                </a:cubicBezTo>
                <a:cubicBezTo>
                  <a:pt x="626" y="620"/>
                  <a:pt x="626" y="620"/>
                  <a:pt x="626" y="620"/>
                </a:cubicBezTo>
                <a:close/>
                <a:moveTo>
                  <a:pt x="626" y="335"/>
                </a:moveTo>
                <a:cubicBezTo>
                  <a:pt x="521" y="335"/>
                  <a:pt x="521" y="335"/>
                  <a:pt x="521" y="335"/>
                </a:cubicBezTo>
                <a:cubicBezTo>
                  <a:pt x="521" y="423"/>
                  <a:pt x="521" y="423"/>
                  <a:pt x="521" y="423"/>
                </a:cubicBezTo>
                <a:cubicBezTo>
                  <a:pt x="626" y="423"/>
                  <a:pt x="626" y="423"/>
                  <a:pt x="626" y="423"/>
                </a:cubicBezTo>
                <a:cubicBezTo>
                  <a:pt x="626" y="335"/>
                  <a:pt x="626" y="335"/>
                  <a:pt x="626" y="335"/>
                </a:cubicBezTo>
                <a:cubicBezTo>
                  <a:pt x="626" y="335"/>
                  <a:pt x="626" y="335"/>
                  <a:pt x="626" y="335"/>
                </a:cubicBezTo>
                <a:close/>
                <a:moveTo>
                  <a:pt x="505" y="335"/>
                </a:moveTo>
                <a:cubicBezTo>
                  <a:pt x="400" y="335"/>
                  <a:pt x="400" y="335"/>
                  <a:pt x="400" y="335"/>
                </a:cubicBezTo>
                <a:cubicBezTo>
                  <a:pt x="400" y="423"/>
                  <a:pt x="400" y="423"/>
                  <a:pt x="400" y="423"/>
                </a:cubicBezTo>
                <a:cubicBezTo>
                  <a:pt x="505" y="423"/>
                  <a:pt x="505" y="423"/>
                  <a:pt x="505" y="423"/>
                </a:cubicBezTo>
                <a:cubicBezTo>
                  <a:pt x="505" y="335"/>
                  <a:pt x="505" y="335"/>
                  <a:pt x="505" y="335"/>
                </a:cubicBezTo>
                <a:cubicBezTo>
                  <a:pt x="505" y="335"/>
                  <a:pt x="505" y="335"/>
                  <a:pt x="505" y="335"/>
                </a:cubicBezTo>
                <a:close/>
                <a:moveTo>
                  <a:pt x="385" y="335"/>
                </a:moveTo>
                <a:cubicBezTo>
                  <a:pt x="279" y="335"/>
                  <a:pt x="279" y="335"/>
                  <a:pt x="279" y="335"/>
                </a:cubicBezTo>
                <a:cubicBezTo>
                  <a:pt x="279" y="423"/>
                  <a:pt x="279" y="423"/>
                  <a:pt x="279" y="423"/>
                </a:cubicBezTo>
                <a:cubicBezTo>
                  <a:pt x="385" y="423"/>
                  <a:pt x="385" y="423"/>
                  <a:pt x="385" y="423"/>
                </a:cubicBezTo>
                <a:cubicBezTo>
                  <a:pt x="385" y="335"/>
                  <a:pt x="385" y="335"/>
                  <a:pt x="385" y="335"/>
                </a:cubicBezTo>
                <a:cubicBezTo>
                  <a:pt x="385" y="335"/>
                  <a:pt x="385" y="335"/>
                  <a:pt x="385" y="335"/>
                </a:cubicBezTo>
                <a:close/>
                <a:moveTo>
                  <a:pt x="264" y="335"/>
                </a:moveTo>
                <a:cubicBezTo>
                  <a:pt x="160" y="335"/>
                  <a:pt x="160" y="335"/>
                  <a:pt x="160" y="335"/>
                </a:cubicBezTo>
                <a:cubicBezTo>
                  <a:pt x="160" y="423"/>
                  <a:pt x="160" y="423"/>
                  <a:pt x="160" y="423"/>
                </a:cubicBezTo>
                <a:cubicBezTo>
                  <a:pt x="264" y="423"/>
                  <a:pt x="264" y="423"/>
                  <a:pt x="264" y="423"/>
                </a:cubicBezTo>
                <a:cubicBezTo>
                  <a:pt x="264" y="335"/>
                  <a:pt x="264" y="335"/>
                  <a:pt x="264" y="335"/>
                </a:cubicBezTo>
                <a:cubicBezTo>
                  <a:pt x="264" y="335"/>
                  <a:pt x="264" y="335"/>
                  <a:pt x="264" y="335"/>
                </a:cubicBezTo>
                <a:close/>
                <a:moveTo>
                  <a:pt x="144" y="335"/>
                </a:moveTo>
                <a:cubicBezTo>
                  <a:pt x="39" y="335"/>
                  <a:pt x="39" y="335"/>
                  <a:pt x="39" y="335"/>
                </a:cubicBezTo>
                <a:cubicBezTo>
                  <a:pt x="39" y="423"/>
                  <a:pt x="39" y="423"/>
                  <a:pt x="39" y="423"/>
                </a:cubicBezTo>
                <a:cubicBezTo>
                  <a:pt x="144" y="423"/>
                  <a:pt x="144" y="423"/>
                  <a:pt x="144" y="423"/>
                </a:cubicBezTo>
                <a:cubicBezTo>
                  <a:pt x="144" y="335"/>
                  <a:pt x="144" y="335"/>
                  <a:pt x="144" y="335"/>
                </a:cubicBezTo>
                <a:cubicBezTo>
                  <a:pt x="144" y="335"/>
                  <a:pt x="144" y="335"/>
                  <a:pt x="144" y="335"/>
                </a:cubicBezTo>
                <a:close/>
                <a:moveTo>
                  <a:pt x="626" y="232"/>
                </a:moveTo>
                <a:cubicBezTo>
                  <a:pt x="521" y="232"/>
                  <a:pt x="521" y="232"/>
                  <a:pt x="521" y="232"/>
                </a:cubicBezTo>
                <a:cubicBezTo>
                  <a:pt x="521" y="319"/>
                  <a:pt x="521" y="319"/>
                  <a:pt x="521" y="319"/>
                </a:cubicBezTo>
                <a:cubicBezTo>
                  <a:pt x="626" y="319"/>
                  <a:pt x="626" y="319"/>
                  <a:pt x="626" y="319"/>
                </a:cubicBezTo>
                <a:cubicBezTo>
                  <a:pt x="626" y="232"/>
                  <a:pt x="626" y="232"/>
                  <a:pt x="626" y="232"/>
                </a:cubicBezTo>
                <a:cubicBezTo>
                  <a:pt x="626" y="232"/>
                  <a:pt x="626" y="232"/>
                  <a:pt x="626" y="232"/>
                </a:cubicBezTo>
                <a:close/>
                <a:moveTo>
                  <a:pt x="505" y="232"/>
                </a:moveTo>
                <a:cubicBezTo>
                  <a:pt x="400" y="232"/>
                  <a:pt x="400" y="232"/>
                  <a:pt x="400" y="232"/>
                </a:cubicBezTo>
                <a:cubicBezTo>
                  <a:pt x="400" y="319"/>
                  <a:pt x="400" y="319"/>
                  <a:pt x="400" y="319"/>
                </a:cubicBezTo>
                <a:cubicBezTo>
                  <a:pt x="505" y="319"/>
                  <a:pt x="505" y="319"/>
                  <a:pt x="505" y="319"/>
                </a:cubicBezTo>
                <a:cubicBezTo>
                  <a:pt x="505" y="232"/>
                  <a:pt x="505" y="232"/>
                  <a:pt x="505" y="232"/>
                </a:cubicBezTo>
                <a:cubicBezTo>
                  <a:pt x="505" y="232"/>
                  <a:pt x="505" y="232"/>
                  <a:pt x="505" y="232"/>
                </a:cubicBezTo>
                <a:close/>
                <a:moveTo>
                  <a:pt x="385" y="232"/>
                </a:moveTo>
                <a:cubicBezTo>
                  <a:pt x="279" y="232"/>
                  <a:pt x="279" y="232"/>
                  <a:pt x="279" y="232"/>
                </a:cubicBezTo>
                <a:cubicBezTo>
                  <a:pt x="279" y="319"/>
                  <a:pt x="279" y="319"/>
                  <a:pt x="279" y="319"/>
                </a:cubicBezTo>
                <a:cubicBezTo>
                  <a:pt x="385" y="319"/>
                  <a:pt x="385" y="319"/>
                  <a:pt x="385" y="319"/>
                </a:cubicBezTo>
                <a:cubicBezTo>
                  <a:pt x="385" y="232"/>
                  <a:pt x="385" y="232"/>
                  <a:pt x="385" y="232"/>
                </a:cubicBezTo>
                <a:cubicBezTo>
                  <a:pt x="385" y="232"/>
                  <a:pt x="385" y="232"/>
                  <a:pt x="385" y="232"/>
                </a:cubicBezTo>
                <a:close/>
                <a:moveTo>
                  <a:pt x="264" y="232"/>
                </a:moveTo>
                <a:cubicBezTo>
                  <a:pt x="160" y="232"/>
                  <a:pt x="160" y="232"/>
                  <a:pt x="160" y="232"/>
                </a:cubicBezTo>
                <a:cubicBezTo>
                  <a:pt x="160" y="319"/>
                  <a:pt x="160" y="319"/>
                  <a:pt x="160" y="319"/>
                </a:cubicBezTo>
                <a:cubicBezTo>
                  <a:pt x="264" y="319"/>
                  <a:pt x="264" y="319"/>
                  <a:pt x="264" y="319"/>
                </a:cubicBezTo>
                <a:cubicBezTo>
                  <a:pt x="264" y="232"/>
                  <a:pt x="264" y="232"/>
                  <a:pt x="264" y="232"/>
                </a:cubicBezTo>
                <a:cubicBezTo>
                  <a:pt x="264" y="232"/>
                  <a:pt x="264" y="232"/>
                  <a:pt x="264" y="232"/>
                </a:cubicBezTo>
                <a:close/>
                <a:moveTo>
                  <a:pt x="144" y="232"/>
                </a:moveTo>
                <a:cubicBezTo>
                  <a:pt x="39" y="232"/>
                  <a:pt x="39" y="232"/>
                  <a:pt x="39" y="232"/>
                </a:cubicBezTo>
                <a:cubicBezTo>
                  <a:pt x="39" y="319"/>
                  <a:pt x="39" y="319"/>
                  <a:pt x="39" y="319"/>
                </a:cubicBezTo>
                <a:cubicBezTo>
                  <a:pt x="144" y="319"/>
                  <a:pt x="144" y="319"/>
                  <a:pt x="144" y="319"/>
                </a:cubicBezTo>
                <a:cubicBezTo>
                  <a:pt x="144" y="232"/>
                  <a:pt x="144" y="232"/>
                  <a:pt x="144" y="232"/>
                </a:cubicBezTo>
                <a:cubicBezTo>
                  <a:pt x="144" y="232"/>
                  <a:pt x="144" y="232"/>
                  <a:pt x="144" y="232"/>
                </a:cubicBezTo>
                <a:close/>
                <a:moveTo>
                  <a:pt x="574" y="103"/>
                </a:moveTo>
                <a:cubicBezTo>
                  <a:pt x="574" y="117"/>
                  <a:pt x="574" y="117"/>
                  <a:pt x="574" y="117"/>
                </a:cubicBezTo>
                <a:cubicBezTo>
                  <a:pt x="574" y="128"/>
                  <a:pt x="565" y="138"/>
                  <a:pt x="554" y="138"/>
                </a:cubicBezTo>
                <a:cubicBezTo>
                  <a:pt x="541" y="138"/>
                  <a:pt x="532" y="128"/>
                  <a:pt x="532" y="117"/>
                </a:cubicBezTo>
                <a:cubicBezTo>
                  <a:pt x="532" y="103"/>
                  <a:pt x="532" y="103"/>
                  <a:pt x="532" y="103"/>
                </a:cubicBezTo>
                <a:cubicBezTo>
                  <a:pt x="511" y="103"/>
                  <a:pt x="511" y="103"/>
                  <a:pt x="511" y="103"/>
                </a:cubicBezTo>
                <a:cubicBezTo>
                  <a:pt x="511" y="117"/>
                  <a:pt x="511" y="117"/>
                  <a:pt x="511" y="117"/>
                </a:cubicBezTo>
                <a:cubicBezTo>
                  <a:pt x="511" y="128"/>
                  <a:pt x="502" y="138"/>
                  <a:pt x="490" y="138"/>
                </a:cubicBezTo>
                <a:cubicBezTo>
                  <a:pt x="478" y="138"/>
                  <a:pt x="469" y="128"/>
                  <a:pt x="469" y="117"/>
                </a:cubicBezTo>
                <a:cubicBezTo>
                  <a:pt x="469" y="103"/>
                  <a:pt x="469" y="103"/>
                  <a:pt x="469" y="103"/>
                </a:cubicBezTo>
                <a:cubicBezTo>
                  <a:pt x="448" y="103"/>
                  <a:pt x="448" y="103"/>
                  <a:pt x="448" y="103"/>
                </a:cubicBezTo>
                <a:cubicBezTo>
                  <a:pt x="448" y="117"/>
                  <a:pt x="448" y="117"/>
                  <a:pt x="448" y="117"/>
                </a:cubicBezTo>
                <a:cubicBezTo>
                  <a:pt x="448" y="128"/>
                  <a:pt x="439" y="138"/>
                  <a:pt x="427" y="138"/>
                </a:cubicBezTo>
                <a:cubicBezTo>
                  <a:pt x="416" y="138"/>
                  <a:pt x="406" y="128"/>
                  <a:pt x="406" y="117"/>
                </a:cubicBezTo>
                <a:cubicBezTo>
                  <a:pt x="406" y="103"/>
                  <a:pt x="406" y="103"/>
                  <a:pt x="406" y="103"/>
                </a:cubicBezTo>
                <a:cubicBezTo>
                  <a:pt x="385" y="103"/>
                  <a:pt x="385" y="103"/>
                  <a:pt x="385" y="103"/>
                </a:cubicBezTo>
                <a:cubicBezTo>
                  <a:pt x="385" y="117"/>
                  <a:pt x="385" y="117"/>
                  <a:pt x="385" y="117"/>
                </a:cubicBezTo>
                <a:cubicBezTo>
                  <a:pt x="385" y="128"/>
                  <a:pt x="376" y="138"/>
                  <a:pt x="364" y="138"/>
                </a:cubicBezTo>
                <a:cubicBezTo>
                  <a:pt x="352" y="138"/>
                  <a:pt x="343" y="128"/>
                  <a:pt x="343" y="117"/>
                </a:cubicBezTo>
                <a:cubicBezTo>
                  <a:pt x="343" y="103"/>
                  <a:pt x="343" y="103"/>
                  <a:pt x="343" y="103"/>
                </a:cubicBezTo>
                <a:cubicBezTo>
                  <a:pt x="322" y="103"/>
                  <a:pt x="322" y="103"/>
                  <a:pt x="322" y="103"/>
                </a:cubicBezTo>
                <a:cubicBezTo>
                  <a:pt x="322" y="117"/>
                  <a:pt x="322" y="117"/>
                  <a:pt x="322" y="117"/>
                </a:cubicBezTo>
                <a:cubicBezTo>
                  <a:pt x="322" y="128"/>
                  <a:pt x="312" y="138"/>
                  <a:pt x="301" y="138"/>
                </a:cubicBezTo>
                <a:cubicBezTo>
                  <a:pt x="289" y="138"/>
                  <a:pt x="280" y="128"/>
                  <a:pt x="280" y="117"/>
                </a:cubicBezTo>
                <a:cubicBezTo>
                  <a:pt x="280" y="103"/>
                  <a:pt x="280" y="103"/>
                  <a:pt x="280" y="103"/>
                </a:cubicBezTo>
                <a:cubicBezTo>
                  <a:pt x="259" y="103"/>
                  <a:pt x="259" y="103"/>
                  <a:pt x="259" y="103"/>
                </a:cubicBezTo>
                <a:cubicBezTo>
                  <a:pt x="259" y="117"/>
                  <a:pt x="259" y="117"/>
                  <a:pt x="259" y="117"/>
                </a:cubicBezTo>
                <a:cubicBezTo>
                  <a:pt x="259" y="128"/>
                  <a:pt x="249" y="138"/>
                  <a:pt x="238" y="138"/>
                </a:cubicBezTo>
                <a:cubicBezTo>
                  <a:pt x="226" y="138"/>
                  <a:pt x="216" y="128"/>
                  <a:pt x="216" y="117"/>
                </a:cubicBezTo>
                <a:cubicBezTo>
                  <a:pt x="216" y="103"/>
                  <a:pt x="216" y="103"/>
                  <a:pt x="216" y="103"/>
                </a:cubicBezTo>
                <a:cubicBezTo>
                  <a:pt x="196" y="103"/>
                  <a:pt x="196" y="103"/>
                  <a:pt x="196" y="103"/>
                </a:cubicBezTo>
                <a:cubicBezTo>
                  <a:pt x="196" y="117"/>
                  <a:pt x="196" y="117"/>
                  <a:pt x="196" y="117"/>
                </a:cubicBezTo>
                <a:cubicBezTo>
                  <a:pt x="196" y="128"/>
                  <a:pt x="186" y="138"/>
                  <a:pt x="175" y="138"/>
                </a:cubicBezTo>
                <a:cubicBezTo>
                  <a:pt x="163" y="138"/>
                  <a:pt x="154" y="128"/>
                  <a:pt x="154" y="117"/>
                </a:cubicBezTo>
                <a:cubicBezTo>
                  <a:pt x="154" y="103"/>
                  <a:pt x="154" y="103"/>
                  <a:pt x="154" y="103"/>
                </a:cubicBezTo>
                <a:cubicBezTo>
                  <a:pt x="133" y="103"/>
                  <a:pt x="133" y="103"/>
                  <a:pt x="133" y="103"/>
                </a:cubicBezTo>
                <a:cubicBezTo>
                  <a:pt x="133" y="117"/>
                  <a:pt x="133" y="117"/>
                  <a:pt x="133" y="117"/>
                </a:cubicBezTo>
                <a:cubicBezTo>
                  <a:pt x="133" y="128"/>
                  <a:pt x="123" y="138"/>
                  <a:pt x="111" y="138"/>
                </a:cubicBezTo>
                <a:cubicBezTo>
                  <a:pt x="100" y="138"/>
                  <a:pt x="91" y="128"/>
                  <a:pt x="91" y="117"/>
                </a:cubicBezTo>
                <a:cubicBezTo>
                  <a:pt x="91" y="103"/>
                  <a:pt x="91" y="103"/>
                  <a:pt x="91" y="103"/>
                </a:cubicBezTo>
                <a:cubicBezTo>
                  <a:pt x="32" y="103"/>
                  <a:pt x="32" y="103"/>
                  <a:pt x="32" y="103"/>
                </a:cubicBezTo>
                <a:cubicBezTo>
                  <a:pt x="32" y="217"/>
                  <a:pt x="32" y="217"/>
                  <a:pt x="32" y="217"/>
                </a:cubicBezTo>
                <a:cubicBezTo>
                  <a:pt x="634" y="217"/>
                  <a:pt x="634" y="217"/>
                  <a:pt x="634" y="217"/>
                </a:cubicBezTo>
                <a:cubicBezTo>
                  <a:pt x="634" y="103"/>
                  <a:pt x="634" y="103"/>
                  <a:pt x="634" y="103"/>
                </a:cubicBezTo>
                <a:cubicBezTo>
                  <a:pt x="574" y="103"/>
                  <a:pt x="574" y="103"/>
                  <a:pt x="574" y="103"/>
                </a:cubicBezTo>
                <a:cubicBezTo>
                  <a:pt x="574" y="103"/>
                  <a:pt x="574" y="103"/>
                  <a:pt x="574" y="103"/>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nvGrpSpPr>
          <p:cNvPr id="316" name="Group 315"/>
          <p:cNvGrpSpPr/>
          <p:nvPr/>
        </p:nvGrpSpPr>
        <p:grpSpPr>
          <a:xfrm>
            <a:off x="2588626" y="4533713"/>
            <a:ext cx="588575" cy="148049"/>
            <a:chOff x="5045075" y="3433763"/>
            <a:chExt cx="1119188" cy="211138"/>
          </a:xfrm>
          <a:solidFill>
            <a:schemeClr val="accent2"/>
          </a:solidFill>
        </p:grpSpPr>
        <p:sp>
          <p:nvSpPr>
            <p:cNvPr id="203" name="Freeform 86"/>
            <p:cNvSpPr>
              <a:spLocks/>
            </p:cNvSpPr>
            <p:nvPr/>
          </p:nvSpPr>
          <p:spPr bwMode="auto">
            <a:xfrm>
              <a:off x="5045075" y="3438525"/>
              <a:ext cx="85725" cy="206375"/>
            </a:xfrm>
            <a:custGeom>
              <a:avLst/>
              <a:gdLst>
                <a:gd name="T0" fmla="*/ 23 w 23"/>
                <a:gd name="T1" fmla="*/ 33 h 55"/>
                <a:gd name="T2" fmla="*/ 19 w 23"/>
                <a:gd name="T3" fmla="*/ 50 h 55"/>
                <a:gd name="T4" fmla="*/ 6 w 23"/>
                <a:gd name="T5" fmla="*/ 55 h 55"/>
                <a:gd name="T6" fmla="*/ 0 w 23"/>
                <a:gd name="T7" fmla="*/ 54 h 55"/>
                <a:gd name="T8" fmla="*/ 0 w 23"/>
                <a:gd name="T9" fmla="*/ 44 h 55"/>
                <a:gd name="T10" fmla="*/ 5 w 23"/>
                <a:gd name="T11" fmla="*/ 46 h 55"/>
                <a:gd name="T12" fmla="*/ 11 w 23"/>
                <a:gd name="T13" fmla="*/ 43 h 55"/>
                <a:gd name="T14" fmla="*/ 12 w 23"/>
                <a:gd name="T15" fmla="*/ 33 h 55"/>
                <a:gd name="T16" fmla="*/ 12 w 23"/>
                <a:gd name="T17" fmla="*/ 0 h 55"/>
                <a:gd name="T18" fmla="*/ 23 w 23"/>
                <a:gd name="T19" fmla="*/ 0 h 55"/>
                <a:gd name="T20" fmla="*/ 23 w 23"/>
                <a:gd name="T21"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55">
                  <a:moveTo>
                    <a:pt x="23" y="33"/>
                  </a:moveTo>
                  <a:cubicBezTo>
                    <a:pt x="23" y="41"/>
                    <a:pt x="21" y="47"/>
                    <a:pt x="19" y="50"/>
                  </a:cubicBezTo>
                  <a:cubicBezTo>
                    <a:pt x="16" y="54"/>
                    <a:pt x="12" y="55"/>
                    <a:pt x="6" y="55"/>
                  </a:cubicBezTo>
                  <a:cubicBezTo>
                    <a:pt x="4" y="55"/>
                    <a:pt x="2" y="55"/>
                    <a:pt x="0" y="54"/>
                  </a:cubicBezTo>
                  <a:cubicBezTo>
                    <a:pt x="0" y="44"/>
                    <a:pt x="0" y="44"/>
                    <a:pt x="0" y="44"/>
                  </a:cubicBezTo>
                  <a:cubicBezTo>
                    <a:pt x="2" y="45"/>
                    <a:pt x="4" y="46"/>
                    <a:pt x="5" y="46"/>
                  </a:cubicBezTo>
                  <a:cubicBezTo>
                    <a:pt x="8" y="46"/>
                    <a:pt x="10" y="45"/>
                    <a:pt x="11" y="43"/>
                  </a:cubicBezTo>
                  <a:cubicBezTo>
                    <a:pt x="12" y="41"/>
                    <a:pt x="12" y="38"/>
                    <a:pt x="12" y="33"/>
                  </a:cubicBezTo>
                  <a:cubicBezTo>
                    <a:pt x="12" y="0"/>
                    <a:pt x="12" y="0"/>
                    <a:pt x="12" y="0"/>
                  </a:cubicBezTo>
                  <a:cubicBezTo>
                    <a:pt x="23" y="0"/>
                    <a:pt x="23" y="0"/>
                    <a:pt x="23" y="0"/>
                  </a:cubicBezTo>
                  <a:lnTo>
                    <a:pt x="2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4" name="Freeform 87"/>
            <p:cNvSpPr>
              <a:spLocks/>
            </p:cNvSpPr>
            <p:nvPr/>
          </p:nvSpPr>
          <p:spPr bwMode="auto">
            <a:xfrm>
              <a:off x="5160963" y="3438525"/>
              <a:ext cx="128588" cy="206375"/>
            </a:xfrm>
            <a:custGeom>
              <a:avLst/>
              <a:gdLst>
                <a:gd name="T0" fmla="*/ 34 w 34"/>
                <a:gd name="T1" fmla="*/ 32 h 55"/>
                <a:gd name="T2" fmla="*/ 17 w 34"/>
                <a:gd name="T3" fmla="*/ 55 h 55"/>
                <a:gd name="T4" fmla="*/ 0 w 34"/>
                <a:gd name="T5" fmla="*/ 32 h 55"/>
                <a:gd name="T6" fmla="*/ 0 w 34"/>
                <a:gd name="T7" fmla="*/ 0 h 55"/>
                <a:gd name="T8" fmla="*/ 10 w 34"/>
                <a:gd name="T9" fmla="*/ 0 h 55"/>
                <a:gd name="T10" fmla="*/ 10 w 34"/>
                <a:gd name="T11" fmla="*/ 33 h 55"/>
                <a:gd name="T12" fmla="*/ 17 w 34"/>
                <a:gd name="T13" fmla="*/ 46 h 55"/>
                <a:gd name="T14" fmla="*/ 22 w 34"/>
                <a:gd name="T15" fmla="*/ 43 h 55"/>
                <a:gd name="T16" fmla="*/ 23 w 34"/>
                <a:gd name="T17" fmla="*/ 34 h 55"/>
                <a:gd name="T18" fmla="*/ 23 w 34"/>
                <a:gd name="T19" fmla="*/ 0 h 55"/>
                <a:gd name="T20" fmla="*/ 34 w 34"/>
                <a:gd name="T21" fmla="*/ 0 h 55"/>
                <a:gd name="T22" fmla="*/ 34 w 34"/>
                <a:gd name="T23" fmla="*/ 3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55">
                  <a:moveTo>
                    <a:pt x="34" y="32"/>
                  </a:moveTo>
                  <a:cubicBezTo>
                    <a:pt x="34" y="47"/>
                    <a:pt x="28" y="55"/>
                    <a:pt x="17" y="55"/>
                  </a:cubicBezTo>
                  <a:cubicBezTo>
                    <a:pt x="6" y="55"/>
                    <a:pt x="0" y="48"/>
                    <a:pt x="0" y="32"/>
                  </a:cubicBezTo>
                  <a:cubicBezTo>
                    <a:pt x="0" y="0"/>
                    <a:pt x="0" y="0"/>
                    <a:pt x="0" y="0"/>
                  </a:cubicBezTo>
                  <a:cubicBezTo>
                    <a:pt x="10" y="0"/>
                    <a:pt x="10" y="0"/>
                    <a:pt x="10" y="0"/>
                  </a:cubicBezTo>
                  <a:cubicBezTo>
                    <a:pt x="10" y="33"/>
                    <a:pt x="10" y="33"/>
                    <a:pt x="10" y="33"/>
                  </a:cubicBezTo>
                  <a:cubicBezTo>
                    <a:pt x="10" y="42"/>
                    <a:pt x="13" y="46"/>
                    <a:pt x="17" y="46"/>
                  </a:cubicBezTo>
                  <a:cubicBezTo>
                    <a:pt x="19" y="46"/>
                    <a:pt x="21" y="45"/>
                    <a:pt x="22" y="43"/>
                  </a:cubicBezTo>
                  <a:cubicBezTo>
                    <a:pt x="23" y="41"/>
                    <a:pt x="23" y="38"/>
                    <a:pt x="23" y="34"/>
                  </a:cubicBezTo>
                  <a:cubicBezTo>
                    <a:pt x="23" y="0"/>
                    <a:pt x="23" y="0"/>
                    <a:pt x="23" y="0"/>
                  </a:cubicBezTo>
                  <a:cubicBezTo>
                    <a:pt x="34" y="0"/>
                    <a:pt x="34" y="0"/>
                    <a:pt x="34" y="0"/>
                  </a:cubicBezTo>
                  <a:lnTo>
                    <a:pt x="34" y="3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5" name="Freeform 88"/>
            <p:cNvSpPr>
              <a:spLocks/>
            </p:cNvSpPr>
            <p:nvPr/>
          </p:nvSpPr>
          <p:spPr bwMode="auto">
            <a:xfrm>
              <a:off x="5319713" y="3438525"/>
              <a:ext cx="130175" cy="203200"/>
            </a:xfrm>
            <a:custGeom>
              <a:avLst/>
              <a:gdLst>
                <a:gd name="T0" fmla="*/ 24 w 35"/>
                <a:gd name="T1" fmla="*/ 54 h 54"/>
                <a:gd name="T2" fmla="*/ 12 w 35"/>
                <a:gd name="T3" fmla="*/ 24 h 54"/>
                <a:gd name="T4" fmla="*/ 10 w 35"/>
                <a:gd name="T5" fmla="*/ 17 h 54"/>
                <a:gd name="T6" fmla="*/ 9 w 35"/>
                <a:gd name="T7" fmla="*/ 16 h 54"/>
                <a:gd name="T8" fmla="*/ 9 w 35"/>
                <a:gd name="T9" fmla="*/ 16 h 54"/>
                <a:gd name="T10" fmla="*/ 9 w 35"/>
                <a:gd name="T11" fmla="*/ 27 h 54"/>
                <a:gd name="T12" fmla="*/ 9 w 35"/>
                <a:gd name="T13" fmla="*/ 54 h 54"/>
                <a:gd name="T14" fmla="*/ 0 w 35"/>
                <a:gd name="T15" fmla="*/ 54 h 54"/>
                <a:gd name="T16" fmla="*/ 0 w 35"/>
                <a:gd name="T17" fmla="*/ 0 h 54"/>
                <a:gd name="T18" fmla="*/ 12 w 35"/>
                <a:gd name="T19" fmla="*/ 0 h 54"/>
                <a:gd name="T20" fmla="*/ 24 w 35"/>
                <a:gd name="T21" fmla="*/ 32 h 54"/>
                <a:gd name="T22" fmla="*/ 27 w 35"/>
                <a:gd name="T23" fmla="*/ 40 h 54"/>
                <a:gd name="T24" fmla="*/ 27 w 35"/>
                <a:gd name="T25" fmla="*/ 40 h 54"/>
                <a:gd name="T26" fmla="*/ 27 w 35"/>
                <a:gd name="T27" fmla="*/ 31 h 54"/>
                <a:gd name="T28" fmla="*/ 27 w 35"/>
                <a:gd name="T29" fmla="*/ 0 h 54"/>
                <a:gd name="T30" fmla="*/ 35 w 35"/>
                <a:gd name="T31" fmla="*/ 0 h 54"/>
                <a:gd name="T32" fmla="*/ 35 w 35"/>
                <a:gd name="T33" fmla="*/ 54 h 54"/>
                <a:gd name="T34" fmla="*/ 24 w 35"/>
                <a:gd name="T3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54">
                  <a:moveTo>
                    <a:pt x="24" y="54"/>
                  </a:moveTo>
                  <a:cubicBezTo>
                    <a:pt x="12" y="24"/>
                    <a:pt x="12" y="24"/>
                    <a:pt x="12" y="24"/>
                  </a:cubicBezTo>
                  <a:cubicBezTo>
                    <a:pt x="11" y="22"/>
                    <a:pt x="10" y="20"/>
                    <a:pt x="10" y="17"/>
                  </a:cubicBezTo>
                  <a:cubicBezTo>
                    <a:pt x="9" y="17"/>
                    <a:pt x="9" y="16"/>
                    <a:pt x="9" y="16"/>
                  </a:cubicBezTo>
                  <a:cubicBezTo>
                    <a:pt x="9" y="16"/>
                    <a:pt x="9" y="16"/>
                    <a:pt x="9" y="16"/>
                  </a:cubicBezTo>
                  <a:cubicBezTo>
                    <a:pt x="9" y="20"/>
                    <a:pt x="9" y="24"/>
                    <a:pt x="9" y="27"/>
                  </a:cubicBezTo>
                  <a:cubicBezTo>
                    <a:pt x="9" y="54"/>
                    <a:pt x="9" y="54"/>
                    <a:pt x="9" y="54"/>
                  </a:cubicBezTo>
                  <a:cubicBezTo>
                    <a:pt x="0" y="54"/>
                    <a:pt x="0" y="54"/>
                    <a:pt x="0" y="54"/>
                  </a:cubicBezTo>
                  <a:cubicBezTo>
                    <a:pt x="0" y="0"/>
                    <a:pt x="0" y="0"/>
                    <a:pt x="0" y="0"/>
                  </a:cubicBezTo>
                  <a:cubicBezTo>
                    <a:pt x="12" y="0"/>
                    <a:pt x="12" y="0"/>
                    <a:pt x="12" y="0"/>
                  </a:cubicBezTo>
                  <a:cubicBezTo>
                    <a:pt x="24" y="32"/>
                    <a:pt x="24" y="32"/>
                    <a:pt x="24" y="32"/>
                  </a:cubicBezTo>
                  <a:cubicBezTo>
                    <a:pt x="25" y="33"/>
                    <a:pt x="25" y="36"/>
                    <a:pt x="27" y="40"/>
                  </a:cubicBezTo>
                  <a:cubicBezTo>
                    <a:pt x="27" y="40"/>
                    <a:pt x="27" y="40"/>
                    <a:pt x="27" y="40"/>
                  </a:cubicBezTo>
                  <a:cubicBezTo>
                    <a:pt x="27" y="31"/>
                    <a:pt x="27" y="31"/>
                    <a:pt x="27" y="31"/>
                  </a:cubicBezTo>
                  <a:cubicBezTo>
                    <a:pt x="27" y="0"/>
                    <a:pt x="27" y="0"/>
                    <a:pt x="27" y="0"/>
                  </a:cubicBezTo>
                  <a:cubicBezTo>
                    <a:pt x="35" y="0"/>
                    <a:pt x="35" y="0"/>
                    <a:pt x="35" y="0"/>
                  </a:cubicBezTo>
                  <a:cubicBezTo>
                    <a:pt x="35" y="54"/>
                    <a:pt x="35" y="54"/>
                    <a:pt x="35" y="54"/>
                  </a:cubicBezTo>
                  <a:lnTo>
                    <a:pt x="24" y="5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6" name="Freeform 89"/>
            <p:cNvSpPr>
              <a:spLocks/>
            </p:cNvSpPr>
            <p:nvPr/>
          </p:nvSpPr>
          <p:spPr bwMode="auto">
            <a:xfrm>
              <a:off x="5484813" y="3438525"/>
              <a:ext cx="96838" cy="203200"/>
            </a:xfrm>
            <a:custGeom>
              <a:avLst/>
              <a:gdLst>
                <a:gd name="T0" fmla="*/ 0 w 61"/>
                <a:gd name="T1" fmla="*/ 128 h 128"/>
                <a:gd name="T2" fmla="*/ 0 w 61"/>
                <a:gd name="T3" fmla="*/ 0 h 128"/>
                <a:gd name="T4" fmla="*/ 59 w 61"/>
                <a:gd name="T5" fmla="*/ 0 h 128"/>
                <a:gd name="T6" fmla="*/ 59 w 61"/>
                <a:gd name="T7" fmla="*/ 21 h 128"/>
                <a:gd name="T8" fmla="*/ 26 w 61"/>
                <a:gd name="T9" fmla="*/ 21 h 128"/>
                <a:gd name="T10" fmla="*/ 26 w 61"/>
                <a:gd name="T11" fmla="*/ 54 h 128"/>
                <a:gd name="T12" fmla="*/ 57 w 61"/>
                <a:gd name="T13" fmla="*/ 54 h 128"/>
                <a:gd name="T14" fmla="*/ 57 w 61"/>
                <a:gd name="T15" fmla="*/ 76 h 128"/>
                <a:gd name="T16" fmla="*/ 26 w 61"/>
                <a:gd name="T17" fmla="*/ 76 h 128"/>
                <a:gd name="T18" fmla="*/ 26 w 61"/>
                <a:gd name="T19" fmla="*/ 109 h 128"/>
                <a:gd name="T20" fmla="*/ 61 w 61"/>
                <a:gd name="T21" fmla="*/ 109 h 128"/>
                <a:gd name="T22" fmla="*/ 61 w 61"/>
                <a:gd name="T23" fmla="*/ 128 h 128"/>
                <a:gd name="T24" fmla="*/ 0 w 61"/>
                <a:gd name="T2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128">
                  <a:moveTo>
                    <a:pt x="0" y="128"/>
                  </a:moveTo>
                  <a:lnTo>
                    <a:pt x="0" y="0"/>
                  </a:lnTo>
                  <a:lnTo>
                    <a:pt x="59" y="0"/>
                  </a:lnTo>
                  <a:lnTo>
                    <a:pt x="59" y="21"/>
                  </a:lnTo>
                  <a:lnTo>
                    <a:pt x="26" y="21"/>
                  </a:lnTo>
                  <a:lnTo>
                    <a:pt x="26" y="54"/>
                  </a:lnTo>
                  <a:lnTo>
                    <a:pt x="57" y="54"/>
                  </a:lnTo>
                  <a:lnTo>
                    <a:pt x="57" y="76"/>
                  </a:lnTo>
                  <a:lnTo>
                    <a:pt x="26" y="76"/>
                  </a:lnTo>
                  <a:lnTo>
                    <a:pt x="26" y="109"/>
                  </a:lnTo>
                  <a:lnTo>
                    <a:pt x="61" y="109"/>
                  </a:lnTo>
                  <a:lnTo>
                    <a:pt x="61" y="128"/>
                  </a:lnTo>
                  <a:lnTo>
                    <a:pt x="0" y="12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7" name="Freeform 90"/>
            <p:cNvSpPr>
              <a:spLocks/>
            </p:cNvSpPr>
            <p:nvPr/>
          </p:nvSpPr>
          <p:spPr bwMode="auto">
            <a:xfrm>
              <a:off x="5668963" y="3438525"/>
              <a:ext cx="104775" cy="203200"/>
            </a:xfrm>
            <a:custGeom>
              <a:avLst/>
              <a:gdLst>
                <a:gd name="T0" fmla="*/ 0 w 28"/>
                <a:gd name="T1" fmla="*/ 54 h 54"/>
                <a:gd name="T2" fmla="*/ 0 w 28"/>
                <a:gd name="T3" fmla="*/ 47 h 54"/>
                <a:gd name="T4" fmla="*/ 10 w 28"/>
                <a:gd name="T5" fmla="*/ 32 h 54"/>
                <a:gd name="T6" fmla="*/ 18 w 28"/>
                <a:gd name="T7" fmla="*/ 15 h 54"/>
                <a:gd name="T8" fmla="*/ 16 w 28"/>
                <a:gd name="T9" fmla="*/ 10 h 54"/>
                <a:gd name="T10" fmla="*/ 12 w 28"/>
                <a:gd name="T11" fmla="*/ 8 h 54"/>
                <a:gd name="T12" fmla="*/ 2 w 28"/>
                <a:gd name="T13" fmla="*/ 13 h 54"/>
                <a:gd name="T14" fmla="*/ 2 w 28"/>
                <a:gd name="T15" fmla="*/ 4 h 54"/>
                <a:gd name="T16" fmla="*/ 14 w 28"/>
                <a:gd name="T17" fmla="*/ 0 h 54"/>
                <a:gd name="T18" fmla="*/ 24 w 28"/>
                <a:gd name="T19" fmla="*/ 3 h 54"/>
                <a:gd name="T20" fmla="*/ 28 w 28"/>
                <a:gd name="T21" fmla="*/ 14 h 54"/>
                <a:gd name="T22" fmla="*/ 18 w 28"/>
                <a:gd name="T23" fmla="*/ 36 h 54"/>
                <a:gd name="T24" fmla="*/ 10 w 28"/>
                <a:gd name="T25" fmla="*/ 46 h 54"/>
                <a:gd name="T26" fmla="*/ 10 w 28"/>
                <a:gd name="T27" fmla="*/ 46 h 54"/>
                <a:gd name="T28" fmla="*/ 28 w 28"/>
                <a:gd name="T29" fmla="*/ 46 h 54"/>
                <a:gd name="T30" fmla="*/ 28 w 28"/>
                <a:gd name="T31" fmla="*/ 54 h 54"/>
                <a:gd name="T32" fmla="*/ 0 w 28"/>
                <a:gd name="T3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54">
                  <a:moveTo>
                    <a:pt x="0" y="54"/>
                  </a:moveTo>
                  <a:cubicBezTo>
                    <a:pt x="0" y="47"/>
                    <a:pt x="0" y="47"/>
                    <a:pt x="0" y="47"/>
                  </a:cubicBezTo>
                  <a:cubicBezTo>
                    <a:pt x="10" y="32"/>
                    <a:pt x="10" y="32"/>
                    <a:pt x="10" y="32"/>
                  </a:cubicBezTo>
                  <a:cubicBezTo>
                    <a:pt x="15" y="25"/>
                    <a:pt x="18" y="19"/>
                    <a:pt x="18" y="15"/>
                  </a:cubicBezTo>
                  <a:cubicBezTo>
                    <a:pt x="18" y="13"/>
                    <a:pt x="17" y="11"/>
                    <a:pt x="16" y="10"/>
                  </a:cubicBezTo>
                  <a:cubicBezTo>
                    <a:pt x="15" y="8"/>
                    <a:pt x="13" y="8"/>
                    <a:pt x="12" y="8"/>
                  </a:cubicBezTo>
                  <a:cubicBezTo>
                    <a:pt x="9" y="8"/>
                    <a:pt x="5" y="9"/>
                    <a:pt x="2" y="13"/>
                  </a:cubicBezTo>
                  <a:cubicBezTo>
                    <a:pt x="2" y="4"/>
                    <a:pt x="2" y="4"/>
                    <a:pt x="2" y="4"/>
                  </a:cubicBezTo>
                  <a:cubicBezTo>
                    <a:pt x="5" y="1"/>
                    <a:pt x="9" y="0"/>
                    <a:pt x="14" y="0"/>
                  </a:cubicBezTo>
                  <a:cubicBezTo>
                    <a:pt x="18" y="0"/>
                    <a:pt x="22" y="1"/>
                    <a:pt x="24" y="3"/>
                  </a:cubicBezTo>
                  <a:cubicBezTo>
                    <a:pt x="27" y="6"/>
                    <a:pt x="28" y="9"/>
                    <a:pt x="28" y="14"/>
                  </a:cubicBezTo>
                  <a:cubicBezTo>
                    <a:pt x="28" y="20"/>
                    <a:pt x="25" y="27"/>
                    <a:pt x="18" y="36"/>
                  </a:cubicBezTo>
                  <a:cubicBezTo>
                    <a:pt x="10" y="46"/>
                    <a:pt x="10" y="46"/>
                    <a:pt x="10" y="46"/>
                  </a:cubicBezTo>
                  <a:cubicBezTo>
                    <a:pt x="10" y="46"/>
                    <a:pt x="10" y="46"/>
                    <a:pt x="10" y="46"/>
                  </a:cubicBezTo>
                  <a:cubicBezTo>
                    <a:pt x="28" y="46"/>
                    <a:pt x="28" y="46"/>
                    <a:pt x="28" y="46"/>
                  </a:cubicBezTo>
                  <a:cubicBezTo>
                    <a:pt x="28" y="54"/>
                    <a:pt x="28" y="54"/>
                    <a:pt x="28" y="54"/>
                  </a:cubicBezTo>
                  <a:lnTo>
                    <a:pt x="0" y="5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8" name="Freeform 91"/>
            <p:cNvSpPr>
              <a:spLocks noEditPoints="1"/>
            </p:cNvSpPr>
            <p:nvPr/>
          </p:nvSpPr>
          <p:spPr bwMode="auto">
            <a:xfrm>
              <a:off x="5795963" y="3433763"/>
              <a:ext cx="112713" cy="211138"/>
            </a:xfrm>
            <a:custGeom>
              <a:avLst/>
              <a:gdLst>
                <a:gd name="T0" fmla="*/ 15 w 30"/>
                <a:gd name="T1" fmla="*/ 56 h 56"/>
                <a:gd name="T2" fmla="*/ 0 w 30"/>
                <a:gd name="T3" fmla="*/ 29 h 56"/>
                <a:gd name="T4" fmla="*/ 16 w 30"/>
                <a:gd name="T5" fmla="*/ 0 h 56"/>
                <a:gd name="T6" fmla="*/ 30 w 30"/>
                <a:gd name="T7" fmla="*/ 28 h 56"/>
                <a:gd name="T8" fmla="*/ 15 w 30"/>
                <a:gd name="T9" fmla="*/ 56 h 56"/>
                <a:gd name="T10" fmla="*/ 15 w 30"/>
                <a:gd name="T11" fmla="*/ 9 h 56"/>
                <a:gd name="T12" fmla="*/ 11 w 30"/>
                <a:gd name="T13" fmla="*/ 13 h 56"/>
                <a:gd name="T14" fmla="*/ 10 w 30"/>
                <a:gd name="T15" fmla="*/ 29 h 56"/>
                <a:gd name="T16" fmla="*/ 11 w 30"/>
                <a:gd name="T17" fmla="*/ 44 h 56"/>
                <a:gd name="T18" fmla="*/ 15 w 30"/>
                <a:gd name="T19" fmla="*/ 48 h 56"/>
                <a:gd name="T20" fmla="*/ 19 w 30"/>
                <a:gd name="T21" fmla="*/ 43 h 56"/>
                <a:gd name="T22" fmla="*/ 20 w 30"/>
                <a:gd name="T23" fmla="*/ 28 h 56"/>
                <a:gd name="T24" fmla="*/ 19 w 30"/>
                <a:gd name="T25" fmla="*/ 13 h 56"/>
                <a:gd name="T26" fmla="*/ 15 w 30"/>
                <a:gd name="T27" fmla="*/ 9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56">
                  <a:moveTo>
                    <a:pt x="15" y="56"/>
                  </a:moveTo>
                  <a:cubicBezTo>
                    <a:pt x="5" y="56"/>
                    <a:pt x="0" y="47"/>
                    <a:pt x="0" y="29"/>
                  </a:cubicBezTo>
                  <a:cubicBezTo>
                    <a:pt x="0" y="10"/>
                    <a:pt x="5" y="0"/>
                    <a:pt x="16" y="0"/>
                  </a:cubicBezTo>
                  <a:cubicBezTo>
                    <a:pt x="25" y="0"/>
                    <a:pt x="30" y="10"/>
                    <a:pt x="30" y="28"/>
                  </a:cubicBezTo>
                  <a:cubicBezTo>
                    <a:pt x="30" y="47"/>
                    <a:pt x="25" y="56"/>
                    <a:pt x="15" y="56"/>
                  </a:cubicBezTo>
                  <a:close/>
                  <a:moveTo>
                    <a:pt x="15" y="9"/>
                  </a:moveTo>
                  <a:cubicBezTo>
                    <a:pt x="13" y="9"/>
                    <a:pt x="12" y="10"/>
                    <a:pt x="11" y="13"/>
                  </a:cubicBezTo>
                  <a:cubicBezTo>
                    <a:pt x="10" y="17"/>
                    <a:pt x="10" y="22"/>
                    <a:pt x="10" y="29"/>
                  </a:cubicBezTo>
                  <a:cubicBezTo>
                    <a:pt x="10" y="36"/>
                    <a:pt x="10" y="41"/>
                    <a:pt x="11" y="44"/>
                  </a:cubicBezTo>
                  <a:cubicBezTo>
                    <a:pt x="12" y="47"/>
                    <a:pt x="13" y="48"/>
                    <a:pt x="15" y="48"/>
                  </a:cubicBezTo>
                  <a:cubicBezTo>
                    <a:pt x="17" y="48"/>
                    <a:pt x="18" y="47"/>
                    <a:pt x="19" y="43"/>
                  </a:cubicBezTo>
                  <a:cubicBezTo>
                    <a:pt x="20" y="40"/>
                    <a:pt x="20" y="35"/>
                    <a:pt x="20" y="28"/>
                  </a:cubicBezTo>
                  <a:cubicBezTo>
                    <a:pt x="20" y="22"/>
                    <a:pt x="20" y="17"/>
                    <a:pt x="19" y="13"/>
                  </a:cubicBezTo>
                  <a:cubicBezTo>
                    <a:pt x="18" y="10"/>
                    <a:pt x="17" y="9"/>
                    <a:pt x="15" y="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9" name="Freeform 92"/>
            <p:cNvSpPr>
              <a:spLocks/>
            </p:cNvSpPr>
            <p:nvPr/>
          </p:nvSpPr>
          <p:spPr bwMode="auto">
            <a:xfrm>
              <a:off x="5935663" y="3433763"/>
              <a:ext cx="96838" cy="207963"/>
            </a:xfrm>
            <a:custGeom>
              <a:avLst/>
              <a:gdLst>
                <a:gd name="T0" fmla="*/ 0 w 61"/>
                <a:gd name="T1" fmla="*/ 131 h 131"/>
                <a:gd name="T2" fmla="*/ 0 w 61"/>
                <a:gd name="T3" fmla="*/ 114 h 131"/>
                <a:gd name="T4" fmla="*/ 19 w 61"/>
                <a:gd name="T5" fmla="*/ 114 h 131"/>
                <a:gd name="T6" fmla="*/ 19 w 61"/>
                <a:gd name="T7" fmla="*/ 24 h 131"/>
                <a:gd name="T8" fmla="*/ 0 w 61"/>
                <a:gd name="T9" fmla="*/ 31 h 131"/>
                <a:gd name="T10" fmla="*/ 0 w 61"/>
                <a:gd name="T11" fmla="*/ 12 h 131"/>
                <a:gd name="T12" fmla="*/ 42 w 61"/>
                <a:gd name="T13" fmla="*/ 0 h 131"/>
                <a:gd name="T14" fmla="*/ 42 w 61"/>
                <a:gd name="T15" fmla="*/ 114 h 131"/>
                <a:gd name="T16" fmla="*/ 61 w 61"/>
                <a:gd name="T17" fmla="*/ 114 h 131"/>
                <a:gd name="T18" fmla="*/ 61 w 61"/>
                <a:gd name="T19" fmla="*/ 131 h 131"/>
                <a:gd name="T20" fmla="*/ 0 w 61"/>
                <a:gd name="T21"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131">
                  <a:moveTo>
                    <a:pt x="0" y="131"/>
                  </a:moveTo>
                  <a:lnTo>
                    <a:pt x="0" y="114"/>
                  </a:lnTo>
                  <a:lnTo>
                    <a:pt x="19" y="114"/>
                  </a:lnTo>
                  <a:lnTo>
                    <a:pt x="19" y="24"/>
                  </a:lnTo>
                  <a:lnTo>
                    <a:pt x="0" y="31"/>
                  </a:lnTo>
                  <a:lnTo>
                    <a:pt x="0" y="12"/>
                  </a:lnTo>
                  <a:lnTo>
                    <a:pt x="42" y="0"/>
                  </a:lnTo>
                  <a:lnTo>
                    <a:pt x="42" y="114"/>
                  </a:lnTo>
                  <a:lnTo>
                    <a:pt x="61" y="114"/>
                  </a:lnTo>
                  <a:lnTo>
                    <a:pt x="61" y="131"/>
                  </a:lnTo>
                  <a:lnTo>
                    <a:pt x="0" y="13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0" name="Freeform 93"/>
            <p:cNvSpPr>
              <a:spLocks/>
            </p:cNvSpPr>
            <p:nvPr/>
          </p:nvSpPr>
          <p:spPr bwMode="auto">
            <a:xfrm>
              <a:off x="6059488" y="3438525"/>
              <a:ext cx="104775" cy="203200"/>
            </a:xfrm>
            <a:custGeom>
              <a:avLst/>
              <a:gdLst>
                <a:gd name="T0" fmla="*/ 0 w 28"/>
                <a:gd name="T1" fmla="*/ 54 h 54"/>
                <a:gd name="T2" fmla="*/ 0 w 28"/>
                <a:gd name="T3" fmla="*/ 47 h 54"/>
                <a:gd name="T4" fmla="*/ 10 w 28"/>
                <a:gd name="T5" fmla="*/ 32 h 54"/>
                <a:gd name="T6" fmla="*/ 18 w 28"/>
                <a:gd name="T7" fmla="*/ 15 h 54"/>
                <a:gd name="T8" fmla="*/ 16 w 28"/>
                <a:gd name="T9" fmla="*/ 10 h 54"/>
                <a:gd name="T10" fmla="*/ 12 w 28"/>
                <a:gd name="T11" fmla="*/ 8 h 54"/>
                <a:gd name="T12" fmla="*/ 2 w 28"/>
                <a:gd name="T13" fmla="*/ 13 h 54"/>
                <a:gd name="T14" fmla="*/ 2 w 28"/>
                <a:gd name="T15" fmla="*/ 4 h 54"/>
                <a:gd name="T16" fmla="*/ 14 w 28"/>
                <a:gd name="T17" fmla="*/ 0 h 54"/>
                <a:gd name="T18" fmla="*/ 24 w 28"/>
                <a:gd name="T19" fmla="*/ 3 h 54"/>
                <a:gd name="T20" fmla="*/ 28 w 28"/>
                <a:gd name="T21" fmla="*/ 14 h 54"/>
                <a:gd name="T22" fmla="*/ 18 w 28"/>
                <a:gd name="T23" fmla="*/ 36 h 54"/>
                <a:gd name="T24" fmla="*/ 10 w 28"/>
                <a:gd name="T25" fmla="*/ 46 h 54"/>
                <a:gd name="T26" fmla="*/ 10 w 28"/>
                <a:gd name="T27" fmla="*/ 46 h 54"/>
                <a:gd name="T28" fmla="*/ 28 w 28"/>
                <a:gd name="T29" fmla="*/ 46 h 54"/>
                <a:gd name="T30" fmla="*/ 28 w 28"/>
                <a:gd name="T31" fmla="*/ 54 h 54"/>
                <a:gd name="T32" fmla="*/ 0 w 28"/>
                <a:gd name="T3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54">
                  <a:moveTo>
                    <a:pt x="0" y="54"/>
                  </a:moveTo>
                  <a:cubicBezTo>
                    <a:pt x="0" y="47"/>
                    <a:pt x="0" y="47"/>
                    <a:pt x="0" y="47"/>
                  </a:cubicBezTo>
                  <a:cubicBezTo>
                    <a:pt x="10" y="32"/>
                    <a:pt x="10" y="32"/>
                    <a:pt x="10" y="32"/>
                  </a:cubicBezTo>
                  <a:cubicBezTo>
                    <a:pt x="15" y="25"/>
                    <a:pt x="18" y="19"/>
                    <a:pt x="18" y="15"/>
                  </a:cubicBezTo>
                  <a:cubicBezTo>
                    <a:pt x="18" y="13"/>
                    <a:pt x="17" y="11"/>
                    <a:pt x="16" y="10"/>
                  </a:cubicBezTo>
                  <a:cubicBezTo>
                    <a:pt x="15" y="8"/>
                    <a:pt x="13" y="8"/>
                    <a:pt x="12" y="8"/>
                  </a:cubicBezTo>
                  <a:cubicBezTo>
                    <a:pt x="8" y="8"/>
                    <a:pt x="5" y="9"/>
                    <a:pt x="2" y="13"/>
                  </a:cubicBezTo>
                  <a:cubicBezTo>
                    <a:pt x="2" y="4"/>
                    <a:pt x="2" y="4"/>
                    <a:pt x="2" y="4"/>
                  </a:cubicBezTo>
                  <a:cubicBezTo>
                    <a:pt x="5" y="1"/>
                    <a:pt x="9" y="0"/>
                    <a:pt x="14" y="0"/>
                  </a:cubicBezTo>
                  <a:cubicBezTo>
                    <a:pt x="18" y="0"/>
                    <a:pt x="22" y="1"/>
                    <a:pt x="24" y="3"/>
                  </a:cubicBezTo>
                  <a:cubicBezTo>
                    <a:pt x="27" y="6"/>
                    <a:pt x="28" y="9"/>
                    <a:pt x="28" y="14"/>
                  </a:cubicBezTo>
                  <a:cubicBezTo>
                    <a:pt x="28" y="20"/>
                    <a:pt x="24" y="27"/>
                    <a:pt x="18" y="36"/>
                  </a:cubicBezTo>
                  <a:cubicBezTo>
                    <a:pt x="10" y="46"/>
                    <a:pt x="10" y="46"/>
                    <a:pt x="10" y="46"/>
                  </a:cubicBezTo>
                  <a:cubicBezTo>
                    <a:pt x="10" y="46"/>
                    <a:pt x="10" y="46"/>
                    <a:pt x="10" y="46"/>
                  </a:cubicBezTo>
                  <a:cubicBezTo>
                    <a:pt x="28" y="46"/>
                    <a:pt x="28" y="46"/>
                    <a:pt x="28" y="46"/>
                  </a:cubicBezTo>
                  <a:cubicBezTo>
                    <a:pt x="28" y="54"/>
                    <a:pt x="28" y="54"/>
                    <a:pt x="28" y="54"/>
                  </a:cubicBezTo>
                  <a:lnTo>
                    <a:pt x="0" y="5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grpSp>
        <p:nvGrpSpPr>
          <p:cNvPr id="313" name="Group 312"/>
          <p:cNvGrpSpPr/>
          <p:nvPr/>
        </p:nvGrpSpPr>
        <p:grpSpPr>
          <a:xfrm>
            <a:off x="4115578" y="4338908"/>
            <a:ext cx="1445140" cy="1340227"/>
            <a:chOff x="7948613" y="3155950"/>
            <a:chExt cx="2747962" cy="1911351"/>
          </a:xfrm>
          <a:solidFill>
            <a:schemeClr val="tx1">
              <a:lumMod val="50000"/>
              <a:lumOff val="50000"/>
            </a:schemeClr>
          </a:solidFill>
        </p:grpSpPr>
        <p:sp>
          <p:nvSpPr>
            <p:cNvPr id="211" name="Freeform 94"/>
            <p:cNvSpPr>
              <a:spLocks/>
            </p:cNvSpPr>
            <p:nvPr/>
          </p:nvSpPr>
          <p:spPr bwMode="auto">
            <a:xfrm>
              <a:off x="7948613" y="3155950"/>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1"/>
                    <a:pt x="14" y="19"/>
                  </a:cubicBezTo>
                  <a:cubicBezTo>
                    <a:pt x="14" y="17"/>
                    <a:pt x="17" y="17"/>
                    <a:pt x="18" y="17"/>
                  </a:cubicBezTo>
                  <a:cubicBezTo>
                    <a:pt x="23" y="17"/>
                    <a:pt x="25"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2" name="Freeform 95"/>
            <p:cNvSpPr>
              <a:spLocks/>
            </p:cNvSpPr>
            <p:nvPr/>
          </p:nvSpPr>
          <p:spPr bwMode="auto">
            <a:xfrm>
              <a:off x="8120063" y="3155950"/>
              <a:ext cx="128588" cy="222250"/>
            </a:xfrm>
            <a:custGeom>
              <a:avLst/>
              <a:gdLst>
                <a:gd name="T0" fmla="*/ 22 w 34"/>
                <a:gd name="T1" fmla="*/ 59 h 59"/>
                <a:gd name="T2" fmla="*/ 22 w 34"/>
                <a:gd name="T3" fmla="*/ 51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5" y="21"/>
                    <a:pt x="15" y="19"/>
                  </a:cubicBezTo>
                  <a:cubicBezTo>
                    <a:pt x="15" y="17"/>
                    <a:pt x="17" y="17"/>
                    <a:pt x="19"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3" name="Freeform 96"/>
            <p:cNvSpPr>
              <a:spLocks/>
            </p:cNvSpPr>
            <p:nvPr/>
          </p:nvSpPr>
          <p:spPr bwMode="auto">
            <a:xfrm>
              <a:off x="8293100" y="3155950"/>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1" y="26"/>
                    <a:pt x="22" y="23"/>
                  </a:cubicBezTo>
                  <a:cubicBezTo>
                    <a:pt x="19" y="22"/>
                    <a:pt x="15" y="21"/>
                    <a:pt x="15" y="19"/>
                  </a:cubicBezTo>
                  <a:cubicBezTo>
                    <a:pt x="15" y="17"/>
                    <a:pt x="18"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4"/>
                  </a:cubicBezTo>
                  <a:cubicBezTo>
                    <a:pt x="20" y="36"/>
                    <a:pt x="20" y="37"/>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4" name="Freeform 97"/>
            <p:cNvSpPr>
              <a:spLocks/>
            </p:cNvSpPr>
            <p:nvPr/>
          </p:nvSpPr>
          <p:spPr bwMode="auto">
            <a:xfrm>
              <a:off x="8470900" y="3155950"/>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1"/>
                    <a:pt x="14" y="19"/>
                  </a:cubicBezTo>
                  <a:cubicBezTo>
                    <a:pt x="14" y="17"/>
                    <a:pt x="17" y="17"/>
                    <a:pt x="18"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7"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5" name="Freeform 98"/>
            <p:cNvSpPr>
              <a:spLocks/>
            </p:cNvSpPr>
            <p:nvPr/>
          </p:nvSpPr>
          <p:spPr bwMode="auto">
            <a:xfrm>
              <a:off x="8642350" y="3155950"/>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0" y="26"/>
                    <a:pt x="22" y="23"/>
                  </a:cubicBezTo>
                  <a:cubicBezTo>
                    <a:pt x="18" y="22"/>
                    <a:pt x="15" y="21"/>
                    <a:pt x="15" y="19"/>
                  </a:cubicBezTo>
                  <a:cubicBezTo>
                    <a:pt x="15" y="17"/>
                    <a:pt x="17"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20" y="36"/>
                    <a:pt x="20" y="37"/>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6" name="Freeform 99"/>
            <p:cNvSpPr>
              <a:spLocks/>
            </p:cNvSpPr>
            <p:nvPr/>
          </p:nvSpPr>
          <p:spPr bwMode="auto">
            <a:xfrm>
              <a:off x="8820150" y="3155950"/>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1"/>
                    <a:pt x="14" y="19"/>
                  </a:cubicBezTo>
                  <a:cubicBezTo>
                    <a:pt x="14" y="17"/>
                    <a:pt x="17" y="17"/>
                    <a:pt x="18"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7" name="Freeform 100"/>
            <p:cNvSpPr>
              <a:spLocks/>
            </p:cNvSpPr>
            <p:nvPr/>
          </p:nvSpPr>
          <p:spPr bwMode="auto">
            <a:xfrm>
              <a:off x="8991600" y="3155950"/>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2" y="23"/>
                  </a:cubicBezTo>
                  <a:cubicBezTo>
                    <a:pt x="18" y="22"/>
                    <a:pt x="15" y="21"/>
                    <a:pt x="15" y="19"/>
                  </a:cubicBezTo>
                  <a:cubicBezTo>
                    <a:pt x="15" y="17"/>
                    <a:pt x="17"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29"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8" name="Freeform 101"/>
            <p:cNvSpPr>
              <a:spLocks/>
            </p:cNvSpPr>
            <p:nvPr/>
          </p:nvSpPr>
          <p:spPr bwMode="auto">
            <a:xfrm>
              <a:off x="9169400" y="3155950"/>
              <a:ext cx="123825" cy="222250"/>
            </a:xfrm>
            <a:custGeom>
              <a:avLst/>
              <a:gdLst>
                <a:gd name="T0" fmla="*/ 21 w 33"/>
                <a:gd name="T1" fmla="*/ 59 h 59"/>
                <a:gd name="T2" fmla="*/ 21 w 33"/>
                <a:gd name="T3" fmla="*/ 51 h 59"/>
                <a:gd name="T4" fmla="*/ 33 w 33"/>
                <a:gd name="T5" fmla="*/ 38 h 59"/>
                <a:gd name="T6" fmla="*/ 21 w 33"/>
                <a:gd name="T7" fmla="*/ 23 h 59"/>
                <a:gd name="T8" fmla="*/ 14 w 33"/>
                <a:gd name="T9" fmla="*/ 19 h 59"/>
                <a:gd name="T10" fmla="*/ 18 w 33"/>
                <a:gd name="T11" fmla="*/ 17 h 59"/>
                <a:gd name="T12" fmla="*/ 27 w 33"/>
                <a:gd name="T13" fmla="*/ 19 h 59"/>
                <a:gd name="T14" fmla="*/ 29 w 33"/>
                <a:gd name="T15" fmla="*/ 20 h 59"/>
                <a:gd name="T16" fmla="*/ 30 w 33"/>
                <a:gd name="T17" fmla="*/ 18 h 59"/>
                <a:gd name="T18" fmla="*/ 32 w 33"/>
                <a:gd name="T19" fmla="*/ 9 h 59"/>
                <a:gd name="T20" fmla="*/ 31 w 33"/>
                <a:gd name="T21" fmla="*/ 8 h 59"/>
                <a:gd name="T22" fmla="*/ 22 w 33"/>
                <a:gd name="T23" fmla="*/ 6 h 59"/>
                <a:gd name="T24" fmla="*/ 22 w 33"/>
                <a:gd name="T25" fmla="*/ 0 h 59"/>
                <a:gd name="T26" fmla="*/ 12 w 33"/>
                <a:gd name="T27" fmla="*/ 0 h 59"/>
                <a:gd name="T28" fmla="*/ 12 w 33"/>
                <a:gd name="T29" fmla="*/ 7 h 59"/>
                <a:gd name="T30" fmla="*/ 0 w 33"/>
                <a:gd name="T31" fmla="*/ 20 h 59"/>
                <a:gd name="T32" fmla="*/ 14 w 33"/>
                <a:gd name="T33" fmla="*/ 34 h 59"/>
                <a:gd name="T34" fmla="*/ 20 w 33"/>
                <a:gd name="T35" fmla="*/ 39 h 59"/>
                <a:gd name="T36" fmla="*/ 15 w 33"/>
                <a:gd name="T37" fmla="*/ 41 h 59"/>
                <a:gd name="T38" fmla="*/ 5 w 33"/>
                <a:gd name="T39" fmla="*/ 38 h 59"/>
                <a:gd name="T40" fmla="*/ 3 w 33"/>
                <a:gd name="T41" fmla="*/ 37 h 59"/>
                <a:gd name="T42" fmla="*/ 0 w 33"/>
                <a:gd name="T43" fmla="*/ 49 h 59"/>
                <a:gd name="T44" fmla="*/ 0 w 33"/>
                <a:gd name="T45" fmla="*/ 49 h 59"/>
                <a:gd name="T46" fmla="*/ 1 w 33"/>
                <a:gd name="T47" fmla="*/ 49 h 59"/>
                <a:gd name="T48" fmla="*/ 11 w 33"/>
                <a:gd name="T49" fmla="*/ 52 h 59"/>
                <a:gd name="T50" fmla="*/ 11 w 33"/>
                <a:gd name="T51" fmla="*/ 59 h 59"/>
                <a:gd name="T52" fmla="*/ 21 w 33"/>
                <a:gd name="T53" fmla="*/ 59 h 59"/>
                <a:gd name="T54" fmla="*/ 21 w 33"/>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 h="59">
                  <a:moveTo>
                    <a:pt x="21" y="59"/>
                  </a:moveTo>
                  <a:cubicBezTo>
                    <a:pt x="21" y="51"/>
                    <a:pt x="21" y="51"/>
                    <a:pt x="21" y="51"/>
                  </a:cubicBezTo>
                  <a:cubicBezTo>
                    <a:pt x="29" y="50"/>
                    <a:pt x="33" y="44"/>
                    <a:pt x="33" y="38"/>
                  </a:cubicBezTo>
                  <a:cubicBezTo>
                    <a:pt x="33" y="31"/>
                    <a:pt x="30" y="26"/>
                    <a:pt x="21" y="23"/>
                  </a:cubicBezTo>
                  <a:cubicBezTo>
                    <a:pt x="18" y="22"/>
                    <a:pt x="14" y="21"/>
                    <a:pt x="14" y="19"/>
                  </a:cubicBezTo>
                  <a:cubicBezTo>
                    <a:pt x="14" y="17"/>
                    <a:pt x="17" y="17"/>
                    <a:pt x="18" y="17"/>
                  </a:cubicBezTo>
                  <a:cubicBezTo>
                    <a:pt x="23" y="17"/>
                    <a:pt x="25"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1" y="59"/>
                    <a:pt x="21" y="59"/>
                    <a:pt x="21" y="59"/>
                  </a:cubicBezTo>
                  <a:cubicBezTo>
                    <a:pt x="21" y="59"/>
                    <a:pt x="21" y="59"/>
                    <a:pt x="21"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9" name="Freeform 102"/>
            <p:cNvSpPr>
              <a:spLocks/>
            </p:cNvSpPr>
            <p:nvPr/>
          </p:nvSpPr>
          <p:spPr bwMode="auto">
            <a:xfrm>
              <a:off x="7948613" y="3446463"/>
              <a:ext cx="127000" cy="222250"/>
            </a:xfrm>
            <a:custGeom>
              <a:avLst/>
              <a:gdLst>
                <a:gd name="T0" fmla="*/ 22 w 34"/>
                <a:gd name="T1" fmla="*/ 59 h 59"/>
                <a:gd name="T2" fmla="*/ 22 w 34"/>
                <a:gd name="T3" fmla="*/ 51 h 59"/>
                <a:gd name="T4" fmla="*/ 34 w 34"/>
                <a:gd name="T5" fmla="*/ 37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8 h 59"/>
                <a:gd name="T36" fmla="*/ 15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49"/>
                    <a:pt x="34" y="44"/>
                    <a:pt x="34" y="37"/>
                  </a:cubicBezTo>
                  <a:cubicBezTo>
                    <a:pt x="34" y="31"/>
                    <a:pt x="30" y="26"/>
                    <a:pt x="21" y="23"/>
                  </a:cubicBezTo>
                  <a:cubicBezTo>
                    <a:pt x="18" y="22"/>
                    <a:pt x="14" y="20"/>
                    <a:pt x="14" y="19"/>
                  </a:cubicBezTo>
                  <a:cubicBezTo>
                    <a:pt x="14" y="17"/>
                    <a:pt x="17" y="17"/>
                    <a:pt x="18" y="17"/>
                  </a:cubicBezTo>
                  <a:cubicBezTo>
                    <a:pt x="23" y="17"/>
                    <a:pt x="25"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6"/>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8"/>
                  </a:cubicBezTo>
                  <a:cubicBezTo>
                    <a:pt x="20" y="40"/>
                    <a:pt x="17" y="41"/>
                    <a:pt x="15" y="41"/>
                  </a:cubicBezTo>
                  <a:cubicBezTo>
                    <a:pt x="10" y="41"/>
                    <a:pt x="6" y="39"/>
                    <a:pt x="5" y="38"/>
                  </a:cubicBezTo>
                  <a:cubicBezTo>
                    <a:pt x="3" y="37"/>
                    <a:pt x="3" y="37"/>
                    <a:pt x="3" y="37"/>
                  </a:cubicBezTo>
                  <a:cubicBezTo>
                    <a:pt x="0" y="48"/>
                    <a:pt x="0" y="48"/>
                    <a:pt x="0" y="48"/>
                  </a:cubicBezTo>
                  <a:cubicBezTo>
                    <a:pt x="0" y="48"/>
                    <a:pt x="0" y="48"/>
                    <a:pt x="0" y="48"/>
                  </a:cubicBezTo>
                  <a:cubicBezTo>
                    <a:pt x="1" y="49"/>
                    <a:pt x="1" y="49"/>
                    <a:pt x="1" y="49"/>
                  </a:cubicBezTo>
                  <a:cubicBezTo>
                    <a:pt x="3" y="51"/>
                    <a:pt x="7"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0" name="Freeform 103"/>
            <p:cNvSpPr>
              <a:spLocks/>
            </p:cNvSpPr>
            <p:nvPr/>
          </p:nvSpPr>
          <p:spPr bwMode="auto">
            <a:xfrm>
              <a:off x="8120063" y="3446463"/>
              <a:ext cx="128588" cy="222250"/>
            </a:xfrm>
            <a:custGeom>
              <a:avLst/>
              <a:gdLst>
                <a:gd name="T0" fmla="*/ 22 w 34"/>
                <a:gd name="T1" fmla="*/ 59 h 59"/>
                <a:gd name="T2" fmla="*/ 22 w 34"/>
                <a:gd name="T3" fmla="*/ 51 h 59"/>
                <a:gd name="T4" fmla="*/ 34 w 34"/>
                <a:gd name="T5" fmla="*/ 37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8 h 59"/>
                <a:gd name="T36" fmla="*/ 15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49"/>
                    <a:pt x="34" y="44"/>
                    <a:pt x="34" y="37"/>
                  </a:cubicBezTo>
                  <a:cubicBezTo>
                    <a:pt x="34" y="31"/>
                    <a:pt x="30" y="26"/>
                    <a:pt x="21" y="23"/>
                  </a:cubicBezTo>
                  <a:cubicBezTo>
                    <a:pt x="18" y="22"/>
                    <a:pt x="15" y="20"/>
                    <a:pt x="15" y="19"/>
                  </a:cubicBezTo>
                  <a:cubicBezTo>
                    <a:pt x="15" y="17"/>
                    <a:pt x="17" y="17"/>
                    <a:pt x="19"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6"/>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8"/>
                  </a:cubicBezTo>
                  <a:cubicBezTo>
                    <a:pt x="20" y="40"/>
                    <a:pt x="18" y="41"/>
                    <a:pt x="15" y="41"/>
                  </a:cubicBezTo>
                  <a:cubicBezTo>
                    <a:pt x="11" y="41"/>
                    <a:pt x="7" y="39"/>
                    <a:pt x="5" y="38"/>
                  </a:cubicBezTo>
                  <a:cubicBezTo>
                    <a:pt x="3" y="37"/>
                    <a:pt x="3" y="37"/>
                    <a:pt x="3" y="37"/>
                  </a:cubicBezTo>
                  <a:cubicBezTo>
                    <a:pt x="0" y="48"/>
                    <a:pt x="0" y="48"/>
                    <a:pt x="0" y="48"/>
                  </a:cubicBezTo>
                  <a:cubicBezTo>
                    <a:pt x="0" y="48"/>
                    <a:pt x="0" y="48"/>
                    <a:pt x="0" y="48"/>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1" name="Freeform 104"/>
            <p:cNvSpPr>
              <a:spLocks/>
            </p:cNvSpPr>
            <p:nvPr/>
          </p:nvSpPr>
          <p:spPr bwMode="auto">
            <a:xfrm>
              <a:off x="8293100" y="3446463"/>
              <a:ext cx="128588" cy="222250"/>
            </a:xfrm>
            <a:custGeom>
              <a:avLst/>
              <a:gdLst>
                <a:gd name="T0" fmla="*/ 22 w 34"/>
                <a:gd name="T1" fmla="*/ 59 h 59"/>
                <a:gd name="T2" fmla="*/ 22 w 34"/>
                <a:gd name="T3" fmla="*/ 51 h 59"/>
                <a:gd name="T4" fmla="*/ 34 w 34"/>
                <a:gd name="T5" fmla="*/ 37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4 h 59"/>
                <a:gd name="T34" fmla="*/ 20 w 34"/>
                <a:gd name="T35" fmla="*/ 38 h 59"/>
                <a:gd name="T36" fmla="*/ 16 w 34"/>
                <a:gd name="T37" fmla="*/ 41 h 59"/>
                <a:gd name="T38" fmla="*/ 5 w 34"/>
                <a:gd name="T39" fmla="*/ 38 h 59"/>
                <a:gd name="T40" fmla="*/ 3 w 34"/>
                <a:gd name="T41" fmla="*/ 37 h 59"/>
                <a:gd name="T42" fmla="*/ 0 w 34"/>
                <a:gd name="T43" fmla="*/ 48 h 59"/>
                <a:gd name="T44" fmla="*/ 0 w 34"/>
                <a:gd name="T45" fmla="*/ 48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49"/>
                    <a:pt x="34" y="44"/>
                    <a:pt x="34" y="37"/>
                  </a:cubicBezTo>
                  <a:cubicBezTo>
                    <a:pt x="34" y="31"/>
                    <a:pt x="31" y="26"/>
                    <a:pt x="22" y="23"/>
                  </a:cubicBezTo>
                  <a:cubicBezTo>
                    <a:pt x="19" y="22"/>
                    <a:pt x="15" y="20"/>
                    <a:pt x="15" y="19"/>
                  </a:cubicBezTo>
                  <a:cubicBezTo>
                    <a:pt x="15" y="17"/>
                    <a:pt x="18"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6"/>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4"/>
                  </a:cubicBezTo>
                  <a:cubicBezTo>
                    <a:pt x="20" y="36"/>
                    <a:pt x="20" y="37"/>
                    <a:pt x="20" y="38"/>
                  </a:cubicBezTo>
                  <a:cubicBezTo>
                    <a:pt x="20" y="40"/>
                    <a:pt x="18" y="41"/>
                    <a:pt x="16" y="41"/>
                  </a:cubicBezTo>
                  <a:cubicBezTo>
                    <a:pt x="11" y="41"/>
                    <a:pt x="7" y="39"/>
                    <a:pt x="5" y="38"/>
                  </a:cubicBezTo>
                  <a:cubicBezTo>
                    <a:pt x="3" y="37"/>
                    <a:pt x="3" y="37"/>
                    <a:pt x="3" y="37"/>
                  </a:cubicBezTo>
                  <a:cubicBezTo>
                    <a:pt x="0" y="48"/>
                    <a:pt x="0" y="48"/>
                    <a:pt x="0" y="48"/>
                  </a:cubicBezTo>
                  <a:cubicBezTo>
                    <a:pt x="0" y="48"/>
                    <a:pt x="0" y="48"/>
                    <a:pt x="0" y="48"/>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2" name="Freeform 105"/>
            <p:cNvSpPr>
              <a:spLocks/>
            </p:cNvSpPr>
            <p:nvPr/>
          </p:nvSpPr>
          <p:spPr bwMode="auto">
            <a:xfrm>
              <a:off x="8470900" y="3446463"/>
              <a:ext cx="127000" cy="222250"/>
            </a:xfrm>
            <a:custGeom>
              <a:avLst/>
              <a:gdLst>
                <a:gd name="T0" fmla="*/ 22 w 34"/>
                <a:gd name="T1" fmla="*/ 59 h 59"/>
                <a:gd name="T2" fmla="*/ 22 w 34"/>
                <a:gd name="T3" fmla="*/ 51 h 59"/>
                <a:gd name="T4" fmla="*/ 34 w 34"/>
                <a:gd name="T5" fmla="*/ 37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8 h 59"/>
                <a:gd name="T36" fmla="*/ 15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49"/>
                    <a:pt x="34" y="44"/>
                    <a:pt x="34" y="37"/>
                  </a:cubicBezTo>
                  <a:cubicBezTo>
                    <a:pt x="34" y="31"/>
                    <a:pt x="30" y="26"/>
                    <a:pt x="21" y="23"/>
                  </a:cubicBezTo>
                  <a:cubicBezTo>
                    <a:pt x="18" y="22"/>
                    <a:pt x="14" y="20"/>
                    <a:pt x="14" y="19"/>
                  </a:cubicBezTo>
                  <a:cubicBezTo>
                    <a:pt x="14" y="17"/>
                    <a:pt x="17" y="17"/>
                    <a:pt x="18"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6"/>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8"/>
                  </a:cubicBezTo>
                  <a:cubicBezTo>
                    <a:pt x="20" y="40"/>
                    <a:pt x="17" y="41"/>
                    <a:pt x="15" y="41"/>
                  </a:cubicBezTo>
                  <a:cubicBezTo>
                    <a:pt x="11" y="41"/>
                    <a:pt x="7" y="39"/>
                    <a:pt x="5" y="38"/>
                  </a:cubicBezTo>
                  <a:cubicBezTo>
                    <a:pt x="3" y="37"/>
                    <a:pt x="3" y="37"/>
                    <a:pt x="3" y="37"/>
                  </a:cubicBezTo>
                  <a:cubicBezTo>
                    <a:pt x="0" y="48"/>
                    <a:pt x="0" y="48"/>
                    <a:pt x="0" y="48"/>
                  </a:cubicBezTo>
                  <a:cubicBezTo>
                    <a:pt x="0" y="48"/>
                    <a:pt x="0" y="48"/>
                    <a:pt x="0" y="48"/>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3" name="Freeform 106"/>
            <p:cNvSpPr>
              <a:spLocks/>
            </p:cNvSpPr>
            <p:nvPr/>
          </p:nvSpPr>
          <p:spPr bwMode="auto">
            <a:xfrm>
              <a:off x="8642350" y="3446463"/>
              <a:ext cx="128588" cy="222250"/>
            </a:xfrm>
            <a:custGeom>
              <a:avLst/>
              <a:gdLst>
                <a:gd name="T0" fmla="*/ 22 w 34"/>
                <a:gd name="T1" fmla="*/ 59 h 59"/>
                <a:gd name="T2" fmla="*/ 22 w 34"/>
                <a:gd name="T3" fmla="*/ 51 h 59"/>
                <a:gd name="T4" fmla="*/ 34 w 34"/>
                <a:gd name="T5" fmla="*/ 37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8 h 59"/>
                <a:gd name="T36" fmla="*/ 16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49"/>
                    <a:pt x="34" y="44"/>
                    <a:pt x="34" y="37"/>
                  </a:cubicBezTo>
                  <a:cubicBezTo>
                    <a:pt x="34" y="31"/>
                    <a:pt x="30" y="26"/>
                    <a:pt x="22" y="23"/>
                  </a:cubicBezTo>
                  <a:cubicBezTo>
                    <a:pt x="18" y="22"/>
                    <a:pt x="15" y="20"/>
                    <a:pt x="15" y="19"/>
                  </a:cubicBezTo>
                  <a:cubicBezTo>
                    <a:pt x="15" y="17"/>
                    <a:pt x="17"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6"/>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20" y="36"/>
                    <a:pt x="20" y="37"/>
                    <a:pt x="20" y="38"/>
                  </a:cubicBezTo>
                  <a:cubicBezTo>
                    <a:pt x="20" y="40"/>
                    <a:pt x="18" y="41"/>
                    <a:pt x="16" y="41"/>
                  </a:cubicBezTo>
                  <a:cubicBezTo>
                    <a:pt x="11" y="41"/>
                    <a:pt x="7" y="39"/>
                    <a:pt x="5" y="38"/>
                  </a:cubicBezTo>
                  <a:cubicBezTo>
                    <a:pt x="3" y="37"/>
                    <a:pt x="3" y="37"/>
                    <a:pt x="3" y="37"/>
                  </a:cubicBezTo>
                  <a:cubicBezTo>
                    <a:pt x="0" y="48"/>
                    <a:pt x="0" y="48"/>
                    <a:pt x="0" y="48"/>
                  </a:cubicBezTo>
                  <a:cubicBezTo>
                    <a:pt x="0" y="48"/>
                    <a:pt x="0" y="48"/>
                    <a:pt x="0" y="48"/>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4" name="Freeform 107"/>
            <p:cNvSpPr>
              <a:spLocks/>
            </p:cNvSpPr>
            <p:nvPr/>
          </p:nvSpPr>
          <p:spPr bwMode="auto">
            <a:xfrm>
              <a:off x="8820150" y="3446463"/>
              <a:ext cx="127000" cy="222250"/>
            </a:xfrm>
            <a:custGeom>
              <a:avLst/>
              <a:gdLst>
                <a:gd name="T0" fmla="*/ 22 w 34"/>
                <a:gd name="T1" fmla="*/ 59 h 59"/>
                <a:gd name="T2" fmla="*/ 22 w 34"/>
                <a:gd name="T3" fmla="*/ 51 h 59"/>
                <a:gd name="T4" fmla="*/ 34 w 34"/>
                <a:gd name="T5" fmla="*/ 37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8 h 59"/>
                <a:gd name="T36" fmla="*/ 15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49"/>
                    <a:pt x="34" y="44"/>
                    <a:pt x="34" y="37"/>
                  </a:cubicBezTo>
                  <a:cubicBezTo>
                    <a:pt x="34" y="31"/>
                    <a:pt x="30" y="26"/>
                    <a:pt x="21" y="23"/>
                  </a:cubicBezTo>
                  <a:cubicBezTo>
                    <a:pt x="18" y="22"/>
                    <a:pt x="14" y="20"/>
                    <a:pt x="14" y="19"/>
                  </a:cubicBezTo>
                  <a:cubicBezTo>
                    <a:pt x="14" y="17"/>
                    <a:pt x="17" y="17"/>
                    <a:pt x="18"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6"/>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8"/>
                  </a:cubicBezTo>
                  <a:cubicBezTo>
                    <a:pt x="20" y="40"/>
                    <a:pt x="17" y="41"/>
                    <a:pt x="15" y="41"/>
                  </a:cubicBezTo>
                  <a:cubicBezTo>
                    <a:pt x="10" y="41"/>
                    <a:pt x="6" y="39"/>
                    <a:pt x="5" y="38"/>
                  </a:cubicBezTo>
                  <a:cubicBezTo>
                    <a:pt x="3" y="37"/>
                    <a:pt x="3" y="37"/>
                    <a:pt x="3" y="37"/>
                  </a:cubicBezTo>
                  <a:cubicBezTo>
                    <a:pt x="0" y="48"/>
                    <a:pt x="0" y="48"/>
                    <a:pt x="0" y="48"/>
                  </a:cubicBezTo>
                  <a:cubicBezTo>
                    <a:pt x="0" y="48"/>
                    <a:pt x="0" y="48"/>
                    <a:pt x="0" y="48"/>
                  </a:cubicBezTo>
                  <a:cubicBezTo>
                    <a:pt x="1" y="49"/>
                    <a:pt x="1" y="49"/>
                    <a:pt x="1" y="49"/>
                  </a:cubicBezTo>
                  <a:cubicBezTo>
                    <a:pt x="4" y="51"/>
                    <a:pt x="8"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5" name="Freeform 108"/>
            <p:cNvSpPr>
              <a:spLocks/>
            </p:cNvSpPr>
            <p:nvPr/>
          </p:nvSpPr>
          <p:spPr bwMode="auto">
            <a:xfrm>
              <a:off x="8991600" y="3446463"/>
              <a:ext cx="128588" cy="222250"/>
            </a:xfrm>
            <a:custGeom>
              <a:avLst/>
              <a:gdLst>
                <a:gd name="T0" fmla="*/ 22 w 34"/>
                <a:gd name="T1" fmla="*/ 59 h 59"/>
                <a:gd name="T2" fmla="*/ 22 w 34"/>
                <a:gd name="T3" fmla="*/ 51 h 59"/>
                <a:gd name="T4" fmla="*/ 34 w 34"/>
                <a:gd name="T5" fmla="*/ 37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8 h 59"/>
                <a:gd name="T36" fmla="*/ 15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49"/>
                    <a:pt x="34" y="44"/>
                    <a:pt x="34" y="37"/>
                  </a:cubicBezTo>
                  <a:cubicBezTo>
                    <a:pt x="34" y="31"/>
                    <a:pt x="30" y="26"/>
                    <a:pt x="22" y="23"/>
                  </a:cubicBezTo>
                  <a:cubicBezTo>
                    <a:pt x="18" y="22"/>
                    <a:pt x="15" y="20"/>
                    <a:pt x="15" y="19"/>
                  </a:cubicBezTo>
                  <a:cubicBezTo>
                    <a:pt x="15" y="17"/>
                    <a:pt x="17"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29" y="8"/>
                    <a:pt x="27" y="6"/>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8"/>
                  </a:cubicBezTo>
                  <a:cubicBezTo>
                    <a:pt x="20" y="40"/>
                    <a:pt x="18" y="41"/>
                    <a:pt x="15" y="41"/>
                  </a:cubicBezTo>
                  <a:cubicBezTo>
                    <a:pt x="11" y="41"/>
                    <a:pt x="7" y="39"/>
                    <a:pt x="5" y="38"/>
                  </a:cubicBezTo>
                  <a:cubicBezTo>
                    <a:pt x="3" y="37"/>
                    <a:pt x="3" y="37"/>
                    <a:pt x="3" y="37"/>
                  </a:cubicBezTo>
                  <a:cubicBezTo>
                    <a:pt x="0" y="48"/>
                    <a:pt x="0" y="48"/>
                    <a:pt x="0" y="48"/>
                  </a:cubicBezTo>
                  <a:cubicBezTo>
                    <a:pt x="0" y="48"/>
                    <a:pt x="0" y="48"/>
                    <a:pt x="0" y="48"/>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6" name="Freeform 109"/>
            <p:cNvSpPr>
              <a:spLocks/>
            </p:cNvSpPr>
            <p:nvPr/>
          </p:nvSpPr>
          <p:spPr bwMode="auto">
            <a:xfrm>
              <a:off x="9169400" y="3446463"/>
              <a:ext cx="123825" cy="222250"/>
            </a:xfrm>
            <a:custGeom>
              <a:avLst/>
              <a:gdLst>
                <a:gd name="T0" fmla="*/ 21 w 33"/>
                <a:gd name="T1" fmla="*/ 59 h 59"/>
                <a:gd name="T2" fmla="*/ 21 w 33"/>
                <a:gd name="T3" fmla="*/ 51 h 59"/>
                <a:gd name="T4" fmla="*/ 33 w 33"/>
                <a:gd name="T5" fmla="*/ 37 h 59"/>
                <a:gd name="T6" fmla="*/ 21 w 33"/>
                <a:gd name="T7" fmla="*/ 23 h 59"/>
                <a:gd name="T8" fmla="*/ 14 w 33"/>
                <a:gd name="T9" fmla="*/ 19 h 59"/>
                <a:gd name="T10" fmla="*/ 18 w 33"/>
                <a:gd name="T11" fmla="*/ 17 h 59"/>
                <a:gd name="T12" fmla="*/ 27 w 33"/>
                <a:gd name="T13" fmla="*/ 19 h 59"/>
                <a:gd name="T14" fmla="*/ 29 w 33"/>
                <a:gd name="T15" fmla="*/ 20 h 59"/>
                <a:gd name="T16" fmla="*/ 30 w 33"/>
                <a:gd name="T17" fmla="*/ 18 h 59"/>
                <a:gd name="T18" fmla="*/ 32 w 33"/>
                <a:gd name="T19" fmla="*/ 9 h 59"/>
                <a:gd name="T20" fmla="*/ 31 w 33"/>
                <a:gd name="T21" fmla="*/ 8 h 59"/>
                <a:gd name="T22" fmla="*/ 22 w 33"/>
                <a:gd name="T23" fmla="*/ 6 h 59"/>
                <a:gd name="T24" fmla="*/ 22 w 33"/>
                <a:gd name="T25" fmla="*/ 0 h 59"/>
                <a:gd name="T26" fmla="*/ 12 w 33"/>
                <a:gd name="T27" fmla="*/ 0 h 59"/>
                <a:gd name="T28" fmla="*/ 12 w 33"/>
                <a:gd name="T29" fmla="*/ 7 h 59"/>
                <a:gd name="T30" fmla="*/ 0 w 33"/>
                <a:gd name="T31" fmla="*/ 20 h 59"/>
                <a:gd name="T32" fmla="*/ 14 w 33"/>
                <a:gd name="T33" fmla="*/ 34 h 59"/>
                <a:gd name="T34" fmla="*/ 20 w 33"/>
                <a:gd name="T35" fmla="*/ 38 h 59"/>
                <a:gd name="T36" fmla="*/ 15 w 33"/>
                <a:gd name="T37" fmla="*/ 41 h 59"/>
                <a:gd name="T38" fmla="*/ 5 w 33"/>
                <a:gd name="T39" fmla="*/ 38 h 59"/>
                <a:gd name="T40" fmla="*/ 3 w 33"/>
                <a:gd name="T41" fmla="*/ 37 h 59"/>
                <a:gd name="T42" fmla="*/ 0 w 33"/>
                <a:gd name="T43" fmla="*/ 48 h 59"/>
                <a:gd name="T44" fmla="*/ 0 w 33"/>
                <a:gd name="T45" fmla="*/ 48 h 59"/>
                <a:gd name="T46" fmla="*/ 1 w 33"/>
                <a:gd name="T47" fmla="*/ 49 h 59"/>
                <a:gd name="T48" fmla="*/ 11 w 33"/>
                <a:gd name="T49" fmla="*/ 52 h 59"/>
                <a:gd name="T50" fmla="*/ 11 w 33"/>
                <a:gd name="T51" fmla="*/ 59 h 59"/>
                <a:gd name="T52" fmla="*/ 21 w 33"/>
                <a:gd name="T53" fmla="*/ 59 h 59"/>
                <a:gd name="T54" fmla="*/ 21 w 33"/>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 h="59">
                  <a:moveTo>
                    <a:pt x="21" y="59"/>
                  </a:moveTo>
                  <a:cubicBezTo>
                    <a:pt x="21" y="51"/>
                    <a:pt x="21" y="51"/>
                    <a:pt x="21" y="51"/>
                  </a:cubicBezTo>
                  <a:cubicBezTo>
                    <a:pt x="29" y="49"/>
                    <a:pt x="33" y="44"/>
                    <a:pt x="33" y="37"/>
                  </a:cubicBezTo>
                  <a:cubicBezTo>
                    <a:pt x="33" y="31"/>
                    <a:pt x="30" y="26"/>
                    <a:pt x="21" y="23"/>
                  </a:cubicBezTo>
                  <a:cubicBezTo>
                    <a:pt x="18" y="22"/>
                    <a:pt x="14" y="20"/>
                    <a:pt x="14" y="19"/>
                  </a:cubicBezTo>
                  <a:cubicBezTo>
                    <a:pt x="14" y="17"/>
                    <a:pt x="17" y="17"/>
                    <a:pt x="18" y="17"/>
                  </a:cubicBezTo>
                  <a:cubicBezTo>
                    <a:pt x="23" y="17"/>
                    <a:pt x="25"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6"/>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8"/>
                  </a:cubicBezTo>
                  <a:cubicBezTo>
                    <a:pt x="20" y="40"/>
                    <a:pt x="17" y="41"/>
                    <a:pt x="15" y="41"/>
                  </a:cubicBezTo>
                  <a:cubicBezTo>
                    <a:pt x="10" y="41"/>
                    <a:pt x="6" y="39"/>
                    <a:pt x="5" y="38"/>
                  </a:cubicBezTo>
                  <a:cubicBezTo>
                    <a:pt x="3" y="37"/>
                    <a:pt x="3" y="37"/>
                    <a:pt x="3" y="37"/>
                  </a:cubicBezTo>
                  <a:cubicBezTo>
                    <a:pt x="0" y="48"/>
                    <a:pt x="0" y="48"/>
                    <a:pt x="0" y="48"/>
                  </a:cubicBezTo>
                  <a:cubicBezTo>
                    <a:pt x="0" y="48"/>
                    <a:pt x="0" y="48"/>
                    <a:pt x="0" y="48"/>
                  </a:cubicBezTo>
                  <a:cubicBezTo>
                    <a:pt x="1" y="49"/>
                    <a:pt x="1" y="49"/>
                    <a:pt x="1" y="49"/>
                  </a:cubicBezTo>
                  <a:cubicBezTo>
                    <a:pt x="3" y="51"/>
                    <a:pt x="7" y="52"/>
                    <a:pt x="11" y="52"/>
                  </a:cubicBezTo>
                  <a:cubicBezTo>
                    <a:pt x="11" y="59"/>
                    <a:pt x="11" y="59"/>
                    <a:pt x="11" y="59"/>
                  </a:cubicBezTo>
                  <a:cubicBezTo>
                    <a:pt x="21" y="59"/>
                    <a:pt x="21" y="59"/>
                    <a:pt x="21" y="59"/>
                  </a:cubicBezTo>
                  <a:cubicBezTo>
                    <a:pt x="21" y="59"/>
                    <a:pt x="21" y="59"/>
                    <a:pt x="21"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7" name="Freeform 110"/>
            <p:cNvSpPr>
              <a:spLocks/>
            </p:cNvSpPr>
            <p:nvPr/>
          </p:nvSpPr>
          <p:spPr bwMode="auto">
            <a:xfrm>
              <a:off x="7948613" y="3713163"/>
              <a:ext cx="127000" cy="222250"/>
            </a:xfrm>
            <a:custGeom>
              <a:avLst/>
              <a:gdLst>
                <a:gd name="T0" fmla="*/ 22 w 34"/>
                <a:gd name="T1" fmla="*/ 59 h 59"/>
                <a:gd name="T2" fmla="*/ 22 w 34"/>
                <a:gd name="T3" fmla="*/ 52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4" y="21"/>
                    <a:pt x="14" y="19"/>
                  </a:cubicBezTo>
                  <a:cubicBezTo>
                    <a:pt x="14" y="18"/>
                    <a:pt x="17" y="17"/>
                    <a:pt x="18" y="17"/>
                  </a:cubicBezTo>
                  <a:cubicBezTo>
                    <a:pt x="23" y="17"/>
                    <a:pt x="25"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8" name="Freeform 111"/>
            <p:cNvSpPr>
              <a:spLocks/>
            </p:cNvSpPr>
            <p:nvPr/>
          </p:nvSpPr>
          <p:spPr bwMode="auto">
            <a:xfrm>
              <a:off x="8120063" y="3713163"/>
              <a:ext cx="128588" cy="222250"/>
            </a:xfrm>
            <a:custGeom>
              <a:avLst/>
              <a:gdLst>
                <a:gd name="T0" fmla="*/ 22 w 34"/>
                <a:gd name="T1" fmla="*/ 59 h 59"/>
                <a:gd name="T2" fmla="*/ 22 w 34"/>
                <a:gd name="T3" fmla="*/ 52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5" y="21"/>
                    <a:pt x="15" y="19"/>
                  </a:cubicBezTo>
                  <a:cubicBezTo>
                    <a:pt x="15" y="18"/>
                    <a:pt x="17" y="17"/>
                    <a:pt x="19"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8"/>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9" name="Freeform 112"/>
            <p:cNvSpPr>
              <a:spLocks/>
            </p:cNvSpPr>
            <p:nvPr/>
          </p:nvSpPr>
          <p:spPr bwMode="auto">
            <a:xfrm>
              <a:off x="8293100" y="3713163"/>
              <a:ext cx="128588" cy="222250"/>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30" y="50"/>
                    <a:pt x="34" y="45"/>
                    <a:pt x="34" y="38"/>
                  </a:cubicBezTo>
                  <a:cubicBezTo>
                    <a:pt x="34" y="31"/>
                    <a:pt x="31" y="26"/>
                    <a:pt x="22" y="23"/>
                  </a:cubicBezTo>
                  <a:cubicBezTo>
                    <a:pt x="19" y="22"/>
                    <a:pt x="15" y="21"/>
                    <a:pt x="15" y="19"/>
                  </a:cubicBezTo>
                  <a:cubicBezTo>
                    <a:pt x="15" y="18"/>
                    <a:pt x="18"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4"/>
                  </a:cubicBezTo>
                  <a:cubicBezTo>
                    <a:pt x="20" y="36"/>
                    <a:pt x="20" y="38"/>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0" name="Freeform 113"/>
            <p:cNvSpPr>
              <a:spLocks/>
            </p:cNvSpPr>
            <p:nvPr/>
          </p:nvSpPr>
          <p:spPr bwMode="auto">
            <a:xfrm>
              <a:off x="8470900" y="3713163"/>
              <a:ext cx="127000" cy="222250"/>
            </a:xfrm>
            <a:custGeom>
              <a:avLst/>
              <a:gdLst>
                <a:gd name="T0" fmla="*/ 22 w 34"/>
                <a:gd name="T1" fmla="*/ 59 h 59"/>
                <a:gd name="T2" fmla="*/ 22 w 34"/>
                <a:gd name="T3" fmla="*/ 52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4" y="21"/>
                    <a:pt x="14" y="19"/>
                  </a:cubicBezTo>
                  <a:cubicBezTo>
                    <a:pt x="14" y="18"/>
                    <a:pt x="17" y="17"/>
                    <a:pt x="18"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8"/>
                    <a:pt x="20" y="39"/>
                  </a:cubicBezTo>
                  <a:cubicBezTo>
                    <a:pt x="20" y="40"/>
                    <a:pt x="17"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1" name="Freeform 114"/>
            <p:cNvSpPr>
              <a:spLocks/>
            </p:cNvSpPr>
            <p:nvPr/>
          </p:nvSpPr>
          <p:spPr bwMode="auto">
            <a:xfrm>
              <a:off x="8642350" y="3713163"/>
              <a:ext cx="128588" cy="222250"/>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30" y="50"/>
                    <a:pt x="34" y="45"/>
                    <a:pt x="34" y="38"/>
                  </a:cubicBezTo>
                  <a:cubicBezTo>
                    <a:pt x="34" y="31"/>
                    <a:pt x="30" y="26"/>
                    <a:pt x="22" y="23"/>
                  </a:cubicBezTo>
                  <a:cubicBezTo>
                    <a:pt x="18" y="22"/>
                    <a:pt x="15" y="21"/>
                    <a:pt x="15" y="19"/>
                  </a:cubicBezTo>
                  <a:cubicBezTo>
                    <a:pt x="15" y="18"/>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30"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20" y="36"/>
                    <a:pt x="20" y="38"/>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2" name="Freeform 115"/>
            <p:cNvSpPr>
              <a:spLocks/>
            </p:cNvSpPr>
            <p:nvPr/>
          </p:nvSpPr>
          <p:spPr bwMode="auto">
            <a:xfrm>
              <a:off x="8820150" y="3713163"/>
              <a:ext cx="127000" cy="222250"/>
            </a:xfrm>
            <a:custGeom>
              <a:avLst/>
              <a:gdLst>
                <a:gd name="T0" fmla="*/ 22 w 34"/>
                <a:gd name="T1" fmla="*/ 59 h 59"/>
                <a:gd name="T2" fmla="*/ 22 w 34"/>
                <a:gd name="T3" fmla="*/ 52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4" y="21"/>
                    <a:pt x="14" y="19"/>
                  </a:cubicBezTo>
                  <a:cubicBezTo>
                    <a:pt x="14" y="18"/>
                    <a:pt x="17" y="17"/>
                    <a:pt x="18"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3" name="Freeform 116"/>
            <p:cNvSpPr>
              <a:spLocks/>
            </p:cNvSpPr>
            <p:nvPr/>
          </p:nvSpPr>
          <p:spPr bwMode="auto">
            <a:xfrm>
              <a:off x="8991600" y="3713163"/>
              <a:ext cx="128588" cy="222250"/>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2" y="23"/>
                  </a:cubicBezTo>
                  <a:cubicBezTo>
                    <a:pt x="18" y="22"/>
                    <a:pt x="15" y="21"/>
                    <a:pt x="15" y="19"/>
                  </a:cubicBezTo>
                  <a:cubicBezTo>
                    <a:pt x="15" y="18"/>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29"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8"/>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4" name="Freeform 117"/>
            <p:cNvSpPr>
              <a:spLocks/>
            </p:cNvSpPr>
            <p:nvPr/>
          </p:nvSpPr>
          <p:spPr bwMode="auto">
            <a:xfrm>
              <a:off x="9169400" y="3713163"/>
              <a:ext cx="123825" cy="222250"/>
            </a:xfrm>
            <a:custGeom>
              <a:avLst/>
              <a:gdLst>
                <a:gd name="T0" fmla="*/ 21 w 33"/>
                <a:gd name="T1" fmla="*/ 59 h 59"/>
                <a:gd name="T2" fmla="*/ 21 w 33"/>
                <a:gd name="T3" fmla="*/ 52 h 59"/>
                <a:gd name="T4" fmla="*/ 33 w 33"/>
                <a:gd name="T5" fmla="*/ 38 h 59"/>
                <a:gd name="T6" fmla="*/ 21 w 33"/>
                <a:gd name="T7" fmla="*/ 23 h 59"/>
                <a:gd name="T8" fmla="*/ 14 w 33"/>
                <a:gd name="T9" fmla="*/ 19 h 59"/>
                <a:gd name="T10" fmla="*/ 18 w 33"/>
                <a:gd name="T11" fmla="*/ 17 h 59"/>
                <a:gd name="T12" fmla="*/ 27 w 33"/>
                <a:gd name="T13" fmla="*/ 19 h 59"/>
                <a:gd name="T14" fmla="*/ 29 w 33"/>
                <a:gd name="T15" fmla="*/ 20 h 59"/>
                <a:gd name="T16" fmla="*/ 30 w 33"/>
                <a:gd name="T17" fmla="*/ 18 h 59"/>
                <a:gd name="T18" fmla="*/ 32 w 33"/>
                <a:gd name="T19" fmla="*/ 9 h 59"/>
                <a:gd name="T20" fmla="*/ 31 w 33"/>
                <a:gd name="T21" fmla="*/ 9 h 59"/>
                <a:gd name="T22" fmla="*/ 22 w 33"/>
                <a:gd name="T23" fmla="*/ 6 h 59"/>
                <a:gd name="T24" fmla="*/ 22 w 33"/>
                <a:gd name="T25" fmla="*/ 0 h 59"/>
                <a:gd name="T26" fmla="*/ 12 w 33"/>
                <a:gd name="T27" fmla="*/ 0 h 59"/>
                <a:gd name="T28" fmla="*/ 12 w 33"/>
                <a:gd name="T29" fmla="*/ 7 h 59"/>
                <a:gd name="T30" fmla="*/ 0 w 33"/>
                <a:gd name="T31" fmla="*/ 20 h 59"/>
                <a:gd name="T32" fmla="*/ 14 w 33"/>
                <a:gd name="T33" fmla="*/ 34 h 59"/>
                <a:gd name="T34" fmla="*/ 20 w 33"/>
                <a:gd name="T35" fmla="*/ 39 h 59"/>
                <a:gd name="T36" fmla="*/ 15 w 33"/>
                <a:gd name="T37" fmla="*/ 41 h 59"/>
                <a:gd name="T38" fmla="*/ 5 w 33"/>
                <a:gd name="T39" fmla="*/ 38 h 59"/>
                <a:gd name="T40" fmla="*/ 3 w 33"/>
                <a:gd name="T41" fmla="*/ 37 h 59"/>
                <a:gd name="T42" fmla="*/ 0 w 33"/>
                <a:gd name="T43" fmla="*/ 49 h 59"/>
                <a:gd name="T44" fmla="*/ 0 w 33"/>
                <a:gd name="T45" fmla="*/ 49 h 59"/>
                <a:gd name="T46" fmla="*/ 1 w 33"/>
                <a:gd name="T47" fmla="*/ 49 h 59"/>
                <a:gd name="T48" fmla="*/ 11 w 33"/>
                <a:gd name="T49" fmla="*/ 52 h 59"/>
                <a:gd name="T50" fmla="*/ 11 w 33"/>
                <a:gd name="T51" fmla="*/ 59 h 59"/>
                <a:gd name="T52" fmla="*/ 21 w 33"/>
                <a:gd name="T53" fmla="*/ 59 h 59"/>
                <a:gd name="T54" fmla="*/ 21 w 33"/>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 h="59">
                  <a:moveTo>
                    <a:pt x="21" y="59"/>
                  </a:moveTo>
                  <a:cubicBezTo>
                    <a:pt x="21" y="52"/>
                    <a:pt x="21" y="52"/>
                    <a:pt x="21" y="52"/>
                  </a:cubicBezTo>
                  <a:cubicBezTo>
                    <a:pt x="29" y="50"/>
                    <a:pt x="33" y="45"/>
                    <a:pt x="33" y="38"/>
                  </a:cubicBezTo>
                  <a:cubicBezTo>
                    <a:pt x="33" y="31"/>
                    <a:pt x="30" y="26"/>
                    <a:pt x="21" y="23"/>
                  </a:cubicBezTo>
                  <a:cubicBezTo>
                    <a:pt x="18" y="22"/>
                    <a:pt x="14" y="21"/>
                    <a:pt x="14" y="19"/>
                  </a:cubicBezTo>
                  <a:cubicBezTo>
                    <a:pt x="14" y="18"/>
                    <a:pt x="17" y="17"/>
                    <a:pt x="18" y="17"/>
                  </a:cubicBezTo>
                  <a:cubicBezTo>
                    <a:pt x="23" y="17"/>
                    <a:pt x="25"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1" y="59"/>
                    <a:pt x="21" y="59"/>
                    <a:pt x="21" y="59"/>
                  </a:cubicBezTo>
                  <a:cubicBezTo>
                    <a:pt x="21" y="59"/>
                    <a:pt x="21" y="59"/>
                    <a:pt x="21"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5" name="Freeform 118"/>
            <p:cNvSpPr>
              <a:spLocks/>
            </p:cNvSpPr>
            <p:nvPr/>
          </p:nvSpPr>
          <p:spPr bwMode="auto">
            <a:xfrm>
              <a:off x="7948613" y="4003675"/>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1"/>
                    <a:pt x="14" y="19"/>
                  </a:cubicBezTo>
                  <a:cubicBezTo>
                    <a:pt x="14" y="17"/>
                    <a:pt x="17" y="17"/>
                    <a:pt x="18" y="17"/>
                  </a:cubicBezTo>
                  <a:cubicBezTo>
                    <a:pt x="23" y="17"/>
                    <a:pt x="25" y="19"/>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6" name="Freeform 119"/>
            <p:cNvSpPr>
              <a:spLocks/>
            </p:cNvSpPr>
            <p:nvPr/>
          </p:nvSpPr>
          <p:spPr bwMode="auto">
            <a:xfrm>
              <a:off x="8120063" y="4003675"/>
              <a:ext cx="128588" cy="222250"/>
            </a:xfrm>
            <a:custGeom>
              <a:avLst/>
              <a:gdLst>
                <a:gd name="T0" fmla="*/ 22 w 34"/>
                <a:gd name="T1" fmla="*/ 59 h 59"/>
                <a:gd name="T2" fmla="*/ 22 w 34"/>
                <a:gd name="T3" fmla="*/ 51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5" y="21"/>
                    <a:pt x="15" y="19"/>
                  </a:cubicBezTo>
                  <a:cubicBezTo>
                    <a:pt x="15" y="17"/>
                    <a:pt x="17" y="17"/>
                    <a:pt x="19" y="17"/>
                  </a:cubicBezTo>
                  <a:cubicBezTo>
                    <a:pt x="23" y="17"/>
                    <a:pt x="26" y="19"/>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7" name="Freeform 120"/>
            <p:cNvSpPr>
              <a:spLocks/>
            </p:cNvSpPr>
            <p:nvPr/>
          </p:nvSpPr>
          <p:spPr bwMode="auto">
            <a:xfrm>
              <a:off x="8293100" y="4003675"/>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1" y="26"/>
                    <a:pt x="22" y="23"/>
                  </a:cubicBezTo>
                  <a:cubicBezTo>
                    <a:pt x="19" y="22"/>
                    <a:pt x="15" y="21"/>
                    <a:pt x="15" y="19"/>
                  </a:cubicBezTo>
                  <a:cubicBezTo>
                    <a:pt x="15" y="17"/>
                    <a:pt x="18"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4"/>
                  </a:cubicBezTo>
                  <a:cubicBezTo>
                    <a:pt x="20" y="36"/>
                    <a:pt x="20" y="37"/>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8" name="Freeform 121"/>
            <p:cNvSpPr>
              <a:spLocks/>
            </p:cNvSpPr>
            <p:nvPr/>
          </p:nvSpPr>
          <p:spPr bwMode="auto">
            <a:xfrm>
              <a:off x="8470900" y="4003675"/>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1"/>
                    <a:pt x="14" y="19"/>
                  </a:cubicBezTo>
                  <a:cubicBezTo>
                    <a:pt x="14" y="17"/>
                    <a:pt x="17" y="17"/>
                    <a:pt x="18" y="17"/>
                  </a:cubicBezTo>
                  <a:cubicBezTo>
                    <a:pt x="23" y="17"/>
                    <a:pt x="26" y="19"/>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7"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9" name="Freeform 122"/>
            <p:cNvSpPr>
              <a:spLocks/>
            </p:cNvSpPr>
            <p:nvPr/>
          </p:nvSpPr>
          <p:spPr bwMode="auto">
            <a:xfrm>
              <a:off x="8642350" y="4003675"/>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0" y="26"/>
                    <a:pt x="22" y="23"/>
                  </a:cubicBezTo>
                  <a:cubicBezTo>
                    <a:pt x="18" y="22"/>
                    <a:pt x="15" y="21"/>
                    <a:pt x="15" y="19"/>
                  </a:cubicBezTo>
                  <a:cubicBezTo>
                    <a:pt x="15" y="17"/>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20" y="36"/>
                    <a:pt x="20" y="37"/>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40" name="Freeform 123"/>
            <p:cNvSpPr>
              <a:spLocks/>
            </p:cNvSpPr>
            <p:nvPr/>
          </p:nvSpPr>
          <p:spPr bwMode="auto">
            <a:xfrm>
              <a:off x="8820150" y="4003675"/>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1"/>
                    <a:pt x="14" y="19"/>
                  </a:cubicBezTo>
                  <a:cubicBezTo>
                    <a:pt x="14" y="17"/>
                    <a:pt x="17" y="17"/>
                    <a:pt x="18" y="17"/>
                  </a:cubicBezTo>
                  <a:cubicBezTo>
                    <a:pt x="23" y="17"/>
                    <a:pt x="26" y="19"/>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41" name="Freeform 124"/>
            <p:cNvSpPr>
              <a:spLocks/>
            </p:cNvSpPr>
            <p:nvPr/>
          </p:nvSpPr>
          <p:spPr bwMode="auto">
            <a:xfrm>
              <a:off x="8991600" y="4003675"/>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2" y="23"/>
                  </a:cubicBezTo>
                  <a:cubicBezTo>
                    <a:pt x="18" y="22"/>
                    <a:pt x="15" y="21"/>
                    <a:pt x="15" y="19"/>
                  </a:cubicBezTo>
                  <a:cubicBezTo>
                    <a:pt x="15" y="17"/>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8"/>
                    <a:pt x="31" y="8"/>
                    <a:pt x="31" y="8"/>
                  </a:cubicBezTo>
                  <a:cubicBezTo>
                    <a:pt x="29"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42" name="Freeform 125"/>
            <p:cNvSpPr>
              <a:spLocks/>
            </p:cNvSpPr>
            <p:nvPr/>
          </p:nvSpPr>
          <p:spPr bwMode="auto">
            <a:xfrm>
              <a:off x="9169400" y="4003675"/>
              <a:ext cx="123825" cy="222250"/>
            </a:xfrm>
            <a:custGeom>
              <a:avLst/>
              <a:gdLst>
                <a:gd name="T0" fmla="*/ 21 w 33"/>
                <a:gd name="T1" fmla="*/ 59 h 59"/>
                <a:gd name="T2" fmla="*/ 21 w 33"/>
                <a:gd name="T3" fmla="*/ 51 h 59"/>
                <a:gd name="T4" fmla="*/ 33 w 33"/>
                <a:gd name="T5" fmla="*/ 38 h 59"/>
                <a:gd name="T6" fmla="*/ 21 w 33"/>
                <a:gd name="T7" fmla="*/ 23 h 59"/>
                <a:gd name="T8" fmla="*/ 14 w 33"/>
                <a:gd name="T9" fmla="*/ 19 h 59"/>
                <a:gd name="T10" fmla="*/ 18 w 33"/>
                <a:gd name="T11" fmla="*/ 17 h 59"/>
                <a:gd name="T12" fmla="*/ 27 w 33"/>
                <a:gd name="T13" fmla="*/ 19 h 59"/>
                <a:gd name="T14" fmla="*/ 29 w 33"/>
                <a:gd name="T15" fmla="*/ 20 h 59"/>
                <a:gd name="T16" fmla="*/ 30 w 33"/>
                <a:gd name="T17" fmla="*/ 18 h 59"/>
                <a:gd name="T18" fmla="*/ 32 w 33"/>
                <a:gd name="T19" fmla="*/ 9 h 59"/>
                <a:gd name="T20" fmla="*/ 31 w 33"/>
                <a:gd name="T21" fmla="*/ 8 h 59"/>
                <a:gd name="T22" fmla="*/ 22 w 33"/>
                <a:gd name="T23" fmla="*/ 6 h 59"/>
                <a:gd name="T24" fmla="*/ 22 w 33"/>
                <a:gd name="T25" fmla="*/ 0 h 59"/>
                <a:gd name="T26" fmla="*/ 12 w 33"/>
                <a:gd name="T27" fmla="*/ 0 h 59"/>
                <a:gd name="T28" fmla="*/ 12 w 33"/>
                <a:gd name="T29" fmla="*/ 7 h 59"/>
                <a:gd name="T30" fmla="*/ 0 w 33"/>
                <a:gd name="T31" fmla="*/ 20 h 59"/>
                <a:gd name="T32" fmla="*/ 14 w 33"/>
                <a:gd name="T33" fmla="*/ 34 h 59"/>
                <a:gd name="T34" fmla="*/ 20 w 33"/>
                <a:gd name="T35" fmla="*/ 39 h 59"/>
                <a:gd name="T36" fmla="*/ 15 w 33"/>
                <a:gd name="T37" fmla="*/ 41 h 59"/>
                <a:gd name="T38" fmla="*/ 5 w 33"/>
                <a:gd name="T39" fmla="*/ 38 h 59"/>
                <a:gd name="T40" fmla="*/ 3 w 33"/>
                <a:gd name="T41" fmla="*/ 37 h 59"/>
                <a:gd name="T42" fmla="*/ 0 w 33"/>
                <a:gd name="T43" fmla="*/ 49 h 59"/>
                <a:gd name="T44" fmla="*/ 0 w 33"/>
                <a:gd name="T45" fmla="*/ 49 h 59"/>
                <a:gd name="T46" fmla="*/ 1 w 33"/>
                <a:gd name="T47" fmla="*/ 49 h 59"/>
                <a:gd name="T48" fmla="*/ 11 w 33"/>
                <a:gd name="T49" fmla="*/ 52 h 59"/>
                <a:gd name="T50" fmla="*/ 11 w 33"/>
                <a:gd name="T51" fmla="*/ 59 h 59"/>
                <a:gd name="T52" fmla="*/ 21 w 33"/>
                <a:gd name="T53" fmla="*/ 59 h 59"/>
                <a:gd name="T54" fmla="*/ 21 w 33"/>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 h="59">
                  <a:moveTo>
                    <a:pt x="21" y="59"/>
                  </a:moveTo>
                  <a:cubicBezTo>
                    <a:pt x="21" y="51"/>
                    <a:pt x="21" y="51"/>
                    <a:pt x="21" y="51"/>
                  </a:cubicBezTo>
                  <a:cubicBezTo>
                    <a:pt x="29" y="50"/>
                    <a:pt x="33" y="44"/>
                    <a:pt x="33" y="38"/>
                  </a:cubicBezTo>
                  <a:cubicBezTo>
                    <a:pt x="33" y="31"/>
                    <a:pt x="30" y="26"/>
                    <a:pt x="21" y="23"/>
                  </a:cubicBezTo>
                  <a:cubicBezTo>
                    <a:pt x="18" y="22"/>
                    <a:pt x="14" y="21"/>
                    <a:pt x="14" y="19"/>
                  </a:cubicBezTo>
                  <a:cubicBezTo>
                    <a:pt x="14" y="17"/>
                    <a:pt x="17" y="17"/>
                    <a:pt x="18" y="17"/>
                  </a:cubicBezTo>
                  <a:cubicBezTo>
                    <a:pt x="23" y="17"/>
                    <a:pt x="25" y="19"/>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1" y="59"/>
                    <a:pt x="21" y="59"/>
                    <a:pt x="21" y="59"/>
                  </a:cubicBezTo>
                  <a:cubicBezTo>
                    <a:pt x="21" y="59"/>
                    <a:pt x="21" y="59"/>
                    <a:pt x="21"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43" name="Freeform 126"/>
            <p:cNvSpPr>
              <a:spLocks/>
            </p:cNvSpPr>
            <p:nvPr/>
          </p:nvSpPr>
          <p:spPr bwMode="auto">
            <a:xfrm>
              <a:off x="7948613" y="4286250"/>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5"/>
                    <a:pt x="34" y="38"/>
                  </a:cubicBezTo>
                  <a:cubicBezTo>
                    <a:pt x="34" y="31"/>
                    <a:pt x="30" y="26"/>
                    <a:pt x="21" y="23"/>
                  </a:cubicBezTo>
                  <a:cubicBezTo>
                    <a:pt x="18" y="22"/>
                    <a:pt x="14" y="21"/>
                    <a:pt x="14" y="19"/>
                  </a:cubicBezTo>
                  <a:cubicBezTo>
                    <a:pt x="14" y="17"/>
                    <a:pt x="17" y="17"/>
                    <a:pt x="18" y="17"/>
                  </a:cubicBezTo>
                  <a:cubicBezTo>
                    <a:pt x="23" y="17"/>
                    <a:pt x="25"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44" name="Freeform 127"/>
            <p:cNvSpPr>
              <a:spLocks/>
            </p:cNvSpPr>
            <p:nvPr/>
          </p:nvSpPr>
          <p:spPr bwMode="auto">
            <a:xfrm>
              <a:off x="8120063" y="4286250"/>
              <a:ext cx="128588" cy="222250"/>
            </a:xfrm>
            <a:custGeom>
              <a:avLst/>
              <a:gdLst>
                <a:gd name="T0" fmla="*/ 22 w 34"/>
                <a:gd name="T1" fmla="*/ 59 h 59"/>
                <a:gd name="T2" fmla="*/ 22 w 34"/>
                <a:gd name="T3" fmla="*/ 51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5"/>
                    <a:pt x="34" y="38"/>
                  </a:cubicBezTo>
                  <a:cubicBezTo>
                    <a:pt x="34" y="31"/>
                    <a:pt x="30" y="26"/>
                    <a:pt x="21" y="23"/>
                  </a:cubicBezTo>
                  <a:cubicBezTo>
                    <a:pt x="18" y="22"/>
                    <a:pt x="15" y="21"/>
                    <a:pt x="15" y="19"/>
                  </a:cubicBezTo>
                  <a:cubicBezTo>
                    <a:pt x="15" y="17"/>
                    <a:pt x="17" y="17"/>
                    <a:pt x="19"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8"/>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45" name="Freeform 128"/>
            <p:cNvSpPr>
              <a:spLocks/>
            </p:cNvSpPr>
            <p:nvPr/>
          </p:nvSpPr>
          <p:spPr bwMode="auto">
            <a:xfrm>
              <a:off x="8293100" y="4286250"/>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5"/>
                    <a:pt x="34" y="38"/>
                  </a:cubicBezTo>
                  <a:cubicBezTo>
                    <a:pt x="34" y="31"/>
                    <a:pt x="31" y="26"/>
                    <a:pt x="22" y="23"/>
                  </a:cubicBezTo>
                  <a:cubicBezTo>
                    <a:pt x="19" y="22"/>
                    <a:pt x="15" y="21"/>
                    <a:pt x="15" y="19"/>
                  </a:cubicBezTo>
                  <a:cubicBezTo>
                    <a:pt x="15" y="17"/>
                    <a:pt x="18"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4"/>
                  </a:cubicBezTo>
                  <a:cubicBezTo>
                    <a:pt x="20" y="36"/>
                    <a:pt x="20" y="38"/>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46" name="Freeform 129"/>
            <p:cNvSpPr>
              <a:spLocks/>
            </p:cNvSpPr>
            <p:nvPr/>
          </p:nvSpPr>
          <p:spPr bwMode="auto">
            <a:xfrm>
              <a:off x="8470900" y="4286250"/>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5"/>
                    <a:pt x="34" y="38"/>
                  </a:cubicBezTo>
                  <a:cubicBezTo>
                    <a:pt x="34" y="31"/>
                    <a:pt x="30" y="26"/>
                    <a:pt x="21" y="23"/>
                  </a:cubicBezTo>
                  <a:cubicBezTo>
                    <a:pt x="18" y="22"/>
                    <a:pt x="14" y="21"/>
                    <a:pt x="14" y="19"/>
                  </a:cubicBezTo>
                  <a:cubicBezTo>
                    <a:pt x="14" y="17"/>
                    <a:pt x="17" y="17"/>
                    <a:pt x="18"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8"/>
                    <a:pt x="20" y="39"/>
                  </a:cubicBezTo>
                  <a:cubicBezTo>
                    <a:pt x="20" y="40"/>
                    <a:pt x="17"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47" name="Freeform 130"/>
            <p:cNvSpPr>
              <a:spLocks/>
            </p:cNvSpPr>
            <p:nvPr/>
          </p:nvSpPr>
          <p:spPr bwMode="auto">
            <a:xfrm>
              <a:off x="8642350" y="4286250"/>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5"/>
                    <a:pt x="34" y="38"/>
                  </a:cubicBezTo>
                  <a:cubicBezTo>
                    <a:pt x="34" y="31"/>
                    <a:pt x="30" y="26"/>
                    <a:pt x="22" y="23"/>
                  </a:cubicBezTo>
                  <a:cubicBezTo>
                    <a:pt x="18" y="22"/>
                    <a:pt x="15" y="21"/>
                    <a:pt x="15" y="19"/>
                  </a:cubicBezTo>
                  <a:cubicBezTo>
                    <a:pt x="15" y="17"/>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30"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20" y="36"/>
                    <a:pt x="20" y="38"/>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48" name="Freeform 131"/>
            <p:cNvSpPr>
              <a:spLocks/>
            </p:cNvSpPr>
            <p:nvPr/>
          </p:nvSpPr>
          <p:spPr bwMode="auto">
            <a:xfrm>
              <a:off x="8820150" y="4286250"/>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5"/>
                    <a:pt x="34" y="38"/>
                  </a:cubicBezTo>
                  <a:cubicBezTo>
                    <a:pt x="34" y="31"/>
                    <a:pt x="30" y="26"/>
                    <a:pt x="21" y="23"/>
                  </a:cubicBezTo>
                  <a:cubicBezTo>
                    <a:pt x="18" y="22"/>
                    <a:pt x="14" y="21"/>
                    <a:pt x="14" y="19"/>
                  </a:cubicBezTo>
                  <a:cubicBezTo>
                    <a:pt x="14" y="17"/>
                    <a:pt x="17" y="17"/>
                    <a:pt x="18"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49" name="Freeform 132"/>
            <p:cNvSpPr>
              <a:spLocks/>
            </p:cNvSpPr>
            <p:nvPr/>
          </p:nvSpPr>
          <p:spPr bwMode="auto">
            <a:xfrm>
              <a:off x="8991600" y="4286250"/>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5"/>
                    <a:pt x="34" y="38"/>
                  </a:cubicBezTo>
                  <a:cubicBezTo>
                    <a:pt x="34" y="31"/>
                    <a:pt x="30" y="26"/>
                    <a:pt x="22" y="23"/>
                  </a:cubicBezTo>
                  <a:cubicBezTo>
                    <a:pt x="18" y="22"/>
                    <a:pt x="15" y="21"/>
                    <a:pt x="15" y="19"/>
                  </a:cubicBezTo>
                  <a:cubicBezTo>
                    <a:pt x="15" y="17"/>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29"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8"/>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50" name="Freeform 133"/>
            <p:cNvSpPr>
              <a:spLocks/>
            </p:cNvSpPr>
            <p:nvPr/>
          </p:nvSpPr>
          <p:spPr bwMode="auto">
            <a:xfrm>
              <a:off x="9169400" y="4286250"/>
              <a:ext cx="123825" cy="222250"/>
            </a:xfrm>
            <a:custGeom>
              <a:avLst/>
              <a:gdLst>
                <a:gd name="T0" fmla="*/ 21 w 33"/>
                <a:gd name="T1" fmla="*/ 59 h 59"/>
                <a:gd name="T2" fmla="*/ 21 w 33"/>
                <a:gd name="T3" fmla="*/ 51 h 59"/>
                <a:gd name="T4" fmla="*/ 33 w 33"/>
                <a:gd name="T5" fmla="*/ 38 h 59"/>
                <a:gd name="T6" fmla="*/ 21 w 33"/>
                <a:gd name="T7" fmla="*/ 23 h 59"/>
                <a:gd name="T8" fmla="*/ 14 w 33"/>
                <a:gd name="T9" fmla="*/ 19 h 59"/>
                <a:gd name="T10" fmla="*/ 18 w 33"/>
                <a:gd name="T11" fmla="*/ 17 h 59"/>
                <a:gd name="T12" fmla="*/ 27 w 33"/>
                <a:gd name="T13" fmla="*/ 19 h 59"/>
                <a:gd name="T14" fmla="*/ 29 w 33"/>
                <a:gd name="T15" fmla="*/ 20 h 59"/>
                <a:gd name="T16" fmla="*/ 30 w 33"/>
                <a:gd name="T17" fmla="*/ 18 h 59"/>
                <a:gd name="T18" fmla="*/ 32 w 33"/>
                <a:gd name="T19" fmla="*/ 9 h 59"/>
                <a:gd name="T20" fmla="*/ 31 w 33"/>
                <a:gd name="T21" fmla="*/ 9 h 59"/>
                <a:gd name="T22" fmla="*/ 22 w 33"/>
                <a:gd name="T23" fmla="*/ 6 h 59"/>
                <a:gd name="T24" fmla="*/ 22 w 33"/>
                <a:gd name="T25" fmla="*/ 0 h 59"/>
                <a:gd name="T26" fmla="*/ 12 w 33"/>
                <a:gd name="T27" fmla="*/ 0 h 59"/>
                <a:gd name="T28" fmla="*/ 12 w 33"/>
                <a:gd name="T29" fmla="*/ 7 h 59"/>
                <a:gd name="T30" fmla="*/ 0 w 33"/>
                <a:gd name="T31" fmla="*/ 20 h 59"/>
                <a:gd name="T32" fmla="*/ 14 w 33"/>
                <a:gd name="T33" fmla="*/ 34 h 59"/>
                <a:gd name="T34" fmla="*/ 20 w 33"/>
                <a:gd name="T35" fmla="*/ 39 h 59"/>
                <a:gd name="T36" fmla="*/ 15 w 33"/>
                <a:gd name="T37" fmla="*/ 41 h 59"/>
                <a:gd name="T38" fmla="*/ 5 w 33"/>
                <a:gd name="T39" fmla="*/ 38 h 59"/>
                <a:gd name="T40" fmla="*/ 3 w 33"/>
                <a:gd name="T41" fmla="*/ 37 h 59"/>
                <a:gd name="T42" fmla="*/ 0 w 33"/>
                <a:gd name="T43" fmla="*/ 49 h 59"/>
                <a:gd name="T44" fmla="*/ 0 w 33"/>
                <a:gd name="T45" fmla="*/ 49 h 59"/>
                <a:gd name="T46" fmla="*/ 1 w 33"/>
                <a:gd name="T47" fmla="*/ 49 h 59"/>
                <a:gd name="T48" fmla="*/ 11 w 33"/>
                <a:gd name="T49" fmla="*/ 52 h 59"/>
                <a:gd name="T50" fmla="*/ 11 w 33"/>
                <a:gd name="T51" fmla="*/ 59 h 59"/>
                <a:gd name="T52" fmla="*/ 21 w 33"/>
                <a:gd name="T53" fmla="*/ 59 h 59"/>
                <a:gd name="T54" fmla="*/ 21 w 33"/>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 h="59">
                  <a:moveTo>
                    <a:pt x="21" y="59"/>
                  </a:moveTo>
                  <a:cubicBezTo>
                    <a:pt x="21" y="51"/>
                    <a:pt x="21" y="51"/>
                    <a:pt x="21" y="51"/>
                  </a:cubicBezTo>
                  <a:cubicBezTo>
                    <a:pt x="29" y="50"/>
                    <a:pt x="33" y="45"/>
                    <a:pt x="33" y="38"/>
                  </a:cubicBezTo>
                  <a:cubicBezTo>
                    <a:pt x="33" y="31"/>
                    <a:pt x="30" y="26"/>
                    <a:pt x="21" y="23"/>
                  </a:cubicBezTo>
                  <a:cubicBezTo>
                    <a:pt x="18" y="22"/>
                    <a:pt x="14" y="21"/>
                    <a:pt x="14" y="19"/>
                  </a:cubicBezTo>
                  <a:cubicBezTo>
                    <a:pt x="14" y="17"/>
                    <a:pt x="17" y="17"/>
                    <a:pt x="18" y="17"/>
                  </a:cubicBezTo>
                  <a:cubicBezTo>
                    <a:pt x="23" y="17"/>
                    <a:pt x="25"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1" y="59"/>
                    <a:pt x="21" y="59"/>
                    <a:pt x="21" y="59"/>
                  </a:cubicBezTo>
                  <a:cubicBezTo>
                    <a:pt x="21" y="59"/>
                    <a:pt x="21" y="59"/>
                    <a:pt x="21"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51" name="Freeform 134"/>
            <p:cNvSpPr>
              <a:spLocks/>
            </p:cNvSpPr>
            <p:nvPr/>
          </p:nvSpPr>
          <p:spPr bwMode="auto">
            <a:xfrm>
              <a:off x="7948613" y="4576763"/>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0"/>
                    <a:pt x="14" y="19"/>
                  </a:cubicBezTo>
                  <a:cubicBezTo>
                    <a:pt x="14" y="17"/>
                    <a:pt x="17" y="17"/>
                    <a:pt x="18" y="17"/>
                  </a:cubicBezTo>
                  <a:cubicBezTo>
                    <a:pt x="23" y="17"/>
                    <a:pt x="25"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8"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52" name="Freeform 135"/>
            <p:cNvSpPr>
              <a:spLocks/>
            </p:cNvSpPr>
            <p:nvPr/>
          </p:nvSpPr>
          <p:spPr bwMode="auto">
            <a:xfrm>
              <a:off x="8120063" y="4576763"/>
              <a:ext cx="128588" cy="222250"/>
            </a:xfrm>
            <a:custGeom>
              <a:avLst/>
              <a:gdLst>
                <a:gd name="T0" fmla="*/ 22 w 34"/>
                <a:gd name="T1" fmla="*/ 59 h 59"/>
                <a:gd name="T2" fmla="*/ 22 w 34"/>
                <a:gd name="T3" fmla="*/ 51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5" y="20"/>
                    <a:pt x="15" y="19"/>
                  </a:cubicBezTo>
                  <a:cubicBezTo>
                    <a:pt x="15" y="17"/>
                    <a:pt x="17" y="17"/>
                    <a:pt x="19"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53" name="Freeform 136"/>
            <p:cNvSpPr>
              <a:spLocks/>
            </p:cNvSpPr>
            <p:nvPr/>
          </p:nvSpPr>
          <p:spPr bwMode="auto">
            <a:xfrm>
              <a:off x="8293100" y="4576763"/>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1" y="26"/>
                    <a:pt x="22" y="23"/>
                  </a:cubicBezTo>
                  <a:cubicBezTo>
                    <a:pt x="19" y="22"/>
                    <a:pt x="15" y="20"/>
                    <a:pt x="15" y="19"/>
                  </a:cubicBezTo>
                  <a:cubicBezTo>
                    <a:pt x="15" y="17"/>
                    <a:pt x="18"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4"/>
                  </a:cubicBezTo>
                  <a:cubicBezTo>
                    <a:pt x="20" y="36"/>
                    <a:pt x="20" y="37"/>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54" name="Freeform 137"/>
            <p:cNvSpPr>
              <a:spLocks/>
            </p:cNvSpPr>
            <p:nvPr/>
          </p:nvSpPr>
          <p:spPr bwMode="auto">
            <a:xfrm>
              <a:off x="8470900" y="4576763"/>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0"/>
                    <a:pt x="14" y="19"/>
                  </a:cubicBezTo>
                  <a:cubicBezTo>
                    <a:pt x="14" y="17"/>
                    <a:pt x="17" y="17"/>
                    <a:pt x="18"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7"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55" name="Freeform 138"/>
            <p:cNvSpPr>
              <a:spLocks/>
            </p:cNvSpPr>
            <p:nvPr/>
          </p:nvSpPr>
          <p:spPr bwMode="auto">
            <a:xfrm>
              <a:off x="8642350" y="4576763"/>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0" y="26"/>
                    <a:pt x="22" y="23"/>
                  </a:cubicBezTo>
                  <a:cubicBezTo>
                    <a:pt x="18" y="22"/>
                    <a:pt x="15" y="20"/>
                    <a:pt x="15" y="19"/>
                  </a:cubicBezTo>
                  <a:cubicBezTo>
                    <a:pt x="15" y="17"/>
                    <a:pt x="17"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3" y="6"/>
                  </a:cubicBezTo>
                  <a:cubicBezTo>
                    <a:pt x="23" y="0"/>
                    <a:pt x="23" y="0"/>
                    <a:pt x="23" y="0"/>
                  </a:cubicBezTo>
                  <a:cubicBezTo>
                    <a:pt x="12" y="0"/>
                    <a:pt x="12" y="0"/>
                    <a:pt x="12" y="0"/>
                  </a:cubicBezTo>
                  <a:cubicBezTo>
                    <a:pt x="12" y="7"/>
                    <a:pt x="12" y="7"/>
                    <a:pt x="12" y="7"/>
                  </a:cubicBezTo>
                  <a:cubicBezTo>
                    <a:pt x="5" y="9"/>
                    <a:pt x="1" y="14"/>
                    <a:pt x="1" y="20"/>
                  </a:cubicBezTo>
                  <a:cubicBezTo>
                    <a:pt x="1" y="29"/>
                    <a:pt x="8" y="32"/>
                    <a:pt x="14" y="34"/>
                  </a:cubicBezTo>
                  <a:cubicBezTo>
                    <a:pt x="20" y="36"/>
                    <a:pt x="20" y="37"/>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56" name="Freeform 139"/>
            <p:cNvSpPr>
              <a:spLocks/>
            </p:cNvSpPr>
            <p:nvPr/>
          </p:nvSpPr>
          <p:spPr bwMode="auto">
            <a:xfrm>
              <a:off x="8820150" y="4576763"/>
              <a:ext cx="127000"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0"/>
                    <a:pt x="14" y="19"/>
                  </a:cubicBezTo>
                  <a:cubicBezTo>
                    <a:pt x="14" y="17"/>
                    <a:pt x="17" y="17"/>
                    <a:pt x="18"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57" name="Freeform 140"/>
            <p:cNvSpPr>
              <a:spLocks/>
            </p:cNvSpPr>
            <p:nvPr/>
          </p:nvSpPr>
          <p:spPr bwMode="auto">
            <a:xfrm>
              <a:off x="8991600" y="4576763"/>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2" y="23"/>
                  </a:cubicBezTo>
                  <a:cubicBezTo>
                    <a:pt x="18" y="22"/>
                    <a:pt x="15" y="20"/>
                    <a:pt x="15" y="19"/>
                  </a:cubicBezTo>
                  <a:cubicBezTo>
                    <a:pt x="15" y="17"/>
                    <a:pt x="17"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29"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58" name="Freeform 141"/>
            <p:cNvSpPr>
              <a:spLocks/>
            </p:cNvSpPr>
            <p:nvPr/>
          </p:nvSpPr>
          <p:spPr bwMode="auto">
            <a:xfrm>
              <a:off x="9169400" y="4576763"/>
              <a:ext cx="123825" cy="222250"/>
            </a:xfrm>
            <a:custGeom>
              <a:avLst/>
              <a:gdLst>
                <a:gd name="T0" fmla="*/ 21 w 33"/>
                <a:gd name="T1" fmla="*/ 59 h 59"/>
                <a:gd name="T2" fmla="*/ 21 w 33"/>
                <a:gd name="T3" fmla="*/ 51 h 59"/>
                <a:gd name="T4" fmla="*/ 33 w 33"/>
                <a:gd name="T5" fmla="*/ 38 h 59"/>
                <a:gd name="T6" fmla="*/ 21 w 33"/>
                <a:gd name="T7" fmla="*/ 23 h 59"/>
                <a:gd name="T8" fmla="*/ 14 w 33"/>
                <a:gd name="T9" fmla="*/ 19 h 59"/>
                <a:gd name="T10" fmla="*/ 18 w 33"/>
                <a:gd name="T11" fmla="*/ 17 h 59"/>
                <a:gd name="T12" fmla="*/ 27 w 33"/>
                <a:gd name="T13" fmla="*/ 19 h 59"/>
                <a:gd name="T14" fmla="*/ 29 w 33"/>
                <a:gd name="T15" fmla="*/ 20 h 59"/>
                <a:gd name="T16" fmla="*/ 30 w 33"/>
                <a:gd name="T17" fmla="*/ 18 h 59"/>
                <a:gd name="T18" fmla="*/ 32 w 33"/>
                <a:gd name="T19" fmla="*/ 9 h 59"/>
                <a:gd name="T20" fmla="*/ 31 w 33"/>
                <a:gd name="T21" fmla="*/ 8 h 59"/>
                <a:gd name="T22" fmla="*/ 22 w 33"/>
                <a:gd name="T23" fmla="*/ 6 h 59"/>
                <a:gd name="T24" fmla="*/ 22 w 33"/>
                <a:gd name="T25" fmla="*/ 0 h 59"/>
                <a:gd name="T26" fmla="*/ 12 w 33"/>
                <a:gd name="T27" fmla="*/ 0 h 59"/>
                <a:gd name="T28" fmla="*/ 12 w 33"/>
                <a:gd name="T29" fmla="*/ 7 h 59"/>
                <a:gd name="T30" fmla="*/ 0 w 33"/>
                <a:gd name="T31" fmla="*/ 20 h 59"/>
                <a:gd name="T32" fmla="*/ 14 w 33"/>
                <a:gd name="T33" fmla="*/ 34 h 59"/>
                <a:gd name="T34" fmla="*/ 20 w 33"/>
                <a:gd name="T35" fmla="*/ 39 h 59"/>
                <a:gd name="T36" fmla="*/ 15 w 33"/>
                <a:gd name="T37" fmla="*/ 41 h 59"/>
                <a:gd name="T38" fmla="*/ 5 w 33"/>
                <a:gd name="T39" fmla="*/ 38 h 59"/>
                <a:gd name="T40" fmla="*/ 3 w 33"/>
                <a:gd name="T41" fmla="*/ 37 h 59"/>
                <a:gd name="T42" fmla="*/ 0 w 33"/>
                <a:gd name="T43" fmla="*/ 49 h 59"/>
                <a:gd name="T44" fmla="*/ 0 w 33"/>
                <a:gd name="T45" fmla="*/ 49 h 59"/>
                <a:gd name="T46" fmla="*/ 1 w 33"/>
                <a:gd name="T47" fmla="*/ 49 h 59"/>
                <a:gd name="T48" fmla="*/ 11 w 33"/>
                <a:gd name="T49" fmla="*/ 52 h 59"/>
                <a:gd name="T50" fmla="*/ 11 w 33"/>
                <a:gd name="T51" fmla="*/ 59 h 59"/>
                <a:gd name="T52" fmla="*/ 21 w 33"/>
                <a:gd name="T53" fmla="*/ 59 h 59"/>
                <a:gd name="T54" fmla="*/ 21 w 33"/>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 h="59">
                  <a:moveTo>
                    <a:pt x="21" y="59"/>
                  </a:moveTo>
                  <a:cubicBezTo>
                    <a:pt x="21" y="51"/>
                    <a:pt x="21" y="51"/>
                    <a:pt x="21" y="51"/>
                  </a:cubicBezTo>
                  <a:cubicBezTo>
                    <a:pt x="29" y="50"/>
                    <a:pt x="33" y="44"/>
                    <a:pt x="33" y="38"/>
                  </a:cubicBezTo>
                  <a:cubicBezTo>
                    <a:pt x="33" y="31"/>
                    <a:pt x="30" y="26"/>
                    <a:pt x="21" y="23"/>
                  </a:cubicBezTo>
                  <a:cubicBezTo>
                    <a:pt x="18" y="22"/>
                    <a:pt x="14" y="20"/>
                    <a:pt x="14" y="19"/>
                  </a:cubicBezTo>
                  <a:cubicBezTo>
                    <a:pt x="14" y="17"/>
                    <a:pt x="17" y="17"/>
                    <a:pt x="18" y="17"/>
                  </a:cubicBezTo>
                  <a:cubicBezTo>
                    <a:pt x="23" y="17"/>
                    <a:pt x="25"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1" y="59"/>
                    <a:pt x="21" y="59"/>
                    <a:pt x="21" y="59"/>
                  </a:cubicBezTo>
                  <a:cubicBezTo>
                    <a:pt x="21" y="59"/>
                    <a:pt x="21" y="59"/>
                    <a:pt x="21"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59" name="Freeform 142"/>
            <p:cNvSpPr>
              <a:spLocks/>
            </p:cNvSpPr>
            <p:nvPr/>
          </p:nvSpPr>
          <p:spPr bwMode="auto">
            <a:xfrm>
              <a:off x="7948613" y="4843463"/>
              <a:ext cx="127000" cy="223838"/>
            </a:xfrm>
            <a:custGeom>
              <a:avLst/>
              <a:gdLst>
                <a:gd name="T0" fmla="*/ 22 w 34"/>
                <a:gd name="T1" fmla="*/ 59 h 59"/>
                <a:gd name="T2" fmla="*/ 22 w 34"/>
                <a:gd name="T3" fmla="*/ 52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5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4" y="21"/>
                    <a:pt x="14" y="19"/>
                  </a:cubicBezTo>
                  <a:cubicBezTo>
                    <a:pt x="14" y="18"/>
                    <a:pt x="17" y="17"/>
                    <a:pt x="18" y="17"/>
                  </a:cubicBezTo>
                  <a:cubicBezTo>
                    <a:pt x="23" y="17"/>
                    <a:pt x="25"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5"/>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8"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60" name="Freeform 143"/>
            <p:cNvSpPr>
              <a:spLocks/>
            </p:cNvSpPr>
            <p:nvPr/>
          </p:nvSpPr>
          <p:spPr bwMode="auto">
            <a:xfrm>
              <a:off x="8120063" y="4843463"/>
              <a:ext cx="128588" cy="223838"/>
            </a:xfrm>
            <a:custGeom>
              <a:avLst/>
              <a:gdLst>
                <a:gd name="T0" fmla="*/ 22 w 34"/>
                <a:gd name="T1" fmla="*/ 59 h 59"/>
                <a:gd name="T2" fmla="*/ 22 w 34"/>
                <a:gd name="T3" fmla="*/ 52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5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5" y="21"/>
                    <a:pt x="15" y="19"/>
                  </a:cubicBezTo>
                  <a:cubicBezTo>
                    <a:pt x="15" y="18"/>
                    <a:pt x="17" y="17"/>
                    <a:pt x="19"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5"/>
                  </a:cubicBezTo>
                  <a:cubicBezTo>
                    <a:pt x="19" y="36"/>
                    <a:pt x="20" y="38"/>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61" name="Freeform 144"/>
            <p:cNvSpPr>
              <a:spLocks/>
            </p:cNvSpPr>
            <p:nvPr/>
          </p:nvSpPr>
          <p:spPr bwMode="auto">
            <a:xfrm>
              <a:off x="8293100" y="4843463"/>
              <a:ext cx="128588" cy="223838"/>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5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30" y="50"/>
                    <a:pt x="34" y="45"/>
                    <a:pt x="34" y="38"/>
                  </a:cubicBezTo>
                  <a:cubicBezTo>
                    <a:pt x="34" y="31"/>
                    <a:pt x="31" y="26"/>
                    <a:pt x="22" y="23"/>
                  </a:cubicBezTo>
                  <a:cubicBezTo>
                    <a:pt x="19" y="22"/>
                    <a:pt x="15" y="21"/>
                    <a:pt x="15" y="19"/>
                  </a:cubicBezTo>
                  <a:cubicBezTo>
                    <a:pt x="15" y="18"/>
                    <a:pt x="18"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5"/>
                  </a:cubicBezTo>
                  <a:cubicBezTo>
                    <a:pt x="20" y="36"/>
                    <a:pt x="20" y="38"/>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62" name="Freeform 145"/>
            <p:cNvSpPr>
              <a:spLocks/>
            </p:cNvSpPr>
            <p:nvPr/>
          </p:nvSpPr>
          <p:spPr bwMode="auto">
            <a:xfrm>
              <a:off x="8470900" y="4843463"/>
              <a:ext cx="127000" cy="223838"/>
            </a:xfrm>
            <a:custGeom>
              <a:avLst/>
              <a:gdLst>
                <a:gd name="T0" fmla="*/ 22 w 34"/>
                <a:gd name="T1" fmla="*/ 59 h 59"/>
                <a:gd name="T2" fmla="*/ 22 w 34"/>
                <a:gd name="T3" fmla="*/ 52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5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4" y="21"/>
                    <a:pt x="14" y="19"/>
                  </a:cubicBezTo>
                  <a:cubicBezTo>
                    <a:pt x="14" y="18"/>
                    <a:pt x="17" y="17"/>
                    <a:pt x="18"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5"/>
                  </a:cubicBezTo>
                  <a:cubicBezTo>
                    <a:pt x="19" y="36"/>
                    <a:pt x="20" y="38"/>
                    <a:pt x="20" y="39"/>
                  </a:cubicBezTo>
                  <a:cubicBezTo>
                    <a:pt x="20" y="40"/>
                    <a:pt x="17"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63" name="Freeform 146"/>
            <p:cNvSpPr>
              <a:spLocks/>
            </p:cNvSpPr>
            <p:nvPr/>
          </p:nvSpPr>
          <p:spPr bwMode="auto">
            <a:xfrm>
              <a:off x="8642350" y="4843463"/>
              <a:ext cx="128588" cy="223838"/>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3 w 34"/>
                <a:gd name="T23" fmla="*/ 6 h 59"/>
                <a:gd name="T24" fmla="*/ 23 w 34"/>
                <a:gd name="T25" fmla="*/ 0 h 59"/>
                <a:gd name="T26" fmla="*/ 12 w 34"/>
                <a:gd name="T27" fmla="*/ 0 h 59"/>
                <a:gd name="T28" fmla="*/ 12 w 34"/>
                <a:gd name="T29" fmla="*/ 7 h 59"/>
                <a:gd name="T30" fmla="*/ 1 w 34"/>
                <a:gd name="T31" fmla="*/ 20 h 59"/>
                <a:gd name="T32" fmla="*/ 14 w 34"/>
                <a:gd name="T33" fmla="*/ 35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30" y="50"/>
                    <a:pt x="34" y="45"/>
                    <a:pt x="34" y="38"/>
                  </a:cubicBezTo>
                  <a:cubicBezTo>
                    <a:pt x="34" y="31"/>
                    <a:pt x="30" y="26"/>
                    <a:pt x="22" y="23"/>
                  </a:cubicBezTo>
                  <a:cubicBezTo>
                    <a:pt x="18" y="22"/>
                    <a:pt x="15" y="21"/>
                    <a:pt x="15" y="19"/>
                  </a:cubicBezTo>
                  <a:cubicBezTo>
                    <a:pt x="15" y="18"/>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30" y="8"/>
                    <a:pt x="27" y="7"/>
                    <a:pt x="23" y="6"/>
                  </a:cubicBezTo>
                  <a:cubicBezTo>
                    <a:pt x="23" y="0"/>
                    <a:pt x="23" y="0"/>
                    <a:pt x="23" y="0"/>
                  </a:cubicBezTo>
                  <a:cubicBezTo>
                    <a:pt x="12" y="0"/>
                    <a:pt x="12" y="0"/>
                    <a:pt x="12" y="0"/>
                  </a:cubicBezTo>
                  <a:cubicBezTo>
                    <a:pt x="12" y="7"/>
                    <a:pt x="12" y="7"/>
                    <a:pt x="12" y="7"/>
                  </a:cubicBezTo>
                  <a:cubicBezTo>
                    <a:pt x="5" y="9"/>
                    <a:pt x="1" y="14"/>
                    <a:pt x="1" y="20"/>
                  </a:cubicBezTo>
                  <a:cubicBezTo>
                    <a:pt x="1" y="29"/>
                    <a:pt x="8" y="32"/>
                    <a:pt x="14" y="35"/>
                  </a:cubicBezTo>
                  <a:cubicBezTo>
                    <a:pt x="20" y="36"/>
                    <a:pt x="20" y="38"/>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64" name="Freeform 147"/>
            <p:cNvSpPr>
              <a:spLocks/>
            </p:cNvSpPr>
            <p:nvPr/>
          </p:nvSpPr>
          <p:spPr bwMode="auto">
            <a:xfrm>
              <a:off x="8820150" y="4843463"/>
              <a:ext cx="127000" cy="223838"/>
            </a:xfrm>
            <a:custGeom>
              <a:avLst/>
              <a:gdLst>
                <a:gd name="T0" fmla="*/ 22 w 34"/>
                <a:gd name="T1" fmla="*/ 59 h 59"/>
                <a:gd name="T2" fmla="*/ 22 w 34"/>
                <a:gd name="T3" fmla="*/ 52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5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4" y="21"/>
                    <a:pt x="14" y="19"/>
                  </a:cubicBezTo>
                  <a:cubicBezTo>
                    <a:pt x="14" y="18"/>
                    <a:pt x="17" y="17"/>
                    <a:pt x="18"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5"/>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65" name="Freeform 148"/>
            <p:cNvSpPr>
              <a:spLocks/>
            </p:cNvSpPr>
            <p:nvPr/>
          </p:nvSpPr>
          <p:spPr bwMode="auto">
            <a:xfrm>
              <a:off x="8991600" y="4843463"/>
              <a:ext cx="128588" cy="223838"/>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5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2" y="23"/>
                  </a:cubicBezTo>
                  <a:cubicBezTo>
                    <a:pt x="18" y="22"/>
                    <a:pt x="15" y="21"/>
                    <a:pt x="15" y="19"/>
                  </a:cubicBezTo>
                  <a:cubicBezTo>
                    <a:pt x="15" y="18"/>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29"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5"/>
                  </a:cubicBezTo>
                  <a:cubicBezTo>
                    <a:pt x="19" y="36"/>
                    <a:pt x="20" y="38"/>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66" name="Freeform 149"/>
            <p:cNvSpPr>
              <a:spLocks/>
            </p:cNvSpPr>
            <p:nvPr/>
          </p:nvSpPr>
          <p:spPr bwMode="auto">
            <a:xfrm>
              <a:off x="9169400" y="4843463"/>
              <a:ext cx="123825" cy="223838"/>
            </a:xfrm>
            <a:custGeom>
              <a:avLst/>
              <a:gdLst>
                <a:gd name="T0" fmla="*/ 21 w 33"/>
                <a:gd name="T1" fmla="*/ 59 h 59"/>
                <a:gd name="T2" fmla="*/ 21 w 33"/>
                <a:gd name="T3" fmla="*/ 52 h 59"/>
                <a:gd name="T4" fmla="*/ 33 w 33"/>
                <a:gd name="T5" fmla="*/ 38 h 59"/>
                <a:gd name="T6" fmla="*/ 21 w 33"/>
                <a:gd name="T7" fmla="*/ 23 h 59"/>
                <a:gd name="T8" fmla="*/ 14 w 33"/>
                <a:gd name="T9" fmla="*/ 19 h 59"/>
                <a:gd name="T10" fmla="*/ 18 w 33"/>
                <a:gd name="T11" fmla="*/ 17 h 59"/>
                <a:gd name="T12" fmla="*/ 27 w 33"/>
                <a:gd name="T13" fmla="*/ 19 h 59"/>
                <a:gd name="T14" fmla="*/ 29 w 33"/>
                <a:gd name="T15" fmla="*/ 20 h 59"/>
                <a:gd name="T16" fmla="*/ 30 w 33"/>
                <a:gd name="T17" fmla="*/ 18 h 59"/>
                <a:gd name="T18" fmla="*/ 32 w 33"/>
                <a:gd name="T19" fmla="*/ 9 h 59"/>
                <a:gd name="T20" fmla="*/ 31 w 33"/>
                <a:gd name="T21" fmla="*/ 9 h 59"/>
                <a:gd name="T22" fmla="*/ 22 w 33"/>
                <a:gd name="T23" fmla="*/ 6 h 59"/>
                <a:gd name="T24" fmla="*/ 22 w 33"/>
                <a:gd name="T25" fmla="*/ 0 h 59"/>
                <a:gd name="T26" fmla="*/ 12 w 33"/>
                <a:gd name="T27" fmla="*/ 0 h 59"/>
                <a:gd name="T28" fmla="*/ 12 w 33"/>
                <a:gd name="T29" fmla="*/ 7 h 59"/>
                <a:gd name="T30" fmla="*/ 0 w 33"/>
                <a:gd name="T31" fmla="*/ 20 h 59"/>
                <a:gd name="T32" fmla="*/ 14 w 33"/>
                <a:gd name="T33" fmla="*/ 35 h 59"/>
                <a:gd name="T34" fmla="*/ 20 w 33"/>
                <a:gd name="T35" fmla="*/ 39 h 59"/>
                <a:gd name="T36" fmla="*/ 15 w 33"/>
                <a:gd name="T37" fmla="*/ 41 h 59"/>
                <a:gd name="T38" fmla="*/ 5 w 33"/>
                <a:gd name="T39" fmla="*/ 38 h 59"/>
                <a:gd name="T40" fmla="*/ 3 w 33"/>
                <a:gd name="T41" fmla="*/ 37 h 59"/>
                <a:gd name="T42" fmla="*/ 0 w 33"/>
                <a:gd name="T43" fmla="*/ 49 h 59"/>
                <a:gd name="T44" fmla="*/ 0 w 33"/>
                <a:gd name="T45" fmla="*/ 49 h 59"/>
                <a:gd name="T46" fmla="*/ 1 w 33"/>
                <a:gd name="T47" fmla="*/ 49 h 59"/>
                <a:gd name="T48" fmla="*/ 11 w 33"/>
                <a:gd name="T49" fmla="*/ 52 h 59"/>
                <a:gd name="T50" fmla="*/ 11 w 33"/>
                <a:gd name="T51" fmla="*/ 59 h 59"/>
                <a:gd name="T52" fmla="*/ 21 w 33"/>
                <a:gd name="T53" fmla="*/ 59 h 59"/>
                <a:gd name="T54" fmla="*/ 21 w 33"/>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 h="59">
                  <a:moveTo>
                    <a:pt x="21" y="59"/>
                  </a:moveTo>
                  <a:cubicBezTo>
                    <a:pt x="21" y="52"/>
                    <a:pt x="21" y="52"/>
                    <a:pt x="21" y="52"/>
                  </a:cubicBezTo>
                  <a:cubicBezTo>
                    <a:pt x="29" y="50"/>
                    <a:pt x="33" y="45"/>
                    <a:pt x="33" y="38"/>
                  </a:cubicBezTo>
                  <a:cubicBezTo>
                    <a:pt x="33" y="31"/>
                    <a:pt x="30" y="26"/>
                    <a:pt x="21" y="23"/>
                  </a:cubicBezTo>
                  <a:cubicBezTo>
                    <a:pt x="18" y="22"/>
                    <a:pt x="14" y="21"/>
                    <a:pt x="14" y="19"/>
                  </a:cubicBezTo>
                  <a:cubicBezTo>
                    <a:pt x="14" y="18"/>
                    <a:pt x="17" y="17"/>
                    <a:pt x="18" y="17"/>
                  </a:cubicBezTo>
                  <a:cubicBezTo>
                    <a:pt x="23" y="17"/>
                    <a:pt x="25"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5"/>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1" y="59"/>
                    <a:pt x="21" y="59"/>
                    <a:pt x="21" y="59"/>
                  </a:cubicBezTo>
                  <a:cubicBezTo>
                    <a:pt x="21" y="59"/>
                    <a:pt x="21" y="59"/>
                    <a:pt x="21"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75" name="Freeform 158"/>
            <p:cNvSpPr>
              <a:spLocks/>
            </p:cNvSpPr>
            <p:nvPr/>
          </p:nvSpPr>
          <p:spPr bwMode="auto">
            <a:xfrm>
              <a:off x="9348788" y="3155950"/>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1 w 34"/>
                <a:gd name="T17" fmla="*/ 18 h 59"/>
                <a:gd name="T18" fmla="*/ 33 w 34"/>
                <a:gd name="T19" fmla="*/ 9 h 59"/>
                <a:gd name="T20" fmla="*/ 32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5 w 34"/>
                <a:gd name="T33" fmla="*/ 34 h 59"/>
                <a:gd name="T34" fmla="*/ 21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1" y="26"/>
                    <a:pt x="22" y="23"/>
                  </a:cubicBezTo>
                  <a:cubicBezTo>
                    <a:pt x="19" y="22"/>
                    <a:pt x="15" y="21"/>
                    <a:pt x="15" y="19"/>
                  </a:cubicBezTo>
                  <a:cubicBezTo>
                    <a:pt x="15" y="17"/>
                    <a:pt x="18" y="17"/>
                    <a:pt x="19" y="17"/>
                  </a:cubicBezTo>
                  <a:cubicBezTo>
                    <a:pt x="24" y="17"/>
                    <a:pt x="26" y="18"/>
                    <a:pt x="28" y="19"/>
                  </a:cubicBezTo>
                  <a:cubicBezTo>
                    <a:pt x="30" y="20"/>
                    <a:pt x="30" y="20"/>
                    <a:pt x="30" y="20"/>
                  </a:cubicBezTo>
                  <a:cubicBezTo>
                    <a:pt x="31" y="18"/>
                    <a:pt x="31" y="18"/>
                    <a:pt x="31" y="18"/>
                  </a:cubicBezTo>
                  <a:cubicBezTo>
                    <a:pt x="33" y="9"/>
                    <a:pt x="33" y="9"/>
                    <a:pt x="33" y="9"/>
                  </a:cubicBezTo>
                  <a:cubicBezTo>
                    <a:pt x="32" y="8"/>
                    <a:pt x="32" y="8"/>
                    <a:pt x="32" y="8"/>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5" y="34"/>
                  </a:cubicBezTo>
                  <a:cubicBezTo>
                    <a:pt x="20" y="36"/>
                    <a:pt x="21" y="37"/>
                    <a:pt x="21" y="39"/>
                  </a:cubicBezTo>
                  <a:cubicBezTo>
                    <a:pt x="21"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76" name="Freeform 159"/>
            <p:cNvSpPr>
              <a:spLocks/>
            </p:cNvSpPr>
            <p:nvPr/>
          </p:nvSpPr>
          <p:spPr bwMode="auto">
            <a:xfrm>
              <a:off x="9525000" y="3155950"/>
              <a:ext cx="128588" cy="222250"/>
            </a:xfrm>
            <a:custGeom>
              <a:avLst/>
              <a:gdLst>
                <a:gd name="T0" fmla="*/ 22 w 34"/>
                <a:gd name="T1" fmla="*/ 59 h 59"/>
                <a:gd name="T2" fmla="*/ 22 w 34"/>
                <a:gd name="T3" fmla="*/ 51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5" y="21"/>
                    <a:pt x="15" y="19"/>
                  </a:cubicBezTo>
                  <a:cubicBezTo>
                    <a:pt x="15" y="17"/>
                    <a:pt x="17" y="17"/>
                    <a:pt x="19"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77" name="Freeform 160"/>
            <p:cNvSpPr>
              <a:spLocks/>
            </p:cNvSpPr>
            <p:nvPr/>
          </p:nvSpPr>
          <p:spPr bwMode="auto">
            <a:xfrm>
              <a:off x="9698038" y="3155950"/>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0" y="26"/>
                    <a:pt x="22" y="23"/>
                  </a:cubicBezTo>
                  <a:cubicBezTo>
                    <a:pt x="19" y="22"/>
                    <a:pt x="15" y="21"/>
                    <a:pt x="15" y="19"/>
                  </a:cubicBezTo>
                  <a:cubicBezTo>
                    <a:pt x="15" y="17"/>
                    <a:pt x="17"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3" y="6"/>
                  </a:cubicBezTo>
                  <a:cubicBezTo>
                    <a:pt x="23" y="0"/>
                    <a:pt x="23" y="0"/>
                    <a:pt x="23" y="0"/>
                  </a:cubicBezTo>
                  <a:cubicBezTo>
                    <a:pt x="12" y="0"/>
                    <a:pt x="12" y="0"/>
                    <a:pt x="12" y="0"/>
                  </a:cubicBezTo>
                  <a:cubicBezTo>
                    <a:pt x="12" y="7"/>
                    <a:pt x="12" y="7"/>
                    <a:pt x="12" y="7"/>
                  </a:cubicBezTo>
                  <a:cubicBezTo>
                    <a:pt x="5" y="9"/>
                    <a:pt x="1" y="14"/>
                    <a:pt x="1" y="20"/>
                  </a:cubicBezTo>
                  <a:cubicBezTo>
                    <a:pt x="1" y="29"/>
                    <a:pt x="8" y="32"/>
                    <a:pt x="14" y="34"/>
                  </a:cubicBezTo>
                  <a:cubicBezTo>
                    <a:pt x="20" y="36"/>
                    <a:pt x="20" y="37"/>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78" name="Freeform 161"/>
            <p:cNvSpPr>
              <a:spLocks/>
            </p:cNvSpPr>
            <p:nvPr/>
          </p:nvSpPr>
          <p:spPr bwMode="auto">
            <a:xfrm>
              <a:off x="9874250" y="3155950"/>
              <a:ext cx="128588"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1"/>
                    <a:pt x="14" y="19"/>
                  </a:cubicBezTo>
                  <a:cubicBezTo>
                    <a:pt x="14" y="17"/>
                    <a:pt x="17" y="17"/>
                    <a:pt x="18"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8" y="32"/>
                    <a:pt x="14" y="34"/>
                  </a:cubicBezTo>
                  <a:cubicBezTo>
                    <a:pt x="19" y="36"/>
                    <a:pt x="20" y="37"/>
                    <a:pt x="20" y="39"/>
                  </a:cubicBezTo>
                  <a:cubicBezTo>
                    <a:pt x="20" y="40"/>
                    <a:pt x="17" y="41"/>
                    <a:pt x="15" y="41"/>
                  </a:cubicBezTo>
                  <a:cubicBezTo>
                    <a:pt x="10"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79" name="Freeform 162"/>
            <p:cNvSpPr>
              <a:spLocks/>
            </p:cNvSpPr>
            <p:nvPr/>
          </p:nvSpPr>
          <p:spPr bwMode="auto">
            <a:xfrm>
              <a:off x="10047288" y="3155950"/>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0" y="26"/>
                    <a:pt x="22" y="23"/>
                  </a:cubicBezTo>
                  <a:cubicBezTo>
                    <a:pt x="18" y="22"/>
                    <a:pt x="15" y="21"/>
                    <a:pt x="15" y="19"/>
                  </a:cubicBezTo>
                  <a:cubicBezTo>
                    <a:pt x="15" y="17"/>
                    <a:pt x="17"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80" name="Freeform 163"/>
            <p:cNvSpPr>
              <a:spLocks/>
            </p:cNvSpPr>
            <p:nvPr/>
          </p:nvSpPr>
          <p:spPr bwMode="auto">
            <a:xfrm>
              <a:off x="10223500" y="3155950"/>
              <a:ext cx="128588"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1"/>
                    <a:pt x="14" y="19"/>
                  </a:cubicBezTo>
                  <a:cubicBezTo>
                    <a:pt x="14" y="17"/>
                    <a:pt x="17" y="17"/>
                    <a:pt x="18" y="17"/>
                  </a:cubicBezTo>
                  <a:cubicBezTo>
                    <a:pt x="23" y="17"/>
                    <a:pt x="25"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81" name="Freeform 164"/>
            <p:cNvSpPr>
              <a:spLocks/>
            </p:cNvSpPr>
            <p:nvPr/>
          </p:nvSpPr>
          <p:spPr bwMode="auto">
            <a:xfrm>
              <a:off x="10396538" y="3155950"/>
              <a:ext cx="128588" cy="222250"/>
            </a:xfrm>
            <a:custGeom>
              <a:avLst/>
              <a:gdLst>
                <a:gd name="T0" fmla="*/ 22 w 34"/>
                <a:gd name="T1" fmla="*/ 59 h 59"/>
                <a:gd name="T2" fmla="*/ 22 w 34"/>
                <a:gd name="T3" fmla="*/ 51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5" y="21"/>
                    <a:pt x="15" y="19"/>
                  </a:cubicBezTo>
                  <a:cubicBezTo>
                    <a:pt x="15" y="17"/>
                    <a:pt x="17" y="17"/>
                    <a:pt x="19"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82" name="Freeform 165"/>
            <p:cNvSpPr>
              <a:spLocks/>
            </p:cNvSpPr>
            <p:nvPr/>
          </p:nvSpPr>
          <p:spPr bwMode="auto">
            <a:xfrm>
              <a:off x="10569575" y="3155950"/>
              <a:ext cx="127000"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1" y="26"/>
                    <a:pt x="22" y="23"/>
                  </a:cubicBezTo>
                  <a:cubicBezTo>
                    <a:pt x="19" y="22"/>
                    <a:pt x="15" y="21"/>
                    <a:pt x="15" y="19"/>
                  </a:cubicBezTo>
                  <a:cubicBezTo>
                    <a:pt x="15" y="17"/>
                    <a:pt x="18"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4"/>
                  </a:cubicBezTo>
                  <a:cubicBezTo>
                    <a:pt x="20" y="36"/>
                    <a:pt x="20" y="37"/>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83" name="Freeform 166"/>
            <p:cNvSpPr>
              <a:spLocks/>
            </p:cNvSpPr>
            <p:nvPr/>
          </p:nvSpPr>
          <p:spPr bwMode="auto">
            <a:xfrm>
              <a:off x="9348788" y="3446463"/>
              <a:ext cx="128588" cy="222250"/>
            </a:xfrm>
            <a:custGeom>
              <a:avLst/>
              <a:gdLst>
                <a:gd name="T0" fmla="*/ 22 w 34"/>
                <a:gd name="T1" fmla="*/ 59 h 59"/>
                <a:gd name="T2" fmla="*/ 22 w 34"/>
                <a:gd name="T3" fmla="*/ 51 h 59"/>
                <a:gd name="T4" fmla="*/ 34 w 34"/>
                <a:gd name="T5" fmla="*/ 37 h 59"/>
                <a:gd name="T6" fmla="*/ 22 w 34"/>
                <a:gd name="T7" fmla="*/ 23 h 59"/>
                <a:gd name="T8" fmla="*/ 15 w 34"/>
                <a:gd name="T9" fmla="*/ 19 h 59"/>
                <a:gd name="T10" fmla="*/ 19 w 34"/>
                <a:gd name="T11" fmla="*/ 17 h 59"/>
                <a:gd name="T12" fmla="*/ 28 w 34"/>
                <a:gd name="T13" fmla="*/ 19 h 59"/>
                <a:gd name="T14" fmla="*/ 30 w 34"/>
                <a:gd name="T15" fmla="*/ 20 h 59"/>
                <a:gd name="T16" fmla="*/ 31 w 34"/>
                <a:gd name="T17" fmla="*/ 18 h 59"/>
                <a:gd name="T18" fmla="*/ 33 w 34"/>
                <a:gd name="T19" fmla="*/ 9 h 59"/>
                <a:gd name="T20" fmla="*/ 32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5 w 34"/>
                <a:gd name="T33" fmla="*/ 34 h 59"/>
                <a:gd name="T34" fmla="*/ 21 w 34"/>
                <a:gd name="T35" fmla="*/ 38 h 59"/>
                <a:gd name="T36" fmla="*/ 16 w 34"/>
                <a:gd name="T37" fmla="*/ 41 h 59"/>
                <a:gd name="T38" fmla="*/ 5 w 34"/>
                <a:gd name="T39" fmla="*/ 38 h 59"/>
                <a:gd name="T40" fmla="*/ 3 w 34"/>
                <a:gd name="T41" fmla="*/ 37 h 59"/>
                <a:gd name="T42" fmla="*/ 0 w 34"/>
                <a:gd name="T43" fmla="*/ 48 h 59"/>
                <a:gd name="T44" fmla="*/ 0 w 34"/>
                <a:gd name="T45" fmla="*/ 48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49"/>
                    <a:pt x="34" y="44"/>
                    <a:pt x="34" y="37"/>
                  </a:cubicBezTo>
                  <a:cubicBezTo>
                    <a:pt x="34" y="31"/>
                    <a:pt x="31" y="26"/>
                    <a:pt x="22" y="23"/>
                  </a:cubicBezTo>
                  <a:cubicBezTo>
                    <a:pt x="19" y="22"/>
                    <a:pt x="15" y="20"/>
                    <a:pt x="15" y="19"/>
                  </a:cubicBezTo>
                  <a:cubicBezTo>
                    <a:pt x="15" y="17"/>
                    <a:pt x="18" y="17"/>
                    <a:pt x="19" y="17"/>
                  </a:cubicBezTo>
                  <a:cubicBezTo>
                    <a:pt x="24" y="17"/>
                    <a:pt x="26" y="18"/>
                    <a:pt x="28" y="19"/>
                  </a:cubicBezTo>
                  <a:cubicBezTo>
                    <a:pt x="30" y="20"/>
                    <a:pt x="30" y="20"/>
                    <a:pt x="30" y="20"/>
                  </a:cubicBezTo>
                  <a:cubicBezTo>
                    <a:pt x="31" y="18"/>
                    <a:pt x="31" y="18"/>
                    <a:pt x="31" y="18"/>
                  </a:cubicBezTo>
                  <a:cubicBezTo>
                    <a:pt x="33" y="9"/>
                    <a:pt x="33" y="9"/>
                    <a:pt x="33" y="9"/>
                  </a:cubicBezTo>
                  <a:cubicBezTo>
                    <a:pt x="32" y="8"/>
                    <a:pt x="32" y="8"/>
                    <a:pt x="32" y="8"/>
                  </a:cubicBezTo>
                  <a:cubicBezTo>
                    <a:pt x="30" y="8"/>
                    <a:pt x="27" y="6"/>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5" y="34"/>
                  </a:cubicBezTo>
                  <a:cubicBezTo>
                    <a:pt x="20" y="36"/>
                    <a:pt x="21" y="37"/>
                    <a:pt x="21" y="38"/>
                  </a:cubicBezTo>
                  <a:cubicBezTo>
                    <a:pt x="21" y="40"/>
                    <a:pt x="18" y="41"/>
                    <a:pt x="16" y="41"/>
                  </a:cubicBezTo>
                  <a:cubicBezTo>
                    <a:pt x="11" y="41"/>
                    <a:pt x="7" y="39"/>
                    <a:pt x="5" y="38"/>
                  </a:cubicBezTo>
                  <a:cubicBezTo>
                    <a:pt x="3" y="37"/>
                    <a:pt x="3" y="37"/>
                    <a:pt x="3" y="37"/>
                  </a:cubicBezTo>
                  <a:cubicBezTo>
                    <a:pt x="0" y="48"/>
                    <a:pt x="0" y="48"/>
                    <a:pt x="0" y="48"/>
                  </a:cubicBezTo>
                  <a:cubicBezTo>
                    <a:pt x="0" y="48"/>
                    <a:pt x="0" y="48"/>
                    <a:pt x="0" y="48"/>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84" name="Freeform 167"/>
            <p:cNvSpPr>
              <a:spLocks/>
            </p:cNvSpPr>
            <p:nvPr/>
          </p:nvSpPr>
          <p:spPr bwMode="auto">
            <a:xfrm>
              <a:off x="9525000" y="3446463"/>
              <a:ext cx="128588" cy="222250"/>
            </a:xfrm>
            <a:custGeom>
              <a:avLst/>
              <a:gdLst>
                <a:gd name="T0" fmla="*/ 22 w 34"/>
                <a:gd name="T1" fmla="*/ 59 h 59"/>
                <a:gd name="T2" fmla="*/ 22 w 34"/>
                <a:gd name="T3" fmla="*/ 51 h 59"/>
                <a:gd name="T4" fmla="*/ 34 w 34"/>
                <a:gd name="T5" fmla="*/ 37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8 h 59"/>
                <a:gd name="T36" fmla="*/ 15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49"/>
                    <a:pt x="34" y="44"/>
                    <a:pt x="34" y="37"/>
                  </a:cubicBezTo>
                  <a:cubicBezTo>
                    <a:pt x="34" y="31"/>
                    <a:pt x="30" y="26"/>
                    <a:pt x="21" y="23"/>
                  </a:cubicBezTo>
                  <a:cubicBezTo>
                    <a:pt x="18" y="22"/>
                    <a:pt x="15" y="20"/>
                    <a:pt x="15" y="19"/>
                  </a:cubicBezTo>
                  <a:cubicBezTo>
                    <a:pt x="15" y="17"/>
                    <a:pt x="17" y="17"/>
                    <a:pt x="19"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6"/>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8"/>
                  </a:cubicBezTo>
                  <a:cubicBezTo>
                    <a:pt x="20" y="40"/>
                    <a:pt x="18" y="41"/>
                    <a:pt x="15" y="41"/>
                  </a:cubicBezTo>
                  <a:cubicBezTo>
                    <a:pt x="11" y="41"/>
                    <a:pt x="7" y="39"/>
                    <a:pt x="5" y="38"/>
                  </a:cubicBezTo>
                  <a:cubicBezTo>
                    <a:pt x="3" y="37"/>
                    <a:pt x="3" y="37"/>
                    <a:pt x="3" y="37"/>
                  </a:cubicBezTo>
                  <a:cubicBezTo>
                    <a:pt x="0" y="48"/>
                    <a:pt x="0" y="48"/>
                    <a:pt x="0" y="48"/>
                  </a:cubicBezTo>
                  <a:cubicBezTo>
                    <a:pt x="0" y="48"/>
                    <a:pt x="0" y="48"/>
                    <a:pt x="0" y="48"/>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85" name="Freeform 168"/>
            <p:cNvSpPr>
              <a:spLocks/>
            </p:cNvSpPr>
            <p:nvPr/>
          </p:nvSpPr>
          <p:spPr bwMode="auto">
            <a:xfrm>
              <a:off x="9698038" y="3446463"/>
              <a:ext cx="128588" cy="222250"/>
            </a:xfrm>
            <a:custGeom>
              <a:avLst/>
              <a:gdLst>
                <a:gd name="T0" fmla="*/ 22 w 34"/>
                <a:gd name="T1" fmla="*/ 59 h 59"/>
                <a:gd name="T2" fmla="*/ 22 w 34"/>
                <a:gd name="T3" fmla="*/ 51 h 59"/>
                <a:gd name="T4" fmla="*/ 34 w 34"/>
                <a:gd name="T5" fmla="*/ 37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2 w 34"/>
                <a:gd name="T27" fmla="*/ 0 h 59"/>
                <a:gd name="T28" fmla="*/ 12 w 34"/>
                <a:gd name="T29" fmla="*/ 7 h 59"/>
                <a:gd name="T30" fmla="*/ 1 w 34"/>
                <a:gd name="T31" fmla="*/ 20 h 59"/>
                <a:gd name="T32" fmla="*/ 14 w 34"/>
                <a:gd name="T33" fmla="*/ 34 h 59"/>
                <a:gd name="T34" fmla="*/ 20 w 34"/>
                <a:gd name="T35" fmla="*/ 38 h 59"/>
                <a:gd name="T36" fmla="*/ 16 w 34"/>
                <a:gd name="T37" fmla="*/ 41 h 59"/>
                <a:gd name="T38" fmla="*/ 5 w 34"/>
                <a:gd name="T39" fmla="*/ 38 h 59"/>
                <a:gd name="T40" fmla="*/ 3 w 34"/>
                <a:gd name="T41" fmla="*/ 37 h 59"/>
                <a:gd name="T42" fmla="*/ 0 w 34"/>
                <a:gd name="T43" fmla="*/ 48 h 59"/>
                <a:gd name="T44" fmla="*/ 0 w 34"/>
                <a:gd name="T45" fmla="*/ 48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49"/>
                    <a:pt x="34" y="44"/>
                    <a:pt x="34" y="37"/>
                  </a:cubicBezTo>
                  <a:cubicBezTo>
                    <a:pt x="34" y="31"/>
                    <a:pt x="30" y="26"/>
                    <a:pt x="22" y="23"/>
                  </a:cubicBezTo>
                  <a:cubicBezTo>
                    <a:pt x="19" y="22"/>
                    <a:pt x="15" y="20"/>
                    <a:pt x="15" y="19"/>
                  </a:cubicBezTo>
                  <a:cubicBezTo>
                    <a:pt x="15" y="17"/>
                    <a:pt x="17"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6"/>
                    <a:pt x="23" y="6"/>
                  </a:cubicBezTo>
                  <a:cubicBezTo>
                    <a:pt x="23" y="0"/>
                    <a:pt x="23" y="0"/>
                    <a:pt x="23" y="0"/>
                  </a:cubicBezTo>
                  <a:cubicBezTo>
                    <a:pt x="12" y="0"/>
                    <a:pt x="12" y="0"/>
                    <a:pt x="12" y="0"/>
                  </a:cubicBezTo>
                  <a:cubicBezTo>
                    <a:pt x="12" y="7"/>
                    <a:pt x="12" y="7"/>
                    <a:pt x="12" y="7"/>
                  </a:cubicBezTo>
                  <a:cubicBezTo>
                    <a:pt x="5" y="9"/>
                    <a:pt x="1" y="14"/>
                    <a:pt x="1" y="20"/>
                  </a:cubicBezTo>
                  <a:cubicBezTo>
                    <a:pt x="1" y="29"/>
                    <a:pt x="8" y="32"/>
                    <a:pt x="14" y="34"/>
                  </a:cubicBezTo>
                  <a:cubicBezTo>
                    <a:pt x="20" y="36"/>
                    <a:pt x="20" y="37"/>
                    <a:pt x="20" y="38"/>
                  </a:cubicBezTo>
                  <a:cubicBezTo>
                    <a:pt x="20" y="40"/>
                    <a:pt x="18" y="41"/>
                    <a:pt x="16" y="41"/>
                  </a:cubicBezTo>
                  <a:cubicBezTo>
                    <a:pt x="11" y="41"/>
                    <a:pt x="7" y="39"/>
                    <a:pt x="5" y="38"/>
                  </a:cubicBezTo>
                  <a:cubicBezTo>
                    <a:pt x="3" y="37"/>
                    <a:pt x="3" y="37"/>
                    <a:pt x="3" y="37"/>
                  </a:cubicBezTo>
                  <a:cubicBezTo>
                    <a:pt x="0" y="48"/>
                    <a:pt x="0" y="48"/>
                    <a:pt x="0" y="48"/>
                  </a:cubicBezTo>
                  <a:cubicBezTo>
                    <a:pt x="0" y="48"/>
                    <a:pt x="0" y="48"/>
                    <a:pt x="0" y="48"/>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86" name="Freeform 169"/>
            <p:cNvSpPr>
              <a:spLocks/>
            </p:cNvSpPr>
            <p:nvPr/>
          </p:nvSpPr>
          <p:spPr bwMode="auto">
            <a:xfrm>
              <a:off x="9874250" y="3446463"/>
              <a:ext cx="128588" cy="222250"/>
            </a:xfrm>
            <a:custGeom>
              <a:avLst/>
              <a:gdLst>
                <a:gd name="T0" fmla="*/ 22 w 34"/>
                <a:gd name="T1" fmla="*/ 59 h 59"/>
                <a:gd name="T2" fmla="*/ 22 w 34"/>
                <a:gd name="T3" fmla="*/ 51 h 59"/>
                <a:gd name="T4" fmla="*/ 34 w 34"/>
                <a:gd name="T5" fmla="*/ 37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8 h 59"/>
                <a:gd name="T36" fmla="*/ 15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49"/>
                    <a:pt x="34" y="44"/>
                    <a:pt x="34" y="37"/>
                  </a:cubicBezTo>
                  <a:cubicBezTo>
                    <a:pt x="34" y="31"/>
                    <a:pt x="30" y="26"/>
                    <a:pt x="21" y="23"/>
                  </a:cubicBezTo>
                  <a:cubicBezTo>
                    <a:pt x="18" y="22"/>
                    <a:pt x="14" y="20"/>
                    <a:pt x="14" y="19"/>
                  </a:cubicBezTo>
                  <a:cubicBezTo>
                    <a:pt x="14" y="17"/>
                    <a:pt x="17" y="17"/>
                    <a:pt x="18"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6"/>
                    <a:pt x="22" y="6"/>
                  </a:cubicBezTo>
                  <a:cubicBezTo>
                    <a:pt x="22" y="0"/>
                    <a:pt x="22" y="0"/>
                    <a:pt x="22" y="0"/>
                  </a:cubicBezTo>
                  <a:cubicBezTo>
                    <a:pt x="12" y="0"/>
                    <a:pt x="12" y="0"/>
                    <a:pt x="12" y="0"/>
                  </a:cubicBezTo>
                  <a:cubicBezTo>
                    <a:pt x="12" y="7"/>
                    <a:pt x="12" y="7"/>
                    <a:pt x="12" y="7"/>
                  </a:cubicBezTo>
                  <a:cubicBezTo>
                    <a:pt x="5" y="9"/>
                    <a:pt x="0" y="14"/>
                    <a:pt x="0" y="20"/>
                  </a:cubicBezTo>
                  <a:cubicBezTo>
                    <a:pt x="0" y="29"/>
                    <a:pt x="8" y="32"/>
                    <a:pt x="14" y="34"/>
                  </a:cubicBezTo>
                  <a:cubicBezTo>
                    <a:pt x="19" y="36"/>
                    <a:pt x="20" y="37"/>
                    <a:pt x="20" y="38"/>
                  </a:cubicBezTo>
                  <a:cubicBezTo>
                    <a:pt x="20" y="40"/>
                    <a:pt x="17" y="41"/>
                    <a:pt x="15" y="41"/>
                  </a:cubicBezTo>
                  <a:cubicBezTo>
                    <a:pt x="10" y="41"/>
                    <a:pt x="7" y="39"/>
                    <a:pt x="5" y="38"/>
                  </a:cubicBezTo>
                  <a:cubicBezTo>
                    <a:pt x="3" y="37"/>
                    <a:pt x="3" y="37"/>
                    <a:pt x="3" y="37"/>
                  </a:cubicBezTo>
                  <a:cubicBezTo>
                    <a:pt x="0" y="48"/>
                    <a:pt x="0" y="48"/>
                    <a:pt x="0" y="48"/>
                  </a:cubicBezTo>
                  <a:cubicBezTo>
                    <a:pt x="0" y="48"/>
                    <a:pt x="0" y="48"/>
                    <a:pt x="0" y="48"/>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87" name="Freeform 170"/>
            <p:cNvSpPr>
              <a:spLocks/>
            </p:cNvSpPr>
            <p:nvPr/>
          </p:nvSpPr>
          <p:spPr bwMode="auto">
            <a:xfrm>
              <a:off x="10047288" y="3446463"/>
              <a:ext cx="128588" cy="222250"/>
            </a:xfrm>
            <a:custGeom>
              <a:avLst/>
              <a:gdLst>
                <a:gd name="T0" fmla="*/ 22 w 34"/>
                <a:gd name="T1" fmla="*/ 59 h 59"/>
                <a:gd name="T2" fmla="*/ 22 w 34"/>
                <a:gd name="T3" fmla="*/ 51 h 59"/>
                <a:gd name="T4" fmla="*/ 34 w 34"/>
                <a:gd name="T5" fmla="*/ 37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8 h 59"/>
                <a:gd name="T36" fmla="*/ 15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49"/>
                    <a:pt x="34" y="44"/>
                    <a:pt x="34" y="37"/>
                  </a:cubicBezTo>
                  <a:cubicBezTo>
                    <a:pt x="34" y="31"/>
                    <a:pt x="30" y="26"/>
                    <a:pt x="22" y="23"/>
                  </a:cubicBezTo>
                  <a:cubicBezTo>
                    <a:pt x="18" y="22"/>
                    <a:pt x="15" y="20"/>
                    <a:pt x="15" y="19"/>
                  </a:cubicBezTo>
                  <a:cubicBezTo>
                    <a:pt x="15" y="17"/>
                    <a:pt x="17"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6"/>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8"/>
                  </a:cubicBezTo>
                  <a:cubicBezTo>
                    <a:pt x="20" y="40"/>
                    <a:pt x="18" y="41"/>
                    <a:pt x="15" y="41"/>
                  </a:cubicBezTo>
                  <a:cubicBezTo>
                    <a:pt x="11" y="41"/>
                    <a:pt x="7" y="39"/>
                    <a:pt x="5" y="38"/>
                  </a:cubicBezTo>
                  <a:cubicBezTo>
                    <a:pt x="3" y="37"/>
                    <a:pt x="3" y="37"/>
                    <a:pt x="3" y="37"/>
                  </a:cubicBezTo>
                  <a:cubicBezTo>
                    <a:pt x="0" y="48"/>
                    <a:pt x="0" y="48"/>
                    <a:pt x="0" y="48"/>
                  </a:cubicBezTo>
                  <a:cubicBezTo>
                    <a:pt x="0" y="48"/>
                    <a:pt x="0" y="48"/>
                    <a:pt x="0" y="48"/>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88" name="Freeform 171"/>
            <p:cNvSpPr>
              <a:spLocks/>
            </p:cNvSpPr>
            <p:nvPr/>
          </p:nvSpPr>
          <p:spPr bwMode="auto">
            <a:xfrm>
              <a:off x="10223500" y="3446463"/>
              <a:ext cx="128588" cy="222250"/>
            </a:xfrm>
            <a:custGeom>
              <a:avLst/>
              <a:gdLst>
                <a:gd name="T0" fmla="*/ 22 w 34"/>
                <a:gd name="T1" fmla="*/ 59 h 59"/>
                <a:gd name="T2" fmla="*/ 22 w 34"/>
                <a:gd name="T3" fmla="*/ 51 h 59"/>
                <a:gd name="T4" fmla="*/ 34 w 34"/>
                <a:gd name="T5" fmla="*/ 37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8 h 59"/>
                <a:gd name="T36" fmla="*/ 15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49"/>
                    <a:pt x="34" y="44"/>
                    <a:pt x="34" y="37"/>
                  </a:cubicBezTo>
                  <a:cubicBezTo>
                    <a:pt x="34" y="31"/>
                    <a:pt x="30" y="26"/>
                    <a:pt x="21" y="23"/>
                  </a:cubicBezTo>
                  <a:cubicBezTo>
                    <a:pt x="18" y="22"/>
                    <a:pt x="14" y="20"/>
                    <a:pt x="14" y="19"/>
                  </a:cubicBezTo>
                  <a:cubicBezTo>
                    <a:pt x="14" y="17"/>
                    <a:pt x="17" y="17"/>
                    <a:pt x="18" y="17"/>
                  </a:cubicBezTo>
                  <a:cubicBezTo>
                    <a:pt x="23" y="17"/>
                    <a:pt x="25"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6"/>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8"/>
                  </a:cubicBezTo>
                  <a:cubicBezTo>
                    <a:pt x="20" y="40"/>
                    <a:pt x="17" y="41"/>
                    <a:pt x="15" y="41"/>
                  </a:cubicBezTo>
                  <a:cubicBezTo>
                    <a:pt x="10" y="41"/>
                    <a:pt x="6" y="39"/>
                    <a:pt x="5" y="38"/>
                  </a:cubicBezTo>
                  <a:cubicBezTo>
                    <a:pt x="3" y="37"/>
                    <a:pt x="3" y="37"/>
                    <a:pt x="3" y="37"/>
                  </a:cubicBezTo>
                  <a:cubicBezTo>
                    <a:pt x="0" y="48"/>
                    <a:pt x="0" y="48"/>
                    <a:pt x="0" y="48"/>
                  </a:cubicBezTo>
                  <a:cubicBezTo>
                    <a:pt x="0" y="48"/>
                    <a:pt x="0" y="48"/>
                    <a:pt x="0" y="48"/>
                  </a:cubicBezTo>
                  <a:cubicBezTo>
                    <a:pt x="1" y="49"/>
                    <a:pt x="1" y="49"/>
                    <a:pt x="1" y="49"/>
                  </a:cubicBezTo>
                  <a:cubicBezTo>
                    <a:pt x="3" y="51"/>
                    <a:pt x="7"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89" name="Freeform 172"/>
            <p:cNvSpPr>
              <a:spLocks/>
            </p:cNvSpPr>
            <p:nvPr/>
          </p:nvSpPr>
          <p:spPr bwMode="auto">
            <a:xfrm>
              <a:off x="10396538" y="3446463"/>
              <a:ext cx="128588" cy="222250"/>
            </a:xfrm>
            <a:custGeom>
              <a:avLst/>
              <a:gdLst>
                <a:gd name="T0" fmla="*/ 22 w 34"/>
                <a:gd name="T1" fmla="*/ 59 h 59"/>
                <a:gd name="T2" fmla="*/ 22 w 34"/>
                <a:gd name="T3" fmla="*/ 51 h 59"/>
                <a:gd name="T4" fmla="*/ 34 w 34"/>
                <a:gd name="T5" fmla="*/ 37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8 h 59"/>
                <a:gd name="T36" fmla="*/ 15 w 34"/>
                <a:gd name="T37" fmla="*/ 41 h 59"/>
                <a:gd name="T38" fmla="*/ 5 w 34"/>
                <a:gd name="T39" fmla="*/ 38 h 59"/>
                <a:gd name="T40" fmla="*/ 3 w 34"/>
                <a:gd name="T41" fmla="*/ 37 h 59"/>
                <a:gd name="T42" fmla="*/ 0 w 34"/>
                <a:gd name="T43" fmla="*/ 48 h 59"/>
                <a:gd name="T44" fmla="*/ 0 w 34"/>
                <a:gd name="T45" fmla="*/ 48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49"/>
                    <a:pt x="34" y="44"/>
                    <a:pt x="34" y="37"/>
                  </a:cubicBezTo>
                  <a:cubicBezTo>
                    <a:pt x="34" y="31"/>
                    <a:pt x="30" y="26"/>
                    <a:pt x="21" y="23"/>
                  </a:cubicBezTo>
                  <a:cubicBezTo>
                    <a:pt x="18" y="22"/>
                    <a:pt x="15" y="20"/>
                    <a:pt x="15" y="19"/>
                  </a:cubicBezTo>
                  <a:cubicBezTo>
                    <a:pt x="15" y="17"/>
                    <a:pt x="17" y="17"/>
                    <a:pt x="19" y="17"/>
                  </a:cubicBezTo>
                  <a:cubicBezTo>
                    <a:pt x="23" y="17"/>
                    <a:pt x="26" y="18"/>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6"/>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8"/>
                  </a:cubicBezTo>
                  <a:cubicBezTo>
                    <a:pt x="20" y="40"/>
                    <a:pt x="18" y="41"/>
                    <a:pt x="15" y="41"/>
                  </a:cubicBezTo>
                  <a:cubicBezTo>
                    <a:pt x="11" y="41"/>
                    <a:pt x="7" y="39"/>
                    <a:pt x="5" y="38"/>
                  </a:cubicBezTo>
                  <a:cubicBezTo>
                    <a:pt x="3" y="37"/>
                    <a:pt x="3" y="37"/>
                    <a:pt x="3" y="37"/>
                  </a:cubicBezTo>
                  <a:cubicBezTo>
                    <a:pt x="0" y="48"/>
                    <a:pt x="0" y="48"/>
                    <a:pt x="0" y="48"/>
                  </a:cubicBezTo>
                  <a:cubicBezTo>
                    <a:pt x="0" y="48"/>
                    <a:pt x="0" y="48"/>
                    <a:pt x="0" y="48"/>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90" name="Freeform 173"/>
            <p:cNvSpPr>
              <a:spLocks/>
            </p:cNvSpPr>
            <p:nvPr/>
          </p:nvSpPr>
          <p:spPr bwMode="auto">
            <a:xfrm>
              <a:off x="10569575" y="3446463"/>
              <a:ext cx="127000" cy="222250"/>
            </a:xfrm>
            <a:custGeom>
              <a:avLst/>
              <a:gdLst>
                <a:gd name="T0" fmla="*/ 22 w 34"/>
                <a:gd name="T1" fmla="*/ 59 h 59"/>
                <a:gd name="T2" fmla="*/ 22 w 34"/>
                <a:gd name="T3" fmla="*/ 51 h 59"/>
                <a:gd name="T4" fmla="*/ 34 w 34"/>
                <a:gd name="T5" fmla="*/ 37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4 h 59"/>
                <a:gd name="T34" fmla="*/ 20 w 34"/>
                <a:gd name="T35" fmla="*/ 38 h 59"/>
                <a:gd name="T36" fmla="*/ 16 w 34"/>
                <a:gd name="T37" fmla="*/ 41 h 59"/>
                <a:gd name="T38" fmla="*/ 5 w 34"/>
                <a:gd name="T39" fmla="*/ 38 h 59"/>
                <a:gd name="T40" fmla="*/ 3 w 34"/>
                <a:gd name="T41" fmla="*/ 37 h 59"/>
                <a:gd name="T42" fmla="*/ 0 w 34"/>
                <a:gd name="T43" fmla="*/ 48 h 59"/>
                <a:gd name="T44" fmla="*/ 0 w 34"/>
                <a:gd name="T45" fmla="*/ 48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49"/>
                    <a:pt x="34" y="44"/>
                    <a:pt x="34" y="37"/>
                  </a:cubicBezTo>
                  <a:cubicBezTo>
                    <a:pt x="34" y="31"/>
                    <a:pt x="31" y="26"/>
                    <a:pt x="22" y="23"/>
                  </a:cubicBezTo>
                  <a:cubicBezTo>
                    <a:pt x="19" y="22"/>
                    <a:pt x="15" y="20"/>
                    <a:pt x="15" y="19"/>
                  </a:cubicBezTo>
                  <a:cubicBezTo>
                    <a:pt x="15" y="17"/>
                    <a:pt x="18" y="17"/>
                    <a:pt x="19" y="17"/>
                  </a:cubicBezTo>
                  <a:cubicBezTo>
                    <a:pt x="23" y="17"/>
                    <a:pt x="26" y="18"/>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6"/>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4"/>
                  </a:cubicBezTo>
                  <a:cubicBezTo>
                    <a:pt x="20" y="36"/>
                    <a:pt x="20" y="37"/>
                    <a:pt x="20" y="38"/>
                  </a:cubicBezTo>
                  <a:cubicBezTo>
                    <a:pt x="20" y="40"/>
                    <a:pt x="18" y="41"/>
                    <a:pt x="16" y="41"/>
                  </a:cubicBezTo>
                  <a:cubicBezTo>
                    <a:pt x="11" y="41"/>
                    <a:pt x="7" y="39"/>
                    <a:pt x="5" y="38"/>
                  </a:cubicBezTo>
                  <a:cubicBezTo>
                    <a:pt x="3" y="37"/>
                    <a:pt x="3" y="37"/>
                    <a:pt x="3" y="37"/>
                  </a:cubicBezTo>
                  <a:cubicBezTo>
                    <a:pt x="0" y="48"/>
                    <a:pt x="0" y="48"/>
                    <a:pt x="0" y="48"/>
                  </a:cubicBezTo>
                  <a:cubicBezTo>
                    <a:pt x="0" y="48"/>
                    <a:pt x="0" y="48"/>
                    <a:pt x="0" y="48"/>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91" name="Freeform 174"/>
            <p:cNvSpPr>
              <a:spLocks/>
            </p:cNvSpPr>
            <p:nvPr/>
          </p:nvSpPr>
          <p:spPr bwMode="auto">
            <a:xfrm>
              <a:off x="9348788" y="3713163"/>
              <a:ext cx="128588" cy="222250"/>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1 w 34"/>
                <a:gd name="T17" fmla="*/ 18 h 59"/>
                <a:gd name="T18" fmla="*/ 33 w 34"/>
                <a:gd name="T19" fmla="*/ 9 h 59"/>
                <a:gd name="T20" fmla="*/ 32 w 34"/>
                <a:gd name="T21" fmla="*/ 9 h 59"/>
                <a:gd name="T22" fmla="*/ 23 w 34"/>
                <a:gd name="T23" fmla="*/ 6 h 59"/>
                <a:gd name="T24" fmla="*/ 23 w 34"/>
                <a:gd name="T25" fmla="*/ 0 h 59"/>
                <a:gd name="T26" fmla="*/ 13 w 34"/>
                <a:gd name="T27" fmla="*/ 0 h 59"/>
                <a:gd name="T28" fmla="*/ 13 w 34"/>
                <a:gd name="T29" fmla="*/ 7 h 59"/>
                <a:gd name="T30" fmla="*/ 1 w 34"/>
                <a:gd name="T31" fmla="*/ 20 h 59"/>
                <a:gd name="T32" fmla="*/ 15 w 34"/>
                <a:gd name="T33" fmla="*/ 34 h 59"/>
                <a:gd name="T34" fmla="*/ 21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30" y="50"/>
                    <a:pt x="34" y="45"/>
                    <a:pt x="34" y="38"/>
                  </a:cubicBezTo>
                  <a:cubicBezTo>
                    <a:pt x="34" y="31"/>
                    <a:pt x="31" y="26"/>
                    <a:pt x="22" y="23"/>
                  </a:cubicBezTo>
                  <a:cubicBezTo>
                    <a:pt x="19" y="22"/>
                    <a:pt x="15" y="21"/>
                    <a:pt x="15" y="19"/>
                  </a:cubicBezTo>
                  <a:cubicBezTo>
                    <a:pt x="15" y="18"/>
                    <a:pt x="18" y="17"/>
                    <a:pt x="19" y="17"/>
                  </a:cubicBezTo>
                  <a:cubicBezTo>
                    <a:pt x="24" y="17"/>
                    <a:pt x="26" y="19"/>
                    <a:pt x="28" y="19"/>
                  </a:cubicBezTo>
                  <a:cubicBezTo>
                    <a:pt x="30" y="20"/>
                    <a:pt x="30" y="20"/>
                    <a:pt x="30" y="20"/>
                  </a:cubicBezTo>
                  <a:cubicBezTo>
                    <a:pt x="31" y="18"/>
                    <a:pt x="31" y="18"/>
                    <a:pt x="31" y="18"/>
                  </a:cubicBezTo>
                  <a:cubicBezTo>
                    <a:pt x="33" y="9"/>
                    <a:pt x="33" y="9"/>
                    <a:pt x="33" y="9"/>
                  </a:cubicBezTo>
                  <a:cubicBezTo>
                    <a:pt x="32" y="9"/>
                    <a:pt x="32" y="9"/>
                    <a:pt x="32" y="9"/>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5" y="34"/>
                  </a:cubicBezTo>
                  <a:cubicBezTo>
                    <a:pt x="20" y="36"/>
                    <a:pt x="21" y="38"/>
                    <a:pt x="21" y="39"/>
                  </a:cubicBezTo>
                  <a:cubicBezTo>
                    <a:pt x="21"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92" name="Freeform 175"/>
            <p:cNvSpPr>
              <a:spLocks/>
            </p:cNvSpPr>
            <p:nvPr/>
          </p:nvSpPr>
          <p:spPr bwMode="auto">
            <a:xfrm>
              <a:off x="9525000" y="3713163"/>
              <a:ext cx="128588" cy="222250"/>
            </a:xfrm>
            <a:custGeom>
              <a:avLst/>
              <a:gdLst>
                <a:gd name="T0" fmla="*/ 22 w 34"/>
                <a:gd name="T1" fmla="*/ 59 h 59"/>
                <a:gd name="T2" fmla="*/ 22 w 34"/>
                <a:gd name="T3" fmla="*/ 52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5" y="21"/>
                    <a:pt x="15" y="19"/>
                  </a:cubicBezTo>
                  <a:cubicBezTo>
                    <a:pt x="15" y="18"/>
                    <a:pt x="17" y="17"/>
                    <a:pt x="19"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8"/>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93" name="Freeform 176"/>
            <p:cNvSpPr>
              <a:spLocks/>
            </p:cNvSpPr>
            <p:nvPr/>
          </p:nvSpPr>
          <p:spPr bwMode="auto">
            <a:xfrm>
              <a:off x="9698038" y="3713163"/>
              <a:ext cx="128588" cy="222250"/>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3 w 34"/>
                <a:gd name="T23" fmla="*/ 6 h 59"/>
                <a:gd name="T24" fmla="*/ 23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30" y="50"/>
                    <a:pt x="34" y="45"/>
                    <a:pt x="34" y="38"/>
                  </a:cubicBezTo>
                  <a:cubicBezTo>
                    <a:pt x="34" y="31"/>
                    <a:pt x="30" y="26"/>
                    <a:pt x="22" y="23"/>
                  </a:cubicBezTo>
                  <a:cubicBezTo>
                    <a:pt x="19" y="22"/>
                    <a:pt x="15" y="21"/>
                    <a:pt x="15" y="19"/>
                  </a:cubicBezTo>
                  <a:cubicBezTo>
                    <a:pt x="15" y="18"/>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30" y="8"/>
                    <a:pt x="27" y="7"/>
                    <a:pt x="23" y="6"/>
                  </a:cubicBezTo>
                  <a:cubicBezTo>
                    <a:pt x="23" y="0"/>
                    <a:pt x="23" y="0"/>
                    <a:pt x="23" y="0"/>
                  </a:cubicBezTo>
                  <a:cubicBezTo>
                    <a:pt x="12" y="0"/>
                    <a:pt x="12" y="0"/>
                    <a:pt x="12" y="0"/>
                  </a:cubicBezTo>
                  <a:cubicBezTo>
                    <a:pt x="12" y="7"/>
                    <a:pt x="12" y="7"/>
                    <a:pt x="12" y="7"/>
                  </a:cubicBezTo>
                  <a:cubicBezTo>
                    <a:pt x="5" y="9"/>
                    <a:pt x="1" y="14"/>
                    <a:pt x="1" y="20"/>
                  </a:cubicBezTo>
                  <a:cubicBezTo>
                    <a:pt x="1" y="29"/>
                    <a:pt x="8" y="32"/>
                    <a:pt x="14" y="34"/>
                  </a:cubicBezTo>
                  <a:cubicBezTo>
                    <a:pt x="20" y="36"/>
                    <a:pt x="20" y="38"/>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94" name="Freeform 177"/>
            <p:cNvSpPr>
              <a:spLocks/>
            </p:cNvSpPr>
            <p:nvPr/>
          </p:nvSpPr>
          <p:spPr bwMode="auto">
            <a:xfrm>
              <a:off x="9874250" y="3713163"/>
              <a:ext cx="128588" cy="222250"/>
            </a:xfrm>
            <a:custGeom>
              <a:avLst/>
              <a:gdLst>
                <a:gd name="T0" fmla="*/ 22 w 34"/>
                <a:gd name="T1" fmla="*/ 59 h 59"/>
                <a:gd name="T2" fmla="*/ 22 w 34"/>
                <a:gd name="T3" fmla="*/ 52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4" y="21"/>
                    <a:pt x="14" y="19"/>
                  </a:cubicBezTo>
                  <a:cubicBezTo>
                    <a:pt x="14" y="18"/>
                    <a:pt x="17" y="17"/>
                    <a:pt x="18"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8" y="32"/>
                    <a:pt x="14" y="34"/>
                  </a:cubicBezTo>
                  <a:cubicBezTo>
                    <a:pt x="19" y="36"/>
                    <a:pt x="20" y="38"/>
                    <a:pt x="20" y="39"/>
                  </a:cubicBezTo>
                  <a:cubicBezTo>
                    <a:pt x="20" y="40"/>
                    <a:pt x="17" y="41"/>
                    <a:pt x="15" y="41"/>
                  </a:cubicBezTo>
                  <a:cubicBezTo>
                    <a:pt x="10"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95" name="Freeform 178"/>
            <p:cNvSpPr>
              <a:spLocks/>
            </p:cNvSpPr>
            <p:nvPr/>
          </p:nvSpPr>
          <p:spPr bwMode="auto">
            <a:xfrm>
              <a:off x="10047288" y="3713163"/>
              <a:ext cx="128588" cy="222250"/>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30" y="50"/>
                    <a:pt x="34" y="45"/>
                    <a:pt x="34" y="38"/>
                  </a:cubicBezTo>
                  <a:cubicBezTo>
                    <a:pt x="34" y="31"/>
                    <a:pt x="30" y="26"/>
                    <a:pt x="22" y="23"/>
                  </a:cubicBezTo>
                  <a:cubicBezTo>
                    <a:pt x="18" y="22"/>
                    <a:pt x="15" y="21"/>
                    <a:pt x="15" y="19"/>
                  </a:cubicBezTo>
                  <a:cubicBezTo>
                    <a:pt x="15" y="18"/>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30"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8"/>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96" name="Freeform 179"/>
            <p:cNvSpPr>
              <a:spLocks/>
            </p:cNvSpPr>
            <p:nvPr/>
          </p:nvSpPr>
          <p:spPr bwMode="auto">
            <a:xfrm>
              <a:off x="10223500" y="3713163"/>
              <a:ext cx="128588" cy="222250"/>
            </a:xfrm>
            <a:custGeom>
              <a:avLst/>
              <a:gdLst>
                <a:gd name="T0" fmla="*/ 22 w 34"/>
                <a:gd name="T1" fmla="*/ 59 h 59"/>
                <a:gd name="T2" fmla="*/ 22 w 34"/>
                <a:gd name="T3" fmla="*/ 52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4" y="21"/>
                    <a:pt x="14" y="19"/>
                  </a:cubicBezTo>
                  <a:cubicBezTo>
                    <a:pt x="14" y="18"/>
                    <a:pt x="17" y="17"/>
                    <a:pt x="18" y="17"/>
                  </a:cubicBezTo>
                  <a:cubicBezTo>
                    <a:pt x="23" y="17"/>
                    <a:pt x="25"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8"/>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97" name="Freeform 180"/>
            <p:cNvSpPr>
              <a:spLocks/>
            </p:cNvSpPr>
            <p:nvPr/>
          </p:nvSpPr>
          <p:spPr bwMode="auto">
            <a:xfrm>
              <a:off x="10396538" y="3713163"/>
              <a:ext cx="128588" cy="222250"/>
            </a:xfrm>
            <a:custGeom>
              <a:avLst/>
              <a:gdLst>
                <a:gd name="T0" fmla="*/ 22 w 34"/>
                <a:gd name="T1" fmla="*/ 59 h 59"/>
                <a:gd name="T2" fmla="*/ 22 w 34"/>
                <a:gd name="T3" fmla="*/ 52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9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29" y="50"/>
                    <a:pt x="34" y="45"/>
                    <a:pt x="34" y="38"/>
                  </a:cubicBezTo>
                  <a:cubicBezTo>
                    <a:pt x="34" y="31"/>
                    <a:pt x="30" y="26"/>
                    <a:pt x="21" y="23"/>
                  </a:cubicBezTo>
                  <a:cubicBezTo>
                    <a:pt x="18" y="22"/>
                    <a:pt x="15" y="21"/>
                    <a:pt x="15" y="19"/>
                  </a:cubicBezTo>
                  <a:cubicBezTo>
                    <a:pt x="15" y="18"/>
                    <a:pt x="17" y="17"/>
                    <a:pt x="19" y="17"/>
                  </a:cubicBezTo>
                  <a:cubicBezTo>
                    <a:pt x="23" y="17"/>
                    <a:pt x="26" y="19"/>
                    <a:pt x="27" y="19"/>
                  </a:cubicBezTo>
                  <a:cubicBezTo>
                    <a:pt x="29" y="20"/>
                    <a:pt x="29" y="20"/>
                    <a:pt x="29" y="20"/>
                  </a:cubicBezTo>
                  <a:cubicBezTo>
                    <a:pt x="30" y="18"/>
                    <a:pt x="30" y="18"/>
                    <a:pt x="30" y="18"/>
                  </a:cubicBezTo>
                  <a:cubicBezTo>
                    <a:pt x="32" y="9"/>
                    <a:pt x="32" y="9"/>
                    <a:pt x="32" y="9"/>
                  </a:cubicBezTo>
                  <a:cubicBezTo>
                    <a:pt x="31" y="9"/>
                    <a:pt x="31" y="9"/>
                    <a:pt x="31" y="9"/>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8"/>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98" name="Freeform 181"/>
            <p:cNvSpPr>
              <a:spLocks/>
            </p:cNvSpPr>
            <p:nvPr/>
          </p:nvSpPr>
          <p:spPr bwMode="auto">
            <a:xfrm>
              <a:off x="10569575" y="3713163"/>
              <a:ext cx="127000" cy="222250"/>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9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30" y="50"/>
                    <a:pt x="34" y="45"/>
                    <a:pt x="34" y="38"/>
                  </a:cubicBezTo>
                  <a:cubicBezTo>
                    <a:pt x="34" y="31"/>
                    <a:pt x="31" y="26"/>
                    <a:pt x="22" y="23"/>
                  </a:cubicBezTo>
                  <a:cubicBezTo>
                    <a:pt x="19" y="22"/>
                    <a:pt x="15" y="21"/>
                    <a:pt x="15" y="19"/>
                  </a:cubicBezTo>
                  <a:cubicBezTo>
                    <a:pt x="15" y="18"/>
                    <a:pt x="18"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9"/>
                    <a:pt x="31" y="9"/>
                    <a:pt x="31" y="9"/>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4"/>
                  </a:cubicBezTo>
                  <a:cubicBezTo>
                    <a:pt x="20" y="36"/>
                    <a:pt x="20" y="38"/>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99" name="Freeform 182"/>
            <p:cNvSpPr>
              <a:spLocks/>
            </p:cNvSpPr>
            <p:nvPr/>
          </p:nvSpPr>
          <p:spPr bwMode="auto">
            <a:xfrm>
              <a:off x="9348788" y="4003675"/>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1 w 34"/>
                <a:gd name="T17" fmla="*/ 18 h 59"/>
                <a:gd name="T18" fmla="*/ 33 w 34"/>
                <a:gd name="T19" fmla="*/ 9 h 59"/>
                <a:gd name="T20" fmla="*/ 32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5 w 34"/>
                <a:gd name="T33" fmla="*/ 34 h 59"/>
                <a:gd name="T34" fmla="*/ 21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1" y="26"/>
                    <a:pt x="22" y="23"/>
                  </a:cubicBezTo>
                  <a:cubicBezTo>
                    <a:pt x="19" y="22"/>
                    <a:pt x="15" y="21"/>
                    <a:pt x="15" y="19"/>
                  </a:cubicBezTo>
                  <a:cubicBezTo>
                    <a:pt x="15" y="17"/>
                    <a:pt x="18" y="17"/>
                    <a:pt x="19" y="17"/>
                  </a:cubicBezTo>
                  <a:cubicBezTo>
                    <a:pt x="24" y="17"/>
                    <a:pt x="26" y="19"/>
                    <a:pt x="28" y="19"/>
                  </a:cubicBezTo>
                  <a:cubicBezTo>
                    <a:pt x="30" y="20"/>
                    <a:pt x="30" y="20"/>
                    <a:pt x="30" y="20"/>
                  </a:cubicBezTo>
                  <a:cubicBezTo>
                    <a:pt x="31" y="18"/>
                    <a:pt x="31" y="18"/>
                    <a:pt x="31" y="18"/>
                  </a:cubicBezTo>
                  <a:cubicBezTo>
                    <a:pt x="33" y="9"/>
                    <a:pt x="33" y="9"/>
                    <a:pt x="33" y="9"/>
                  </a:cubicBezTo>
                  <a:cubicBezTo>
                    <a:pt x="32" y="8"/>
                    <a:pt x="32" y="8"/>
                    <a:pt x="32" y="8"/>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5" y="34"/>
                  </a:cubicBezTo>
                  <a:cubicBezTo>
                    <a:pt x="20" y="36"/>
                    <a:pt x="21" y="37"/>
                    <a:pt x="21" y="39"/>
                  </a:cubicBezTo>
                  <a:cubicBezTo>
                    <a:pt x="21"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300" name="Freeform 183"/>
            <p:cNvSpPr>
              <a:spLocks/>
            </p:cNvSpPr>
            <p:nvPr/>
          </p:nvSpPr>
          <p:spPr bwMode="auto">
            <a:xfrm>
              <a:off x="9525000" y="4003675"/>
              <a:ext cx="128588" cy="222250"/>
            </a:xfrm>
            <a:custGeom>
              <a:avLst/>
              <a:gdLst>
                <a:gd name="T0" fmla="*/ 22 w 34"/>
                <a:gd name="T1" fmla="*/ 59 h 59"/>
                <a:gd name="T2" fmla="*/ 22 w 34"/>
                <a:gd name="T3" fmla="*/ 51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5" y="21"/>
                    <a:pt x="15" y="19"/>
                  </a:cubicBezTo>
                  <a:cubicBezTo>
                    <a:pt x="15" y="17"/>
                    <a:pt x="17" y="17"/>
                    <a:pt x="19" y="17"/>
                  </a:cubicBezTo>
                  <a:cubicBezTo>
                    <a:pt x="23" y="17"/>
                    <a:pt x="26" y="19"/>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301" name="Freeform 184"/>
            <p:cNvSpPr>
              <a:spLocks/>
            </p:cNvSpPr>
            <p:nvPr/>
          </p:nvSpPr>
          <p:spPr bwMode="auto">
            <a:xfrm>
              <a:off x="9698038" y="4003675"/>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0" y="26"/>
                    <a:pt x="22" y="23"/>
                  </a:cubicBezTo>
                  <a:cubicBezTo>
                    <a:pt x="19" y="22"/>
                    <a:pt x="15" y="21"/>
                    <a:pt x="15" y="19"/>
                  </a:cubicBezTo>
                  <a:cubicBezTo>
                    <a:pt x="15" y="17"/>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3" y="6"/>
                  </a:cubicBezTo>
                  <a:cubicBezTo>
                    <a:pt x="23" y="0"/>
                    <a:pt x="23" y="0"/>
                    <a:pt x="23" y="0"/>
                  </a:cubicBezTo>
                  <a:cubicBezTo>
                    <a:pt x="12" y="0"/>
                    <a:pt x="12" y="0"/>
                    <a:pt x="12" y="0"/>
                  </a:cubicBezTo>
                  <a:cubicBezTo>
                    <a:pt x="12" y="7"/>
                    <a:pt x="12" y="7"/>
                    <a:pt x="12" y="7"/>
                  </a:cubicBezTo>
                  <a:cubicBezTo>
                    <a:pt x="5" y="9"/>
                    <a:pt x="1" y="14"/>
                    <a:pt x="1" y="20"/>
                  </a:cubicBezTo>
                  <a:cubicBezTo>
                    <a:pt x="1" y="29"/>
                    <a:pt x="8" y="32"/>
                    <a:pt x="14" y="34"/>
                  </a:cubicBezTo>
                  <a:cubicBezTo>
                    <a:pt x="20" y="36"/>
                    <a:pt x="20" y="37"/>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302" name="Freeform 185"/>
            <p:cNvSpPr>
              <a:spLocks/>
            </p:cNvSpPr>
            <p:nvPr/>
          </p:nvSpPr>
          <p:spPr bwMode="auto">
            <a:xfrm>
              <a:off x="9874250" y="4003675"/>
              <a:ext cx="128588"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1"/>
                    <a:pt x="14" y="19"/>
                  </a:cubicBezTo>
                  <a:cubicBezTo>
                    <a:pt x="14" y="17"/>
                    <a:pt x="17" y="17"/>
                    <a:pt x="18" y="17"/>
                  </a:cubicBezTo>
                  <a:cubicBezTo>
                    <a:pt x="23" y="17"/>
                    <a:pt x="26" y="19"/>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8" y="32"/>
                    <a:pt x="14" y="34"/>
                  </a:cubicBezTo>
                  <a:cubicBezTo>
                    <a:pt x="19" y="36"/>
                    <a:pt x="20" y="37"/>
                    <a:pt x="20" y="39"/>
                  </a:cubicBezTo>
                  <a:cubicBezTo>
                    <a:pt x="20" y="40"/>
                    <a:pt x="17" y="41"/>
                    <a:pt x="15" y="41"/>
                  </a:cubicBezTo>
                  <a:cubicBezTo>
                    <a:pt x="10"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303" name="Freeform 186"/>
            <p:cNvSpPr>
              <a:spLocks/>
            </p:cNvSpPr>
            <p:nvPr/>
          </p:nvSpPr>
          <p:spPr bwMode="auto">
            <a:xfrm>
              <a:off x="10047288" y="4003675"/>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0" y="26"/>
                    <a:pt x="22" y="23"/>
                  </a:cubicBezTo>
                  <a:cubicBezTo>
                    <a:pt x="18" y="22"/>
                    <a:pt x="15" y="21"/>
                    <a:pt x="15" y="19"/>
                  </a:cubicBezTo>
                  <a:cubicBezTo>
                    <a:pt x="15" y="17"/>
                    <a:pt x="17"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304" name="Freeform 187"/>
            <p:cNvSpPr>
              <a:spLocks/>
            </p:cNvSpPr>
            <p:nvPr/>
          </p:nvSpPr>
          <p:spPr bwMode="auto">
            <a:xfrm>
              <a:off x="10223500" y="4003675"/>
              <a:ext cx="128588" cy="222250"/>
            </a:xfrm>
            <a:custGeom>
              <a:avLst/>
              <a:gdLst>
                <a:gd name="T0" fmla="*/ 22 w 34"/>
                <a:gd name="T1" fmla="*/ 59 h 59"/>
                <a:gd name="T2" fmla="*/ 22 w 34"/>
                <a:gd name="T3" fmla="*/ 51 h 59"/>
                <a:gd name="T4" fmla="*/ 34 w 34"/>
                <a:gd name="T5" fmla="*/ 38 h 59"/>
                <a:gd name="T6" fmla="*/ 21 w 34"/>
                <a:gd name="T7" fmla="*/ 23 h 59"/>
                <a:gd name="T8" fmla="*/ 14 w 34"/>
                <a:gd name="T9" fmla="*/ 19 h 59"/>
                <a:gd name="T10" fmla="*/ 18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0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1 w 34"/>
                <a:gd name="T49" fmla="*/ 52 h 59"/>
                <a:gd name="T50" fmla="*/ 11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4" y="21"/>
                    <a:pt x="14" y="19"/>
                  </a:cubicBezTo>
                  <a:cubicBezTo>
                    <a:pt x="14" y="17"/>
                    <a:pt x="17" y="17"/>
                    <a:pt x="18" y="17"/>
                  </a:cubicBezTo>
                  <a:cubicBezTo>
                    <a:pt x="23" y="17"/>
                    <a:pt x="25" y="19"/>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0" y="14"/>
                    <a:pt x="0" y="20"/>
                  </a:cubicBezTo>
                  <a:cubicBezTo>
                    <a:pt x="0" y="29"/>
                    <a:pt x="7" y="32"/>
                    <a:pt x="14" y="34"/>
                  </a:cubicBezTo>
                  <a:cubicBezTo>
                    <a:pt x="19" y="36"/>
                    <a:pt x="20" y="37"/>
                    <a:pt x="20" y="39"/>
                  </a:cubicBezTo>
                  <a:cubicBezTo>
                    <a:pt x="20" y="40"/>
                    <a:pt x="17" y="41"/>
                    <a:pt x="15" y="41"/>
                  </a:cubicBezTo>
                  <a:cubicBezTo>
                    <a:pt x="10" y="41"/>
                    <a:pt x="6" y="39"/>
                    <a:pt x="5" y="38"/>
                  </a:cubicBezTo>
                  <a:cubicBezTo>
                    <a:pt x="3" y="37"/>
                    <a:pt x="3" y="37"/>
                    <a:pt x="3" y="37"/>
                  </a:cubicBezTo>
                  <a:cubicBezTo>
                    <a:pt x="0" y="49"/>
                    <a:pt x="0" y="49"/>
                    <a:pt x="0" y="49"/>
                  </a:cubicBezTo>
                  <a:cubicBezTo>
                    <a:pt x="0" y="49"/>
                    <a:pt x="0" y="49"/>
                    <a:pt x="0" y="49"/>
                  </a:cubicBezTo>
                  <a:cubicBezTo>
                    <a:pt x="1" y="49"/>
                    <a:pt x="1" y="49"/>
                    <a:pt x="1" y="49"/>
                  </a:cubicBezTo>
                  <a:cubicBezTo>
                    <a:pt x="3" y="51"/>
                    <a:pt x="7" y="52"/>
                    <a:pt x="11" y="52"/>
                  </a:cubicBezTo>
                  <a:cubicBezTo>
                    <a:pt x="11" y="59"/>
                    <a:pt x="11" y="59"/>
                    <a:pt x="11"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305" name="Freeform 188"/>
            <p:cNvSpPr>
              <a:spLocks/>
            </p:cNvSpPr>
            <p:nvPr/>
          </p:nvSpPr>
          <p:spPr bwMode="auto">
            <a:xfrm>
              <a:off x="10396538" y="4003675"/>
              <a:ext cx="128588" cy="222250"/>
            </a:xfrm>
            <a:custGeom>
              <a:avLst/>
              <a:gdLst>
                <a:gd name="T0" fmla="*/ 22 w 34"/>
                <a:gd name="T1" fmla="*/ 59 h 59"/>
                <a:gd name="T2" fmla="*/ 22 w 34"/>
                <a:gd name="T3" fmla="*/ 51 h 59"/>
                <a:gd name="T4" fmla="*/ 34 w 34"/>
                <a:gd name="T5" fmla="*/ 38 h 59"/>
                <a:gd name="T6" fmla="*/ 21 w 34"/>
                <a:gd name="T7" fmla="*/ 23 h 59"/>
                <a:gd name="T8" fmla="*/ 15 w 34"/>
                <a:gd name="T9" fmla="*/ 19 h 59"/>
                <a:gd name="T10" fmla="*/ 19 w 34"/>
                <a:gd name="T11" fmla="*/ 17 h 59"/>
                <a:gd name="T12" fmla="*/ 27 w 34"/>
                <a:gd name="T13" fmla="*/ 19 h 59"/>
                <a:gd name="T14" fmla="*/ 29 w 34"/>
                <a:gd name="T15" fmla="*/ 20 h 59"/>
                <a:gd name="T16" fmla="*/ 30 w 34"/>
                <a:gd name="T17" fmla="*/ 18 h 59"/>
                <a:gd name="T18" fmla="*/ 32 w 34"/>
                <a:gd name="T19" fmla="*/ 9 h 59"/>
                <a:gd name="T20" fmla="*/ 31 w 34"/>
                <a:gd name="T21" fmla="*/ 8 h 59"/>
                <a:gd name="T22" fmla="*/ 22 w 34"/>
                <a:gd name="T23" fmla="*/ 6 h 59"/>
                <a:gd name="T24" fmla="*/ 22 w 34"/>
                <a:gd name="T25" fmla="*/ 0 h 59"/>
                <a:gd name="T26" fmla="*/ 12 w 34"/>
                <a:gd name="T27" fmla="*/ 0 h 59"/>
                <a:gd name="T28" fmla="*/ 12 w 34"/>
                <a:gd name="T29" fmla="*/ 7 h 59"/>
                <a:gd name="T30" fmla="*/ 1 w 34"/>
                <a:gd name="T31" fmla="*/ 20 h 59"/>
                <a:gd name="T32" fmla="*/ 14 w 34"/>
                <a:gd name="T33" fmla="*/ 34 h 59"/>
                <a:gd name="T34" fmla="*/ 20 w 34"/>
                <a:gd name="T35" fmla="*/ 39 h 59"/>
                <a:gd name="T36" fmla="*/ 15 w 34"/>
                <a:gd name="T37" fmla="*/ 41 h 59"/>
                <a:gd name="T38" fmla="*/ 5 w 34"/>
                <a:gd name="T39" fmla="*/ 38 h 59"/>
                <a:gd name="T40" fmla="*/ 3 w 34"/>
                <a:gd name="T41" fmla="*/ 37 h 59"/>
                <a:gd name="T42" fmla="*/ 0 w 34"/>
                <a:gd name="T43" fmla="*/ 49 h 59"/>
                <a:gd name="T44" fmla="*/ 0 w 34"/>
                <a:gd name="T45" fmla="*/ 49 h 59"/>
                <a:gd name="T46" fmla="*/ 1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29" y="50"/>
                    <a:pt x="34" y="44"/>
                    <a:pt x="34" y="38"/>
                  </a:cubicBezTo>
                  <a:cubicBezTo>
                    <a:pt x="34" y="31"/>
                    <a:pt x="30" y="26"/>
                    <a:pt x="21" y="23"/>
                  </a:cubicBezTo>
                  <a:cubicBezTo>
                    <a:pt x="18" y="22"/>
                    <a:pt x="15" y="21"/>
                    <a:pt x="15" y="19"/>
                  </a:cubicBezTo>
                  <a:cubicBezTo>
                    <a:pt x="15" y="17"/>
                    <a:pt x="17" y="17"/>
                    <a:pt x="19" y="17"/>
                  </a:cubicBezTo>
                  <a:cubicBezTo>
                    <a:pt x="23" y="17"/>
                    <a:pt x="26" y="19"/>
                    <a:pt x="27" y="19"/>
                  </a:cubicBezTo>
                  <a:cubicBezTo>
                    <a:pt x="29" y="20"/>
                    <a:pt x="29" y="20"/>
                    <a:pt x="29" y="20"/>
                  </a:cubicBezTo>
                  <a:cubicBezTo>
                    <a:pt x="30" y="18"/>
                    <a:pt x="30" y="18"/>
                    <a:pt x="30" y="18"/>
                  </a:cubicBezTo>
                  <a:cubicBezTo>
                    <a:pt x="32" y="9"/>
                    <a:pt x="32" y="9"/>
                    <a:pt x="32" y="9"/>
                  </a:cubicBezTo>
                  <a:cubicBezTo>
                    <a:pt x="31" y="8"/>
                    <a:pt x="31" y="8"/>
                    <a:pt x="31" y="8"/>
                  </a:cubicBezTo>
                  <a:cubicBezTo>
                    <a:pt x="29" y="8"/>
                    <a:pt x="26" y="7"/>
                    <a:pt x="22" y="6"/>
                  </a:cubicBezTo>
                  <a:cubicBezTo>
                    <a:pt x="22" y="0"/>
                    <a:pt x="22" y="0"/>
                    <a:pt x="22" y="0"/>
                  </a:cubicBezTo>
                  <a:cubicBezTo>
                    <a:pt x="12" y="0"/>
                    <a:pt x="12" y="0"/>
                    <a:pt x="12" y="0"/>
                  </a:cubicBezTo>
                  <a:cubicBezTo>
                    <a:pt x="12" y="7"/>
                    <a:pt x="12" y="7"/>
                    <a:pt x="12" y="7"/>
                  </a:cubicBezTo>
                  <a:cubicBezTo>
                    <a:pt x="5" y="9"/>
                    <a:pt x="1" y="14"/>
                    <a:pt x="1" y="20"/>
                  </a:cubicBezTo>
                  <a:cubicBezTo>
                    <a:pt x="1" y="29"/>
                    <a:pt x="8" y="32"/>
                    <a:pt x="14" y="34"/>
                  </a:cubicBezTo>
                  <a:cubicBezTo>
                    <a:pt x="19" y="36"/>
                    <a:pt x="20" y="37"/>
                    <a:pt x="20" y="39"/>
                  </a:cubicBezTo>
                  <a:cubicBezTo>
                    <a:pt x="20" y="40"/>
                    <a:pt x="18" y="41"/>
                    <a:pt x="15" y="41"/>
                  </a:cubicBezTo>
                  <a:cubicBezTo>
                    <a:pt x="11" y="41"/>
                    <a:pt x="7" y="39"/>
                    <a:pt x="5" y="38"/>
                  </a:cubicBezTo>
                  <a:cubicBezTo>
                    <a:pt x="3" y="37"/>
                    <a:pt x="3" y="37"/>
                    <a:pt x="3" y="37"/>
                  </a:cubicBezTo>
                  <a:cubicBezTo>
                    <a:pt x="0" y="49"/>
                    <a:pt x="0" y="49"/>
                    <a:pt x="0" y="49"/>
                  </a:cubicBezTo>
                  <a:cubicBezTo>
                    <a:pt x="0" y="49"/>
                    <a:pt x="0" y="49"/>
                    <a:pt x="0" y="49"/>
                  </a:cubicBezTo>
                  <a:cubicBezTo>
                    <a:pt x="1" y="49"/>
                    <a:pt x="1" y="49"/>
                    <a:pt x="1"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306" name="Freeform 189"/>
            <p:cNvSpPr>
              <a:spLocks/>
            </p:cNvSpPr>
            <p:nvPr/>
          </p:nvSpPr>
          <p:spPr bwMode="auto">
            <a:xfrm>
              <a:off x="10569575" y="4003675"/>
              <a:ext cx="127000"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0 w 34"/>
                <a:gd name="T17" fmla="*/ 18 h 59"/>
                <a:gd name="T18" fmla="*/ 33 w 34"/>
                <a:gd name="T19" fmla="*/ 9 h 59"/>
                <a:gd name="T20" fmla="*/ 31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4 w 34"/>
                <a:gd name="T33" fmla="*/ 34 h 59"/>
                <a:gd name="T34" fmla="*/ 20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1" y="26"/>
                    <a:pt x="22" y="23"/>
                  </a:cubicBezTo>
                  <a:cubicBezTo>
                    <a:pt x="19" y="22"/>
                    <a:pt x="15" y="21"/>
                    <a:pt x="15" y="19"/>
                  </a:cubicBezTo>
                  <a:cubicBezTo>
                    <a:pt x="15" y="17"/>
                    <a:pt x="18" y="17"/>
                    <a:pt x="19" y="17"/>
                  </a:cubicBezTo>
                  <a:cubicBezTo>
                    <a:pt x="23" y="17"/>
                    <a:pt x="26" y="19"/>
                    <a:pt x="28" y="19"/>
                  </a:cubicBezTo>
                  <a:cubicBezTo>
                    <a:pt x="30" y="20"/>
                    <a:pt x="30" y="20"/>
                    <a:pt x="30" y="20"/>
                  </a:cubicBezTo>
                  <a:cubicBezTo>
                    <a:pt x="30" y="18"/>
                    <a:pt x="30" y="18"/>
                    <a:pt x="30" y="18"/>
                  </a:cubicBezTo>
                  <a:cubicBezTo>
                    <a:pt x="33" y="9"/>
                    <a:pt x="33" y="9"/>
                    <a:pt x="33" y="9"/>
                  </a:cubicBezTo>
                  <a:cubicBezTo>
                    <a:pt x="31" y="8"/>
                    <a:pt x="31" y="8"/>
                    <a:pt x="31" y="8"/>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4" y="34"/>
                  </a:cubicBezTo>
                  <a:cubicBezTo>
                    <a:pt x="20" y="36"/>
                    <a:pt x="20" y="37"/>
                    <a:pt x="20" y="39"/>
                  </a:cubicBezTo>
                  <a:cubicBezTo>
                    <a:pt x="20"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307" name="Freeform 190"/>
            <p:cNvSpPr>
              <a:spLocks/>
            </p:cNvSpPr>
            <p:nvPr/>
          </p:nvSpPr>
          <p:spPr bwMode="auto">
            <a:xfrm>
              <a:off x="9348788" y="4286250"/>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1 w 34"/>
                <a:gd name="T17" fmla="*/ 18 h 59"/>
                <a:gd name="T18" fmla="*/ 33 w 34"/>
                <a:gd name="T19" fmla="*/ 9 h 59"/>
                <a:gd name="T20" fmla="*/ 32 w 34"/>
                <a:gd name="T21" fmla="*/ 9 h 59"/>
                <a:gd name="T22" fmla="*/ 23 w 34"/>
                <a:gd name="T23" fmla="*/ 6 h 59"/>
                <a:gd name="T24" fmla="*/ 23 w 34"/>
                <a:gd name="T25" fmla="*/ 0 h 59"/>
                <a:gd name="T26" fmla="*/ 13 w 34"/>
                <a:gd name="T27" fmla="*/ 0 h 59"/>
                <a:gd name="T28" fmla="*/ 13 w 34"/>
                <a:gd name="T29" fmla="*/ 7 h 59"/>
                <a:gd name="T30" fmla="*/ 1 w 34"/>
                <a:gd name="T31" fmla="*/ 20 h 59"/>
                <a:gd name="T32" fmla="*/ 15 w 34"/>
                <a:gd name="T33" fmla="*/ 34 h 59"/>
                <a:gd name="T34" fmla="*/ 21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5"/>
                    <a:pt x="34" y="38"/>
                  </a:cubicBezTo>
                  <a:cubicBezTo>
                    <a:pt x="34" y="31"/>
                    <a:pt x="31" y="26"/>
                    <a:pt x="22" y="23"/>
                  </a:cubicBezTo>
                  <a:cubicBezTo>
                    <a:pt x="19" y="22"/>
                    <a:pt x="15" y="21"/>
                    <a:pt x="15" y="19"/>
                  </a:cubicBezTo>
                  <a:cubicBezTo>
                    <a:pt x="15" y="17"/>
                    <a:pt x="18" y="17"/>
                    <a:pt x="19" y="17"/>
                  </a:cubicBezTo>
                  <a:cubicBezTo>
                    <a:pt x="24" y="17"/>
                    <a:pt x="26" y="19"/>
                    <a:pt x="28" y="19"/>
                  </a:cubicBezTo>
                  <a:cubicBezTo>
                    <a:pt x="30" y="20"/>
                    <a:pt x="30" y="20"/>
                    <a:pt x="30" y="20"/>
                  </a:cubicBezTo>
                  <a:cubicBezTo>
                    <a:pt x="31" y="18"/>
                    <a:pt x="31" y="18"/>
                    <a:pt x="31" y="18"/>
                  </a:cubicBezTo>
                  <a:cubicBezTo>
                    <a:pt x="33" y="9"/>
                    <a:pt x="33" y="9"/>
                    <a:pt x="33" y="9"/>
                  </a:cubicBezTo>
                  <a:cubicBezTo>
                    <a:pt x="32" y="9"/>
                    <a:pt x="32" y="9"/>
                    <a:pt x="32" y="9"/>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5" y="34"/>
                  </a:cubicBezTo>
                  <a:cubicBezTo>
                    <a:pt x="20" y="36"/>
                    <a:pt x="21" y="38"/>
                    <a:pt x="21" y="39"/>
                  </a:cubicBezTo>
                  <a:cubicBezTo>
                    <a:pt x="21"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308" name="Freeform 191"/>
            <p:cNvSpPr>
              <a:spLocks/>
            </p:cNvSpPr>
            <p:nvPr/>
          </p:nvSpPr>
          <p:spPr bwMode="auto">
            <a:xfrm>
              <a:off x="9348788" y="4576763"/>
              <a:ext cx="128588" cy="222250"/>
            </a:xfrm>
            <a:custGeom>
              <a:avLst/>
              <a:gdLst>
                <a:gd name="T0" fmla="*/ 22 w 34"/>
                <a:gd name="T1" fmla="*/ 59 h 59"/>
                <a:gd name="T2" fmla="*/ 22 w 34"/>
                <a:gd name="T3" fmla="*/ 51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1 w 34"/>
                <a:gd name="T17" fmla="*/ 18 h 59"/>
                <a:gd name="T18" fmla="*/ 33 w 34"/>
                <a:gd name="T19" fmla="*/ 9 h 59"/>
                <a:gd name="T20" fmla="*/ 32 w 34"/>
                <a:gd name="T21" fmla="*/ 8 h 59"/>
                <a:gd name="T22" fmla="*/ 23 w 34"/>
                <a:gd name="T23" fmla="*/ 6 h 59"/>
                <a:gd name="T24" fmla="*/ 23 w 34"/>
                <a:gd name="T25" fmla="*/ 0 h 59"/>
                <a:gd name="T26" fmla="*/ 13 w 34"/>
                <a:gd name="T27" fmla="*/ 0 h 59"/>
                <a:gd name="T28" fmla="*/ 13 w 34"/>
                <a:gd name="T29" fmla="*/ 7 h 59"/>
                <a:gd name="T30" fmla="*/ 1 w 34"/>
                <a:gd name="T31" fmla="*/ 20 h 59"/>
                <a:gd name="T32" fmla="*/ 15 w 34"/>
                <a:gd name="T33" fmla="*/ 34 h 59"/>
                <a:gd name="T34" fmla="*/ 21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1"/>
                    <a:pt x="22" y="51"/>
                    <a:pt x="22" y="51"/>
                  </a:cubicBezTo>
                  <a:cubicBezTo>
                    <a:pt x="30" y="50"/>
                    <a:pt x="34" y="44"/>
                    <a:pt x="34" y="38"/>
                  </a:cubicBezTo>
                  <a:cubicBezTo>
                    <a:pt x="34" y="31"/>
                    <a:pt x="31" y="26"/>
                    <a:pt x="22" y="23"/>
                  </a:cubicBezTo>
                  <a:cubicBezTo>
                    <a:pt x="19" y="22"/>
                    <a:pt x="15" y="20"/>
                    <a:pt x="15" y="19"/>
                  </a:cubicBezTo>
                  <a:cubicBezTo>
                    <a:pt x="15" y="17"/>
                    <a:pt x="18" y="17"/>
                    <a:pt x="19" y="17"/>
                  </a:cubicBezTo>
                  <a:cubicBezTo>
                    <a:pt x="24" y="17"/>
                    <a:pt x="26" y="18"/>
                    <a:pt x="28" y="19"/>
                  </a:cubicBezTo>
                  <a:cubicBezTo>
                    <a:pt x="30" y="20"/>
                    <a:pt x="30" y="20"/>
                    <a:pt x="30" y="20"/>
                  </a:cubicBezTo>
                  <a:cubicBezTo>
                    <a:pt x="31" y="18"/>
                    <a:pt x="31" y="18"/>
                    <a:pt x="31" y="18"/>
                  </a:cubicBezTo>
                  <a:cubicBezTo>
                    <a:pt x="33" y="9"/>
                    <a:pt x="33" y="9"/>
                    <a:pt x="33" y="9"/>
                  </a:cubicBezTo>
                  <a:cubicBezTo>
                    <a:pt x="32" y="8"/>
                    <a:pt x="32" y="8"/>
                    <a:pt x="32" y="8"/>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5" y="34"/>
                  </a:cubicBezTo>
                  <a:cubicBezTo>
                    <a:pt x="20" y="36"/>
                    <a:pt x="21" y="37"/>
                    <a:pt x="21" y="39"/>
                  </a:cubicBezTo>
                  <a:cubicBezTo>
                    <a:pt x="21"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309" name="Freeform 192"/>
            <p:cNvSpPr>
              <a:spLocks/>
            </p:cNvSpPr>
            <p:nvPr/>
          </p:nvSpPr>
          <p:spPr bwMode="auto">
            <a:xfrm>
              <a:off x="9348788" y="4843463"/>
              <a:ext cx="128588" cy="223838"/>
            </a:xfrm>
            <a:custGeom>
              <a:avLst/>
              <a:gdLst>
                <a:gd name="T0" fmla="*/ 22 w 34"/>
                <a:gd name="T1" fmla="*/ 59 h 59"/>
                <a:gd name="T2" fmla="*/ 22 w 34"/>
                <a:gd name="T3" fmla="*/ 52 h 59"/>
                <a:gd name="T4" fmla="*/ 34 w 34"/>
                <a:gd name="T5" fmla="*/ 38 h 59"/>
                <a:gd name="T6" fmla="*/ 22 w 34"/>
                <a:gd name="T7" fmla="*/ 23 h 59"/>
                <a:gd name="T8" fmla="*/ 15 w 34"/>
                <a:gd name="T9" fmla="*/ 19 h 59"/>
                <a:gd name="T10" fmla="*/ 19 w 34"/>
                <a:gd name="T11" fmla="*/ 17 h 59"/>
                <a:gd name="T12" fmla="*/ 28 w 34"/>
                <a:gd name="T13" fmla="*/ 19 h 59"/>
                <a:gd name="T14" fmla="*/ 30 w 34"/>
                <a:gd name="T15" fmla="*/ 20 h 59"/>
                <a:gd name="T16" fmla="*/ 31 w 34"/>
                <a:gd name="T17" fmla="*/ 18 h 59"/>
                <a:gd name="T18" fmla="*/ 33 w 34"/>
                <a:gd name="T19" fmla="*/ 9 h 59"/>
                <a:gd name="T20" fmla="*/ 32 w 34"/>
                <a:gd name="T21" fmla="*/ 9 h 59"/>
                <a:gd name="T22" fmla="*/ 23 w 34"/>
                <a:gd name="T23" fmla="*/ 6 h 59"/>
                <a:gd name="T24" fmla="*/ 23 w 34"/>
                <a:gd name="T25" fmla="*/ 0 h 59"/>
                <a:gd name="T26" fmla="*/ 13 w 34"/>
                <a:gd name="T27" fmla="*/ 0 h 59"/>
                <a:gd name="T28" fmla="*/ 13 w 34"/>
                <a:gd name="T29" fmla="*/ 7 h 59"/>
                <a:gd name="T30" fmla="*/ 1 w 34"/>
                <a:gd name="T31" fmla="*/ 20 h 59"/>
                <a:gd name="T32" fmla="*/ 15 w 34"/>
                <a:gd name="T33" fmla="*/ 35 h 59"/>
                <a:gd name="T34" fmla="*/ 21 w 34"/>
                <a:gd name="T35" fmla="*/ 39 h 59"/>
                <a:gd name="T36" fmla="*/ 16 w 34"/>
                <a:gd name="T37" fmla="*/ 41 h 59"/>
                <a:gd name="T38" fmla="*/ 5 w 34"/>
                <a:gd name="T39" fmla="*/ 38 h 59"/>
                <a:gd name="T40" fmla="*/ 3 w 34"/>
                <a:gd name="T41" fmla="*/ 37 h 59"/>
                <a:gd name="T42" fmla="*/ 0 w 34"/>
                <a:gd name="T43" fmla="*/ 49 h 59"/>
                <a:gd name="T44" fmla="*/ 0 w 34"/>
                <a:gd name="T45" fmla="*/ 49 h 59"/>
                <a:gd name="T46" fmla="*/ 2 w 34"/>
                <a:gd name="T47" fmla="*/ 49 h 59"/>
                <a:gd name="T48" fmla="*/ 12 w 34"/>
                <a:gd name="T49" fmla="*/ 52 h 59"/>
                <a:gd name="T50" fmla="*/ 12 w 34"/>
                <a:gd name="T51" fmla="*/ 59 h 59"/>
                <a:gd name="T52" fmla="*/ 22 w 34"/>
                <a:gd name="T53" fmla="*/ 59 h 59"/>
                <a:gd name="T54" fmla="*/ 22 w 34"/>
                <a:gd name="T5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59">
                  <a:moveTo>
                    <a:pt x="22" y="59"/>
                  </a:moveTo>
                  <a:cubicBezTo>
                    <a:pt x="22" y="52"/>
                    <a:pt x="22" y="52"/>
                    <a:pt x="22" y="52"/>
                  </a:cubicBezTo>
                  <a:cubicBezTo>
                    <a:pt x="30" y="50"/>
                    <a:pt x="34" y="45"/>
                    <a:pt x="34" y="38"/>
                  </a:cubicBezTo>
                  <a:cubicBezTo>
                    <a:pt x="34" y="31"/>
                    <a:pt x="31" y="26"/>
                    <a:pt x="22" y="23"/>
                  </a:cubicBezTo>
                  <a:cubicBezTo>
                    <a:pt x="19" y="22"/>
                    <a:pt x="15" y="21"/>
                    <a:pt x="15" y="19"/>
                  </a:cubicBezTo>
                  <a:cubicBezTo>
                    <a:pt x="15" y="18"/>
                    <a:pt x="18" y="17"/>
                    <a:pt x="19" y="17"/>
                  </a:cubicBezTo>
                  <a:cubicBezTo>
                    <a:pt x="24" y="17"/>
                    <a:pt x="26" y="19"/>
                    <a:pt x="28" y="19"/>
                  </a:cubicBezTo>
                  <a:cubicBezTo>
                    <a:pt x="30" y="20"/>
                    <a:pt x="30" y="20"/>
                    <a:pt x="30" y="20"/>
                  </a:cubicBezTo>
                  <a:cubicBezTo>
                    <a:pt x="31" y="18"/>
                    <a:pt x="31" y="18"/>
                    <a:pt x="31" y="18"/>
                  </a:cubicBezTo>
                  <a:cubicBezTo>
                    <a:pt x="33" y="9"/>
                    <a:pt x="33" y="9"/>
                    <a:pt x="33" y="9"/>
                  </a:cubicBezTo>
                  <a:cubicBezTo>
                    <a:pt x="32" y="9"/>
                    <a:pt x="32" y="9"/>
                    <a:pt x="32" y="9"/>
                  </a:cubicBezTo>
                  <a:cubicBezTo>
                    <a:pt x="30" y="8"/>
                    <a:pt x="27" y="7"/>
                    <a:pt x="23" y="6"/>
                  </a:cubicBezTo>
                  <a:cubicBezTo>
                    <a:pt x="23" y="0"/>
                    <a:pt x="23" y="0"/>
                    <a:pt x="23" y="0"/>
                  </a:cubicBezTo>
                  <a:cubicBezTo>
                    <a:pt x="13" y="0"/>
                    <a:pt x="13" y="0"/>
                    <a:pt x="13" y="0"/>
                  </a:cubicBezTo>
                  <a:cubicBezTo>
                    <a:pt x="13" y="7"/>
                    <a:pt x="13" y="7"/>
                    <a:pt x="13" y="7"/>
                  </a:cubicBezTo>
                  <a:cubicBezTo>
                    <a:pt x="6" y="9"/>
                    <a:pt x="1" y="14"/>
                    <a:pt x="1" y="20"/>
                  </a:cubicBezTo>
                  <a:cubicBezTo>
                    <a:pt x="1" y="29"/>
                    <a:pt x="8" y="32"/>
                    <a:pt x="15" y="35"/>
                  </a:cubicBezTo>
                  <a:cubicBezTo>
                    <a:pt x="20" y="36"/>
                    <a:pt x="21" y="38"/>
                    <a:pt x="21" y="39"/>
                  </a:cubicBezTo>
                  <a:cubicBezTo>
                    <a:pt x="21" y="40"/>
                    <a:pt x="18" y="41"/>
                    <a:pt x="16" y="41"/>
                  </a:cubicBezTo>
                  <a:cubicBezTo>
                    <a:pt x="11" y="41"/>
                    <a:pt x="7" y="39"/>
                    <a:pt x="5" y="38"/>
                  </a:cubicBezTo>
                  <a:cubicBezTo>
                    <a:pt x="3" y="37"/>
                    <a:pt x="3" y="37"/>
                    <a:pt x="3" y="37"/>
                  </a:cubicBezTo>
                  <a:cubicBezTo>
                    <a:pt x="0" y="49"/>
                    <a:pt x="0" y="49"/>
                    <a:pt x="0" y="49"/>
                  </a:cubicBezTo>
                  <a:cubicBezTo>
                    <a:pt x="0" y="49"/>
                    <a:pt x="0" y="49"/>
                    <a:pt x="0" y="49"/>
                  </a:cubicBezTo>
                  <a:cubicBezTo>
                    <a:pt x="2" y="49"/>
                    <a:pt x="2" y="49"/>
                    <a:pt x="2" y="49"/>
                  </a:cubicBezTo>
                  <a:cubicBezTo>
                    <a:pt x="4" y="51"/>
                    <a:pt x="8" y="52"/>
                    <a:pt x="12" y="52"/>
                  </a:cubicBezTo>
                  <a:cubicBezTo>
                    <a:pt x="12" y="59"/>
                    <a:pt x="12" y="59"/>
                    <a:pt x="12" y="59"/>
                  </a:cubicBezTo>
                  <a:cubicBezTo>
                    <a:pt x="22" y="59"/>
                    <a:pt x="22" y="59"/>
                    <a:pt x="22" y="59"/>
                  </a:cubicBezTo>
                  <a:cubicBezTo>
                    <a:pt x="22" y="59"/>
                    <a:pt x="22" y="59"/>
                    <a:pt x="22" y="5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grpSp>
        <p:nvGrpSpPr>
          <p:cNvPr id="315" name="Group 314"/>
          <p:cNvGrpSpPr/>
          <p:nvPr/>
        </p:nvGrpSpPr>
        <p:grpSpPr>
          <a:xfrm>
            <a:off x="3537020" y="4827583"/>
            <a:ext cx="445814" cy="332831"/>
            <a:chOff x="6848475" y="3852863"/>
            <a:chExt cx="847725" cy="474663"/>
          </a:xfrm>
          <a:solidFill>
            <a:schemeClr val="tx1">
              <a:lumMod val="50000"/>
              <a:lumOff val="50000"/>
            </a:schemeClr>
          </a:solidFill>
        </p:grpSpPr>
        <p:sp>
          <p:nvSpPr>
            <p:cNvPr id="311" name="Rectangle 194"/>
            <p:cNvSpPr>
              <a:spLocks noChangeArrowheads="1"/>
            </p:cNvSpPr>
            <p:nvPr/>
          </p:nvSpPr>
          <p:spPr bwMode="auto">
            <a:xfrm>
              <a:off x="6848475" y="3852863"/>
              <a:ext cx="847725" cy="173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312" name="Rectangle 195"/>
            <p:cNvSpPr>
              <a:spLocks noChangeArrowheads="1"/>
            </p:cNvSpPr>
            <p:nvPr/>
          </p:nvSpPr>
          <p:spPr bwMode="auto">
            <a:xfrm>
              <a:off x="6848475" y="4154488"/>
              <a:ext cx="847725" cy="173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cxnSp>
        <p:nvCxnSpPr>
          <p:cNvPr id="320" name="Straight Connector 319"/>
          <p:cNvCxnSpPr/>
          <p:nvPr/>
        </p:nvCxnSpPr>
        <p:spPr>
          <a:xfrm>
            <a:off x="1979425" y="6157505"/>
            <a:ext cx="3601330" cy="0"/>
          </a:xfrm>
          <a:prstGeom prst="line">
            <a:avLst/>
          </a:prstGeom>
          <a:noFill/>
          <a:ln w="9525" cap="flat" cmpd="sng" algn="ctr">
            <a:solidFill>
              <a:schemeClr val="bg1">
                <a:lumMod val="75000"/>
              </a:schemeClr>
            </a:solidFill>
            <a:prstDash val="sysDash"/>
          </a:ln>
          <a:effectLst/>
        </p:spPr>
      </p:cxnSp>
      <p:sp>
        <p:nvSpPr>
          <p:cNvPr id="2096" name="Content Placeholder 2"/>
          <p:cNvSpPr txBox="1">
            <a:spLocks/>
          </p:cNvSpPr>
          <p:nvPr/>
        </p:nvSpPr>
        <p:spPr>
          <a:xfrm>
            <a:off x="2437031" y="2292783"/>
            <a:ext cx="2480783" cy="569601"/>
          </a:xfrm>
          <a:prstGeom prst="rect">
            <a:avLst/>
          </a:prstGeom>
        </p:spPr>
        <p:txBody>
          <a:bodyPr lIns="64005" tIns="32003" rIns="64005" bIns="32003"/>
          <a:lstStyle>
            <a:lvl1pPr marL="415120" indent="-415120" algn="l" defTabSz="1096796" rtl="0" eaLnBrk="1" latinLnBrk="0" hangingPunct="1">
              <a:lnSpc>
                <a:spcPct val="90000"/>
              </a:lnSpc>
              <a:spcBef>
                <a:spcPct val="20000"/>
              </a:spcBef>
              <a:buSzPct val="90000"/>
              <a:buFont typeface="Arial" pitchFamily="34" charset="0"/>
              <a:buChar char="•"/>
              <a:defRPr sz="3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755984" indent="-340857" algn="l" defTabSz="1096796" rtl="0" eaLnBrk="1" latinLnBrk="0" hangingPunct="1">
              <a:lnSpc>
                <a:spcPct val="90000"/>
              </a:lnSpc>
              <a:spcBef>
                <a:spcPct val="20000"/>
              </a:spcBef>
              <a:buSzPct val="90000"/>
              <a:buFont typeface="Arial" pitchFamily="34" charset="0"/>
              <a:buChar char="•"/>
              <a:tabLst>
                <a:tab pos="755984" algn="l"/>
              </a:tabLst>
              <a:defRPr sz="3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1096840" indent="-340857" algn="l" defTabSz="1096796" rtl="0" eaLnBrk="1" latinLnBrk="0" hangingPunct="1">
              <a:lnSpc>
                <a:spcPct val="90000"/>
              </a:lnSpc>
              <a:spcBef>
                <a:spcPct val="20000"/>
              </a:spcBef>
              <a:buSzPct val="90000"/>
              <a:buFont typeface="Arial" pitchFamily="34" charset="0"/>
              <a:buChar char="•"/>
              <a:defRPr sz="29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778558" indent="-268498" algn="l" defTabSz="1096796" rtl="0" eaLnBrk="1" latinLnBrk="0" hangingPunct="1">
              <a:lnSpc>
                <a:spcPct val="90000"/>
              </a:lnSpc>
              <a:spcBef>
                <a:spcPct val="20000"/>
              </a:spcBef>
              <a:buSzPct val="90000"/>
              <a:buFont typeface="Arial" pitchFamily="34" charset="0"/>
              <a:buChar char="•"/>
              <a:tabLst>
                <a:tab pos="1096840" algn="l"/>
              </a:tabLst>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2054675" indent="-276116" algn="l" defTabSz="1096796"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3016193" indent="-274199" algn="l" defTabSz="109679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4590" indent="-274199" algn="l" defTabSz="109679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2988" indent="-274199" algn="l" defTabSz="109679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1390" indent="-274199" algn="l" defTabSz="109679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defTabSz="767943">
              <a:buNone/>
              <a:defRPr/>
            </a:pPr>
            <a:r>
              <a:rPr lang="en-US" spc="-84" dirty="0">
                <a:solidFill>
                  <a:srgbClr val="8CC600">
                    <a:alpha val="99000"/>
                  </a:srgbClr>
                </a:solidFill>
                <a:latin typeface="Segoe UI Light" pitchFamily="34" charset="0"/>
              </a:rPr>
              <a:t>By the Numbers</a:t>
            </a:r>
          </a:p>
        </p:txBody>
      </p:sp>
      <p:sp>
        <p:nvSpPr>
          <p:cNvPr id="487" name="Freeform 1962"/>
          <p:cNvSpPr>
            <a:spLocks noEditPoints="1"/>
          </p:cNvSpPr>
          <p:nvPr/>
        </p:nvSpPr>
        <p:spPr bwMode="auto">
          <a:xfrm>
            <a:off x="8419927" y="5517554"/>
            <a:ext cx="58434" cy="166782"/>
          </a:xfrm>
          <a:custGeom>
            <a:avLst/>
            <a:gdLst>
              <a:gd name="T0" fmla="*/ 9 w 27"/>
              <a:gd name="T1" fmla="*/ 5 h 58"/>
              <a:gd name="T2" fmla="*/ 14 w 27"/>
              <a:gd name="T3" fmla="*/ 10 h 58"/>
              <a:gd name="T4" fmla="*/ 19 w 27"/>
              <a:gd name="T5" fmla="*/ 5 h 58"/>
              <a:gd name="T6" fmla="*/ 14 w 27"/>
              <a:gd name="T7" fmla="*/ 0 h 58"/>
              <a:gd name="T8" fmla="*/ 9 w 27"/>
              <a:gd name="T9" fmla="*/ 5 h 58"/>
              <a:gd name="T10" fmla="*/ 27 w 27"/>
              <a:gd name="T11" fmla="*/ 29 h 58"/>
              <a:gd name="T12" fmla="*/ 23 w 27"/>
              <a:gd name="T13" fmla="*/ 15 h 58"/>
              <a:gd name="T14" fmla="*/ 18 w 27"/>
              <a:gd name="T15" fmla="*/ 11 h 58"/>
              <a:gd name="T16" fmla="*/ 10 w 27"/>
              <a:gd name="T17" fmla="*/ 11 h 58"/>
              <a:gd name="T18" fmla="*/ 5 w 27"/>
              <a:gd name="T19" fmla="*/ 15 h 58"/>
              <a:gd name="T20" fmla="*/ 1 w 27"/>
              <a:gd name="T21" fmla="*/ 29 h 58"/>
              <a:gd name="T22" fmla="*/ 2 w 27"/>
              <a:gd name="T23" fmla="*/ 31 h 58"/>
              <a:gd name="T24" fmla="*/ 4 w 27"/>
              <a:gd name="T25" fmla="*/ 30 h 58"/>
              <a:gd name="T26" fmla="*/ 8 w 27"/>
              <a:gd name="T27" fmla="*/ 17 h 58"/>
              <a:gd name="T28" fmla="*/ 9 w 27"/>
              <a:gd name="T29" fmla="*/ 17 h 58"/>
              <a:gd name="T30" fmla="*/ 3 w 27"/>
              <a:gd name="T31" fmla="*/ 39 h 58"/>
              <a:gd name="T32" fmla="*/ 9 w 27"/>
              <a:gd name="T33" fmla="*/ 39 h 58"/>
              <a:gd name="T34" fmla="*/ 9 w 27"/>
              <a:gd name="T35" fmla="*/ 55 h 58"/>
              <a:gd name="T36" fmla="*/ 11 w 27"/>
              <a:gd name="T37" fmla="*/ 58 h 58"/>
              <a:gd name="T38" fmla="*/ 13 w 27"/>
              <a:gd name="T39" fmla="*/ 55 h 58"/>
              <a:gd name="T40" fmla="*/ 13 w 27"/>
              <a:gd name="T41" fmla="*/ 39 h 58"/>
              <a:gd name="T42" fmla="*/ 14 w 27"/>
              <a:gd name="T43" fmla="*/ 39 h 58"/>
              <a:gd name="T44" fmla="*/ 14 w 27"/>
              <a:gd name="T45" fmla="*/ 55 h 58"/>
              <a:gd name="T46" fmla="*/ 17 w 27"/>
              <a:gd name="T47" fmla="*/ 58 h 58"/>
              <a:gd name="T48" fmla="*/ 19 w 27"/>
              <a:gd name="T49" fmla="*/ 55 h 58"/>
              <a:gd name="T50" fmla="*/ 19 w 27"/>
              <a:gd name="T51" fmla="*/ 39 h 58"/>
              <a:gd name="T52" fmla="*/ 25 w 27"/>
              <a:gd name="T53" fmla="*/ 39 h 58"/>
              <a:gd name="T54" fmla="*/ 19 w 27"/>
              <a:gd name="T55" fmla="*/ 17 h 58"/>
              <a:gd name="T56" fmla="*/ 20 w 27"/>
              <a:gd name="T57" fmla="*/ 17 h 58"/>
              <a:gd name="T58" fmla="*/ 23 w 27"/>
              <a:gd name="T59" fmla="*/ 30 h 58"/>
              <a:gd name="T60" fmla="*/ 26 w 27"/>
              <a:gd name="T61" fmla="*/ 31 h 58"/>
              <a:gd name="T62" fmla="*/ 27 w 27"/>
              <a:gd name="T63"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 h="58">
                <a:moveTo>
                  <a:pt x="9" y="5"/>
                </a:moveTo>
                <a:cubicBezTo>
                  <a:pt x="9" y="7"/>
                  <a:pt x="11" y="10"/>
                  <a:pt x="14" y="10"/>
                </a:cubicBezTo>
                <a:cubicBezTo>
                  <a:pt x="16" y="10"/>
                  <a:pt x="19" y="7"/>
                  <a:pt x="19" y="5"/>
                </a:cubicBezTo>
                <a:cubicBezTo>
                  <a:pt x="19" y="2"/>
                  <a:pt x="16" y="0"/>
                  <a:pt x="14" y="0"/>
                </a:cubicBezTo>
                <a:cubicBezTo>
                  <a:pt x="11" y="0"/>
                  <a:pt x="9" y="2"/>
                  <a:pt x="9" y="5"/>
                </a:cubicBezTo>
                <a:close/>
                <a:moveTo>
                  <a:pt x="27" y="29"/>
                </a:moveTo>
                <a:cubicBezTo>
                  <a:pt x="27" y="28"/>
                  <a:pt x="25" y="21"/>
                  <a:pt x="23" y="15"/>
                </a:cubicBezTo>
                <a:cubicBezTo>
                  <a:pt x="22" y="13"/>
                  <a:pt x="20" y="11"/>
                  <a:pt x="18" y="11"/>
                </a:cubicBezTo>
                <a:cubicBezTo>
                  <a:pt x="16" y="11"/>
                  <a:pt x="11" y="11"/>
                  <a:pt x="10" y="11"/>
                </a:cubicBezTo>
                <a:cubicBezTo>
                  <a:pt x="8" y="11"/>
                  <a:pt x="5" y="13"/>
                  <a:pt x="5" y="15"/>
                </a:cubicBezTo>
                <a:cubicBezTo>
                  <a:pt x="3" y="21"/>
                  <a:pt x="1" y="28"/>
                  <a:pt x="1" y="29"/>
                </a:cubicBezTo>
                <a:cubicBezTo>
                  <a:pt x="0" y="30"/>
                  <a:pt x="1" y="31"/>
                  <a:pt x="2" y="31"/>
                </a:cubicBezTo>
                <a:cubicBezTo>
                  <a:pt x="3" y="32"/>
                  <a:pt x="4" y="31"/>
                  <a:pt x="4" y="30"/>
                </a:cubicBezTo>
                <a:cubicBezTo>
                  <a:pt x="5" y="29"/>
                  <a:pt x="8" y="17"/>
                  <a:pt x="8" y="17"/>
                </a:cubicBezTo>
                <a:cubicBezTo>
                  <a:pt x="9" y="17"/>
                  <a:pt x="9" y="17"/>
                  <a:pt x="9" y="17"/>
                </a:cubicBezTo>
                <a:cubicBezTo>
                  <a:pt x="3" y="39"/>
                  <a:pt x="3" y="39"/>
                  <a:pt x="3" y="39"/>
                </a:cubicBezTo>
                <a:cubicBezTo>
                  <a:pt x="9" y="39"/>
                  <a:pt x="9" y="39"/>
                  <a:pt x="9" y="39"/>
                </a:cubicBezTo>
                <a:cubicBezTo>
                  <a:pt x="9" y="46"/>
                  <a:pt x="9" y="55"/>
                  <a:pt x="9" y="55"/>
                </a:cubicBezTo>
                <a:cubicBezTo>
                  <a:pt x="9" y="57"/>
                  <a:pt x="10" y="58"/>
                  <a:pt x="11" y="58"/>
                </a:cubicBezTo>
                <a:cubicBezTo>
                  <a:pt x="12" y="58"/>
                  <a:pt x="13" y="57"/>
                  <a:pt x="13" y="55"/>
                </a:cubicBezTo>
                <a:cubicBezTo>
                  <a:pt x="13" y="54"/>
                  <a:pt x="13" y="39"/>
                  <a:pt x="13" y="39"/>
                </a:cubicBezTo>
                <a:cubicBezTo>
                  <a:pt x="14" y="39"/>
                  <a:pt x="14" y="39"/>
                  <a:pt x="14" y="39"/>
                </a:cubicBezTo>
                <a:cubicBezTo>
                  <a:pt x="14" y="39"/>
                  <a:pt x="14" y="54"/>
                  <a:pt x="14" y="55"/>
                </a:cubicBezTo>
                <a:cubicBezTo>
                  <a:pt x="14" y="57"/>
                  <a:pt x="15" y="58"/>
                  <a:pt x="17" y="58"/>
                </a:cubicBezTo>
                <a:cubicBezTo>
                  <a:pt x="18" y="58"/>
                  <a:pt x="19" y="57"/>
                  <a:pt x="19" y="55"/>
                </a:cubicBezTo>
                <a:cubicBezTo>
                  <a:pt x="19" y="55"/>
                  <a:pt x="19" y="46"/>
                  <a:pt x="19" y="39"/>
                </a:cubicBezTo>
                <a:cubicBezTo>
                  <a:pt x="25" y="39"/>
                  <a:pt x="25" y="39"/>
                  <a:pt x="25" y="39"/>
                </a:cubicBezTo>
                <a:cubicBezTo>
                  <a:pt x="19" y="17"/>
                  <a:pt x="19" y="17"/>
                  <a:pt x="19" y="17"/>
                </a:cubicBezTo>
                <a:cubicBezTo>
                  <a:pt x="20" y="17"/>
                  <a:pt x="20" y="17"/>
                  <a:pt x="20" y="17"/>
                </a:cubicBezTo>
                <a:cubicBezTo>
                  <a:pt x="20" y="17"/>
                  <a:pt x="23" y="29"/>
                  <a:pt x="23" y="30"/>
                </a:cubicBezTo>
                <a:cubicBezTo>
                  <a:pt x="24" y="31"/>
                  <a:pt x="25" y="32"/>
                  <a:pt x="26" y="31"/>
                </a:cubicBezTo>
                <a:cubicBezTo>
                  <a:pt x="27" y="31"/>
                  <a:pt x="27" y="30"/>
                  <a:pt x="27" y="29"/>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nvGrpSpPr>
          <p:cNvPr id="2095" name="Group 2094"/>
          <p:cNvGrpSpPr/>
          <p:nvPr/>
        </p:nvGrpSpPr>
        <p:grpSpPr>
          <a:xfrm>
            <a:off x="6427171" y="3798173"/>
            <a:ext cx="3766028" cy="2563813"/>
            <a:chOff x="19464338" y="476250"/>
            <a:chExt cx="6547993" cy="3343275"/>
          </a:xfrm>
          <a:solidFill>
            <a:schemeClr val="tx1">
              <a:lumMod val="50000"/>
              <a:lumOff val="50000"/>
            </a:schemeClr>
          </a:solidFill>
        </p:grpSpPr>
        <p:grpSp>
          <p:nvGrpSpPr>
            <p:cNvPr id="2088" name="Group 2087"/>
            <p:cNvGrpSpPr/>
            <p:nvPr/>
          </p:nvGrpSpPr>
          <p:grpSpPr>
            <a:xfrm>
              <a:off x="19464338" y="476250"/>
              <a:ext cx="4579938" cy="3343275"/>
              <a:chOff x="19464338" y="476250"/>
              <a:chExt cx="4579938" cy="3343275"/>
            </a:xfrm>
            <a:grpFill/>
          </p:grpSpPr>
          <p:grpSp>
            <p:nvGrpSpPr>
              <p:cNvPr id="324" name="Group 399"/>
              <p:cNvGrpSpPr>
                <a:grpSpLocks/>
              </p:cNvGrpSpPr>
              <p:nvPr/>
            </p:nvGrpSpPr>
            <p:grpSpPr bwMode="auto">
              <a:xfrm>
                <a:off x="19469101" y="476250"/>
                <a:ext cx="4538663" cy="3343275"/>
                <a:chOff x="12264" y="300"/>
                <a:chExt cx="2859" cy="2106"/>
              </a:xfrm>
              <a:grpFill/>
            </p:grpSpPr>
            <p:sp>
              <p:nvSpPr>
                <p:cNvPr id="1888" name="Freeform 199"/>
                <p:cNvSpPr>
                  <a:spLocks/>
                </p:cNvSpPr>
                <p:nvPr/>
              </p:nvSpPr>
              <p:spPr bwMode="auto">
                <a:xfrm>
                  <a:off x="14786" y="333"/>
                  <a:ext cx="10" cy="19"/>
                </a:xfrm>
                <a:custGeom>
                  <a:avLst/>
                  <a:gdLst>
                    <a:gd name="T0" fmla="*/ 0 w 4"/>
                    <a:gd name="T1" fmla="*/ 0 h 8"/>
                    <a:gd name="T2" fmla="*/ 4 w 4"/>
                    <a:gd name="T3" fmla="*/ 8 h 8"/>
                    <a:gd name="T4" fmla="*/ 4 w 4"/>
                    <a:gd name="T5" fmla="*/ 0 h 8"/>
                    <a:gd name="T6" fmla="*/ 0 w 4"/>
                    <a:gd name="T7" fmla="*/ 0 h 8"/>
                  </a:gdLst>
                  <a:ahLst/>
                  <a:cxnLst>
                    <a:cxn ang="0">
                      <a:pos x="T0" y="T1"/>
                    </a:cxn>
                    <a:cxn ang="0">
                      <a:pos x="T2" y="T3"/>
                    </a:cxn>
                    <a:cxn ang="0">
                      <a:pos x="T4" y="T5"/>
                    </a:cxn>
                    <a:cxn ang="0">
                      <a:pos x="T6" y="T7"/>
                    </a:cxn>
                  </a:cxnLst>
                  <a:rect l="0" t="0" r="r" b="b"/>
                  <a:pathLst>
                    <a:path w="4" h="8">
                      <a:moveTo>
                        <a:pt x="0" y="0"/>
                      </a:moveTo>
                      <a:cubicBezTo>
                        <a:pt x="2" y="2"/>
                        <a:pt x="3" y="5"/>
                        <a:pt x="4" y="8"/>
                      </a:cubicBezTo>
                      <a:cubicBezTo>
                        <a:pt x="4" y="5"/>
                        <a:pt x="4" y="3"/>
                        <a:pt x="4" y="0"/>
                      </a:cubicBezTo>
                      <a:cubicBezTo>
                        <a:pt x="4" y="0"/>
                        <a:pt x="4"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89" name="Freeform 200"/>
                <p:cNvSpPr>
                  <a:spLocks/>
                </p:cNvSpPr>
                <p:nvPr/>
              </p:nvSpPr>
              <p:spPr bwMode="auto">
                <a:xfrm>
                  <a:off x="12983" y="626"/>
                  <a:ext cx="3" cy="38"/>
                </a:xfrm>
                <a:custGeom>
                  <a:avLst/>
                  <a:gdLst>
                    <a:gd name="T0" fmla="*/ 0 w 1"/>
                    <a:gd name="T1" fmla="*/ 0 h 16"/>
                    <a:gd name="T2" fmla="*/ 0 w 1"/>
                    <a:gd name="T3" fmla="*/ 15 h 16"/>
                    <a:gd name="T4" fmla="*/ 1 w 1"/>
                    <a:gd name="T5" fmla="*/ 16 h 16"/>
                    <a:gd name="T6" fmla="*/ 1 w 1"/>
                    <a:gd name="T7" fmla="*/ 0 h 16"/>
                    <a:gd name="T8" fmla="*/ 0 w 1"/>
                    <a:gd name="T9" fmla="*/ 0 h 16"/>
                  </a:gdLst>
                  <a:ahLst/>
                  <a:cxnLst>
                    <a:cxn ang="0">
                      <a:pos x="T0" y="T1"/>
                    </a:cxn>
                    <a:cxn ang="0">
                      <a:pos x="T2" y="T3"/>
                    </a:cxn>
                    <a:cxn ang="0">
                      <a:pos x="T4" y="T5"/>
                    </a:cxn>
                    <a:cxn ang="0">
                      <a:pos x="T6" y="T7"/>
                    </a:cxn>
                    <a:cxn ang="0">
                      <a:pos x="T8" y="T9"/>
                    </a:cxn>
                  </a:cxnLst>
                  <a:rect l="0" t="0" r="r" b="b"/>
                  <a:pathLst>
                    <a:path w="1" h="16">
                      <a:moveTo>
                        <a:pt x="0" y="0"/>
                      </a:moveTo>
                      <a:cubicBezTo>
                        <a:pt x="0" y="0"/>
                        <a:pt x="0" y="10"/>
                        <a:pt x="0" y="15"/>
                      </a:cubicBezTo>
                      <a:cubicBezTo>
                        <a:pt x="0" y="15"/>
                        <a:pt x="1" y="15"/>
                        <a:pt x="1" y="16"/>
                      </a:cubicBezTo>
                      <a:cubicBezTo>
                        <a:pt x="1" y="12"/>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90" name="Freeform 201"/>
                <p:cNvSpPr>
                  <a:spLocks/>
                </p:cNvSpPr>
                <p:nvPr/>
              </p:nvSpPr>
              <p:spPr bwMode="auto">
                <a:xfrm>
                  <a:off x="14562" y="1168"/>
                  <a:ext cx="11" cy="33"/>
                </a:xfrm>
                <a:custGeom>
                  <a:avLst/>
                  <a:gdLst>
                    <a:gd name="T0" fmla="*/ 4 w 5"/>
                    <a:gd name="T1" fmla="*/ 11 h 14"/>
                    <a:gd name="T2" fmla="*/ 1 w 5"/>
                    <a:gd name="T3" fmla="*/ 0 h 14"/>
                    <a:gd name="T4" fmla="*/ 0 w 5"/>
                    <a:gd name="T5" fmla="*/ 0 h 14"/>
                    <a:gd name="T6" fmla="*/ 4 w 5"/>
                    <a:gd name="T7" fmla="*/ 14 h 14"/>
                    <a:gd name="T8" fmla="*/ 5 w 5"/>
                    <a:gd name="T9" fmla="*/ 12 h 14"/>
                    <a:gd name="T10" fmla="*/ 4 w 5"/>
                    <a:gd name="T11" fmla="*/ 11 h 14"/>
                  </a:gdLst>
                  <a:ahLst/>
                  <a:cxnLst>
                    <a:cxn ang="0">
                      <a:pos x="T0" y="T1"/>
                    </a:cxn>
                    <a:cxn ang="0">
                      <a:pos x="T2" y="T3"/>
                    </a:cxn>
                    <a:cxn ang="0">
                      <a:pos x="T4" y="T5"/>
                    </a:cxn>
                    <a:cxn ang="0">
                      <a:pos x="T6" y="T7"/>
                    </a:cxn>
                    <a:cxn ang="0">
                      <a:pos x="T8" y="T9"/>
                    </a:cxn>
                    <a:cxn ang="0">
                      <a:pos x="T10" y="T11"/>
                    </a:cxn>
                  </a:cxnLst>
                  <a:rect l="0" t="0" r="r" b="b"/>
                  <a:pathLst>
                    <a:path w="5" h="14">
                      <a:moveTo>
                        <a:pt x="4" y="11"/>
                      </a:moveTo>
                      <a:cubicBezTo>
                        <a:pt x="4" y="10"/>
                        <a:pt x="2" y="3"/>
                        <a:pt x="1" y="0"/>
                      </a:cubicBezTo>
                      <a:cubicBezTo>
                        <a:pt x="0" y="0"/>
                        <a:pt x="0" y="0"/>
                        <a:pt x="0" y="0"/>
                      </a:cubicBezTo>
                      <a:cubicBezTo>
                        <a:pt x="0" y="2"/>
                        <a:pt x="1" y="6"/>
                        <a:pt x="4" y="14"/>
                      </a:cubicBezTo>
                      <a:cubicBezTo>
                        <a:pt x="4" y="13"/>
                        <a:pt x="4" y="12"/>
                        <a:pt x="5" y="12"/>
                      </a:cubicBezTo>
                      <a:cubicBezTo>
                        <a:pt x="4" y="12"/>
                        <a:pt x="4" y="11"/>
                        <a:pt x="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91" name="Freeform 202"/>
                <p:cNvSpPr>
                  <a:spLocks/>
                </p:cNvSpPr>
                <p:nvPr/>
              </p:nvSpPr>
              <p:spPr bwMode="auto">
                <a:xfrm>
                  <a:off x="14952" y="577"/>
                  <a:ext cx="2" cy="4"/>
                </a:xfrm>
                <a:custGeom>
                  <a:avLst/>
                  <a:gdLst>
                    <a:gd name="T0" fmla="*/ 0 w 1"/>
                    <a:gd name="T1" fmla="*/ 0 h 2"/>
                    <a:gd name="T2" fmla="*/ 0 w 1"/>
                    <a:gd name="T3" fmla="*/ 0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0"/>
                      </a:cubicBezTo>
                      <a:cubicBezTo>
                        <a:pt x="0" y="1"/>
                        <a:pt x="1" y="1"/>
                        <a:pt x="1" y="2"/>
                      </a:cubicBezTo>
                      <a:cubicBezTo>
                        <a:pt x="1"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92" name="Freeform 203"/>
                <p:cNvSpPr>
                  <a:spLocks/>
                </p:cNvSpPr>
                <p:nvPr/>
              </p:nvSpPr>
              <p:spPr bwMode="auto">
                <a:xfrm>
                  <a:off x="13061" y="723"/>
                  <a:ext cx="3" cy="17"/>
                </a:xfrm>
                <a:custGeom>
                  <a:avLst/>
                  <a:gdLst>
                    <a:gd name="T0" fmla="*/ 0 w 1"/>
                    <a:gd name="T1" fmla="*/ 0 h 7"/>
                    <a:gd name="T2" fmla="*/ 0 w 1"/>
                    <a:gd name="T3" fmla="*/ 5 h 7"/>
                    <a:gd name="T4" fmla="*/ 1 w 1"/>
                    <a:gd name="T5" fmla="*/ 7 h 7"/>
                    <a:gd name="T6" fmla="*/ 1 w 1"/>
                    <a:gd name="T7" fmla="*/ 0 h 7"/>
                    <a:gd name="T8" fmla="*/ 0 w 1"/>
                    <a:gd name="T9" fmla="*/ 0 h 7"/>
                  </a:gdLst>
                  <a:ahLst/>
                  <a:cxnLst>
                    <a:cxn ang="0">
                      <a:pos x="T0" y="T1"/>
                    </a:cxn>
                    <a:cxn ang="0">
                      <a:pos x="T2" y="T3"/>
                    </a:cxn>
                    <a:cxn ang="0">
                      <a:pos x="T4" y="T5"/>
                    </a:cxn>
                    <a:cxn ang="0">
                      <a:pos x="T6" y="T7"/>
                    </a:cxn>
                    <a:cxn ang="0">
                      <a:pos x="T8" y="T9"/>
                    </a:cxn>
                  </a:cxnLst>
                  <a:rect l="0" t="0" r="r" b="b"/>
                  <a:pathLst>
                    <a:path w="1" h="7">
                      <a:moveTo>
                        <a:pt x="0" y="0"/>
                      </a:moveTo>
                      <a:cubicBezTo>
                        <a:pt x="0" y="0"/>
                        <a:pt x="0" y="2"/>
                        <a:pt x="0" y="5"/>
                      </a:cubicBezTo>
                      <a:cubicBezTo>
                        <a:pt x="1" y="6"/>
                        <a:pt x="1" y="6"/>
                        <a:pt x="1" y="7"/>
                      </a:cubicBezTo>
                      <a:cubicBezTo>
                        <a:pt x="1" y="3"/>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93" name="Freeform 204"/>
                <p:cNvSpPr>
                  <a:spLocks/>
                </p:cNvSpPr>
                <p:nvPr/>
              </p:nvSpPr>
              <p:spPr bwMode="auto">
                <a:xfrm>
                  <a:off x="13241" y="908"/>
                  <a:ext cx="3" cy="24"/>
                </a:xfrm>
                <a:custGeom>
                  <a:avLst/>
                  <a:gdLst>
                    <a:gd name="T0" fmla="*/ 0 w 1"/>
                    <a:gd name="T1" fmla="*/ 0 h 10"/>
                    <a:gd name="T2" fmla="*/ 0 w 1"/>
                    <a:gd name="T3" fmla="*/ 9 h 10"/>
                    <a:gd name="T4" fmla="*/ 1 w 1"/>
                    <a:gd name="T5" fmla="*/ 10 h 10"/>
                    <a:gd name="T6" fmla="*/ 1 w 1"/>
                    <a:gd name="T7" fmla="*/ 0 h 10"/>
                    <a:gd name="T8" fmla="*/ 0 w 1"/>
                    <a:gd name="T9" fmla="*/ 0 h 10"/>
                  </a:gdLst>
                  <a:ahLst/>
                  <a:cxnLst>
                    <a:cxn ang="0">
                      <a:pos x="T0" y="T1"/>
                    </a:cxn>
                    <a:cxn ang="0">
                      <a:pos x="T2" y="T3"/>
                    </a:cxn>
                    <a:cxn ang="0">
                      <a:pos x="T4" y="T5"/>
                    </a:cxn>
                    <a:cxn ang="0">
                      <a:pos x="T6" y="T7"/>
                    </a:cxn>
                    <a:cxn ang="0">
                      <a:pos x="T8" y="T9"/>
                    </a:cxn>
                  </a:cxnLst>
                  <a:rect l="0" t="0" r="r" b="b"/>
                  <a:pathLst>
                    <a:path w="1" h="10">
                      <a:moveTo>
                        <a:pt x="0" y="0"/>
                      </a:moveTo>
                      <a:cubicBezTo>
                        <a:pt x="0" y="0"/>
                        <a:pt x="0" y="4"/>
                        <a:pt x="0" y="9"/>
                      </a:cubicBezTo>
                      <a:cubicBezTo>
                        <a:pt x="0" y="9"/>
                        <a:pt x="0" y="10"/>
                        <a:pt x="1" y="10"/>
                      </a:cubicBezTo>
                      <a:cubicBezTo>
                        <a:pt x="1" y="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94" name="Freeform 205"/>
                <p:cNvSpPr>
                  <a:spLocks/>
                </p:cNvSpPr>
                <p:nvPr/>
              </p:nvSpPr>
              <p:spPr bwMode="auto">
                <a:xfrm>
                  <a:off x="13322" y="1019"/>
                  <a:ext cx="2" cy="10"/>
                </a:xfrm>
                <a:custGeom>
                  <a:avLst/>
                  <a:gdLst>
                    <a:gd name="T0" fmla="*/ 0 w 1"/>
                    <a:gd name="T1" fmla="*/ 0 h 4"/>
                    <a:gd name="T2" fmla="*/ 0 w 1"/>
                    <a:gd name="T3" fmla="*/ 3 h 4"/>
                    <a:gd name="T4" fmla="*/ 1 w 1"/>
                    <a:gd name="T5" fmla="*/ 4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1"/>
                        <a:pt x="0" y="3"/>
                      </a:cubicBezTo>
                      <a:cubicBezTo>
                        <a:pt x="0" y="3"/>
                        <a:pt x="1" y="3"/>
                        <a:pt x="1" y="4"/>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95" name="Freeform 206"/>
                <p:cNvSpPr>
                  <a:spLocks/>
                </p:cNvSpPr>
                <p:nvPr/>
              </p:nvSpPr>
              <p:spPr bwMode="auto">
                <a:xfrm>
                  <a:off x="13128" y="872"/>
                  <a:ext cx="2" cy="5"/>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1"/>
                      </a:cubicBezTo>
                      <a:cubicBezTo>
                        <a:pt x="0" y="1"/>
                        <a:pt x="1" y="1"/>
                        <a:pt x="1" y="2"/>
                      </a:cubicBez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96" name="Freeform 207"/>
                <p:cNvSpPr>
                  <a:spLocks/>
                </p:cNvSpPr>
                <p:nvPr/>
              </p:nvSpPr>
              <p:spPr bwMode="auto">
                <a:xfrm>
                  <a:off x="13156" y="870"/>
                  <a:ext cx="9" cy="17"/>
                </a:xfrm>
                <a:custGeom>
                  <a:avLst/>
                  <a:gdLst>
                    <a:gd name="T0" fmla="*/ 3 w 4"/>
                    <a:gd name="T1" fmla="*/ 0 h 7"/>
                    <a:gd name="T2" fmla="*/ 0 w 4"/>
                    <a:gd name="T3" fmla="*/ 7 h 7"/>
                    <a:gd name="T4" fmla="*/ 1 w 4"/>
                    <a:gd name="T5" fmla="*/ 7 h 7"/>
                    <a:gd name="T6" fmla="*/ 4 w 4"/>
                    <a:gd name="T7" fmla="*/ 0 h 7"/>
                    <a:gd name="T8" fmla="*/ 3 w 4"/>
                    <a:gd name="T9" fmla="*/ 0 h 7"/>
                  </a:gdLst>
                  <a:ahLst/>
                  <a:cxnLst>
                    <a:cxn ang="0">
                      <a:pos x="T0" y="T1"/>
                    </a:cxn>
                    <a:cxn ang="0">
                      <a:pos x="T2" y="T3"/>
                    </a:cxn>
                    <a:cxn ang="0">
                      <a:pos x="T4" y="T5"/>
                    </a:cxn>
                    <a:cxn ang="0">
                      <a:pos x="T6" y="T7"/>
                    </a:cxn>
                    <a:cxn ang="0">
                      <a:pos x="T8" y="T9"/>
                    </a:cxn>
                  </a:cxnLst>
                  <a:rect l="0" t="0" r="r" b="b"/>
                  <a:pathLst>
                    <a:path w="4" h="7">
                      <a:moveTo>
                        <a:pt x="3" y="0"/>
                      </a:moveTo>
                      <a:cubicBezTo>
                        <a:pt x="3" y="0"/>
                        <a:pt x="1" y="4"/>
                        <a:pt x="0" y="7"/>
                      </a:cubicBezTo>
                      <a:cubicBezTo>
                        <a:pt x="1" y="7"/>
                        <a:pt x="1" y="7"/>
                        <a:pt x="1" y="7"/>
                      </a:cubicBezTo>
                      <a:cubicBezTo>
                        <a:pt x="2" y="5"/>
                        <a:pt x="3" y="3"/>
                        <a:pt x="4" y="0"/>
                      </a:cubicBezTo>
                      <a:cubicBezTo>
                        <a:pt x="4"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97" name="Freeform 208"/>
                <p:cNvSpPr>
                  <a:spLocks/>
                </p:cNvSpPr>
                <p:nvPr/>
              </p:nvSpPr>
              <p:spPr bwMode="auto">
                <a:xfrm>
                  <a:off x="14559" y="1216"/>
                  <a:ext cx="3" cy="0"/>
                </a:xfrm>
                <a:custGeom>
                  <a:avLst/>
                  <a:gdLst>
                    <a:gd name="T0" fmla="*/ 0 w 1"/>
                    <a:gd name="T1" fmla="*/ 1 w 1"/>
                    <a:gd name="T2" fmla="*/ 0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98" name="Freeform 209"/>
                <p:cNvSpPr>
                  <a:spLocks/>
                </p:cNvSpPr>
                <p:nvPr/>
              </p:nvSpPr>
              <p:spPr bwMode="auto">
                <a:xfrm>
                  <a:off x="14495" y="1606"/>
                  <a:ext cx="3" cy="14"/>
                </a:xfrm>
                <a:custGeom>
                  <a:avLst/>
                  <a:gdLst>
                    <a:gd name="T0" fmla="*/ 0 w 1"/>
                    <a:gd name="T1" fmla="*/ 0 h 6"/>
                    <a:gd name="T2" fmla="*/ 0 w 1"/>
                    <a:gd name="T3" fmla="*/ 5 h 6"/>
                    <a:gd name="T4" fmla="*/ 1 w 1"/>
                    <a:gd name="T5" fmla="*/ 6 h 6"/>
                    <a:gd name="T6" fmla="*/ 1 w 1"/>
                    <a:gd name="T7" fmla="*/ 0 h 6"/>
                    <a:gd name="T8" fmla="*/ 0 w 1"/>
                    <a:gd name="T9" fmla="*/ 0 h 6"/>
                  </a:gdLst>
                  <a:ahLst/>
                  <a:cxnLst>
                    <a:cxn ang="0">
                      <a:pos x="T0" y="T1"/>
                    </a:cxn>
                    <a:cxn ang="0">
                      <a:pos x="T2" y="T3"/>
                    </a:cxn>
                    <a:cxn ang="0">
                      <a:pos x="T4" y="T5"/>
                    </a:cxn>
                    <a:cxn ang="0">
                      <a:pos x="T6" y="T7"/>
                    </a:cxn>
                    <a:cxn ang="0">
                      <a:pos x="T8" y="T9"/>
                    </a:cxn>
                  </a:cxnLst>
                  <a:rect l="0" t="0" r="r" b="b"/>
                  <a:pathLst>
                    <a:path w="1" h="6">
                      <a:moveTo>
                        <a:pt x="0" y="0"/>
                      </a:moveTo>
                      <a:cubicBezTo>
                        <a:pt x="0" y="0"/>
                        <a:pt x="0" y="2"/>
                        <a:pt x="0" y="5"/>
                      </a:cubicBezTo>
                      <a:cubicBezTo>
                        <a:pt x="0" y="5"/>
                        <a:pt x="0" y="6"/>
                        <a:pt x="1" y="6"/>
                      </a:cubicBezTo>
                      <a:cubicBezTo>
                        <a:pt x="1" y="3"/>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99" name="Freeform 210"/>
                <p:cNvSpPr>
                  <a:spLocks/>
                </p:cNvSpPr>
                <p:nvPr/>
              </p:nvSpPr>
              <p:spPr bwMode="auto">
                <a:xfrm>
                  <a:off x="12768" y="723"/>
                  <a:ext cx="2" cy="33"/>
                </a:xfrm>
                <a:custGeom>
                  <a:avLst/>
                  <a:gdLst>
                    <a:gd name="T0" fmla="*/ 0 w 1"/>
                    <a:gd name="T1" fmla="*/ 0 h 14"/>
                    <a:gd name="T2" fmla="*/ 0 w 1"/>
                    <a:gd name="T3" fmla="*/ 13 h 14"/>
                    <a:gd name="T4" fmla="*/ 1 w 1"/>
                    <a:gd name="T5" fmla="*/ 14 h 14"/>
                    <a:gd name="T6" fmla="*/ 1 w 1"/>
                    <a:gd name="T7" fmla="*/ 0 h 14"/>
                    <a:gd name="T8" fmla="*/ 0 w 1"/>
                    <a:gd name="T9" fmla="*/ 0 h 14"/>
                  </a:gdLst>
                  <a:ahLst/>
                  <a:cxnLst>
                    <a:cxn ang="0">
                      <a:pos x="T0" y="T1"/>
                    </a:cxn>
                    <a:cxn ang="0">
                      <a:pos x="T2" y="T3"/>
                    </a:cxn>
                    <a:cxn ang="0">
                      <a:pos x="T4" y="T5"/>
                    </a:cxn>
                    <a:cxn ang="0">
                      <a:pos x="T6" y="T7"/>
                    </a:cxn>
                    <a:cxn ang="0">
                      <a:pos x="T8" y="T9"/>
                    </a:cxn>
                  </a:cxnLst>
                  <a:rect l="0" t="0" r="r" b="b"/>
                  <a:pathLst>
                    <a:path w="1" h="14">
                      <a:moveTo>
                        <a:pt x="0" y="0"/>
                      </a:moveTo>
                      <a:cubicBezTo>
                        <a:pt x="0" y="0"/>
                        <a:pt x="0" y="10"/>
                        <a:pt x="0" y="13"/>
                      </a:cubicBezTo>
                      <a:cubicBezTo>
                        <a:pt x="1" y="13"/>
                        <a:pt x="1" y="14"/>
                        <a:pt x="1" y="14"/>
                      </a:cubicBezTo>
                      <a:cubicBezTo>
                        <a:pt x="1" y="7"/>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00" name="Freeform 211"/>
                <p:cNvSpPr>
                  <a:spLocks/>
                </p:cNvSpPr>
                <p:nvPr/>
              </p:nvSpPr>
              <p:spPr bwMode="auto">
                <a:xfrm>
                  <a:off x="14547" y="1350"/>
                  <a:ext cx="3" cy="8"/>
                </a:xfrm>
                <a:custGeom>
                  <a:avLst/>
                  <a:gdLst>
                    <a:gd name="T0" fmla="*/ 0 w 1"/>
                    <a:gd name="T1" fmla="*/ 0 h 3"/>
                    <a:gd name="T2" fmla="*/ 0 w 1"/>
                    <a:gd name="T3" fmla="*/ 2 h 3"/>
                    <a:gd name="T4" fmla="*/ 1 w 1"/>
                    <a:gd name="T5" fmla="*/ 3 h 3"/>
                    <a:gd name="T6" fmla="*/ 1 w 1"/>
                    <a:gd name="T7" fmla="*/ 0 h 3"/>
                    <a:gd name="T8" fmla="*/ 0 w 1"/>
                    <a:gd name="T9" fmla="*/ 0 h 3"/>
                  </a:gdLst>
                  <a:ahLst/>
                  <a:cxnLst>
                    <a:cxn ang="0">
                      <a:pos x="T0" y="T1"/>
                    </a:cxn>
                    <a:cxn ang="0">
                      <a:pos x="T2" y="T3"/>
                    </a:cxn>
                    <a:cxn ang="0">
                      <a:pos x="T4" y="T5"/>
                    </a:cxn>
                    <a:cxn ang="0">
                      <a:pos x="T6" y="T7"/>
                    </a:cxn>
                    <a:cxn ang="0">
                      <a:pos x="T8" y="T9"/>
                    </a:cxn>
                  </a:cxnLst>
                  <a:rect l="0" t="0" r="r" b="b"/>
                  <a:pathLst>
                    <a:path w="1" h="3">
                      <a:moveTo>
                        <a:pt x="0" y="0"/>
                      </a:moveTo>
                      <a:cubicBezTo>
                        <a:pt x="0" y="0"/>
                        <a:pt x="0" y="1"/>
                        <a:pt x="0" y="2"/>
                      </a:cubicBezTo>
                      <a:cubicBezTo>
                        <a:pt x="0" y="2"/>
                        <a:pt x="0" y="3"/>
                        <a:pt x="1" y="3"/>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01" name="Freeform 212"/>
                <p:cNvSpPr>
                  <a:spLocks/>
                </p:cNvSpPr>
                <p:nvPr/>
              </p:nvSpPr>
              <p:spPr bwMode="auto">
                <a:xfrm>
                  <a:off x="12784" y="761"/>
                  <a:ext cx="3" cy="5"/>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1"/>
                      </a:cubicBezTo>
                      <a:cubicBezTo>
                        <a:pt x="0" y="2"/>
                        <a:pt x="1" y="2"/>
                        <a:pt x="1" y="2"/>
                      </a:cubicBez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02" name="Freeform 213"/>
                <p:cNvSpPr>
                  <a:spLocks/>
                </p:cNvSpPr>
                <p:nvPr/>
              </p:nvSpPr>
              <p:spPr bwMode="auto">
                <a:xfrm>
                  <a:off x="12706" y="72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03" name="Freeform 214"/>
                <p:cNvSpPr>
                  <a:spLocks/>
                </p:cNvSpPr>
                <p:nvPr/>
              </p:nvSpPr>
              <p:spPr bwMode="auto">
                <a:xfrm>
                  <a:off x="14573" y="1168"/>
                  <a:ext cx="5" cy="17"/>
                </a:xfrm>
                <a:custGeom>
                  <a:avLst/>
                  <a:gdLst>
                    <a:gd name="T0" fmla="*/ 2 w 2"/>
                    <a:gd name="T1" fmla="*/ 1 h 7"/>
                    <a:gd name="T2" fmla="*/ 0 w 2"/>
                    <a:gd name="T3" fmla="*/ 0 h 7"/>
                    <a:gd name="T4" fmla="*/ 1 w 2"/>
                    <a:gd name="T5" fmla="*/ 7 h 7"/>
                    <a:gd name="T6" fmla="*/ 2 w 2"/>
                    <a:gd name="T7" fmla="*/ 1 h 7"/>
                  </a:gdLst>
                  <a:ahLst/>
                  <a:cxnLst>
                    <a:cxn ang="0">
                      <a:pos x="T0" y="T1"/>
                    </a:cxn>
                    <a:cxn ang="0">
                      <a:pos x="T2" y="T3"/>
                    </a:cxn>
                    <a:cxn ang="0">
                      <a:pos x="T4" y="T5"/>
                    </a:cxn>
                    <a:cxn ang="0">
                      <a:pos x="T6" y="T7"/>
                    </a:cxn>
                  </a:cxnLst>
                  <a:rect l="0" t="0" r="r" b="b"/>
                  <a:pathLst>
                    <a:path w="2" h="7">
                      <a:moveTo>
                        <a:pt x="2" y="1"/>
                      </a:moveTo>
                      <a:cubicBezTo>
                        <a:pt x="1" y="1"/>
                        <a:pt x="1" y="0"/>
                        <a:pt x="0" y="0"/>
                      </a:cubicBezTo>
                      <a:cubicBezTo>
                        <a:pt x="0" y="3"/>
                        <a:pt x="1" y="5"/>
                        <a:pt x="1" y="7"/>
                      </a:cubicBezTo>
                      <a:cubicBezTo>
                        <a:pt x="2" y="5"/>
                        <a:pt x="2" y="3"/>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04" name="Freeform 215"/>
                <p:cNvSpPr>
                  <a:spLocks/>
                </p:cNvSpPr>
                <p:nvPr/>
              </p:nvSpPr>
              <p:spPr bwMode="auto">
                <a:xfrm>
                  <a:off x="12853" y="626"/>
                  <a:ext cx="0" cy="3"/>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0"/>
                      </a:cubicBezTo>
                      <a:cubicBezTo>
                        <a:pt x="0" y="0"/>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05" name="Freeform 216"/>
                <p:cNvSpPr>
                  <a:spLocks/>
                </p:cNvSpPr>
                <p:nvPr/>
              </p:nvSpPr>
              <p:spPr bwMode="auto">
                <a:xfrm>
                  <a:off x="14415" y="1381"/>
                  <a:ext cx="2" cy="7"/>
                </a:xfrm>
                <a:custGeom>
                  <a:avLst/>
                  <a:gdLst>
                    <a:gd name="T0" fmla="*/ 0 w 1"/>
                    <a:gd name="T1" fmla="*/ 1 h 3"/>
                    <a:gd name="T2" fmla="*/ 0 w 1"/>
                    <a:gd name="T3" fmla="*/ 3 h 3"/>
                    <a:gd name="T4" fmla="*/ 1 w 1"/>
                    <a:gd name="T5" fmla="*/ 3 h 3"/>
                    <a:gd name="T6" fmla="*/ 1 w 1"/>
                    <a:gd name="T7" fmla="*/ 0 h 3"/>
                    <a:gd name="T8" fmla="*/ 0 w 1"/>
                    <a:gd name="T9" fmla="*/ 1 h 3"/>
                  </a:gdLst>
                  <a:ahLst/>
                  <a:cxnLst>
                    <a:cxn ang="0">
                      <a:pos x="T0" y="T1"/>
                    </a:cxn>
                    <a:cxn ang="0">
                      <a:pos x="T2" y="T3"/>
                    </a:cxn>
                    <a:cxn ang="0">
                      <a:pos x="T4" y="T5"/>
                    </a:cxn>
                    <a:cxn ang="0">
                      <a:pos x="T6" y="T7"/>
                    </a:cxn>
                    <a:cxn ang="0">
                      <a:pos x="T8" y="T9"/>
                    </a:cxn>
                  </a:cxnLst>
                  <a:rect l="0" t="0" r="r" b="b"/>
                  <a:pathLst>
                    <a:path w="1" h="3">
                      <a:moveTo>
                        <a:pt x="0" y="1"/>
                      </a:moveTo>
                      <a:cubicBezTo>
                        <a:pt x="0" y="2"/>
                        <a:pt x="0" y="3"/>
                        <a:pt x="0" y="3"/>
                      </a:cubicBezTo>
                      <a:cubicBezTo>
                        <a:pt x="1" y="3"/>
                        <a:pt x="1" y="3"/>
                        <a:pt x="1" y="3"/>
                      </a:cubicBezTo>
                      <a:cubicBezTo>
                        <a:pt x="1" y="2"/>
                        <a:pt x="1" y="1"/>
                        <a:pt x="1" y="0"/>
                      </a:cubicBezTo>
                      <a:cubicBezTo>
                        <a:pt x="1" y="0"/>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06" name="Freeform 217"/>
                <p:cNvSpPr>
                  <a:spLocks/>
                </p:cNvSpPr>
                <p:nvPr/>
              </p:nvSpPr>
              <p:spPr bwMode="auto">
                <a:xfrm>
                  <a:off x="14481" y="1362"/>
                  <a:ext cx="3" cy="3"/>
                </a:xfrm>
                <a:custGeom>
                  <a:avLst/>
                  <a:gdLst>
                    <a:gd name="T0" fmla="*/ 0 w 1"/>
                    <a:gd name="T1" fmla="*/ 0 h 1"/>
                    <a:gd name="T2" fmla="*/ 0 w 1"/>
                    <a:gd name="T3" fmla="*/ 1 h 1"/>
                    <a:gd name="T4" fmla="*/ 1 w 1"/>
                    <a:gd name="T5" fmla="*/ 0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1"/>
                      </a:cubicBezTo>
                      <a:cubicBezTo>
                        <a:pt x="0" y="1"/>
                        <a:pt x="1" y="0"/>
                        <a:pt x="1" y="0"/>
                      </a:cubicBezTo>
                      <a:cubicBezTo>
                        <a:pt x="1" y="0"/>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07" name="Freeform 218"/>
                <p:cNvSpPr>
                  <a:spLocks/>
                </p:cNvSpPr>
                <p:nvPr/>
              </p:nvSpPr>
              <p:spPr bwMode="auto">
                <a:xfrm>
                  <a:off x="14547" y="1216"/>
                  <a:ext cx="3" cy="18"/>
                </a:xfrm>
                <a:custGeom>
                  <a:avLst/>
                  <a:gdLst>
                    <a:gd name="T0" fmla="*/ 0 w 1"/>
                    <a:gd name="T1" fmla="*/ 0 h 8"/>
                    <a:gd name="T2" fmla="*/ 0 w 1"/>
                    <a:gd name="T3" fmla="*/ 8 h 8"/>
                    <a:gd name="T4" fmla="*/ 1 w 1"/>
                    <a:gd name="T5" fmla="*/ 7 h 8"/>
                    <a:gd name="T6" fmla="*/ 1 w 1"/>
                    <a:gd name="T7" fmla="*/ 0 h 8"/>
                    <a:gd name="T8" fmla="*/ 0 w 1"/>
                    <a:gd name="T9" fmla="*/ 0 h 8"/>
                  </a:gdLst>
                  <a:ahLst/>
                  <a:cxnLst>
                    <a:cxn ang="0">
                      <a:pos x="T0" y="T1"/>
                    </a:cxn>
                    <a:cxn ang="0">
                      <a:pos x="T2" y="T3"/>
                    </a:cxn>
                    <a:cxn ang="0">
                      <a:pos x="T4" y="T5"/>
                    </a:cxn>
                    <a:cxn ang="0">
                      <a:pos x="T6" y="T7"/>
                    </a:cxn>
                    <a:cxn ang="0">
                      <a:pos x="T8" y="T9"/>
                    </a:cxn>
                  </a:cxnLst>
                  <a:rect l="0" t="0" r="r" b="b"/>
                  <a:pathLst>
                    <a:path w="1" h="8">
                      <a:moveTo>
                        <a:pt x="0" y="0"/>
                      </a:moveTo>
                      <a:cubicBezTo>
                        <a:pt x="0" y="0"/>
                        <a:pt x="0" y="4"/>
                        <a:pt x="0" y="8"/>
                      </a:cubicBezTo>
                      <a:cubicBezTo>
                        <a:pt x="0" y="8"/>
                        <a:pt x="0" y="7"/>
                        <a:pt x="1" y="7"/>
                      </a:cubicBezTo>
                      <a:cubicBezTo>
                        <a:pt x="1" y="3"/>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08" name="Freeform 219"/>
                <p:cNvSpPr>
                  <a:spLocks/>
                </p:cNvSpPr>
                <p:nvPr/>
              </p:nvSpPr>
              <p:spPr bwMode="auto">
                <a:xfrm>
                  <a:off x="14349" y="761"/>
                  <a:ext cx="2" cy="36"/>
                </a:xfrm>
                <a:custGeom>
                  <a:avLst/>
                  <a:gdLst>
                    <a:gd name="T0" fmla="*/ 0 w 1"/>
                    <a:gd name="T1" fmla="*/ 0 h 15"/>
                    <a:gd name="T2" fmla="*/ 0 w 1"/>
                    <a:gd name="T3" fmla="*/ 15 h 15"/>
                    <a:gd name="T4" fmla="*/ 1 w 1"/>
                    <a:gd name="T5" fmla="*/ 14 h 15"/>
                    <a:gd name="T6" fmla="*/ 1 w 1"/>
                    <a:gd name="T7" fmla="*/ 0 h 15"/>
                    <a:gd name="T8" fmla="*/ 0 w 1"/>
                    <a:gd name="T9" fmla="*/ 0 h 15"/>
                  </a:gdLst>
                  <a:ahLst/>
                  <a:cxnLst>
                    <a:cxn ang="0">
                      <a:pos x="T0" y="T1"/>
                    </a:cxn>
                    <a:cxn ang="0">
                      <a:pos x="T2" y="T3"/>
                    </a:cxn>
                    <a:cxn ang="0">
                      <a:pos x="T4" y="T5"/>
                    </a:cxn>
                    <a:cxn ang="0">
                      <a:pos x="T6" y="T7"/>
                    </a:cxn>
                    <a:cxn ang="0">
                      <a:pos x="T8" y="T9"/>
                    </a:cxn>
                  </a:cxnLst>
                  <a:rect l="0" t="0" r="r" b="b"/>
                  <a:pathLst>
                    <a:path w="1" h="15">
                      <a:moveTo>
                        <a:pt x="0" y="0"/>
                      </a:moveTo>
                      <a:cubicBezTo>
                        <a:pt x="0" y="0"/>
                        <a:pt x="0" y="9"/>
                        <a:pt x="0" y="15"/>
                      </a:cubicBezTo>
                      <a:cubicBezTo>
                        <a:pt x="0" y="15"/>
                        <a:pt x="1" y="15"/>
                        <a:pt x="1" y="14"/>
                      </a:cubicBezTo>
                      <a:cubicBezTo>
                        <a:pt x="1" y="8"/>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09" name="Freeform 220"/>
                <p:cNvSpPr>
                  <a:spLocks/>
                </p:cNvSpPr>
                <p:nvPr/>
              </p:nvSpPr>
              <p:spPr bwMode="auto">
                <a:xfrm>
                  <a:off x="14299" y="577"/>
                  <a:ext cx="5" cy="9"/>
                </a:xfrm>
                <a:custGeom>
                  <a:avLst/>
                  <a:gdLst>
                    <a:gd name="T0" fmla="*/ 0 w 2"/>
                    <a:gd name="T1" fmla="*/ 0 h 4"/>
                    <a:gd name="T2" fmla="*/ 1 w 2"/>
                    <a:gd name="T3" fmla="*/ 4 h 4"/>
                    <a:gd name="T4" fmla="*/ 2 w 2"/>
                    <a:gd name="T5" fmla="*/ 3 h 4"/>
                    <a:gd name="T6" fmla="*/ 1 w 2"/>
                    <a:gd name="T7" fmla="*/ 0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cubicBezTo>
                        <a:pt x="0" y="0"/>
                        <a:pt x="0" y="0"/>
                        <a:pt x="1" y="4"/>
                      </a:cubicBezTo>
                      <a:cubicBezTo>
                        <a:pt x="1" y="4"/>
                        <a:pt x="2" y="3"/>
                        <a:pt x="2" y="3"/>
                      </a:cubicBezTo>
                      <a:cubicBezTo>
                        <a:pt x="1"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10" name="Freeform 221"/>
                <p:cNvSpPr>
                  <a:spLocks/>
                </p:cNvSpPr>
                <p:nvPr/>
              </p:nvSpPr>
              <p:spPr bwMode="auto">
                <a:xfrm>
                  <a:off x="14200" y="870"/>
                  <a:ext cx="9" cy="19"/>
                </a:xfrm>
                <a:custGeom>
                  <a:avLst/>
                  <a:gdLst>
                    <a:gd name="T0" fmla="*/ 2 w 4"/>
                    <a:gd name="T1" fmla="*/ 0 h 8"/>
                    <a:gd name="T2" fmla="*/ 0 w 4"/>
                    <a:gd name="T3" fmla="*/ 8 h 8"/>
                    <a:gd name="T4" fmla="*/ 1 w 4"/>
                    <a:gd name="T5" fmla="*/ 8 h 8"/>
                    <a:gd name="T6" fmla="*/ 4 w 4"/>
                    <a:gd name="T7" fmla="*/ 0 h 8"/>
                    <a:gd name="T8" fmla="*/ 2 w 4"/>
                    <a:gd name="T9" fmla="*/ 0 h 8"/>
                  </a:gdLst>
                  <a:ahLst/>
                  <a:cxnLst>
                    <a:cxn ang="0">
                      <a:pos x="T0" y="T1"/>
                    </a:cxn>
                    <a:cxn ang="0">
                      <a:pos x="T2" y="T3"/>
                    </a:cxn>
                    <a:cxn ang="0">
                      <a:pos x="T4" y="T5"/>
                    </a:cxn>
                    <a:cxn ang="0">
                      <a:pos x="T6" y="T7"/>
                    </a:cxn>
                    <a:cxn ang="0">
                      <a:pos x="T8" y="T9"/>
                    </a:cxn>
                  </a:cxnLst>
                  <a:rect l="0" t="0" r="r" b="b"/>
                  <a:pathLst>
                    <a:path w="4" h="8">
                      <a:moveTo>
                        <a:pt x="2" y="0"/>
                      </a:moveTo>
                      <a:cubicBezTo>
                        <a:pt x="2" y="0"/>
                        <a:pt x="1" y="4"/>
                        <a:pt x="0" y="8"/>
                      </a:cubicBezTo>
                      <a:cubicBezTo>
                        <a:pt x="0" y="8"/>
                        <a:pt x="1" y="8"/>
                        <a:pt x="1" y="8"/>
                      </a:cubicBezTo>
                      <a:cubicBezTo>
                        <a:pt x="2" y="5"/>
                        <a:pt x="3" y="3"/>
                        <a:pt x="4" y="0"/>
                      </a:cubicBezTo>
                      <a:cubicBezTo>
                        <a:pt x="4" y="0"/>
                        <a:pt x="4"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11" name="Freeform 222"/>
                <p:cNvSpPr>
                  <a:spLocks/>
                </p:cNvSpPr>
                <p:nvPr/>
              </p:nvSpPr>
              <p:spPr bwMode="auto">
                <a:xfrm>
                  <a:off x="14427" y="721"/>
                  <a:ext cx="12" cy="35"/>
                </a:xfrm>
                <a:custGeom>
                  <a:avLst/>
                  <a:gdLst>
                    <a:gd name="T0" fmla="*/ 5 w 5"/>
                    <a:gd name="T1" fmla="*/ 13 h 15"/>
                    <a:gd name="T2" fmla="*/ 1 w 5"/>
                    <a:gd name="T3" fmla="*/ 0 h 15"/>
                    <a:gd name="T4" fmla="*/ 0 w 5"/>
                    <a:gd name="T5" fmla="*/ 0 h 15"/>
                    <a:gd name="T6" fmla="*/ 4 w 5"/>
                    <a:gd name="T7" fmla="*/ 15 h 15"/>
                    <a:gd name="T8" fmla="*/ 5 w 5"/>
                    <a:gd name="T9" fmla="*/ 14 h 15"/>
                    <a:gd name="T10" fmla="*/ 5 w 5"/>
                    <a:gd name="T11" fmla="*/ 13 h 15"/>
                  </a:gdLst>
                  <a:ahLst/>
                  <a:cxnLst>
                    <a:cxn ang="0">
                      <a:pos x="T0" y="T1"/>
                    </a:cxn>
                    <a:cxn ang="0">
                      <a:pos x="T2" y="T3"/>
                    </a:cxn>
                    <a:cxn ang="0">
                      <a:pos x="T4" y="T5"/>
                    </a:cxn>
                    <a:cxn ang="0">
                      <a:pos x="T6" y="T7"/>
                    </a:cxn>
                    <a:cxn ang="0">
                      <a:pos x="T8" y="T9"/>
                    </a:cxn>
                    <a:cxn ang="0">
                      <a:pos x="T10" y="T11"/>
                    </a:cxn>
                  </a:cxnLst>
                  <a:rect l="0" t="0" r="r" b="b"/>
                  <a:pathLst>
                    <a:path w="5" h="15">
                      <a:moveTo>
                        <a:pt x="5" y="13"/>
                      </a:moveTo>
                      <a:cubicBezTo>
                        <a:pt x="5" y="12"/>
                        <a:pt x="1" y="0"/>
                        <a:pt x="1" y="0"/>
                      </a:cubicBezTo>
                      <a:cubicBezTo>
                        <a:pt x="1" y="0"/>
                        <a:pt x="1" y="0"/>
                        <a:pt x="0" y="0"/>
                      </a:cubicBezTo>
                      <a:cubicBezTo>
                        <a:pt x="0" y="0"/>
                        <a:pt x="0" y="0"/>
                        <a:pt x="4" y="15"/>
                      </a:cubicBezTo>
                      <a:cubicBezTo>
                        <a:pt x="5" y="15"/>
                        <a:pt x="5" y="14"/>
                        <a:pt x="5" y="14"/>
                      </a:cubicBezTo>
                      <a:cubicBezTo>
                        <a:pt x="5" y="14"/>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12" name="Freeform 223"/>
                <p:cNvSpPr>
                  <a:spLocks/>
                </p:cNvSpPr>
                <p:nvPr/>
              </p:nvSpPr>
              <p:spPr bwMode="auto">
                <a:xfrm>
                  <a:off x="14230" y="870"/>
                  <a:ext cx="5" cy="7"/>
                </a:xfrm>
                <a:custGeom>
                  <a:avLst/>
                  <a:gdLst>
                    <a:gd name="T0" fmla="*/ 0 w 2"/>
                    <a:gd name="T1" fmla="*/ 0 h 3"/>
                    <a:gd name="T2" fmla="*/ 1 w 2"/>
                    <a:gd name="T3" fmla="*/ 3 h 3"/>
                    <a:gd name="T4" fmla="*/ 2 w 2"/>
                    <a:gd name="T5" fmla="*/ 3 h 3"/>
                    <a:gd name="T6" fmla="*/ 1 w 2"/>
                    <a:gd name="T7" fmla="*/ 0 h 3"/>
                    <a:gd name="T8" fmla="*/ 0 w 2"/>
                    <a:gd name="T9" fmla="*/ 0 h 3"/>
                  </a:gdLst>
                  <a:ahLst/>
                  <a:cxnLst>
                    <a:cxn ang="0">
                      <a:pos x="T0" y="T1"/>
                    </a:cxn>
                    <a:cxn ang="0">
                      <a:pos x="T2" y="T3"/>
                    </a:cxn>
                    <a:cxn ang="0">
                      <a:pos x="T4" y="T5"/>
                    </a:cxn>
                    <a:cxn ang="0">
                      <a:pos x="T6" y="T7"/>
                    </a:cxn>
                    <a:cxn ang="0">
                      <a:pos x="T8" y="T9"/>
                    </a:cxn>
                  </a:cxnLst>
                  <a:rect l="0" t="0" r="r" b="b"/>
                  <a:pathLst>
                    <a:path w="2" h="3">
                      <a:moveTo>
                        <a:pt x="0" y="0"/>
                      </a:moveTo>
                      <a:cubicBezTo>
                        <a:pt x="0" y="0"/>
                        <a:pt x="0" y="0"/>
                        <a:pt x="1" y="3"/>
                      </a:cubicBezTo>
                      <a:cubicBezTo>
                        <a:pt x="1" y="3"/>
                        <a:pt x="2" y="3"/>
                        <a:pt x="2" y="3"/>
                      </a:cubicBezTo>
                      <a:cubicBezTo>
                        <a:pt x="2"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13" name="Freeform 224"/>
                <p:cNvSpPr>
                  <a:spLocks/>
                </p:cNvSpPr>
                <p:nvPr/>
              </p:nvSpPr>
              <p:spPr bwMode="auto">
                <a:xfrm>
                  <a:off x="14434" y="432"/>
                  <a:ext cx="2" cy="19"/>
                </a:xfrm>
                <a:custGeom>
                  <a:avLst/>
                  <a:gdLst>
                    <a:gd name="T0" fmla="*/ 0 w 1"/>
                    <a:gd name="T1" fmla="*/ 0 h 8"/>
                    <a:gd name="T2" fmla="*/ 0 w 1"/>
                    <a:gd name="T3" fmla="*/ 8 h 8"/>
                    <a:gd name="T4" fmla="*/ 1 w 1"/>
                    <a:gd name="T5" fmla="*/ 7 h 8"/>
                    <a:gd name="T6" fmla="*/ 1 w 1"/>
                    <a:gd name="T7" fmla="*/ 0 h 8"/>
                    <a:gd name="T8" fmla="*/ 0 w 1"/>
                    <a:gd name="T9" fmla="*/ 0 h 8"/>
                  </a:gdLst>
                  <a:ahLst/>
                  <a:cxnLst>
                    <a:cxn ang="0">
                      <a:pos x="T0" y="T1"/>
                    </a:cxn>
                    <a:cxn ang="0">
                      <a:pos x="T2" y="T3"/>
                    </a:cxn>
                    <a:cxn ang="0">
                      <a:pos x="T4" y="T5"/>
                    </a:cxn>
                    <a:cxn ang="0">
                      <a:pos x="T6" y="T7"/>
                    </a:cxn>
                    <a:cxn ang="0">
                      <a:pos x="T8" y="T9"/>
                    </a:cxn>
                  </a:cxnLst>
                  <a:rect l="0" t="0" r="r" b="b"/>
                  <a:pathLst>
                    <a:path w="1" h="8">
                      <a:moveTo>
                        <a:pt x="0" y="0"/>
                      </a:moveTo>
                      <a:cubicBezTo>
                        <a:pt x="0" y="0"/>
                        <a:pt x="0" y="3"/>
                        <a:pt x="0" y="8"/>
                      </a:cubicBezTo>
                      <a:cubicBezTo>
                        <a:pt x="0" y="8"/>
                        <a:pt x="0" y="7"/>
                        <a:pt x="1" y="7"/>
                      </a:cubicBezTo>
                      <a:cubicBezTo>
                        <a:pt x="1" y="4"/>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14" name="Freeform 225"/>
                <p:cNvSpPr>
                  <a:spLocks/>
                </p:cNvSpPr>
                <p:nvPr/>
              </p:nvSpPr>
              <p:spPr bwMode="auto">
                <a:xfrm>
                  <a:off x="14417" y="480"/>
                  <a:ext cx="3" cy="30"/>
                </a:xfrm>
                <a:custGeom>
                  <a:avLst/>
                  <a:gdLst>
                    <a:gd name="T0" fmla="*/ 0 w 1"/>
                    <a:gd name="T1" fmla="*/ 0 h 13"/>
                    <a:gd name="T2" fmla="*/ 0 w 1"/>
                    <a:gd name="T3" fmla="*/ 13 h 13"/>
                    <a:gd name="T4" fmla="*/ 0 w 1"/>
                    <a:gd name="T5" fmla="*/ 12 h 13"/>
                    <a:gd name="T6" fmla="*/ 1 w 1"/>
                    <a:gd name="T7" fmla="*/ 11 h 13"/>
                    <a:gd name="T8" fmla="*/ 1 w 1"/>
                    <a:gd name="T9" fmla="*/ 5 h 13"/>
                    <a:gd name="T10" fmla="*/ 0 w 1"/>
                    <a:gd name="T11" fmla="*/ 0 h 13"/>
                  </a:gdLst>
                  <a:ahLst/>
                  <a:cxnLst>
                    <a:cxn ang="0">
                      <a:pos x="T0" y="T1"/>
                    </a:cxn>
                    <a:cxn ang="0">
                      <a:pos x="T2" y="T3"/>
                    </a:cxn>
                    <a:cxn ang="0">
                      <a:pos x="T4" y="T5"/>
                    </a:cxn>
                    <a:cxn ang="0">
                      <a:pos x="T6" y="T7"/>
                    </a:cxn>
                    <a:cxn ang="0">
                      <a:pos x="T8" y="T9"/>
                    </a:cxn>
                    <a:cxn ang="0">
                      <a:pos x="T10" y="T11"/>
                    </a:cxn>
                  </a:cxnLst>
                  <a:rect l="0" t="0" r="r" b="b"/>
                  <a:pathLst>
                    <a:path w="1" h="13">
                      <a:moveTo>
                        <a:pt x="0" y="0"/>
                      </a:moveTo>
                      <a:cubicBezTo>
                        <a:pt x="0" y="4"/>
                        <a:pt x="0" y="9"/>
                        <a:pt x="0" y="13"/>
                      </a:cubicBezTo>
                      <a:cubicBezTo>
                        <a:pt x="0" y="12"/>
                        <a:pt x="0" y="12"/>
                        <a:pt x="0" y="12"/>
                      </a:cubicBezTo>
                      <a:cubicBezTo>
                        <a:pt x="1" y="12"/>
                        <a:pt x="1" y="11"/>
                        <a:pt x="1" y="11"/>
                      </a:cubicBezTo>
                      <a:cubicBezTo>
                        <a:pt x="1" y="9"/>
                        <a:pt x="1" y="7"/>
                        <a:pt x="1" y="5"/>
                      </a:cubicBezTo>
                      <a:cubicBezTo>
                        <a:pt x="1" y="4"/>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15" name="Freeform 226"/>
                <p:cNvSpPr>
                  <a:spLocks/>
                </p:cNvSpPr>
                <p:nvPr/>
              </p:nvSpPr>
              <p:spPr bwMode="auto">
                <a:xfrm>
                  <a:off x="13696" y="1055"/>
                  <a:ext cx="2" cy="23"/>
                </a:xfrm>
                <a:custGeom>
                  <a:avLst/>
                  <a:gdLst>
                    <a:gd name="T0" fmla="*/ 0 w 1"/>
                    <a:gd name="T1" fmla="*/ 0 h 10"/>
                    <a:gd name="T2" fmla="*/ 0 w 1"/>
                    <a:gd name="T3" fmla="*/ 10 h 10"/>
                    <a:gd name="T4" fmla="*/ 1 w 1"/>
                    <a:gd name="T5" fmla="*/ 10 h 10"/>
                    <a:gd name="T6" fmla="*/ 1 w 1"/>
                    <a:gd name="T7" fmla="*/ 0 h 10"/>
                    <a:gd name="T8" fmla="*/ 0 w 1"/>
                    <a:gd name="T9" fmla="*/ 0 h 10"/>
                  </a:gdLst>
                  <a:ahLst/>
                  <a:cxnLst>
                    <a:cxn ang="0">
                      <a:pos x="T0" y="T1"/>
                    </a:cxn>
                    <a:cxn ang="0">
                      <a:pos x="T2" y="T3"/>
                    </a:cxn>
                    <a:cxn ang="0">
                      <a:pos x="T4" y="T5"/>
                    </a:cxn>
                    <a:cxn ang="0">
                      <a:pos x="T6" y="T7"/>
                    </a:cxn>
                    <a:cxn ang="0">
                      <a:pos x="T8" y="T9"/>
                    </a:cxn>
                  </a:cxnLst>
                  <a:rect l="0" t="0" r="r" b="b"/>
                  <a:pathLst>
                    <a:path w="1" h="10">
                      <a:moveTo>
                        <a:pt x="0" y="0"/>
                      </a:moveTo>
                      <a:cubicBezTo>
                        <a:pt x="0" y="0"/>
                        <a:pt x="0" y="5"/>
                        <a:pt x="0" y="10"/>
                      </a:cubicBezTo>
                      <a:cubicBezTo>
                        <a:pt x="1" y="10"/>
                        <a:pt x="1" y="10"/>
                        <a:pt x="1" y="10"/>
                      </a:cubicBezTo>
                      <a:cubicBezTo>
                        <a:pt x="1" y="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16" name="Freeform 227"/>
                <p:cNvSpPr>
                  <a:spLocks/>
                </p:cNvSpPr>
                <p:nvPr/>
              </p:nvSpPr>
              <p:spPr bwMode="auto">
                <a:xfrm>
                  <a:off x="14008" y="1017"/>
                  <a:ext cx="7" cy="9"/>
                </a:xfrm>
                <a:custGeom>
                  <a:avLst/>
                  <a:gdLst>
                    <a:gd name="T0" fmla="*/ 1 w 3"/>
                    <a:gd name="T1" fmla="*/ 0 h 4"/>
                    <a:gd name="T2" fmla="*/ 0 w 3"/>
                    <a:gd name="T3" fmla="*/ 4 h 4"/>
                    <a:gd name="T4" fmla="*/ 2 w 3"/>
                    <a:gd name="T5" fmla="*/ 3 h 4"/>
                    <a:gd name="T6" fmla="*/ 3 w 3"/>
                    <a:gd name="T7" fmla="*/ 0 h 4"/>
                    <a:gd name="T8" fmla="*/ 1 w 3"/>
                    <a:gd name="T9" fmla="*/ 0 h 4"/>
                  </a:gdLst>
                  <a:ahLst/>
                  <a:cxnLst>
                    <a:cxn ang="0">
                      <a:pos x="T0" y="T1"/>
                    </a:cxn>
                    <a:cxn ang="0">
                      <a:pos x="T2" y="T3"/>
                    </a:cxn>
                    <a:cxn ang="0">
                      <a:pos x="T4" y="T5"/>
                    </a:cxn>
                    <a:cxn ang="0">
                      <a:pos x="T6" y="T7"/>
                    </a:cxn>
                    <a:cxn ang="0">
                      <a:pos x="T8" y="T9"/>
                    </a:cxn>
                  </a:cxnLst>
                  <a:rect l="0" t="0" r="r" b="b"/>
                  <a:pathLst>
                    <a:path w="3" h="4">
                      <a:moveTo>
                        <a:pt x="1" y="0"/>
                      </a:moveTo>
                      <a:cubicBezTo>
                        <a:pt x="1" y="0"/>
                        <a:pt x="1" y="1"/>
                        <a:pt x="0" y="4"/>
                      </a:cubicBezTo>
                      <a:cubicBezTo>
                        <a:pt x="1" y="4"/>
                        <a:pt x="1" y="3"/>
                        <a:pt x="2" y="3"/>
                      </a:cubicBezTo>
                      <a:cubicBezTo>
                        <a:pt x="2" y="2"/>
                        <a:pt x="2" y="1"/>
                        <a:pt x="3" y="0"/>
                      </a:cubicBezTo>
                      <a:cubicBezTo>
                        <a:pt x="3" y="0"/>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17" name="Freeform 228"/>
                <p:cNvSpPr>
                  <a:spLocks/>
                </p:cNvSpPr>
                <p:nvPr/>
              </p:nvSpPr>
              <p:spPr bwMode="auto">
                <a:xfrm>
                  <a:off x="13975" y="1019"/>
                  <a:ext cx="2" cy="21"/>
                </a:xfrm>
                <a:custGeom>
                  <a:avLst/>
                  <a:gdLst>
                    <a:gd name="T0" fmla="*/ 0 w 1"/>
                    <a:gd name="T1" fmla="*/ 0 h 9"/>
                    <a:gd name="T2" fmla="*/ 0 w 1"/>
                    <a:gd name="T3" fmla="*/ 9 h 9"/>
                    <a:gd name="T4" fmla="*/ 1 w 1"/>
                    <a:gd name="T5" fmla="*/ 8 h 9"/>
                    <a:gd name="T6" fmla="*/ 1 w 1"/>
                    <a:gd name="T7" fmla="*/ 0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0" y="3"/>
                        <a:pt x="0" y="9"/>
                      </a:cubicBezTo>
                      <a:cubicBezTo>
                        <a:pt x="0" y="9"/>
                        <a:pt x="0" y="9"/>
                        <a:pt x="1" y="8"/>
                      </a:cubicBezTo>
                      <a:cubicBezTo>
                        <a:pt x="1" y="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18" name="Freeform 229"/>
                <p:cNvSpPr>
                  <a:spLocks/>
                </p:cNvSpPr>
                <p:nvPr/>
              </p:nvSpPr>
              <p:spPr bwMode="auto">
                <a:xfrm>
                  <a:off x="13828" y="1055"/>
                  <a:ext cx="2" cy="16"/>
                </a:xfrm>
                <a:custGeom>
                  <a:avLst/>
                  <a:gdLst>
                    <a:gd name="T0" fmla="*/ 0 w 1"/>
                    <a:gd name="T1" fmla="*/ 0 h 7"/>
                    <a:gd name="T2" fmla="*/ 0 w 1"/>
                    <a:gd name="T3" fmla="*/ 7 h 7"/>
                    <a:gd name="T4" fmla="*/ 1 w 1"/>
                    <a:gd name="T5" fmla="*/ 7 h 7"/>
                    <a:gd name="T6" fmla="*/ 1 w 1"/>
                    <a:gd name="T7" fmla="*/ 0 h 7"/>
                    <a:gd name="T8" fmla="*/ 0 w 1"/>
                    <a:gd name="T9" fmla="*/ 0 h 7"/>
                  </a:gdLst>
                  <a:ahLst/>
                  <a:cxnLst>
                    <a:cxn ang="0">
                      <a:pos x="T0" y="T1"/>
                    </a:cxn>
                    <a:cxn ang="0">
                      <a:pos x="T2" y="T3"/>
                    </a:cxn>
                    <a:cxn ang="0">
                      <a:pos x="T4" y="T5"/>
                    </a:cxn>
                    <a:cxn ang="0">
                      <a:pos x="T6" y="T7"/>
                    </a:cxn>
                    <a:cxn ang="0">
                      <a:pos x="T8" y="T9"/>
                    </a:cxn>
                  </a:cxnLst>
                  <a:rect l="0" t="0" r="r" b="b"/>
                  <a:pathLst>
                    <a:path w="1" h="7">
                      <a:moveTo>
                        <a:pt x="0" y="0"/>
                      </a:moveTo>
                      <a:cubicBezTo>
                        <a:pt x="0" y="0"/>
                        <a:pt x="0" y="3"/>
                        <a:pt x="0" y="7"/>
                      </a:cubicBezTo>
                      <a:cubicBezTo>
                        <a:pt x="0" y="7"/>
                        <a:pt x="0" y="7"/>
                        <a:pt x="1" y="7"/>
                      </a:cubicBezTo>
                      <a:cubicBezTo>
                        <a:pt x="1" y="3"/>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19" name="Freeform 230"/>
                <p:cNvSpPr>
                  <a:spLocks/>
                </p:cNvSpPr>
                <p:nvPr/>
              </p:nvSpPr>
              <p:spPr bwMode="auto">
                <a:xfrm>
                  <a:off x="13762" y="1066"/>
                  <a:ext cx="2" cy="15"/>
                </a:xfrm>
                <a:custGeom>
                  <a:avLst/>
                  <a:gdLst>
                    <a:gd name="T0" fmla="*/ 0 w 1"/>
                    <a:gd name="T1" fmla="*/ 0 h 6"/>
                    <a:gd name="T2" fmla="*/ 0 w 1"/>
                    <a:gd name="T3" fmla="*/ 6 h 6"/>
                    <a:gd name="T4" fmla="*/ 1 w 1"/>
                    <a:gd name="T5" fmla="*/ 6 h 6"/>
                    <a:gd name="T6" fmla="*/ 1 w 1"/>
                    <a:gd name="T7" fmla="*/ 0 h 6"/>
                    <a:gd name="T8" fmla="*/ 0 w 1"/>
                    <a:gd name="T9" fmla="*/ 0 h 6"/>
                  </a:gdLst>
                  <a:ahLst/>
                  <a:cxnLst>
                    <a:cxn ang="0">
                      <a:pos x="T0" y="T1"/>
                    </a:cxn>
                    <a:cxn ang="0">
                      <a:pos x="T2" y="T3"/>
                    </a:cxn>
                    <a:cxn ang="0">
                      <a:pos x="T4" y="T5"/>
                    </a:cxn>
                    <a:cxn ang="0">
                      <a:pos x="T6" y="T7"/>
                    </a:cxn>
                    <a:cxn ang="0">
                      <a:pos x="T8" y="T9"/>
                    </a:cxn>
                  </a:cxnLst>
                  <a:rect l="0" t="0" r="r" b="b"/>
                  <a:pathLst>
                    <a:path w="1" h="6">
                      <a:moveTo>
                        <a:pt x="0" y="0"/>
                      </a:moveTo>
                      <a:cubicBezTo>
                        <a:pt x="0" y="0"/>
                        <a:pt x="0" y="3"/>
                        <a:pt x="0" y="6"/>
                      </a:cubicBezTo>
                      <a:cubicBezTo>
                        <a:pt x="0" y="6"/>
                        <a:pt x="1" y="6"/>
                        <a:pt x="1" y="6"/>
                      </a:cubicBezTo>
                      <a:cubicBezTo>
                        <a:pt x="1" y="3"/>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20" name="Freeform 231"/>
                <p:cNvSpPr>
                  <a:spLocks/>
                </p:cNvSpPr>
                <p:nvPr/>
              </p:nvSpPr>
              <p:spPr bwMode="auto">
                <a:xfrm>
                  <a:off x="12313" y="1163"/>
                  <a:ext cx="8" cy="10"/>
                </a:xfrm>
                <a:custGeom>
                  <a:avLst/>
                  <a:gdLst>
                    <a:gd name="T0" fmla="*/ 1 w 3"/>
                    <a:gd name="T1" fmla="*/ 0 h 4"/>
                    <a:gd name="T2" fmla="*/ 0 w 3"/>
                    <a:gd name="T3" fmla="*/ 4 h 4"/>
                    <a:gd name="T4" fmla="*/ 1 w 3"/>
                    <a:gd name="T5" fmla="*/ 4 h 4"/>
                    <a:gd name="T6" fmla="*/ 3 w 3"/>
                    <a:gd name="T7" fmla="*/ 0 h 4"/>
                    <a:gd name="T8" fmla="*/ 1 w 3"/>
                    <a:gd name="T9" fmla="*/ 0 h 4"/>
                  </a:gdLst>
                  <a:ahLst/>
                  <a:cxnLst>
                    <a:cxn ang="0">
                      <a:pos x="T0" y="T1"/>
                    </a:cxn>
                    <a:cxn ang="0">
                      <a:pos x="T2" y="T3"/>
                    </a:cxn>
                    <a:cxn ang="0">
                      <a:pos x="T4" y="T5"/>
                    </a:cxn>
                    <a:cxn ang="0">
                      <a:pos x="T6" y="T7"/>
                    </a:cxn>
                    <a:cxn ang="0">
                      <a:pos x="T8" y="T9"/>
                    </a:cxn>
                  </a:cxnLst>
                  <a:rect l="0" t="0" r="r" b="b"/>
                  <a:pathLst>
                    <a:path w="3" h="4">
                      <a:moveTo>
                        <a:pt x="1" y="0"/>
                      </a:moveTo>
                      <a:cubicBezTo>
                        <a:pt x="1" y="0"/>
                        <a:pt x="1" y="2"/>
                        <a:pt x="0" y="4"/>
                      </a:cubicBezTo>
                      <a:cubicBezTo>
                        <a:pt x="1" y="4"/>
                        <a:pt x="1" y="4"/>
                        <a:pt x="1" y="4"/>
                      </a:cubicBezTo>
                      <a:cubicBezTo>
                        <a:pt x="2" y="2"/>
                        <a:pt x="2" y="1"/>
                        <a:pt x="3" y="0"/>
                      </a:cubicBezTo>
                      <a:cubicBezTo>
                        <a:pt x="3" y="0"/>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21" name="Freeform 232"/>
                <p:cNvSpPr>
                  <a:spLocks/>
                </p:cNvSpPr>
                <p:nvPr/>
              </p:nvSpPr>
              <p:spPr bwMode="auto">
                <a:xfrm>
                  <a:off x="12280" y="1166"/>
                  <a:ext cx="3" cy="31"/>
                </a:xfrm>
                <a:custGeom>
                  <a:avLst/>
                  <a:gdLst>
                    <a:gd name="T0" fmla="*/ 0 w 1"/>
                    <a:gd name="T1" fmla="*/ 0 h 13"/>
                    <a:gd name="T2" fmla="*/ 0 w 1"/>
                    <a:gd name="T3" fmla="*/ 13 h 13"/>
                    <a:gd name="T4" fmla="*/ 1 w 1"/>
                    <a:gd name="T5" fmla="*/ 12 h 13"/>
                    <a:gd name="T6" fmla="*/ 1 w 1"/>
                    <a:gd name="T7" fmla="*/ 0 h 13"/>
                    <a:gd name="T8" fmla="*/ 0 w 1"/>
                    <a:gd name="T9" fmla="*/ 0 h 13"/>
                  </a:gdLst>
                  <a:ahLst/>
                  <a:cxnLst>
                    <a:cxn ang="0">
                      <a:pos x="T0" y="T1"/>
                    </a:cxn>
                    <a:cxn ang="0">
                      <a:pos x="T2" y="T3"/>
                    </a:cxn>
                    <a:cxn ang="0">
                      <a:pos x="T4" y="T5"/>
                    </a:cxn>
                    <a:cxn ang="0">
                      <a:pos x="T6" y="T7"/>
                    </a:cxn>
                    <a:cxn ang="0">
                      <a:pos x="T8" y="T9"/>
                    </a:cxn>
                  </a:cxnLst>
                  <a:rect l="0" t="0" r="r" b="b"/>
                  <a:pathLst>
                    <a:path w="1" h="13">
                      <a:moveTo>
                        <a:pt x="0" y="0"/>
                      </a:moveTo>
                      <a:cubicBezTo>
                        <a:pt x="0" y="0"/>
                        <a:pt x="0" y="6"/>
                        <a:pt x="0" y="13"/>
                      </a:cubicBezTo>
                      <a:cubicBezTo>
                        <a:pt x="0" y="13"/>
                        <a:pt x="0" y="13"/>
                        <a:pt x="1" y="12"/>
                      </a:cubicBezTo>
                      <a:cubicBezTo>
                        <a:pt x="1" y="9"/>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22" name="Freeform 233"/>
                <p:cNvSpPr>
                  <a:spLocks/>
                </p:cNvSpPr>
                <p:nvPr/>
              </p:nvSpPr>
              <p:spPr bwMode="auto">
                <a:xfrm>
                  <a:off x="12264" y="1201"/>
                  <a:ext cx="2" cy="29"/>
                </a:xfrm>
                <a:custGeom>
                  <a:avLst/>
                  <a:gdLst>
                    <a:gd name="T0" fmla="*/ 0 w 1"/>
                    <a:gd name="T1" fmla="*/ 0 h 12"/>
                    <a:gd name="T2" fmla="*/ 0 w 1"/>
                    <a:gd name="T3" fmla="*/ 12 h 12"/>
                    <a:gd name="T4" fmla="*/ 1 w 1"/>
                    <a:gd name="T5" fmla="*/ 8 h 12"/>
                    <a:gd name="T6" fmla="*/ 1 w 1"/>
                    <a:gd name="T7" fmla="*/ 0 h 12"/>
                    <a:gd name="T8" fmla="*/ 0 w 1"/>
                    <a:gd name="T9" fmla="*/ 0 h 12"/>
                  </a:gdLst>
                  <a:ahLst/>
                  <a:cxnLst>
                    <a:cxn ang="0">
                      <a:pos x="T0" y="T1"/>
                    </a:cxn>
                    <a:cxn ang="0">
                      <a:pos x="T2" y="T3"/>
                    </a:cxn>
                    <a:cxn ang="0">
                      <a:pos x="T4" y="T5"/>
                    </a:cxn>
                    <a:cxn ang="0">
                      <a:pos x="T6" y="T7"/>
                    </a:cxn>
                    <a:cxn ang="0">
                      <a:pos x="T8" y="T9"/>
                    </a:cxn>
                  </a:cxnLst>
                  <a:rect l="0" t="0" r="r" b="b"/>
                  <a:pathLst>
                    <a:path w="1" h="12">
                      <a:moveTo>
                        <a:pt x="0" y="0"/>
                      </a:moveTo>
                      <a:cubicBezTo>
                        <a:pt x="0" y="0"/>
                        <a:pt x="0" y="6"/>
                        <a:pt x="0" y="12"/>
                      </a:cubicBezTo>
                      <a:cubicBezTo>
                        <a:pt x="0" y="10"/>
                        <a:pt x="1" y="9"/>
                        <a:pt x="1" y="8"/>
                      </a:cubicBezTo>
                      <a:cubicBezTo>
                        <a:pt x="1" y="4"/>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23" name="Freeform 234"/>
                <p:cNvSpPr>
                  <a:spLocks/>
                </p:cNvSpPr>
                <p:nvPr/>
              </p:nvSpPr>
              <p:spPr bwMode="auto">
                <a:xfrm>
                  <a:off x="14465" y="1459"/>
                  <a:ext cx="2" cy="22"/>
                </a:xfrm>
                <a:custGeom>
                  <a:avLst/>
                  <a:gdLst>
                    <a:gd name="T0" fmla="*/ 0 w 1"/>
                    <a:gd name="T1" fmla="*/ 0 h 9"/>
                    <a:gd name="T2" fmla="*/ 0 w 1"/>
                    <a:gd name="T3" fmla="*/ 9 h 9"/>
                    <a:gd name="T4" fmla="*/ 1 w 1"/>
                    <a:gd name="T5" fmla="*/ 9 h 9"/>
                    <a:gd name="T6" fmla="*/ 1 w 1"/>
                    <a:gd name="T7" fmla="*/ 0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0" y="5"/>
                        <a:pt x="0" y="9"/>
                      </a:cubicBezTo>
                      <a:cubicBezTo>
                        <a:pt x="1" y="9"/>
                        <a:pt x="1" y="9"/>
                        <a:pt x="1" y="9"/>
                      </a:cubicBezTo>
                      <a:cubicBezTo>
                        <a:pt x="1" y="4"/>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24" name="Freeform 235"/>
                <p:cNvSpPr>
                  <a:spLocks/>
                </p:cNvSpPr>
                <p:nvPr/>
              </p:nvSpPr>
              <p:spPr bwMode="auto">
                <a:xfrm>
                  <a:off x="14495" y="1899"/>
                  <a:ext cx="5" cy="50"/>
                </a:xfrm>
                <a:custGeom>
                  <a:avLst/>
                  <a:gdLst>
                    <a:gd name="T0" fmla="*/ 1 w 2"/>
                    <a:gd name="T1" fmla="*/ 13 h 21"/>
                    <a:gd name="T2" fmla="*/ 1 w 2"/>
                    <a:gd name="T3" fmla="*/ 0 h 21"/>
                    <a:gd name="T4" fmla="*/ 0 w 2"/>
                    <a:gd name="T5" fmla="*/ 0 h 21"/>
                    <a:gd name="T6" fmla="*/ 0 w 2"/>
                    <a:gd name="T7" fmla="*/ 21 h 21"/>
                    <a:gd name="T8" fmla="*/ 2 w 2"/>
                    <a:gd name="T9" fmla="*/ 15 h 21"/>
                    <a:gd name="T10" fmla="*/ 1 w 2"/>
                    <a:gd name="T11" fmla="*/ 13 h 21"/>
                  </a:gdLst>
                  <a:ahLst/>
                  <a:cxnLst>
                    <a:cxn ang="0">
                      <a:pos x="T0" y="T1"/>
                    </a:cxn>
                    <a:cxn ang="0">
                      <a:pos x="T2" y="T3"/>
                    </a:cxn>
                    <a:cxn ang="0">
                      <a:pos x="T4" y="T5"/>
                    </a:cxn>
                    <a:cxn ang="0">
                      <a:pos x="T6" y="T7"/>
                    </a:cxn>
                    <a:cxn ang="0">
                      <a:pos x="T8" y="T9"/>
                    </a:cxn>
                    <a:cxn ang="0">
                      <a:pos x="T10" y="T11"/>
                    </a:cxn>
                  </a:cxnLst>
                  <a:rect l="0" t="0" r="r" b="b"/>
                  <a:pathLst>
                    <a:path w="2" h="21">
                      <a:moveTo>
                        <a:pt x="1" y="13"/>
                      </a:moveTo>
                      <a:cubicBezTo>
                        <a:pt x="1" y="12"/>
                        <a:pt x="1" y="0"/>
                        <a:pt x="1" y="0"/>
                      </a:cubicBezTo>
                      <a:cubicBezTo>
                        <a:pt x="0" y="0"/>
                        <a:pt x="0" y="0"/>
                        <a:pt x="0" y="0"/>
                      </a:cubicBezTo>
                      <a:cubicBezTo>
                        <a:pt x="0" y="0"/>
                        <a:pt x="0" y="11"/>
                        <a:pt x="0" y="21"/>
                      </a:cubicBezTo>
                      <a:cubicBezTo>
                        <a:pt x="0" y="19"/>
                        <a:pt x="1" y="17"/>
                        <a:pt x="2" y="15"/>
                      </a:cubicBezTo>
                      <a:cubicBezTo>
                        <a:pt x="1" y="15"/>
                        <a:pt x="1" y="14"/>
                        <a:pt x="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25" name="Freeform 236"/>
                <p:cNvSpPr>
                  <a:spLocks/>
                </p:cNvSpPr>
                <p:nvPr/>
              </p:nvSpPr>
              <p:spPr bwMode="auto">
                <a:xfrm>
                  <a:off x="14479" y="1935"/>
                  <a:ext cx="2" cy="50"/>
                </a:xfrm>
                <a:custGeom>
                  <a:avLst/>
                  <a:gdLst>
                    <a:gd name="T0" fmla="*/ 0 w 1"/>
                    <a:gd name="T1" fmla="*/ 0 h 21"/>
                    <a:gd name="T2" fmla="*/ 0 w 1"/>
                    <a:gd name="T3" fmla="*/ 21 h 21"/>
                    <a:gd name="T4" fmla="*/ 1 w 1"/>
                    <a:gd name="T5" fmla="*/ 18 h 21"/>
                    <a:gd name="T6" fmla="*/ 1 w 1"/>
                    <a:gd name="T7" fmla="*/ 0 h 21"/>
                    <a:gd name="T8" fmla="*/ 0 w 1"/>
                    <a:gd name="T9" fmla="*/ 0 h 21"/>
                  </a:gdLst>
                  <a:ahLst/>
                  <a:cxnLst>
                    <a:cxn ang="0">
                      <a:pos x="T0" y="T1"/>
                    </a:cxn>
                    <a:cxn ang="0">
                      <a:pos x="T2" y="T3"/>
                    </a:cxn>
                    <a:cxn ang="0">
                      <a:pos x="T4" y="T5"/>
                    </a:cxn>
                    <a:cxn ang="0">
                      <a:pos x="T6" y="T7"/>
                    </a:cxn>
                    <a:cxn ang="0">
                      <a:pos x="T8" y="T9"/>
                    </a:cxn>
                  </a:cxnLst>
                  <a:rect l="0" t="0" r="r" b="b"/>
                  <a:pathLst>
                    <a:path w="1" h="21">
                      <a:moveTo>
                        <a:pt x="0" y="0"/>
                      </a:moveTo>
                      <a:cubicBezTo>
                        <a:pt x="0" y="0"/>
                        <a:pt x="0" y="16"/>
                        <a:pt x="0" y="21"/>
                      </a:cubicBezTo>
                      <a:cubicBezTo>
                        <a:pt x="0" y="20"/>
                        <a:pt x="1" y="19"/>
                        <a:pt x="1" y="18"/>
                      </a:cubicBezTo>
                      <a:cubicBezTo>
                        <a:pt x="1" y="1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26" name="Freeform 237"/>
                <p:cNvSpPr>
                  <a:spLocks/>
                </p:cNvSpPr>
                <p:nvPr/>
              </p:nvSpPr>
              <p:spPr bwMode="auto">
                <a:xfrm>
                  <a:off x="12574" y="877"/>
                  <a:ext cx="2" cy="69"/>
                </a:xfrm>
                <a:custGeom>
                  <a:avLst/>
                  <a:gdLst>
                    <a:gd name="T0" fmla="*/ 1 w 1"/>
                    <a:gd name="T1" fmla="*/ 0 h 29"/>
                    <a:gd name="T2" fmla="*/ 1 w 1"/>
                    <a:gd name="T3" fmla="*/ 29 h 29"/>
                    <a:gd name="T4" fmla="*/ 1 w 1"/>
                    <a:gd name="T5" fmla="*/ 0 h 29"/>
                    <a:gd name="T6" fmla="*/ 1 w 1"/>
                    <a:gd name="T7" fmla="*/ 0 h 29"/>
                  </a:gdLst>
                  <a:ahLst/>
                  <a:cxnLst>
                    <a:cxn ang="0">
                      <a:pos x="T0" y="T1"/>
                    </a:cxn>
                    <a:cxn ang="0">
                      <a:pos x="T2" y="T3"/>
                    </a:cxn>
                    <a:cxn ang="0">
                      <a:pos x="T4" y="T5"/>
                    </a:cxn>
                    <a:cxn ang="0">
                      <a:pos x="T6" y="T7"/>
                    </a:cxn>
                  </a:cxnLst>
                  <a:rect l="0" t="0" r="r" b="b"/>
                  <a:pathLst>
                    <a:path w="1" h="29">
                      <a:moveTo>
                        <a:pt x="1" y="0"/>
                      </a:moveTo>
                      <a:cubicBezTo>
                        <a:pt x="0" y="9"/>
                        <a:pt x="1" y="19"/>
                        <a:pt x="1" y="29"/>
                      </a:cubicBezTo>
                      <a:cubicBezTo>
                        <a:pt x="1" y="20"/>
                        <a:pt x="1" y="5"/>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27" name="Freeform 238"/>
                <p:cNvSpPr>
                  <a:spLocks/>
                </p:cNvSpPr>
                <p:nvPr/>
              </p:nvSpPr>
              <p:spPr bwMode="auto">
                <a:xfrm>
                  <a:off x="14493" y="1802"/>
                  <a:ext cx="0" cy="3"/>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0"/>
                        <a:pt x="0" y="0"/>
                        <a:pt x="0" y="0"/>
                      </a:cubicBezTo>
                      <a:cubicBezTo>
                        <a:pt x="0" y="0"/>
                        <a:pt x="0" y="0"/>
                        <a:pt x="0"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28" name="Freeform 239"/>
                <p:cNvSpPr>
                  <a:spLocks/>
                </p:cNvSpPr>
                <p:nvPr/>
              </p:nvSpPr>
              <p:spPr bwMode="auto">
                <a:xfrm>
                  <a:off x="14498" y="1459"/>
                  <a:ext cx="2" cy="5"/>
                </a:xfrm>
                <a:custGeom>
                  <a:avLst/>
                  <a:gdLst>
                    <a:gd name="T0" fmla="*/ 0 w 1"/>
                    <a:gd name="T1" fmla="*/ 0 h 2"/>
                    <a:gd name="T2" fmla="*/ 0 w 1"/>
                    <a:gd name="T3" fmla="*/ 2 h 2"/>
                    <a:gd name="T4" fmla="*/ 1 w 1"/>
                    <a:gd name="T5" fmla="*/ 1 h 2"/>
                    <a:gd name="T6" fmla="*/ 1 w 1"/>
                    <a:gd name="T7" fmla="*/ 1 h 2"/>
                    <a:gd name="T8" fmla="*/ 1 w 1"/>
                    <a:gd name="T9" fmla="*/ 0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cubicBezTo>
                        <a:pt x="0" y="0"/>
                        <a:pt x="0" y="1"/>
                        <a:pt x="0" y="2"/>
                      </a:cubicBezTo>
                      <a:cubicBezTo>
                        <a:pt x="0" y="1"/>
                        <a:pt x="0" y="1"/>
                        <a:pt x="1" y="1"/>
                      </a:cubicBezTo>
                      <a:cubicBezTo>
                        <a:pt x="1" y="1"/>
                        <a:pt x="1" y="1"/>
                        <a:pt x="1" y="1"/>
                      </a:cubicBez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29" name="Freeform 240"/>
                <p:cNvSpPr>
                  <a:spLocks/>
                </p:cNvSpPr>
                <p:nvPr/>
              </p:nvSpPr>
              <p:spPr bwMode="auto">
                <a:xfrm>
                  <a:off x="13490" y="2191"/>
                  <a:ext cx="2" cy="23"/>
                </a:xfrm>
                <a:custGeom>
                  <a:avLst/>
                  <a:gdLst>
                    <a:gd name="T0" fmla="*/ 0 w 1"/>
                    <a:gd name="T1" fmla="*/ 0 h 10"/>
                    <a:gd name="T2" fmla="*/ 0 w 1"/>
                    <a:gd name="T3" fmla="*/ 9 h 10"/>
                    <a:gd name="T4" fmla="*/ 1 w 1"/>
                    <a:gd name="T5" fmla="*/ 10 h 10"/>
                    <a:gd name="T6" fmla="*/ 1 w 1"/>
                    <a:gd name="T7" fmla="*/ 0 h 10"/>
                    <a:gd name="T8" fmla="*/ 0 w 1"/>
                    <a:gd name="T9" fmla="*/ 0 h 10"/>
                  </a:gdLst>
                  <a:ahLst/>
                  <a:cxnLst>
                    <a:cxn ang="0">
                      <a:pos x="T0" y="T1"/>
                    </a:cxn>
                    <a:cxn ang="0">
                      <a:pos x="T2" y="T3"/>
                    </a:cxn>
                    <a:cxn ang="0">
                      <a:pos x="T4" y="T5"/>
                    </a:cxn>
                    <a:cxn ang="0">
                      <a:pos x="T6" y="T7"/>
                    </a:cxn>
                    <a:cxn ang="0">
                      <a:pos x="T8" y="T9"/>
                    </a:cxn>
                  </a:cxnLst>
                  <a:rect l="0" t="0" r="r" b="b"/>
                  <a:pathLst>
                    <a:path w="1" h="10">
                      <a:moveTo>
                        <a:pt x="0" y="0"/>
                      </a:moveTo>
                      <a:cubicBezTo>
                        <a:pt x="0" y="0"/>
                        <a:pt x="0" y="5"/>
                        <a:pt x="0" y="9"/>
                      </a:cubicBezTo>
                      <a:cubicBezTo>
                        <a:pt x="0" y="9"/>
                        <a:pt x="0" y="9"/>
                        <a:pt x="1" y="10"/>
                      </a:cubicBezTo>
                      <a:cubicBezTo>
                        <a:pt x="1" y="4"/>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30" name="Freeform 241"/>
                <p:cNvSpPr>
                  <a:spLocks/>
                </p:cNvSpPr>
                <p:nvPr/>
              </p:nvSpPr>
              <p:spPr bwMode="auto">
                <a:xfrm>
                  <a:off x="13620" y="2191"/>
                  <a:ext cx="2" cy="9"/>
                </a:xfrm>
                <a:custGeom>
                  <a:avLst/>
                  <a:gdLst>
                    <a:gd name="T0" fmla="*/ 0 w 1"/>
                    <a:gd name="T1" fmla="*/ 0 h 4"/>
                    <a:gd name="T2" fmla="*/ 0 w 1"/>
                    <a:gd name="T3" fmla="*/ 4 h 4"/>
                    <a:gd name="T4" fmla="*/ 1 w 1"/>
                    <a:gd name="T5" fmla="*/ 4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2"/>
                        <a:pt x="0" y="4"/>
                      </a:cubicBezTo>
                      <a:cubicBezTo>
                        <a:pt x="1" y="4"/>
                        <a:pt x="1" y="4"/>
                        <a:pt x="1" y="4"/>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31" name="Freeform 242"/>
                <p:cNvSpPr>
                  <a:spLocks/>
                </p:cNvSpPr>
                <p:nvPr/>
              </p:nvSpPr>
              <p:spPr bwMode="auto">
                <a:xfrm>
                  <a:off x="12276" y="1310"/>
                  <a:ext cx="9" cy="17"/>
                </a:xfrm>
                <a:custGeom>
                  <a:avLst/>
                  <a:gdLst>
                    <a:gd name="T0" fmla="*/ 0 w 4"/>
                    <a:gd name="T1" fmla="*/ 0 h 7"/>
                    <a:gd name="T2" fmla="*/ 1 w 4"/>
                    <a:gd name="T3" fmla="*/ 1 h 7"/>
                    <a:gd name="T4" fmla="*/ 4 w 4"/>
                    <a:gd name="T5" fmla="*/ 7 h 7"/>
                    <a:gd name="T6" fmla="*/ 1 w 4"/>
                    <a:gd name="T7" fmla="*/ 0 h 7"/>
                    <a:gd name="T8" fmla="*/ 0 w 4"/>
                    <a:gd name="T9" fmla="*/ 0 h 7"/>
                  </a:gdLst>
                  <a:ahLst/>
                  <a:cxnLst>
                    <a:cxn ang="0">
                      <a:pos x="T0" y="T1"/>
                    </a:cxn>
                    <a:cxn ang="0">
                      <a:pos x="T2" y="T3"/>
                    </a:cxn>
                    <a:cxn ang="0">
                      <a:pos x="T4" y="T5"/>
                    </a:cxn>
                    <a:cxn ang="0">
                      <a:pos x="T6" y="T7"/>
                    </a:cxn>
                    <a:cxn ang="0">
                      <a:pos x="T8" y="T9"/>
                    </a:cxn>
                  </a:cxnLst>
                  <a:rect l="0" t="0" r="r" b="b"/>
                  <a:pathLst>
                    <a:path w="4" h="7">
                      <a:moveTo>
                        <a:pt x="0" y="0"/>
                      </a:moveTo>
                      <a:cubicBezTo>
                        <a:pt x="0" y="0"/>
                        <a:pt x="0" y="0"/>
                        <a:pt x="1" y="1"/>
                      </a:cubicBezTo>
                      <a:cubicBezTo>
                        <a:pt x="1" y="3"/>
                        <a:pt x="2" y="5"/>
                        <a:pt x="4" y="7"/>
                      </a:cubicBezTo>
                      <a:cubicBezTo>
                        <a:pt x="3" y="4"/>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32" name="Freeform 243"/>
                <p:cNvSpPr>
                  <a:spLocks/>
                </p:cNvSpPr>
                <p:nvPr/>
              </p:nvSpPr>
              <p:spPr bwMode="auto">
                <a:xfrm>
                  <a:off x="13651" y="2191"/>
                  <a:ext cx="4" cy="11"/>
                </a:xfrm>
                <a:custGeom>
                  <a:avLst/>
                  <a:gdLst>
                    <a:gd name="T0" fmla="*/ 0 w 2"/>
                    <a:gd name="T1" fmla="*/ 0 h 5"/>
                    <a:gd name="T2" fmla="*/ 0 w 2"/>
                    <a:gd name="T3" fmla="*/ 5 h 5"/>
                    <a:gd name="T4" fmla="*/ 2 w 2"/>
                    <a:gd name="T5" fmla="*/ 5 h 5"/>
                    <a:gd name="T6" fmla="*/ 2 w 2"/>
                    <a:gd name="T7" fmla="*/ 0 h 5"/>
                    <a:gd name="T8" fmla="*/ 0 w 2"/>
                    <a:gd name="T9" fmla="*/ 0 h 5"/>
                  </a:gdLst>
                  <a:ahLst/>
                  <a:cxnLst>
                    <a:cxn ang="0">
                      <a:pos x="T0" y="T1"/>
                    </a:cxn>
                    <a:cxn ang="0">
                      <a:pos x="T2" y="T3"/>
                    </a:cxn>
                    <a:cxn ang="0">
                      <a:pos x="T4" y="T5"/>
                    </a:cxn>
                    <a:cxn ang="0">
                      <a:pos x="T6" y="T7"/>
                    </a:cxn>
                    <a:cxn ang="0">
                      <a:pos x="T8" y="T9"/>
                    </a:cxn>
                  </a:cxnLst>
                  <a:rect l="0" t="0" r="r" b="b"/>
                  <a:pathLst>
                    <a:path w="2" h="5">
                      <a:moveTo>
                        <a:pt x="0" y="0"/>
                      </a:moveTo>
                      <a:cubicBezTo>
                        <a:pt x="0" y="0"/>
                        <a:pt x="0" y="2"/>
                        <a:pt x="0" y="5"/>
                      </a:cubicBezTo>
                      <a:cubicBezTo>
                        <a:pt x="1" y="5"/>
                        <a:pt x="1" y="5"/>
                        <a:pt x="2" y="5"/>
                      </a:cubicBezTo>
                      <a:cubicBezTo>
                        <a:pt x="2" y="2"/>
                        <a:pt x="2" y="0"/>
                        <a:pt x="2"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33" name="Freeform 244"/>
                <p:cNvSpPr>
                  <a:spLocks/>
                </p:cNvSpPr>
                <p:nvPr/>
              </p:nvSpPr>
              <p:spPr bwMode="auto">
                <a:xfrm>
                  <a:off x="13712" y="2188"/>
                  <a:ext cx="5" cy="10"/>
                </a:xfrm>
                <a:custGeom>
                  <a:avLst/>
                  <a:gdLst>
                    <a:gd name="T0" fmla="*/ 0 w 2"/>
                    <a:gd name="T1" fmla="*/ 0 h 4"/>
                    <a:gd name="T2" fmla="*/ 1 w 2"/>
                    <a:gd name="T3" fmla="*/ 4 h 4"/>
                    <a:gd name="T4" fmla="*/ 2 w 2"/>
                    <a:gd name="T5" fmla="*/ 3 h 4"/>
                    <a:gd name="T6" fmla="*/ 1 w 2"/>
                    <a:gd name="T7" fmla="*/ 0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cubicBezTo>
                        <a:pt x="0" y="0"/>
                        <a:pt x="0" y="0"/>
                        <a:pt x="1" y="4"/>
                      </a:cubicBezTo>
                      <a:cubicBezTo>
                        <a:pt x="1" y="3"/>
                        <a:pt x="1" y="3"/>
                        <a:pt x="2" y="3"/>
                      </a:cubicBezTo>
                      <a:cubicBezTo>
                        <a:pt x="1"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34" name="Freeform 245"/>
                <p:cNvSpPr>
                  <a:spLocks/>
                </p:cNvSpPr>
                <p:nvPr/>
              </p:nvSpPr>
              <p:spPr bwMode="auto">
                <a:xfrm>
                  <a:off x="13681" y="2188"/>
                  <a:ext cx="7" cy="19"/>
                </a:xfrm>
                <a:custGeom>
                  <a:avLst/>
                  <a:gdLst>
                    <a:gd name="T0" fmla="*/ 2 w 3"/>
                    <a:gd name="T1" fmla="*/ 0 h 8"/>
                    <a:gd name="T2" fmla="*/ 0 w 3"/>
                    <a:gd name="T3" fmla="*/ 8 h 8"/>
                    <a:gd name="T4" fmla="*/ 1 w 3"/>
                    <a:gd name="T5" fmla="*/ 8 h 8"/>
                    <a:gd name="T6" fmla="*/ 3 w 3"/>
                    <a:gd name="T7" fmla="*/ 0 h 8"/>
                    <a:gd name="T8" fmla="*/ 2 w 3"/>
                    <a:gd name="T9" fmla="*/ 0 h 8"/>
                  </a:gdLst>
                  <a:ahLst/>
                  <a:cxnLst>
                    <a:cxn ang="0">
                      <a:pos x="T0" y="T1"/>
                    </a:cxn>
                    <a:cxn ang="0">
                      <a:pos x="T2" y="T3"/>
                    </a:cxn>
                    <a:cxn ang="0">
                      <a:pos x="T4" y="T5"/>
                    </a:cxn>
                    <a:cxn ang="0">
                      <a:pos x="T6" y="T7"/>
                    </a:cxn>
                    <a:cxn ang="0">
                      <a:pos x="T8" y="T9"/>
                    </a:cxn>
                  </a:cxnLst>
                  <a:rect l="0" t="0" r="r" b="b"/>
                  <a:pathLst>
                    <a:path w="3" h="8">
                      <a:moveTo>
                        <a:pt x="2" y="0"/>
                      </a:moveTo>
                      <a:cubicBezTo>
                        <a:pt x="2" y="0"/>
                        <a:pt x="1" y="4"/>
                        <a:pt x="0" y="8"/>
                      </a:cubicBezTo>
                      <a:cubicBezTo>
                        <a:pt x="0" y="8"/>
                        <a:pt x="0" y="8"/>
                        <a:pt x="1" y="8"/>
                      </a:cubicBezTo>
                      <a:cubicBezTo>
                        <a:pt x="2" y="6"/>
                        <a:pt x="2" y="3"/>
                        <a:pt x="3" y="0"/>
                      </a:cubicBezTo>
                      <a:cubicBezTo>
                        <a:pt x="3" y="0"/>
                        <a:pt x="3"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35" name="Freeform 246"/>
                <p:cNvSpPr>
                  <a:spLocks/>
                </p:cNvSpPr>
                <p:nvPr/>
              </p:nvSpPr>
              <p:spPr bwMode="auto">
                <a:xfrm>
                  <a:off x="13584" y="2188"/>
                  <a:ext cx="26" cy="66"/>
                </a:xfrm>
                <a:custGeom>
                  <a:avLst/>
                  <a:gdLst>
                    <a:gd name="T0" fmla="*/ 4 w 11"/>
                    <a:gd name="T1" fmla="*/ 13 h 28"/>
                    <a:gd name="T2" fmla="*/ 1 w 11"/>
                    <a:gd name="T3" fmla="*/ 0 h 28"/>
                    <a:gd name="T4" fmla="*/ 0 w 11"/>
                    <a:gd name="T5" fmla="*/ 0 h 28"/>
                    <a:gd name="T6" fmla="*/ 6 w 11"/>
                    <a:gd name="T7" fmla="*/ 22 h 28"/>
                    <a:gd name="T8" fmla="*/ 0 w 11"/>
                    <a:gd name="T9" fmla="*/ 22 h 28"/>
                    <a:gd name="T10" fmla="*/ 0 w 11"/>
                    <a:gd name="T11" fmla="*/ 28 h 28"/>
                    <a:gd name="T12" fmla="*/ 11 w 11"/>
                    <a:gd name="T13" fmla="*/ 24 h 28"/>
                    <a:gd name="T14" fmla="*/ 5 w 11"/>
                    <a:gd name="T15" fmla="*/ 14 h 28"/>
                    <a:gd name="T16" fmla="*/ 5 w 11"/>
                    <a:gd name="T17" fmla="*/ 14 h 28"/>
                    <a:gd name="T18" fmla="*/ 4 w 11"/>
                    <a:gd name="T19" fmla="*/ 1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8">
                      <a:moveTo>
                        <a:pt x="4" y="13"/>
                      </a:moveTo>
                      <a:cubicBezTo>
                        <a:pt x="4" y="12"/>
                        <a:pt x="1" y="0"/>
                        <a:pt x="1" y="0"/>
                      </a:cubicBezTo>
                      <a:cubicBezTo>
                        <a:pt x="1" y="0"/>
                        <a:pt x="1" y="0"/>
                        <a:pt x="0" y="0"/>
                      </a:cubicBezTo>
                      <a:cubicBezTo>
                        <a:pt x="0" y="0"/>
                        <a:pt x="0" y="0"/>
                        <a:pt x="6" y="22"/>
                      </a:cubicBezTo>
                      <a:cubicBezTo>
                        <a:pt x="6" y="22"/>
                        <a:pt x="6" y="22"/>
                        <a:pt x="0" y="22"/>
                      </a:cubicBezTo>
                      <a:cubicBezTo>
                        <a:pt x="0" y="24"/>
                        <a:pt x="0" y="26"/>
                        <a:pt x="0" y="28"/>
                      </a:cubicBezTo>
                      <a:cubicBezTo>
                        <a:pt x="4" y="28"/>
                        <a:pt x="7" y="27"/>
                        <a:pt x="11" y="24"/>
                      </a:cubicBezTo>
                      <a:cubicBezTo>
                        <a:pt x="9" y="22"/>
                        <a:pt x="7" y="17"/>
                        <a:pt x="5" y="14"/>
                      </a:cubicBezTo>
                      <a:cubicBezTo>
                        <a:pt x="5" y="14"/>
                        <a:pt x="5" y="14"/>
                        <a:pt x="5" y="14"/>
                      </a:cubicBezTo>
                      <a:cubicBezTo>
                        <a:pt x="5" y="14"/>
                        <a:pt x="5" y="13"/>
                        <a:pt x="4"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36" name="Freeform 247"/>
                <p:cNvSpPr>
                  <a:spLocks/>
                </p:cNvSpPr>
                <p:nvPr/>
              </p:nvSpPr>
              <p:spPr bwMode="auto">
                <a:xfrm>
                  <a:off x="13570" y="2240"/>
                  <a:ext cx="2" cy="14"/>
                </a:xfrm>
                <a:custGeom>
                  <a:avLst/>
                  <a:gdLst>
                    <a:gd name="T0" fmla="*/ 0 w 1"/>
                    <a:gd name="T1" fmla="*/ 0 h 6"/>
                    <a:gd name="T2" fmla="*/ 0 w 1"/>
                    <a:gd name="T3" fmla="*/ 5 h 6"/>
                    <a:gd name="T4" fmla="*/ 1 w 1"/>
                    <a:gd name="T5" fmla="*/ 6 h 6"/>
                    <a:gd name="T6" fmla="*/ 1 w 1"/>
                    <a:gd name="T7" fmla="*/ 0 h 6"/>
                    <a:gd name="T8" fmla="*/ 0 w 1"/>
                    <a:gd name="T9" fmla="*/ 0 h 6"/>
                  </a:gdLst>
                  <a:ahLst/>
                  <a:cxnLst>
                    <a:cxn ang="0">
                      <a:pos x="T0" y="T1"/>
                    </a:cxn>
                    <a:cxn ang="0">
                      <a:pos x="T2" y="T3"/>
                    </a:cxn>
                    <a:cxn ang="0">
                      <a:pos x="T4" y="T5"/>
                    </a:cxn>
                    <a:cxn ang="0">
                      <a:pos x="T6" y="T7"/>
                    </a:cxn>
                    <a:cxn ang="0">
                      <a:pos x="T8" y="T9"/>
                    </a:cxn>
                  </a:cxnLst>
                  <a:rect l="0" t="0" r="r" b="b"/>
                  <a:pathLst>
                    <a:path w="1" h="6">
                      <a:moveTo>
                        <a:pt x="0" y="0"/>
                      </a:moveTo>
                      <a:cubicBezTo>
                        <a:pt x="0" y="0"/>
                        <a:pt x="0" y="2"/>
                        <a:pt x="0" y="5"/>
                      </a:cubicBezTo>
                      <a:cubicBezTo>
                        <a:pt x="1" y="5"/>
                        <a:pt x="1" y="5"/>
                        <a:pt x="1" y="6"/>
                      </a:cubicBezTo>
                      <a:cubicBezTo>
                        <a:pt x="1" y="2"/>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37" name="Freeform 248"/>
                <p:cNvSpPr>
                  <a:spLocks/>
                </p:cNvSpPr>
                <p:nvPr/>
              </p:nvSpPr>
              <p:spPr bwMode="auto">
                <a:xfrm>
                  <a:off x="12330" y="1350"/>
                  <a:ext cx="2" cy="48"/>
                </a:xfrm>
                <a:custGeom>
                  <a:avLst/>
                  <a:gdLst>
                    <a:gd name="T0" fmla="*/ 0 w 1"/>
                    <a:gd name="T1" fmla="*/ 0 h 20"/>
                    <a:gd name="T2" fmla="*/ 0 w 1"/>
                    <a:gd name="T3" fmla="*/ 19 h 20"/>
                    <a:gd name="T4" fmla="*/ 1 w 1"/>
                    <a:gd name="T5" fmla="*/ 20 h 20"/>
                    <a:gd name="T6" fmla="*/ 1 w 1"/>
                    <a:gd name="T7" fmla="*/ 0 h 20"/>
                    <a:gd name="T8" fmla="*/ 0 w 1"/>
                    <a:gd name="T9" fmla="*/ 0 h 20"/>
                  </a:gdLst>
                  <a:ahLst/>
                  <a:cxnLst>
                    <a:cxn ang="0">
                      <a:pos x="T0" y="T1"/>
                    </a:cxn>
                    <a:cxn ang="0">
                      <a:pos x="T2" y="T3"/>
                    </a:cxn>
                    <a:cxn ang="0">
                      <a:pos x="T4" y="T5"/>
                    </a:cxn>
                    <a:cxn ang="0">
                      <a:pos x="T6" y="T7"/>
                    </a:cxn>
                    <a:cxn ang="0">
                      <a:pos x="T8" y="T9"/>
                    </a:cxn>
                  </a:cxnLst>
                  <a:rect l="0" t="0" r="r" b="b"/>
                  <a:pathLst>
                    <a:path w="1" h="20">
                      <a:moveTo>
                        <a:pt x="0" y="0"/>
                      </a:moveTo>
                      <a:cubicBezTo>
                        <a:pt x="0" y="0"/>
                        <a:pt x="0" y="13"/>
                        <a:pt x="0" y="19"/>
                      </a:cubicBezTo>
                      <a:cubicBezTo>
                        <a:pt x="0" y="19"/>
                        <a:pt x="0" y="19"/>
                        <a:pt x="1" y="20"/>
                      </a:cubicBezTo>
                      <a:cubicBezTo>
                        <a:pt x="1" y="1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38" name="Freeform 249"/>
                <p:cNvSpPr>
                  <a:spLocks/>
                </p:cNvSpPr>
                <p:nvPr/>
              </p:nvSpPr>
              <p:spPr bwMode="auto">
                <a:xfrm>
                  <a:off x="13830" y="2240"/>
                  <a:ext cx="3" cy="3"/>
                </a:xfrm>
                <a:custGeom>
                  <a:avLst/>
                  <a:gdLst>
                    <a:gd name="T0" fmla="*/ 0 w 1"/>
                    <a:gd name="T1" fmla="*/ 0 h 1"/>
                    <a:gd name="T2" fmla="*/ 0 w 1"/>
                    <a:gd name="T3" fmla="*/ 1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1"/>
                      </a:cubicBezTo>
                      <a:cubicBezTo>
                        <a:pt x="0" y="1"/>
                        <a:pt x="1" y="1"/>
                        <a:pt x="1" y="1"/>
                      </a:cubicBezTo>
                      <a:cubicBezTo>
                        <a:pt x="1" y="0"/>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39" name="Freeform 250"/>
                <p:cNvSpPr>
                  <a:spLocks/>
                </p:cNvSpPr>
                <p:nvPr/>
              </p:nvSpPr>
              <p:spPr bwMode="auto">
                <a:xfrm>
                  <a:off x="14093" y="2240"/>
                  <a:ext cx="2" cy="10"/>
                </a:xfrm>
                <a:custGeom>
                  <a:avLst/>
                  <a:gdLst>
                    <a:gd name="T0" fmla="*/ 0 w 1"/>
                    <a:gd name="T1" fmla="*/ 0 h 4"/>
                    <a:gd name="T2" fmla="*/ 0 w 1"/>
                    <a:gd name="T3" fmla="*/ 4 h 4"/>
                    <a:gd name="T4" fmla="*/ 1 w 1"/>
                    <a:gd name="T5" fmla="*/ 3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1"/>
                        <a:pt x="0" y="4"/>
                      </a:cubicBezTo>
                      <a:cubicBezTo>
                        <a:pt x="0" y="3"/>
                        <a:pt x="0" y="3"/>
                        <a:pt x="1" y="3"/>
                      </a:cubicBezTo>
                      <a:cubicBezTo>
                        <a:pt x="1"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40" name="Freeform 251"/>
                <p:cNvSpPr>
                  <a:spLocks/>
                </p:cNvSpPr>
                <p:nvPr/>
              </p:nvSpPr>
              <p:spPr bwMode="auto">
                <a:xfrm>
                  <a:off x="14233" y="2188"/>
                  <a:ext cx="9" cy="26"/>
                </a:xfrm>
                <a:custGeom>
                  <a:avLst/>
                  <a:gdLst>
                    <a:gd name="T0" fmla="*/ 0 w 4"/>
                    <a:gd name="T1" fmla="*/ 0 h 11"/>
                    <a:gd name="T2" fmla="*/ 3 w 4"/>
                    <a:gd name="T3" fmla="*/ 11 h 11"/>
                    <a:gd name="T4" fmla="*/ 4 w 4"/>
                    <a:gd name="T5" fmla="*/ 10 h 11"/>
                    <a:gd name="T6" fmla="*/ 1 w 4"/>
                    <a:gd name="T7" fmla="*/ 0 h 11"/>
                    <a:gd name="T8" fmla="*/ 0 w 4"/>
                    <a:gd name="T9" fmla="*/ 0 h 11"/>
                  </a:gdLst>
                  <a:ahLst/>
                  <a:cxnLst>
                    <a:cxn ang="0">
                      <a:pos x="T0" y="T1"/>
                    </a:cxn>
                    <a:cxn ang="0">
                      <a:pos x="T2" y="T3"/>
                    </a:cxn>
                    <a:cxn ang="0">
                      <a:pos x="T4" y="T5"/>
                    </a:cxn>
                    <a:cxn ang="0">
                      <a:pos x="T6" y="T7"/>
                    </a:cxn>
                    <a:cxn ang="0">
                      <a:pos x="T8" y="T9"/>
                    </a:cxn>
                  </a:cxnLst>
                  <a:rect l="0" t="0" r="r" b="b"/>
                  <a:pathLst>
                    <a:path w="4" h="11">
                      <a:moveTo>
                        <a:pt x="0" y="0"/>
                      </a:moveTo>
                      <a:cubicBezTo>
                        <a:pt x="0" y="0"/>
                        <a:pt x="0" y="0"/>
                        <a:pt x="3" y="11"/>
                      </a:cubicBezTo>
                      <a:cubicBezTo>
                        <a:pt x="4" y="10"/>
                        <a:pt x="4" y="10"/>
                        <a:pt x="4" y="10"/>
                      </a:cubicBezTo>
                      <a:cubicBezTo>
                        <a:pt x="3" y="6"/>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41" name="Freeform 252"/>
                <p:cNvSpPr>
                  <a:spLocks/>
                </p:cNvSpPr>
                <p:nvPr/>
              </p:nvSpPr>
              <p:spPr bwMode="auto">
                <a:xfrm>
                  <a:off x="14157" y="2226"/>
                  <a:ext cx="2" cy="9"/>
                </a:xfrm>
                <a:custGeom>
                  <a:avLst/>
                  <a:gdLst>
                    <a:gd name="T0" fmla="*/ 0 w 1"/>
                    <a:gd name="T1" fmla="*/ 0 h 4"/>
                    <a:gd name="T2" fmla="*/ 0 w 1"/>
                    <a:gd name="T3" fmla="*/ 4 h 4"/>
                    <a:gd name="T4" fmla="*/ 1 w 1"/>
                    <a:gd name="T5" fmla="*/ 3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2"/>
                        <a:pt x="0" y="4"/>
                      </a:cubicBezTo>
                      <a:cubicBezTo>
                        <a:pt x="1" y="4"/>
                        <a:pt x="1" y="4"/>
                        <a:pt x="1" y="3"/>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42" name="Freeform 253"/>
                <p:cNvSpPr>
                  <a:spLocks/>
                </p:cNvSpPr>
                <p:nvPr/>
              </p:nvSpPr>
              <p:spPr bwMode="auto">
                <a:xfrm>
                  <a:off x="14271" y="2191"/>
                  <a:ext cx="2" cy="11"/>
                </a:xfrm>
                <a:custGeom>
                  <a:avLst/>
                  <a:gdLst>
                    <a:gd name="T0" fmla="*/ 0 w 1"/>
                    <a:gd name="T1" fmla="*/ 0 h 5"/>
                    <a:gd name="T2" fmla="*/ 0 w 1"/>
                    <a:gd name="T3" fmla="*/ 5 h 5"/>
                    <a:gd name="T4" fmla="*/ 1 w 1"/>
                    <a:gd name="T5" fmla="*/ 5 h 5"/>
                    <a:gd name="T6" fmla="*/ 1 w 1"/>
                    <a:gd name="T7" fmla="*/ 0 h 5"/>
                    <a:gd name="T8" fmla="*/ 0 w 1"/>
                    <a:gd name="T9" fmla="*/ 0 h 5"/>
                  </a:gdLst>
                  <a:ahLst/>
                  <a:cxnLst>
                    <a:cxn ang="0">
                      <a:pos x="T0" y="T1"/>
                    </a:cxn>
                    <a:cxn ang="0">
                      <a:pos x="T2" y="T3"/>
                    </a:cxn>
                    <a:cxn ang="0">
                      <a:pos x="T4" y="T5"/>
                    </a:cxn>
                    <a:cxn ang="0">
                      <a:pos x="T6" y="T7"/>
                    </a:cxn>
                    <a:cxn ang="0">
                      <a:pos x="T8" y="T9"/>
                    </a:cxn>
                  </a:cxnLst>
                  <a:rect l="0" t="0" r="r" b="b"/>
                  <a:pathLst>
                    <a:path w="1" h="5">
                      <a:moveTo>
                        <a:pt x="0" y="0"/>
                      </a:moveTo>
                      <a:cubicBezTo>
                        <a:pt x="0" y="0"/>
                        <a:pt x="0" y="3"/>
                        <a:pt x="0" y="5"/>
                      </a:cubicBezTo>
                      <a:cubicBezTo>
                        <a:pt x="0" y="5"/>
                        <a:pt x="1" y="5"/>
                        <a:pt x="1" y="5"/>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43" name="Freeform 254"/>
                <p:cNvSpPr>
                  <a:spLocks/>
                </p:cNvSpPr>
                <p:nvPr/>
              </p:nvSpPr>
              <p:spPr bwMode="auto">
                <a:xfrm>
                  <a:off x="12411" y="1459"/>
                  <a:ext cx="2" cy="5"/>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1"/>
                      </a:cubicBezTo>
                      <a:cubicBezTo>
                        <a:pt x="0" y="1"/>
                        <a:pt x="1" y="1"/>
                        <a:pt x="1" y="2"/>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44" name="Freeform 255"/>
                <p:cNvSpPr>
                  <a:spLocks/>
                </p:cNvSpPr>
                <p:nvPr/>
              </p:nvSpPr>
              <p:spPr bwMode="auto">
                <a:xfrm>
                  <a:off x="14027" y="2226"/>
                  <a:ext cx="2" cy="35"/>
                </a:xfrm>
                <a:custGeom>
                  <a:avLst/>
                  <a:gdLst>
                    <a:gd name="T0" fmla="*/ 0 w 1"/>
                    <a:gd name="T1" fmla="*/ 0 h 15"/>
                    <a:gd name="T2" fmla="*/ 0 w 1"/>
                    <a:gd name="T3" fmla="*/ 15 h 15"/>
                    <a:gd name="T4" fmla="*/ 1 w 1"/>
                    <a:gd name="T5" fmla="*/ 15 h 15"/>
                    <a:gd name="T6" fmla="*/ 1 w 1"/>
                    <a:gd name="T7" fmla="*/ 0 h 15"/>
                    <a:gd name="T8" fmla="*/ 0 w 1"/>
                    <a:gd name="T9" fmla="*/ 0 h 15"/>
                  </a:gdLst>
                  <a:ahLst/>
                  <a:cxnLst>
                    <a:cxn ang="0">
                      <a:pos x="T0" y="T1"/>
                    </a:cxn>
                    <a:cxn ang="0">
                      <a:pos x="T2" y="T3"/>
                    </a:cxn>
                    <a:cxn ang="0">
                      <a:pos x="T4" y="T5"/>
                    </a:cxn>
                    <a:cxn ang="0">
                      <a:pos x="T6" y="T7"/>
                    </a:cxn>
                    <a:cxn ang="0">
                      <a:pos x="T8" y="T9"/>
                    </a:cxn>
                  </a:cxnLst>
                  <a:rect l="0" t="0" r="r" b="b"/>
                  <a:pathLst>
                    <a:path w="1" h="15">
                      <a:moveTo>
                        <a:pt x="0" y="0"/>
                      </a:moveTo>
                      <a:cubicBezTo>
                        <a:pt x="0" y="0"/>
                        <a:pt x="0" y="9"/>
                        <a:pt x="0" y="15"/>
                      </a:cubicBezTo>
                      <a:cubicBezTo>
                        <a:pt x="0" y="15"/>
                        <a:pt x="1" y="15"/>
                        <a:pt x="1" y="15"/>
                      </a:cubicBezTo>
                      <a:cubicBezTo>
                        <a:pt x="1" y="9"/>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45" name="Freeform 256"/>
                <p:cNvSpPr>
                  <a:spLocks/>
                </p:cNvSpPr>
                <p:nvPr/>
              </p:nvSpPr>
              <p:spPr bwMode="auto">
                <a:xfrm>
                  <a:off x="13804" y="2188"/>
                  <a:ext cx="17" cy="38"/>
                </a:xfrm>
                <a:custGeom>
                  <a:avLst/>
                  <a:gdLst>
                    <a:gd name="T0" fmla="*/ 5 w 7"/>
                    <a:gd name="T1" fmla="*/ 0 h 16"/>
                    <a:gd name="T2" fmla="*/ 2 w 7"/>
                    <a:gd name="T3" fmla="*/ 13 h 16"/>
                    <a:gd name="T4" fmla="*/ 0 w 7"/>
                    <a:gd name="T5" fmla="*/ 14 h 16"/>
                    <a:gd name="T6" fmla="*/ 2 w 7"/>
                    <a:gd name="T7" fmla="*/ 16 h 16"/>
                    <a:gd name="T8" fmla="*/ 7 w 7"/>
                    <a:gd name="T9" fmla="*/ 0 h 16"/>
                    <a:gd name="T10" fmla="*/ 5 w 7"/>
                    <a:gd name="T11" fmla="*/ 0 h 16"/>
                  </a:gdLst>
                  <a:ahLst/>
                  <a:cxnLst>
                    <a:cxn ang="0">
                      <a:pos x="T0" y="T1"/>
                    </a:cxn>
                    <a:cxn ang="0">
                      <a:pos x="T2" y="T3"/>
                    </a:cxn>
                    <a:cxn ang="0">
                      <a:pos x="T4" y="T5"/>
                    </a:cxn>
                    <a:cxn ang="0">
                      <a:pos x="T6" y="T7"/>
                    </a:cxn>
                    <a:cxn ang="0">
                      <a:pos x="T8" y="T9"/>
                    </a:cxn>
                    <a:cxn ang="0">
                      <a:pos x="T10" y="T11"/>
                    </a:cxn>
                  </a:cxnLst>
                  <a:rect l="0" t="0" r="r" b="b"/>
                  <a:pathLst>
                    <a:path w="7" h="16">
                      <a:moveTo>
                        <a:pt x="5" y="0"/>
                      </a:moveTo>
                      <a:cubicBezTo>
                        <a:pt x="5" y="0"/>
                        <a:pt x="2" y="12"/>
                        <a:pt x="2" y="13"/>
                      </a:cubicBezTo>
                      <a:cubicBezTo>
                        <a:pt x="1" y="14"/>
                        <a:pt x="1" y="14"/>
                        <a:pt x="0" y="14"/>
                      </a:cubicBezTo>
                      <a:cubicBezTo>
                        <a:pt x="1" y="15"/>
                        <a:pt x="1" y="16"/>
                        <a:pt x="2" y="16"/>
                      </a:cubicBezTo>
                      <a:cubicBezTo>
                        <a:pt x="3" y="13"/>
                        <a:pt x="4" y="8"/>
                        <a:pt x="7" y="0"/>
                      </a:cubicBezTo>
                      <a:cubicBezTo>
                        <a:pt x="7" y="0"/>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46" name="Freeform 257"/>
                <p:cNvSpPr>
                  <a:spLocks/>
                </p:cNvSpPr>
                <p:nvPr/>
              </p:nvSpPr>
              <p:spPr bwMode="auto">
                <a:xfrm>
                  <a:off x="13894" y="2226"/>
                  <a:ext cx="5" cy="40"/>
                </a:xfrm>
                <a:custGeom>
                  <a:avLst/>
                  <a:gdLst>
                    <a:gd name="T0" fmla="*/ 0 w 2"/>
                    <a:gd name="T1" fmla="*/ 0 h 17"/>
                    <a:gd name="T2" fmla="*/ 0 w 2"/>
                    <a:gd name="T3" fmla="*/ 17 h 17"/>
                    <a:gd name="T4" fmla="*/ 2 w 2"/>
                    <a:gd name="T5" fmla="*/ 17 h 17"/>
                    <a:gd name="T6" fmla="*/ 2 w 2"/>
                    <a:gd name="T7" fmla="*/ 0 h 17"/>
                    <a:gd name="T8" fmla="*/ 0 w 2"/>
                    <a:gd name="T9" fmla="*/ 0 h 17"/>
                  </a:gdLst>
                  <a:ahLst/>
                  <a:cxnLst>
                    <a:cxn ang="0">
                      <a:pos x="T0" y="T1"/>
                    </a:cxn>
                    <a:cxn ang="0">
                      <a:pos x="T2" y="T3"/>
                    </a:cxn>
                    <a:cxn ang="0">
                      <a:pos x="T4" y="T5"/>
                    </a:cxn>
                    <a:cxn ang="0">
                      <a:pos x="T6" y="T7"/>
                    </a:cxn>
                    <a:cxn ang="0">
                      <a:pos x="T8" y="T9"/>
                    </a:cxn>
                  </a:cxnLst>
                  <a:rect l="0" t="0" r="r" b="b"/>
                  <a:pathLst>
                    <a:path w="2" h="17">
                      <a:moveTo>
                        <a:pt x="0" y="0"/>
                      </a:moveTo>
                      <a:cubicBezTo>
                        <a:pt x="0" y="0"/>
                        <a:pt x="0" y="10"/>
                        <a:pt x="0" y="17"/>
                      </a:cubicBezTo>
                      <a:cubicBezTo>
                        <a:pt x="1" y="17"/>
                        <a:pt x="1" y="17"/>
                        <a:pt x="2" y="17"/>
                      </a:cubicBezTo>
                      <a:cubicBezTo>
                        <a:pt x="2" y="11"/>
                        <a:pt x="2" y="0"/>
                        <a:pt x="2"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47" name="Freeform 258"/>
                <p:cNvSpPr>
                  <a:spLocks/>
                </p:cNvSpPr>
                <p:nvPr/>
              </p:nvSpPr>
              <p:spPr bwMode="auto">
                <a:xfrm>
                  <a:off x="14415" y="1350"/>
                  <a:ext cx="2" cy="34"/>
                </a:xfrm>
                <a:custGeom>
                  <a:avLst/>
                  <a:gdLst>
                    <a:gd name="T0" fmla="*/ 1 w 1"/>
                    <a:gd name="T1" fmla="*/ 0 h 14"/>
                    <a:gd name="T2" fmla="*/ 0 w 1"/>
                    <a:gd name="T3" fmla="*/ 0 h 14"/>
                    <a:gd name="T4" fmla="*/ 0 w 1"/>
                    <a:gd name="T5" fmla="*/ 14 h 14"/>
                    <a:gd name="T6" fmla="*/ 1 w 1"/>
                    <a:gd name="T7" fmla="*/ 13 h 14"/>
                    <a:gd name="T8" fmla="*/ 1 w 1"/>
                    <a:gd name="T9" fmla="*/ 0 h 14"/>
                  </a:gdLst>
                  <a:ahLst/>
                  <a:cxnLst>
                    <a:cxn ang="0">
                      <a:pos x="T0" y="T1"/>
                    </a:cxn>
                    <a:cxn ang="0">
                      <a:pos x="T2" y="T3"/>
                    </a:cxn>
                    <a:cxn ang="0">
                      <a:pos x="T4" y="T5"/>
                    </a:cxn>
                    <a:cxn ang="0">
                      <a:pos x="T6" y="T7"/>
                    </a:cxn>
                    <a:cxn ang="0">
                      <a:pos x="T8" y="T9"/>
                    </a:cxn>
                  </a:cxnLst>
                  <a:rect l="0" t="0" r="r" b="b"/>
                  <a:pathLst>
                    <a:path w="1" h="14">
                      <a:moveTo>
                        <a:pt x="1" y="0"/>
                      </a:moveTo>
                      <a:cubicBezTo>
                        <a:pt x="0" y="0"/>
                        <a:pt x="0" y="0"/>
                        <a:pt x="0" y="0"/>
                      </a:cubicBezTo>
                      <a:cubicBezTo>
                        <a:pt x="0" y="0"/>
                        <a:pt x="0" y="8"/>
                        <a:pt x="0" y="14"/>
                      </a:cubicBezTo>
                      <a:cubicBezTo>
                        <a:pt x="1" y="14"/>
                        <a:pt x="1" y="13"/>
                        <a:pt x="1" y="13"/>
                      </a:cubicBezTo>
                      <a:cubicBezTo>
                        <a:pt x="1" y="7"/>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48" name="Freeform 259"/>
                <p:cNvSpPr>
                  <a:spLocks/>
                </p:cNvSpPr>
                <p:nvPr/>
              </p:nvSpPr>
              <p:spPr bwMode="auto">
                <a:xfrm>
                  <a:off x="12439" y="1457"/>
                  <a:ext cx="12" cy="31"/>
                </a:xfrm>
                <a:custGeom>
                  <a:avLst/>
                  <a:gdLst>
                    <a:gd name="T0" fmla="*/ 4 w 5"/>
                    <a:gd name="T1" fmla="*/ 0 h 13"/>
                    <a:gd name="T2" fmla="*/ 0 w 5"/>
                    <a:gd name="T3" fmla="*/ 13 h 13"/>
                    <a:gd name="T4" fmla="*/ 1 w 5"/>
                    <a:gd name="T5" fmla="*/ 13 h 13"/>
                    <a:gd name="T6" fmla="*/ 5 w 5"/>
                    <a:gd name="T7" fmla="*/ 0 h 13"/>
                    <a:gd name="T8" fmla="*/ 4 w 5"/>
                    <a:gd name="T9" fmla="*/ 0 h 13"/>
                  </a:gdLst>
                  <a:ahLst/>
                  <a:cxnLst>
                    <a:cxn ang="0">
                      <a:pos x="T0" y="T1"/>
                    </a:cxn>
                    <a:cxn ang="0">
                      <a:pos x="T2" y="T3"/>
                    </a:cxn>
                    <a:cxn ang="0">
                      <a:pos x="T4" y="T5"/>
                    </a:cxn>
                    <a:cxn ang="0">
                      <a:pos x="T6" y="T7"/>
                    </a:cxn>
                    <a:cxn ang="0">
                      <a:pos x="T8" y="T9"/>
                    </a:cxn>
                  </a:cxnLst>
                  <a:rect l="0" t="0" r="r" b="b"/>
                  <a:pathLst>
                    <a:path w="5" h="13">
                      <a:moveTo>
                        <a:pt x="4" y="0"/>
                      </a:moveTo>
                      <a:cubicBezTo>
                        <a:pt x="4" y="0"/>
                        <a:pt x="1" y="10"/>
                        <a:pt x="0" y="13"/>
                      </a:cubicBezTo>
                      <a:cubicBezTo>
                        <a:pt x="0" y="13"/>
                        <a:pt x="1" y="13"/>
                        <a:pt x="1" y="13"/>
                      </a:cubicBezTo>
                      <a:cubicBezTo>
                        <a:pt x="2" y="10"/>
                        <a:pt x="3" y="6"/>
                        <a:pt x="5" y="0"/>
                      </a:cubicBezTo>
                      <a:cubicBezTo>
                        <a:pt x="5"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49" name="Freeform 260"/>
                <p:cNvSpPr>
                  <a:spLocks/>
                </p:cNvSpPr>
                <p:nvPr/>
              </p:nvSpPr>
              <p:spPr bwMode="auto">
                <a:xfrm>
                  <a:off x="12929" y="1899"/>
                  <a:ext cx="2" cy="10"/>
                </a:xfrm>
                <a:custGeom>
                  <a:avLst/>
                  <a:gdLst>
                    <a:gd name="T0" fmla="*/ 0 w 1"/>
                    <a:gd name="T1" fmla="*/ 0 h 4"/>
                    <a:gd name="T2" fmla="*/ 0 w 1"/>
                    <a:gd name="T3" fmla="*/ 4 h 4"/>
                    <a:gd name="T4" fmla="*/ 1 w 1"/>
                    <a:gd name="T5" fmla="*/ 4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2"/>
                        <a:pt x="0" y="4"/>
                      </a:cubicBezTo>
                      <a:cubicBezTo>
                        <a:pt x="1" y="4"/>
                        <a:pt x="1" y="4"/>
                        <a:pt x="1" y="4"/>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50" name="Freeform 261"/>
                <p:cNvSpPr>
                  <a:spLocks/>
                </p:cNvSpPr>
                <p:nvPr/>
              </p:nvSpPr>
              <p:spPr bwMode="auto">
                <a:xfrm>
                  <a:off x="12898" y="1899"/>
                  <a:ext cx="2" cy="10"/>
                </a:xfrm>
                <a:custGeom>
                  <a:avLst/>
                  <a:gdLst>
                    <a:gd name="T0" fmla="*/ 0 w 1"/>
                    <a:gd name="T1" fmla="*/ 0 h 4"/>
                    <a:gd name="T2" fmla="*/ 0 w 1"/>
                    <a:gd name="T3" fmla="*/ 4 h 4"/>
                    <a:gd name="T4" fmla="*/ 1 w 1"/>
                    <a:gd name="T5" fmla="*/ 4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2"/>
                        <a:pt x="0" y="4"/>
                      </a:cubicBezTo>
                      <a:cubicBezTo>
                        <a:pt x="0" y="4"/>
                        <a:pt x="1" y="4"/>
                        <a:pt x="1" y="4"/>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51" name="Freeform 262"/>
                <p:cNvSpPr>
                  <a:spLocks/>
                </p:cNvSpPr>
                <p:nvPr/>
              </p:nvSpPr>
              <p:spPr bwMode="auto">
                <a:xfrm>
                  <a:off x="12860" y="1897"/>
                  <a:ext cx="5" cy="7"/>
                </a:xfrm>
                <a:custGeom>
                  <a:avLst/>
                  <a:gdLst>
                    <a:gd name="T0" fmla="*/ 0 w 2"/>
                    <a:gd name="T1" fmla="*/ 0 h 3"/>
                    <a:gd name="T2" fmla="*/ 1 w 2"/>
                    <a:gd name="T3" fmla="*/ 3 h 3"/>
                    <a:gd name="T4" fmla="*/ 2 w 2"/>
                    <a:gd name="T5" fmla="*/ 3 h 3"/>
                    <a:gd name="T6" fmla="*/ 1 w 2"/>
                    <a:gd name="T7" fmla="*/ 0 h 3"/>
                    <a:gd name="T8" fmla="*/ 0 w 2"/>
                    <a:gd name="T9" fmla="*/ 0 h 3"/>
                  </a:gdLst>
                  <a:ahLst/>
                  <a:cxnLst>
                    <a:cxn ang="0">
                      <a:pos x="T0" y="T1"/>
                    </a:cxn>
                    <a:cxn ang="0">
                      <a:pos x="T2" y="T3"/>
                    </a:cxn>
                    <a:cxn ang="0">
                      <a:pos x="T4" y="T5"/>
                    </a:cxn>
                    <a:cxn ang="0">
                      <a:pos x="T6" y="T7"/>
                    </a:cxn>
                    <a:cxn ang="0">
                      <a:pos x="T8" y="T9"/>
                    </a:cxn>
                  </a:cxnLst>
                  <a:rect l="0" t="0" r="r" b="b"/>
                  <a:pathLst>
                    <a:path w="2" h="3">
                      <a:moveTo>
                        <a:pt x="0" y="0"/>
                      </a:moveTo>
                      <a:cubicBezTo>
                        <a:pt x="0" y="0"/>
                        <a:pt x="0" y="0"/>
                        <a:pt x="1" y="3"/>
                      </a:cubicBezTo>
                      <a:cubicBezTo>
                        <a:pt x="2" y="3"/>
                        <a:pt x="2" y="3"/>
                        <a:pt x="2" y="3"/>
                      </a:cubicBezTo>
                      <a:cubicBezTo>
                        <a:pt x="2"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52" name="Freeform 263"/>
                <p:cNvSpPr>
                  <a:spLocks/>
                </p:cNvSpPr>
                <p:nvPr/>
              </p:nvSpPr>
              <p:spPr bwMode="auto">
                <a:xfrm>
                  <a:off x="13123" y="1897"/>
                  <a:ext cx="9" cy="24"/>
                </a:xfrm>
                <a:custGeom>
                  <a:avLst/>
                  <a:gdLst>
                    <a:gd name="T0" fmla="*/ 0 w 4"/>
                    <a:gd name="T1" fmla="*/ 0 h 10"/>
                    <a:gd name="T2" fmla="*/ 3 w 4"/>
                    <a:gd name="T3" fmla="*/ 10 h 10"/>
                    <a:gd name="T4" fmla="*/ 4 w 4"/>
                    <a:gd name="T5" fmla="*/ 10 h 10"/>
                    <a:gd name="T6" fmla="*/ 1 w 4"/>
                    <a:gd name="T7" fmla="*/ 0 h 10"/>
                    <a:gd name="T8" fmla="*/ 0 w 4"/>
                    <a:gd name="T9" fmla="*/ 0 h 10"/>
                  </a:gdLst>
                  <a:ahLst/>
                  <a:cxnLst>
                    <a:cxn ang="0">
                      <a:pos x="T0" y="T1"/>
                    </a:cxn>
                    <a:cxn ang="0">
                      <a:pos x="T2" y="T3"/>
                    </a:cxn>
                    <a:cxn ang="0">
                      <a:pos x="T4" y="T5"/>
                    </a:cxn>
                    <a:cxn ang="0">
                      <a:pos x="T6" y="T7"/>
                    </a:cxn>
                    <a:cxn ang="0">
                      <a:pos x="T8" y="T9"/>
                    </a:cxn>
                  </a:cxnLst>
                  <a:rect l="0" t="0" r="r" b="b"/>
                  <a:pathLst>
                    <a:path w="4" h="10">
                      <a:moveTo>
                        <a:pt x="0" y="0"/>
                      </a:moveTo>
                      <a:cubicBezTo>
                        <a:pt x="0" y="0"/>
                        <a:pt x="0" y="0"/>
                        <a:pt x="3" y="10"/>
                      </a:cubicBezTo>
                      <a:cubicBezTo>
                        <a:pt x="3" y="10"/>
                        <a:pt x="4" y="10"/>
                        <a:pt x="4" y="10"/>
                      </a:cubicBezTo>
                      <a:cubicBezTo>
                        <a:pt x="3" y="6"/>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53" name="Freeform 264"/>
                <p:cNvSpPr>
                  <a:spLocks/>
                </p:cNvSpPr>
                <p:nvPr/>
              </p:nvSpPr>
              <p:spPr bwMode="auto">
                <a:xfrm>
                  <a:off x="13028" y="1899"/>
                  <a:ext cx="5" cy="19"/>
                </a:xfrm>
                <a:custGeom>
                  <a:avLst/>
                  <a:gdLst>
                    <a:gd name="T0" fmla="*/ 0 w 2"/>
                    <a:gd name="T1" fmla="*/ 0 h 8"/>
                    <a:gd name="T2" fmla="*/ 0 w 2"/>
                    <a:gd name="T3" fmla="*/ 7 h 8"/>
                    <a:gd name="T4" fmla="*/ 2 w 2"/>
                    <a:gd name="T5" fmla="*/ 8 h 8"/>
                    <a:gd name="T6" fmla="*/ 2 w 2"/>
                    <a:gd name="T7" fmla="*/ 0 h 8"/>
                    <a:gd name="T8" fmla="*/ 0 w 2"/>
                    <a:gd name="T9" fmla="*/ 0 h 8"/>
                  </a:gdLst>
                  <a:ahLst/>
                  <a:cxnLst>
                    <a:cxn ang="0">
                      <a:pos x="T0" y="T1"/>
                    </a:cxn>
                    <a:cxn ang="0">
                      <a:pos x="T2" y="T3"/>
                    </a:cxn>
                    <a:cxn ang="0">
                      <a:pos x="T4" y="T5"/>
                    </a:cxn>
                    <a:cxn ang="0">
                      <a:pos x="T6" y="T7"/>
                    </a:cxn>
                    <a:cxn ang="0">
                      <a:pos x="T8" y="T9"/>
                    </a:cxn>
                  </a:cxnLst>
                  <a:rect l="0" t="0" r="r" b="b"/>
                  <a:pathLst>
                    <a:path w="2" h="8">
                      <a:moveTo>
                        <a:pt x="0" y="0"/>
                      </a:moveTo>
                      <a:cubicBezTo>
                        <a:pt x="0" y="0"/>
                        <a:pt x="0" y="4"/>
                        <a:pt x="0" y="7"/>
                      </a:cubicBezTo>
                      <a:cubicBezTo>
                        <a:pt x="1" y="7"/>
                        <a:pt x="1" y="8"/>
                        <a:pt x="2" y="8"/>
                      </a:cubicBezTo>
                      <a:cubicBezTo>
                        <a:pt x="2" y="3"/>
                        <a:pt x="2" y="0"/>
                        <a:pt x="2"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54" name="Freeform 265"/>
                <p:cNvSpPr>
                  <a:spLocks/>
                </p:cNvSpPr>
                <p:nvPr/>
              </p:nvSpPr>
              <p:spPr bwMode="auto">
                <a:xfrm>
                  <a:off x="13090" y="1897"/>
                  <a:ext cx="12" cy="26"/>
                </a:xfrm>
                <a:custGeom>
                  <a:avLst/>
                  <a:gdLst>
                    <a:gd name="T0" fmla="*/ 3 w 5"/>
                    <a:gd name="T1" fmla="*/ 0 h 11"/>
                    <a:gd name="T2" fmla="*/ 0 w 5"/>
                    <a:gd name="T3" fmla="*/ 11 h 11"/>
                    <a:gd name="T4" fmla="*/ 1 w 5"/>
                    <a:gd name="T5" fmla="*/ 11 h 11"/>
                    <a:gd name="T6" fmla="*/ 5 w 5"/>
                    <a:gd name="T7" fmla="*/ 0 h 11"/>
                    <a:gd name="T8" fmla="*/ 3 w 5"/>
                    <a:gd name="T9" fmla="*/ 0 h 11"/>
                  </a:gdLst>
                  <a:ahLst/>
                  <a:cxnLst>
                    <a:cxn ang="0">
                      <a:pos x="T0" y="T1"/>
                    </a:cxn>
                    <a:cxn ang="0">
                      <a:pos x="T2" y="T3"/>
                    </a:cxn>
                    <a:cxn ang="0">
                      <a:pos x="T4" y="T5"/>
                    </a:cxn>
                    <a:cxn ang="0">
                      <a:pos x="T6" y="T7"/>
                    </a:cxn>
                    <a:cxn ang="0">
                      <a:pos x="T8" y="T9"/>
                    </a:cxn>
                  </a:cxnLst>
                  <a:rect l="0" t="0" r="r" b="b"/>
                  <a:pathLst>
                    <a:path w="5" h="11">
                      <a:moveTo>
                        <a:pt x="3" y="0"/>
                      </a:moveTo>
                      <a:cubicBezTo>
                        <a:pt x="3" y="0"/>
                        <a:pt x="1" y="8"/>
                        <a:pt x="0" y="11"/>
                      </a:cubicBezTo>
                      <a:cubicBezTo>
                        <a:pt x="1" y="11"/>
                        <a:pt x="1" y="11"/>
                        <a:pt x="1" y="11"/>
                      </a:cubicBezTo>
                      <a:cubicBezTo>
                        <a:pt x="2" y="8"/>
                        <a:pt x="3" y="5"/>
                        <a:pt x="5" y="0"/>
                      </a:cubicBezTo>
                      <a:cubicBezTo>
                        <a:pt x="5" y="0"/>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55" name="Freeform 266"/>
                <p:cNvSpPr>
                  <a:spLocks/>
                </p:cNvSpPr>
                <p:nvPr/>
              </p:nvSpPr>
              <p:spPr bwMode="auto">
                <a:xfrm>
                  <a:off x="12993" y="1897"/>
                  <a:ext cx="7" cy="17"/>
                </a:xfrm>
                <a:custGeom>
                  <a:avLst/>
                  <a:gdLst>
                    <a:gd name="T0" fmla="*/ 0 w 3"/>
                    <a:gd name="T1" fmla="*/ 0 h 7"/>
                    <a:gd name="T2" fmla="*/ 2 w 3"/>
                    <a:gd name="T3" fmla="*/ 6 h 7"/>
                    <a:gd name="T4" fmla="*/ 3 w 3"/>
                    <a:gd name="T5" fmla="*/ 7 h 7"/>
                    <a:gd name="T6" fmla="*/ 1 w 3"/>
                    <a:gd name="T7" fmla="*/ 0 h 7"/>
                    <a:gd name="T8" fmla="*/ 0 w 3"/>
                    <a:gd name="T9" fmla="*/ 0 h 7"/>
                  </a:gdLst>
                  <a:ahLst/>
                  <a:cxnLst>
                    <a:cxn ang="0">
                      <a:pos x="T0" y="T1"/>
                    </a:cxn>
                    <a:cxn ang="0">
                      <a:pos x="T2" y="T3"/>
                    </a:cxn>
                    <a:cxn ang="0">
                      <a:pos x="T4" y="T5"/>
                    </a:cxn>
                    <a:cxn ang="0">
                      <a:pos x="T6" y="T7"/>
                    </a:cxn>
                    <a:cxn ang="0">
                      <a:pos x="T8" y="T9"/>
                    </a:cxn>
                  </a:cxnLst>
                  <a:rect l="0" t="0" r="r" b="b"/>
                  <a:pathLst>
                    <a:path w="3" h="7">
                      <a:moveTo>
                        <a:pt x="0" y="0"/>
                      </a:moveTo>
                      <a:cubicBezTo>
                        <a:pt x="0" y="0"/>
                        <a:pt x="0" y="0"/>
                        <a:pt x="2" y="6"/>
                      </a:cubicBezTo>
                      <a:cubicBezTo>
                        <a:pt x="2" y="6"/>
                        <a:pt x="2" y="7"/>
                        <a:pt x="3" y="7"/>
                      </a:cubicBezTo>
                      <a:cubicBezTo>
                        <a:pt x="2" y="3"/>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56" name="Freeform 267"/>
                <p:cNvSpPr>
                  <a:spLocks/>
                </p:cNvSpPr>
                <p:nvPr/>
              </p:nvSpPr>
              <p:spPr bwMode="auto">
                <a:xfrm>
                  <a:off x="12964" y="1897"/>
                  <a:ext cx="5" cy="12"/>
                </a:xfrm>
                <a:custGeom>
                  <a:avLst/>
                  <a:gdLst>
                    <a:gd name="T0" fmla="*/ 1 w 2"/>
                    <a:gd name="T1" fmla="*/ 0 h 5"/>
                    <a:gd name="T2" fmla="*/ 0 w 2"/>
                    <a:gd name="T3" fmla="*/ 5 h 5"/>
                    <a:gd name="T4" fmla="*/ 1 w 2"/>
                    <a:gd name="T5" fmla="*/ 5 h 5"/>
                    <a:gd name="T6" fmla="*/ 2 w 2"/>
                    <a:gd name="T7" fmla="*/ 0 h 5"/>
                    <a:gd name="T8" fmla="*/ 1 w 2"/>
                    <a:gd name="T9" fmla="*/ 0 h 5"/>
                  </a:gdLst>
                  <a:ahLst/>
                  <a:cxnLst>
                    <a:cxn ang="0">
                      <a:pos x="T0" y="T1"/>
                    </a:cxn>
                    <a:cxn ang="0">
                      <a:pos x="T2" y="T3"/>
                    </a:cxn>
                    <a:cxn ang="0">
                      <a:pos x="T4" y="T5"/>
                    </a:cxn>
                    <a:cxn ang="0">
                      <a:pos x="T6" y="T7"/>
                    </a:cxn>
                    <a:cxn ang="0">
                      <a:pos x="T8" y="T9"/>
                    </a:cxn>
                  </a:cxnLst>
                  <a:rect l="0" t="0" r="r" b="b"/>
                  <a:pathLst>
                    <a:path w="2" h="5">
                      <a:moveTo>
                        <a:pt x="1" y="0"/>
                      </a:moveTo>
                      <a:cubicBezTo>
                        <a:pt x="1" y="0"/>
                        <a:pt x="0" y="2"/>
                        <a:pt x="0" y="5"/>
                      </a:cubicBezTo>
                      <a:cubicBezTo>
                        <a:pt x="0" y="5"/>
                        <a:pt x="0" y="5"/>
                        <a:pt x="1" y="5"/>
                      </a:cubicBezTo>
                      <a:cubicBezTo>
                        <a:pt x="1" y="4"/>
                        <a:pt x="2" y="2"/>
                        <a:pt x="2" y="0"/>
                      </a:cubicBezTo>
                      <a:cubicBezTo>
                        <a:pt x="2" y="0"/>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57" name="Freeform 268"/>
                <p:cNvSpPr>
                  <a:spLocks/>
                </p:cNvSpPr>
                <p:nvPr/>
              </p:nvSpPr>
              <p:spPr bwMode="auto">
                <a:xfrm>
                  <a:off x="12605" y="1753"/>
                  <a:ext cx="2" cy="4"/>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1"/>
                        <a:pt x="0" y="1"/>
                      </a:cubicBezTo>
                      <a:cubicBezTo>
                        <a:pt x="0" y="2"/>
                        <a:pt x="1" y="2"/>
                        <a:pt x="1" y="2"/>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58" name="Freeform 269"/>
                <p:cNvSpPr>
                  <a:spLocks/>
                </p:cNvSpPr>
                <p:nvPr/>
              </p:nvSpPr>
              <p:spPr bwMode="auto">
                <a:xfrm>
                  <a:off x="12460" y="1509"/>
                  <a:ext cx="3" cy="5"/>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1"/>
                      </a:cubicBezTo>
                      <a:cubicBezTo>
                        <a:pt x="0" y="1"/>
                        <a:pt x="1" y="2"/>
                        <a:pt x="1" y="2"/>
                      </a:cubicBezTo>
                      <a:cubicBezTo>
                        <a:pt x="1"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59" name="Freeform 270"/>
                <p:cNvSpPr>
                  <a:spLocks/>
                </p:cNvSpPr>
                <p:nvPr/>
              </p:nvSpPr>
              <p:spPr bwMode="auto">
                <a:xfrm>
                  <a:off x="13061" y="1899"/>
                  <a:ext cx="3" cy="22"/>
                </a:xfrm>
                <a:custGeom>
                  <a:avLst/>
                  <a:gdLst>
                    <a:gd name="T0" fmla="*/ 0 w 1"/>
                    <a:gd name="T1" fmla="*/ 0 h 9"/>
                    <a:gd name="T2" fmla="*/ 0 w 1"/>
                    <a:gd name="T3" fmla="*/ 9 h 9"/>
                    <a:gd name="T4" fmla="*/ 1 w 1"/>
                    <a:gd name="T5" fmla="*/ 9 h 9"/>
                    <a:gd name="T6" fmla="*/ 1 w 1"/>
                    <a:gd name="T7" fmla="*/ 0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0" y="4"/>
                        <a:pt x="0" y="9"/>
                      </a:cubicBezTo>
                      <a:cubicBezTo>
                        <a:pt x="0" y="9"/>
                        <a:pt x="0" y="9"/>
                        <a:pt x="1" y="9"/>
                      </a:cubicBezTo>
                      <a:cubicBezTo>
                        <a:pt x="1" y="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60" name="Freeform 271"/>
                <p:cNvSpPr>
                  <a:spLocks/>
                </p:cNvSpPr>
                <p:nvPr/>
              </p:nvSpPr>
              <p:spPr bwMode="auto">
                <a:xfrm>
                  <a:off x="13414" y="1899"/>
                  <a:ext cx="9" cy="67"/>
                </a:xfrm>
                <a:custGeom>
                  <a:avLst/>
                  <a:gdLst>
                    <a:gd name="T0" fmla="*/ 2 w 4"/>
                    <a:gd name="T1" fmla="*/ 0 h 28"/>
                    <a:gd name="T2" fmla="*/ 2 w 4"/>
                    <a:gd name="T3" fmla="*/ 13 h 28"/>
                    <a:gd name="T4" fmla="*/ 0 w 4"/>
                    <a:gd name="T5" fmla="*/ 15 h 28"/>
                    <a:gd name="T6" fmla="*/ 0 w 4"/>
                    <a:gd name="T7" fmla="*/ 15 h 28"/>
                    <a:gd name="T8" fmla="*/ 4 w 4"/>
                    <a:gd name="T9" fmla="*/ 28 h 28"/>
                    <a:gd name="T10" fmla="*/ 4 w 4"/>
                    <a:gd name="T11" fmla="*/ 0 h 28"/>
                    <a:gd name="T12" fmla="*/ 2 w 4"/>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4" h="28">
                      <a:moveTo>
                        <a:pt x="2" y="0"/>
                      </a:moveTo>
                      <a:cubicBezTo>
                        <a:pt x="2" y="0"/>
                        <a:pt x="2" y="12"/>
                        <a:pt x="2" y="13"/>
                      </a:cubicBezTo>
                      <a:cubicBezTo>
                        <a:pt x="2" y="14"/>
                        <a:pt x="2" y="15"/>
                        <a:pt x="0" y="15"/>
                      </a:cubicBezTo>
                      <a:cubicBezTo>
                        <a:pt x="0" y="15"/>
                        <a:pt x="0" y="15"/>
                        <a:pt x="0" y="15"/>
                      </a:cubicBezTo>
                      <a:cubicBezTo>
                        <a:pt x="2" y="19"/>
                        <a:pt x="3" y="24"/>
                        <a:pt x="4" y="28"/>
                      </a:cubicBezTo>
                      <a:cubicBezTo>
                        <a:pt x="4" y="17"/>
                        <a:pt x="4" y="0"/>
                        <a:pt x="4"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61" name="Freeform 272"/>
                <p:cNvSpPr>
                  <a:spLocks/>
                </p:cNvSpPr>
                <p:nvPr/>
              </p:nvSpPr>
              <p:spPr bwMode="auto">
                <a:xfrm>
                  <a:off x="13423" y="2044"/>
                  <a:ext cx="3" cy="57"/>
                </a:xfrm>
                <a:custGeom>
                  <a:avLst/>
                  <a:gdLst>
                    <a:gd name="T0" fmla="*/ 1 w 1"/>
                    <a:gd name="T1" fmla="*/ 0 h 24"/>
                    <a:gd name="T2" fmla="*/ 1 w 1"/>
                    <a:gd name="T3" fmla="*/ 24 h 24"/>
                    <a:gd name="T4" fmla="*/ 1 w 1"/>
                    <a:gd name="T5" fmla="*/ 0 h 24"/>
                    <a:gd name="T6" fmla="*/ 1 w 1"/>
                    <a:gd name="T7" fmla="*/ 0 h 24"/>
                  </a:gdLst>
                  <a:ahLst/>
                  <a:cxnLst>
                    <a:cxn ang="0">
                      <a:pos x="T0" y="T1"/>
                    </a:cxn>
                    <a:cxn ang="0">
                      <a:pos x="T2" y="T3"/>
                    </a:cxn>
                    <a:cxn ang="0">
                      <a:pos x="T4" y="T5"/>
                    </a:cxn>
                    <a:cxn ang="0">
                      <a:pos x="T6" y="T7"/>
                    </a:cxn>
                  </a:cxnLst>
                  <a:rect l="0" t="0" r="r" b="b"/>
                  <a:pathLst>
                    <a:path w="1" h="24">
                      <a:moveTo>
                        <a:pt x="1" y="0"/>
                      </a:moveTo>
                      <a:cubicBezTo>
                        <a:pt x="0" y="8"/>
                        <a:pt x="0" y="16"/>
                        <a:pt x="1" y="24"/>
                      </a:cubicBezTo>
                      <a:cubicBezTo>
                        <a:pt x="1" y="13"/>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62" name="Freeform 273"/>
                <p:cNvSpPr>
                  <a:spLocks/>
                </p:cNvSpPr>
                <p:nvPr/>
              </p:nvSpPr>
              <p:spPr bwMode="auto">
                <a:xfrm>
                  <a:off x="13158" y="1899"/>
                  <a:ext cx="3" cy="12"/>
                </a:xfrm>
                <a:custGeom>
                  <a:avLst/>
                  <a:gdLst>
                    <a:gd name="T0" fmla="*/ 0 w 1"/>
                    <a:gd name="T1" fmla="*/ 0 h 5"/>
                    <a:gd name="T2" fmla="*/ 0 w 1"/>
                    <a:gd name="T3" fmla="*/ 5 h 5"/>
                    <a:gd name="T4" fmla="*/ 1 w 1"/>
                    <a:gd name="T5" fmla="*/ 5 h 5"/>
                    <a:gd name="T6" fmla="*/ 1 w 1"/>
                    <a:gd name="T7" fmla="*/ 0 h 5"/>
                    <a:gd name="T8" fmla="*/ 0 w 1"/>
                    <a:gd name="T9" fmla="*/ 0 h 5"/>
                  </a:gdLst>
                  <a:ahLst/>
                  <a:cxnLst>
                    <a:cxn ang="0">
                      <a:pos x="T0" y="T1"/>
                    </a:cxn>
                    <a:cxn ang="0">
                      <a:pos x="T2" y="T3"/>
                    </a:cxn>
                    <a:cxn ang="0">
                      <a:pos x="T4" y="T5"/>
                    </a:cxn>
                    <a:cxn ang="0">
                      <a:pos x="T6" y="T7"/>
                    </a:cxn>
                    <a:cxn ang="0">
                      <a:pos x="T8" y="T9"/>
                    </a:cxn>
                  </a:cxnLst>
                  <a:rect l="0" t="0" r="r" b="b"/>
                  <a:pathLst>
                    <a:path w="1" h="5">
                      <a:moveTo>
                        <a:pt x="0" y="0"/>
                      </a:moveTo>
                      <a:cubicBezTo>
                        <a:pt x="0" y="0"/>
                        <a:pt x="0" y="2"/>
                        <a:pt x="0" y="5"/>
                      </a:cubicBezTo>
                      <a:cubicBezTo>
                        <a:pt x="0" y="5"/>
                        <a:pt x="0" y="5"/>
                        <a:pt x="1" y="5"/>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63" name="Freeform 274"/>
                <p:cNvSpPr>
                  <a:spLocks/>
                </p:cNvSpPr>
                <p:nvPr/>
              </p:nvSpPr>
              <p:spPr bwMode="auto">
                <a:xfrm>
                  <a:off x="12836" y="1897"/>
                  <a:ext cx="3"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64" name="Freeform 275"/>
                <p:cNvSpPr>
                  <a:spLocks/>
                </p:cNvSpPr>
                <p:nvPr/>
              </p:nvSpPr>
              <p:spPr bwMode="auto">
                <a:xfrm>
                  <a:off x="12631" y="1750"/>
                  <a:ext cx="11" cy="31"/>
                </a:xfrm>
                <a:custGeom>
                  <a:avLst/>
                  <a:gdLst>
                    <a:gd name="T0" fmla="*/ 4 w 5"/>
                    <a:gd name="T1" fmla="*/ 0 h 13"/>
                    <a:gd name="T2" fmla="*/ 0 w 5"/>
                    <a:gd name="T3" fmla="*/ 12 h 13"/>
                    <a:gd name="T4" fmla="*/ 1 w 5"/>
                    <a:gd name="T5" fmla="*/ 13 h 13"/>
                    <a:gd name="T6" fmla="*/ 5 w 5"/>
                    <a:gd name="T7" fmla="*/ 0 h 13"/>
                    <a:gd name="T8" fmla="*/ 4 w 5"/>
                    <a:gd name="T9" fmla="*/ 0 h 13"/>
                  </a:gdLst>
                  <a:ahLst/>
                  <a:cxnLst>
                    <a:cxn ang="0">
                      <a:pos x="T0" y="T1"/>
                    </a:cxn>
                    <a:cxn ang="0">
                      <a:pos x="T2" y="T3"/>
                    </a:cxn>
                    <a:cxn ang="0">
                      <a:pos x="T4" y="T5"/>
                    </a:cxn>
                    <a:cxn ang="0">
                      <a:pos x="T6" y="T7"/>
                    </a:cxn>
                    <a:cxn ang="0">
                      <a:pos x="T8" y="T9"/>
                    </a:cxn>
                  </a:cxnLst>
                  <a:rect l="0" t="0" r="r" b="b"/>
                  <a:pathLst>
                    <a:path w="5" h="13">
                      <a:moveTo>
                        <a:pt x="4" y="0"/>
                      </a:moveTo>
                      <a:cubicBezTo>
                        <a:pt x="4" y="0"/>
                        <a:pt x="1" y="8"/>
                        <a:pt x="0" y="12"/>
                      </a:cubicBezTo>
                      <a:cubicBezTo>
                        <a:pt x="1" y="12"/>
                        <a:pt x="1" y="12"/>
                        <a:pt x="1" y="13"/>
                      </a:cubicBezTo>
                      <a:cubicBezTo>
                        <a:pt x="2" y="10"/>
                        <a:pt x="3" y="6"/>
                        <a:pt x="5" y="0"/>
                      </a:cubicBezTo>
                      <a:cubicBezTo>
                        <a:pt x="5"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65" name="Freeform 276"/>
                <p:cNvSpPr>
                  <a:spLocks/>
                </p:cNvSpPr>
                <p:nvPr/>
              </p:nvSpPr>
              <p:spPr bwMode="auto">
                <a:xfrm>
                  <a:off x="15068" y="908"/>
                  <a:ext cx="2" cy="5"/>
                </a:xfrm>
                <a:custGeom>
                  <a:avLst/>
                  <a:gdLst>
                    <a:gd name="T0" fmla="*/ 0 w 1"/>
                    <a:gd name="T1" fmla="*/ 0 h 2"/>
                    <a:gd name="T2" fmla="*/ 1 w 1"/>
                    <a:gd name="T3" fmla="*/ 2 h 2"/>
                    <a:gd name="T4" fmla="*/ 1 w 1"/>
                    <a:gd name="T5" fmla="*/ 0 h 2"/>
                    <a:gd name="T6" fmla="*/ 0 w 1"/>
                    <a:gd name="T7" fmla="*/ 0 h 2"/>
                  </a:gdLst>
                  <a:ahLst/>
                  <a:cxnLst>
                    <a:cxn ang="0">
                      <a:pos x="T0" y="T1"/>
                    </a:cxn>
                    <a:cxn ang="0">
                      <a:pos x="T2" y="T3"/>
                    </a:cxn>
                    <a:cxn ang="0">
                      <a:pos x="T4" y="T5"/>
                    </a:cxn>
                    <a:cxn ang="0">
                      <a:pos x="T6" y="T7"/>
                    </a:cxn>
                  </a:cxnLst>
                  <a:rect l="0" t="0" r="r" b="b"/>
                  <a:pathLst>
                    <a:path w="1" h="2">
                      <a:moveTo>
                        <a:pt x="0" y="0"/>
                      </a:moveTo>
                      <a:cubicBezTo>
                        <a:pt x="0" y="1"/>
                        <a:pt x="0" y="1"/>
                        <a:pt x="1" y="2"/>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66" name="Freeform 277"/>
                <p:cNvSpPr>
                  <a:spLocks/>
                </p:cNvSpPr>
                <p:nvPr/>
              </p:nvSpPr>
              <p:spPr bwMode="auto">
                <a:xfrm>
                  <a:off x="14867" y="1055"/>
                  <a:ext cx="7" cy="54"/>
                </a:xfrm>
                <a:custGeom>
                  <a:avLst/>
                  <a:gdLst>
                    <a:gd name="T0" fmla="*/ 3 w 3"/>
                    <a:gd name="T1" fmla="*/ 21 h 23"/>
                    <a:gd name="T2" fmla="*/ 3 w 3"/>
                    <a:gd name="T3" fmla="*/ 0 h 23"/>
                    <a:gd name="T4" fmla="*/ 2 w 3"/>
                    <a:gd name="T5" fmla="*/ 0 h 23"/>
                    <a:gd name="T6" fmla="*/ 2 w 3"/>
                    <a:gd name="T7" fmla="*/ 21 h 23"/>
                    <a:gd name="T8" fmla="*/ 0 w 3"/>
                    <a:gd name="T9" fmla="*/ 23 h 23"/>
                    <a:gd name="T10" fmla="*/ 3 w 3"/>
                    <a:gd name="T11" fmla="*/ 23 h 23"/>
                    <a:gd name="T12" fmla="*/ 3 w 3"/>
                    <a:gd name="T13" fmla="*/ 21 h 23"/>
                  </a:gdLst>
                  <a:ahLst/>
                  <a:cxnLst>
                    <a:cxn ang="0">
                      <a:pos x="T0" y="T1"/>
                    </a:cxn>
                    <a:cxn ang="0">
                      <a:pos x="T2" y="T3"/>
                    </a:cxn>
                    <a:cxn ang="0">
                      <a:pos x="T4" y="T5"/>
                    </a:cxn>
                    <a:cxn ang="0">
                      <a:pos x="T6" y="T7"/>
                    </a:cxn>
                    <a:cxn ang="0">
                      <a:pos x="T8" y="T9"/>
                    </a:cxn>
                    <a:cxn ang="0">
                      <a:pos x="T10" y="T11"/>
                    </a:cxn>
                    <a:cxn ang="0">
                      <a:pos x="T12" y="T13"/>
                    </a:cxn>
                  </a:cxnLst>
                  <a:rect l="0" t="0" r="r" b="b"/>
                  <a:pathLst>
                    <a:path w="3" h="23">
                      <a:moveTo>
                        <a:pt x="3" y="21"/>
                      </a:moveTo>
                      <a:cubicBezTo>
                        <a:pt x="3" y="19"/>
                        <a:pt x="3" y="0"/>
                        <a:pt x="3" y="0"/>
                      </a:cubicBezTo>
                      <a:cubicBezTo>
                        <a:pt x="2" y="0"/>
                        <a:pt x="2" y="0"/>
                        <a:pt x="2" y="0"/>
                      </a:cubicBezTo>
                      <a:cubicBezTo>
                        <a:pt x="2" y="0"/>
                        <a:pt x="2" y="19"/>
                        <a:pt x="2" y="21"/>
                      </a:cubicBezTo>
                      <a:cubicBezTo>
                        <a:pt x="2" y="22"/>
                        <a:pt x="1" y="23"/>
                        <a:pt x="0" y="23"/>
                      </a:cubicBezTo>
                      <a:cubicBezTo>
                        <a:pt x="1" y="23"/>
                        <a:pt x="2" y="23"/>
                        <a:pt x="3" y="23"/>
                      </a:cubicBezTo>
                      <a:cubicBezTo>
                        <a:pt x="3" y="23"/>
                        <a:pt x="3" y="22"/>
                        <a:pt x="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67" name="Freeform 278"/>
                <p:cNvSpPr>
                  <a:spLocks/>
                </p:cNvSpPr>
                <p:nvPr/>
              </p:nvSpPr>
              <p:spPr bwMode="auto">
                <a:xfrm>
                  <a:off x="15111" y="870"/>
                  <a:ext cx="12" cy="26"/>
                </a:xfrm>
                <a:custGeom>
                  <a:avLst/>
                  <a:gdLst>
                    <a:gd name="T0" fmla="*/ 4 w 5"/>
                    <a:gd name="T1" fmla="*/ 0 h 11"/>
                    <a:gd name="T2" fmla="*/ 0 w 5"/>
                    <a:gd name="T3" fmla="*/ 11 h 11"/>
                    <a:gd name="T4" fmla="*/ 3 w 5"/>
                    <a:gd name="T5" fmla="*/ 7 h 11"/>
                    <a:gd name="T6" fmla="*/ 5 w 5"/>
                    <a:gd name="T7" fmla="*/ 0 h 11"/>
                    <a:gd name="T8" fmla="*/ 4 w 5"/>
                    <a:gd name="T9" fmla="*/ 0 h 11"/>
                  </a:gdLst>
                  <a:ahLst/>
                  <a:cxnLst>
                    <a:cxn ang="0">
                      <a:pos x="T0" y="T1"/>
                    </a:cxn>
                    <a:cxn ang="0">
                      <a:pos x="T2" y="T3"/>
                    </a:cxn>
                    <a:cxn ang="0">
                      <a:pos x="T4" y="T5"/>
                    </a:cxn>
                    <a:cxn ang="0">
                      <a:pos x="T6" y="T7"/>
                    </a:cxn>
                    <a:cxn ang="0">
                      <a:pos x="T8" y="T9"/>
                    </a:cxn>
                  </a:cxnLst>
                  <a:rect l="0" t="0" r="r" b="b"/>
                  <a:pathLst>
                    <a:path w="5" h="11">
                      <a:moveTo>
                        <a:pt x="4" y="0"/>
                      </a:moveTo>
                      <a:cubicBezTo>
                        <a:pt x="4" y="0"/>
                        <a:pt x="1" y="8"/>
                        <a:pt x="0" y="11"/>
                      </a:cubicBezTo>
                      <a:cubicBezTo>
                        <a:pt x="1" y="10"/>
                        <a:pt x="2" y="8"/>
                        <a:pt x="3" y="7"/>
                      </a:cubicBezTo>
                      <a:cubicBezTo>
                        <a:pt x="4" y="5"/>
                        <a:pt x="4" y="2"/>
                        <a:pt x="5" y="0"/>
                      </a:cubicBezTo>
                      <a:cubicBezTo>
                        <a:pt x="5"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68" name="Freeform 279"/>
                <p:cNvSpPr>
                  <a:spLocks/>
                </p:cNvSpPr>
                <p:nvPr/>
              </p:nvSpPr>
              <p:spPr bwMode="auto">
                <a:xfrm>
                  <a:off x="15018" y="1019"/>
                  <a:ext cx="3" cy="12"/>
                </a:xfrm>
                <a:custGeom>
                  <a:avLst/>
                  <a:gdLst>
                    <a:gd name="T0" fmla="*/ 0 w 1"/>
                    <a:gd name="T1" fmla="*/ 0 h 5"/>
                    <a:gd name="T2" fmla="*/ 0 w 1"/>
                    <a:gd name="T3" fmla="*/ 5 h 5"/>
                    <a:gd name="T4" fmla="*/ 1 w 1"/>
                    <a:gd name="T5" fmla="*/ 2 h 5"/>
                    <a:gd name="T6" fmla="*/ 1 w 1"/>
                    <a:gd name="T7" fmla="*/ 0 h 5"/>
                    <a:gd name="T8" fmla="*/ 0 w 1"/>
                    <a:gd name="T9" fmla="*/ 0 h 5"/>
                  </a:gdLst>
                  <a:ahLst/>
                  <a:cxnLst>
                    <a:cxn ang="0">
                      <a:pos x="T0" y="T1"/>
                    </a:cxn>
                    <a:cxn ang="0">
                      <a:pos x="T2" y="T3"/>
                    </a:cxn>
                    <a:cxn ang="0">
                      <a:pos x="T4" y="T5"/>
                    </a:cxn>
                    <a:cxn ang="0">
                      <a:pos x="T6" y="T7"/>
                    </a:cxn>
                    <a:cxn ang="0">
                      <a:pos x="T8" y="T9"/>
                    </a:cxn>
                  </a:cxnLst>
                  <a:rect l="0" t="0" r="r" b="b"/>
                  <a:pathLst>
                    <a:path w="1" h="5">
                      <a:moveTo>
                        <a:pt x="0" y="0"/>
                      </a:moveTo>
                      <a:cubicBezTo>
                        <a:pt x="0" y="0"/>
                        <a:pt x="0" y="2"/>
                        <a:pt x="0" y="5"/>
                      </a:cubicBezTo>
                      <a:cubicBezTo>
                        <a:pt x="0" y="4"/>
                        <a:pt x="0" y="3"/>
                        <a:pt x="1" y="2"/>
                      </a:cubicBez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69" name="Freeform 280"/>
                <p:cNvSpPr>
                  <a:spLocks/>
                </p:cNvSpPr>
                <p:nvPr/>
              </p:nvSpPr>
              <p:spPr bwMode="auto">
                <a:xfrm>
                  <a:off x="15014" y="870"/>
                  <a:ext cx="11" cy="33"/>
                </a:xfrm>
                <a:custGeom>
                  <a:avLst/>
                  <a:gdLst>
                    <a:gd name="T0" fmla="*/ 0 w 5"/>
                    <a:gd name="T1" fmla="*/ 0 h 14"/>
                    <a:gd name="T2" fmla="*/ 4 w 5"/>
                    <a:gd name="T3" fmla="*/ 14 h 14"/>
                    <a:gd name="T4" fmla="*/ 5 w 5"/>
                    <a:gd name="T5" fmla="*/ 12 h 14"/>
                    <a:gd name="T6" fmla="*/ 1 w 5"/>
                    <a:gd name="T7" fmla="*/ 0 h 14"/>
                    <a:gd name="T8" fmla="*/ 0 w 5"/>
                    <a:gd name="T9" fmla="*/ 0 h 14"/>
                  </a:gdLst>
                  <a:ahLst/>
                  <a:cxnLst>
                    <a:cxn ang="0">
                      <a:pos x="T0" y="T1"/>
                    </a:cxn>
                    <a:cxn ang="0">
                      <a:pos x="T2" y="T3"/>
                    </a:cxn>
                    <a:cxn ang="0">
                      <a:pos x="T4" y="T5"/>
                    </a:cxn>
                    <a:cxn ang="0">
                      <a:pos x="T6" y="T7"/>
                    </a:cxn>
                    <a:cxn ang="0">
                      <a:pos x="T8" y="T9"/>
                    </a:cxn>
                  </a:cxnLst>
                  <a:rect l="0" t="0" r="r" b="b"/>
                  <a:pathLst>
                    <a:path w="5" h="14">
                      <a:moveTo>
                        <a:pt x="0" y="0"/>
                      </a:moveTo>
                      <a:cubicBezTo>
                        <a:pt x="0" y="0"/>
                        <a:pt x="0" y="0"/>
                        <a:pt x="4" y="14"/>
                      </a:cubicBezTo>
                      <a:cubicBezTo>
                        <a:pt x="5" y="13"/>
                        <a:pt x="5" y="13"/>
                        <a:pt x="5" y="12"/>
                      </a:cubicBezTo>
                      <a:cubicBezTo>
                        <a:pt x="5" y="10"/>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70" name="Freeform 281"/>
                <p:cNvSpPr>
                  <a:spLocks/>
                </p:cNvSpPr>
                <p:nvPr/>
              </p:nvSpPr>
              <p:spPr bwMode="auto">
                <a:xfrm>
                  <a:off x="14417" y="468"/>
                  <a:ext cx="3" cy="23"/>
                </a:xfrm>
                <a:custGeom>
                  <a:avLst/>
                  <a:gdLst>
                    <a:gd name="T0" fmla="*/ 1 w 1"/>
                    <a:gd name="T1" fmla="*/ 0 h 10"/>
                    <a:gd name="T2" fmla="*/ 0 w 1"/>
                    <a:gd name="T3" fmla="*/ 0 h 10"/>
                    <a:gd name="T4" fmla="*/ 0 w 1"/>
                    <a:gd name="T5" fmla="*/ 5 h 10"/>
                    <a:gd name="T6" fmla="*/ 1 w 1"/>
                    <a:gd name="T7" fmla="*/ 10 h 10"/>
                    <a:gd name="T8" fmla="*/ 1 w 1"/>
                    <a:gd name="T9" fmla="*/ 0 h 10"/>
                  </a:gdLst>
                  <a:ahLst/>
                  <a:cxnLst>
                    <a:cxn ang="0">
                      <a:pos x="T0" y="T1"/>
                    </a:cxn>
                    <a:cxn ang="0">
                      <a:pos x="T2" y="T3"/>
                    </a:cxn>
                    <a:cxn ang="0">
                      <a:pos x="T4" y="T5"/>
                    </a:cxn>
                    <a:cxn ang="0">
                      <a:pos x="T6" y="T7"/>
                    </a:cxn>
                    <a:cxn ang="0">
                      <a:pos x="T8" y="T9"/>
                    </a:cxn>
                  </a:cxnLst>
                  <a:rect l="0" t="0" r="r" b="b"/>
                  <a:pathLst>
                    <a:path w="1" h="10">
                      <a:moveTo>
                        <a:pt x="1" y="0"/>
                      </a:moveTo>
                      <a:cubicBezTo>
                        <a:pt x="0" y="0"/>
                        <a:pt x="0" y="0"/>
                        <a:pt x="0" y="0"/>
                      </a:cubicBezTo>
                      <a:cubicBezTo>
                        <a:pt x="0" y="0"/>
                        <a:pt x="0" y="2"/>
                        <a:pt x="0" y="5"/>
                      </a:cubicBezTo>
                      <a:cubicBezTo>
                        <a:pt x="0" y="7"/>
                        <a:pt x="1" y="9"/>
                        <a:pt x="1" y="10"/>
                      </a:cubicBezTo>
                      <a:cubicBezTo>
                        <a:pt x="1" y="5"/>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71" name="Freeform 282"/>
                <p:cNvSpPr>
                  <a:spLocks/>
                </p:cNvSpPr>
                <p:nvPr/>
              </p:nvSpPr>
              <p:spPr bwMode="auto">
                <a:xfrm>
                  <a:off x="14429" y="2039"/>
                  <a:ext cx="10" cy="24"/>
                </a:xfrm>
                <a:custGeom>
                  <a:avLst/>
                  <a:gdLst>
                    <a:gd name="T0" fmla="*/ 0 w 4"/>
                    <a:gd name="T1" fmla="*/ 0 h 10"/>
                    <a:gd name="T2" fmla="*/ 3 w 4"/>
                    <a:gd name="T3" fmla="*/ 10 h 10"/>
                    <a:gd name="T4" fmla="*/ 4 w 4"/>
                    <a:gd name="T5" fmla="*/ 8 h 10"/>
                    <a:gd name="T6" fmla="*/ 1 w 4"/>
                    <a:gd name="T7" fmla="*/ 0 h 10"/>
                    <a:gd name="T8" fmla="*/ 0 w 4"/>
                    <a:gd name="T9" fmla="*/ 0 h 10"/>
                  </a:gdLst>
                  <a:ahLst/>
                  <a:cxnLst>
                    <a:cxn ang="0">
                      <a:pos x="T0" y="T1"/>
                    </a:cxn>
                    <a:cxn ang="0">
                      <a:pos x="T2" y="T3"/>
                    </a:cxn>
                    <a:cxn ang="0">
                      <a:pos x="T4" y="T5"/>
                    </a:cxn>
                    <a:cxn ang="0">
                      <a:pos x="T6" y="T7"/>
                    </a:cxn>
                    <a:cxn ang="0">
                      <a:pos x="T8" y="T9"/>
                    </a:cxn>
                  </a:cxnLst>
                  <a:rect l="0" t="0" r="r" b="b"/>
                  <a:pathLst>
                    <a:path w="4" h="10">
                      <a:moveTo>
                        <a:pt x="0" y="0"/>
                      </a:moveTo>
                      <a:cubicBezTo>
                        <a:pt x="0" y="0"/>
                        <a:pt x="0" y="0"/>
                        <a:pt x="3" y="10"/>
                      </a:cubicBezTo>
                      <a:cubicBezTo>
                        <a:pt x="3" y="9"/>
                        <a:pt x="3" y="9"/>
                        <a:pt x="4" y="8"/>
                      </a:cubicBezTo>
                      <a:cubicBezTo>
                        <a:pt x="3" y="5"/>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72" name="Freeform 283"/>
                <p:cNvSpPr>
                  <a:spLocks/>
                </p:cNvSpPr>
                <p:nvPr/>
              </p:nvSpPr>
              <p:spPr bwMode="auto">
                <a:xfrm>
                  <a:off x="15052" y="872"/>
                  <a:ext cx="2" cy="5"/>
                </a:xfrm>
                <a:custGeom>
                  <a:avLst/>
                  <a:gdLst>
                    <a:gd name="T0" fmla="*/ 0 w 1"/>
                    <a:gd name="T1" fmla="*/ 0 h 2"/>
                    <a:gd name="T2" fmla="*/ 0 w 1"/>
                    <a:gd name="T3" fmla="*/ 2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1"/>
                        <a:pt x="0" y="2"/>
                      </a:cubicBezTo>
                      <a:cubicBezTo>
                        <a:pt x="0" y="2"/>
                        <a:pt x="1" y="2"/>
                        <a:pt x="1" y="2"/>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73" name="Freeform 284"/>
                <p:cNvSpPr>
                  <a:spLocks/>
                </p:cNvSpPr>
                <p:nvPr/>
              </p:nvSpPr>
              <p:spPr bwMode="auto">
                <a:xfrm>
                  <a:off x="14498" y="1166"/>
                  <a:ext cx="2" cy="26"/>
                </a:xfrm>
                <a:custGeom>
                  <a:avLst/>
                  <a:gdLst>
                    <a:gd name="T0" fmla="*/ 0 w 1"/>
                    <a:gd name="T1" fmla="*/ 0 h 11"/>
                    <a:gd name="T2" fmla="*/ 0 w 1"/>
                    <a:gd name="T3" fmla="*/ 11 h 11"/>
                    <a:gd name="T4" fmla="*/ 1 w 1"/>
                    <a:gd name="T5" fmla="*/ 10 h 11"/>
                    <a:gd name="T6" fmla="*/ 1 w 1"/>
                    <a:gd name="T7" fmla="*/ 0 h 11"/>
                    <a:gd name="T8" fmla="*/ 0 w 1"/>
                    <a:gd name="T9" fmla="*/ 0 h 11"/>
                  </a:gdLst>
                  <a:ahLst/>
                  <a:cxnLst>
                    <a:cxn ang="0">
                      <a:pos x="T0" y="T1"/>
                    </a:cxn>
                    <a:cxn ang="0">
                      <a:pos x="T2" y="T3"/>
                    </a:cxn>
                    <a:cxn ang="0">
                      <a:pos x="T4" y="T5"/>
                    </a:cxn>
                    <a:cxn ang="0">
                      <a:pos x="T6" y="T7"/>
                    </a:cxn>
                    <a:cxn ang="0">
                      <a:pos x="T8" y="T9"/>
                    </a:cxn>
                  </a:cxnLst>
                  <a:rect l="0" t="0" r="r" b="b"/>
                  <a:pathLst>
                    <a:path w="1" h="11">
                      <a:moveTo>
                        <a:pt x="0" y="0"/>
                      </a:moveTo>
                      <a:cubicBezTo>
                        <a:pt x="0" y="0"/>
                        <a:pt x="0" y="5"/>
                        <a:pt x="0" y="11"/>
                      </a:cubicBezTo>
                      <a:cubicBezTo>
                        <a:pt x="0" y="11"/>
                        <a:pt x="0" y="11"/>
                        <a:pt x="1" y="10"/>
                      </a:cubicBezTo>
                      <a:cubicBezTo>
                        <a:pt x="1" y="6"/>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74" name="Freeform 285"/>
                <p:cNvSpPr>
                  <a:spLocks/>
                </p:cNvSpPr>
                <p:nvPr/>
              </p:nvSpPr>
              <p:spPr bwMode="auto">
                <a:xfrm>
                  <a:off x="14481" y="1201"/>
                  <a:ext cx="3" cy="5"/>
                </a:xfrm>
                <a:custGeom>
                  <a:avLst/>
                  <a:gdLst>
                    <a:gd name="T0" fmla="*/ 0 w 1"/>
                    <a:gd name="T1" fmla="*/ 0 h 2"/>
                    <a:gd name="T2" fmla="*/ 0 w 1"/>
                    <a:gd name="T3" fmla="*/ 2 h 2"/>
                    <a:gd name="T4" fmla="*/ 1 w 1"/>
                    <a:gd name="T5" fmla="*/ 1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1"/>
                        <a:pt x="0" y="2"/>
                      </a:cubicBezTo>
                      <a:cubicBezTo>
                        <a:pt x="0" y="2"/>
                        <a:pt x="1" y="2"/>
                        <a:pt x="1" y="1"/>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75" name="Freeform 286"/>
                <p:cNvSpPr>
                  <a:spLocks/>
                </p:cNvSpPr>
                <p:nvPr/>
              </p:nvSpPr>
              <p:spPr bwMode="auto">
                <a:xfrm>
                  <a:off x="14559" y="1163"/>
                  <a:ext cx="5" cy="5"/>
                </a:xfrm>
                <a:custGeom>
                  <a:avLst/>
                  <a:gdLst>
                    <a:gd name="T0" fmla="*/ 1 w 2"/>
                    <a:gd name="T1" fmla="*/ 0 h 2"/>
                    <a:gd name="T2" fmla="*/ 0 w 2"/>
                    <a:gd name="T3" fmla="*/ 0 h 2"/>
                    <a:gd name="T4" fmla="*/ 1 w 2"/>
                    <a:gd name="T5" fmla="*/ 2 h 2"/>
                    <a:gd name="T6" fmla="*/ 2 w 2"/>
                    <a:gd name="T7" fmla="*/ 2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1" y="0"/>
                        <a:pt x="1" y="0"/>
                        <a:pt x="0" y="0"/>
                      </a:cubicBezTo>
                      <a:cubicBezTo>
                        <a:pt x="0" y="0"/>
                        <a:pt x="0" y="0"/>
                        <a:pt x="1" y="2"/>
                      </a:cubicBezTo>
                      <a:cubicBezTo>
                        <a:pt x="1" y="2"/>
                        <a:pt x="1" y="2"/>
                        <a:pt x="2" y="2"/>
                      </a:cubicBezTo>
                      <a:cubicBezTo>
                        <a:pt x="1"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76" name="Freeform 287"/>
                <p:cNvSpPr>
                  <a:spLocks/>
                </p:cNvSpPr>
                <p:nvPr/>
              </p:nvSpPr>
              <p:spPr bwMode="auto">
                <a:xfrm>
                  <a:off x="14531" y="1163"/>
                  <a:ext cx="7" cy="10"/>
                </a:xfrm>
                <a:custGeom>
                  <a:avLst/>
                  <a:gdLst>
                    <a:gd name="T0" fmla="*/ 1 w 3"/>
                    <a:gd name="T1" fmla="*/ 0 h 4"/>
                    <a:gd name="T2" fmla="*/ 0 w 3"/>
                    <a:gd name="T3" fmla="*/ 4 h 4"/>
                    <a:gd name="T4" fmla="*/ 2 w 3"/>
                    <a:gd name="T5" fmla="*/ 3 h 4"/>
                    <a:gd name="T6" fmla="*/ 3 w 3"/>
                    <a:gd name="T7" fmla="*/ 0 h 4"/>
                    <a:gd name="T8" fmla="*/ 1 w 3"/>
                    <a:gd name="T9" fmla="*/ 0 h 4"/>
                  </a:gdLst>
                  <a:ahLst/>
                  <a:cxnLst>
                    <a:cxn ang="0">
                      <a:pos x="T0" y="T1"/>
                    </a:cxn>
                    <a:cxn ang="0">
                      <a:pos x="T2" y="T3"/>
                    </a:cxn>
                    <a:cxn ang="0">
                      <a:pos x="T4" y="T5"/>
                    </a:cxn>
                    <a:cxn ang="0">
                      <a:pos x="T6" y="T7"/>
                    </a:cxn>
                    <a:cxn ang="0">
                      <a:pos x="T8" y="T9"/>
                    </a:cxn>
                  </a:cxnLst>
                  <a:rect l="0" t="0" r="r" b="b"/>
                  <a:pathLst>
                    <a:path w="3" h="4">
                      <a:moveTo>
                        <a:pt x="1" y="0"/>
                      </a:moveTo>
                      <a:cubicBezTo>
                        <a:pt x="1" y="0"/>
                        <a:pt x="1" y="1"/>
                        <a:pt x="0" y="4"/>
                      </a:cubicBezTo>
                      <a:cubicBezTo>
                        <a:pt x="1" y="3"/>
                        <a:pt x="1" y="3"/>
                        <a:pt x="2" y="3"/>
                      </a:cubicBezTo>
                      <a:cubicBezTo>
                        <a:pt x="2" y="2"/>
                        <a:pt x="2" y="1"/>
                        <a:pt x="3" y="0"/>
                      </a:cubicBezTo>
                      <a:cubicBezTo>
                        <a:pt x="3" y="0"/>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77" name="Freeform 288"/>
                <p:cNvSpPr>
                  <a:spLocks/>
                </p:cNvSpPr>
                <p:nvPr/>
              </p:nvSpPr>
              <p:spPr bwMode="auto">
                <a:xfrm>
                  <a:off x="14689" y="1163"/>
                  <a:ext cx="10" cy="19"/>
                </a:xfrm>
                <a:custGeom>
                  <a:avLst/>
                  <a:gdLst>
                    <a:gd name="T0" fmla="*/ 0 w 4"/>
                    <a:gd name="T1" fmla="*/ 0 h 8"/>
                    <a:gd name="T2" fmla="*/ 3 w 4"/>
                    <a:gd name="T3" fmla="*/ 8 h 8"/>
                    <a:gd name="T4" fmla="*/ 4 w 4"/>
                    <a:gd name="T5" fmla="*/ 7 h 8"/>
                    <a:gd name="T6" fmla="*/ 2 w 4"/>
                    <a:gd name="T7" fmla="*/ 0 h 8"/>
                    <a:gd name="T8" fmla="*/ 0 w 4"/>
                    <a:gd name="T9" fmla="*/ 0 h 8"/>
                  </a:gdLst>
                  <a:ahLst/>
                  <a:cxnLst>
                    <a:cxn ang="0">
                      <a:pos x="T0" y="T1"/>
                    </a:cxn>
                    <a:cxn ang="0">
                      <a:pos x="T2" y="T3"/>
                    </a:cxn>
                    <a:cxn ang="0">
                      <a:pos x="T4" y="T5"/>
                    </a:cxn>
                    <a:cxn ang="0">
                      <a:pos x="T6" y="T7"/>
                    </a:cxn>
                    <a:cxn ang="0">
                      <a:pos x="T8" y="T9"/>
                    </a:cxn>
                  </a:cxnLst>
                  <a:rect l="0" t="0" r="r" b="b"/>
                  <a:pathLst>
                    <a:path w="4" h="8">
                      <a:moveTo>
                        <a:pt x="0" y="0"/>
                      </a:moveTo>
                      <a:cubicBezTo>
                        <a:pt x="0" y="0"/>
                        <a:pt x="0" y="0"/>
                        <a:pt x="3" y="8"/>
                      </a:cubicBezTo>
                      <a:cubicBezTo>
                        <a:pt x="3" y="8"/>
                        <a:pt x="3" y="7"/>
                        <a:pt x="4" y="7"/>
                      </a:cubicBezTo>
                      <a:cubicBezTo>
                        <a:pt x="3" y="4"/>
                        <a:pt x="2" y="0"/>
                        <a:pt x="2" y="0"/>
                      </a:cubicBezTo>
                      <a:cubicBezTo>
                        <a:pt x="2"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78" name="Freeform 289"/>
                <p:cNvSpPr>
                  <a:spLocks/>
                </p:cNvSpPr>
                <p:nvPr/>
              </p:nvSpPr>
              <p:spPr bwMode="auto">
                <a:xfrm>
                  <a:off x="14611" y="1201"/>
                  <a:ext cx="3" cy="50"/>
                </a:xfrm>
                <a:custGeom>
                  <a:avLst/>
                  <a:gdLst>
                    <a:gd name="T0" fmla="*/ 0 w 1"/>
                    <a:gd name="T1" fmla="*/ 0 h 21"/>
                    <a:gd name="T2" fmla="*/ 0 w 1"/>
                    <a:gd name="T3" fmla="*/ 21 h 21"/>
                    <a:gd name="T4" fmla="*/ 1 w 1"/>
                    <a:gd name="T5" fmla="*/ 20 h 21"/>
                    <a:gd name="T6" fmla="*/ 1 w 1"/>
                    <a:gd name="T7" fmla="*/ 0 h 21"/>
                    <a:gd name="T8" fmla="*/ 0 w 1"/>
                    <a:gd name="T9" fmla="*/ 0 h 21"/>
                  </a:gdLst>
                  <a:ahLst/>
                  <a:cxnLst>
                    <a:cxn ang="0">
                      <a:pos x="T0" y="T1"/>
                    </a:cxn>
                    <a:cxn ang="0">
                      <a:pos x="T2" y="T3"/>
                    </a:cxn>
                    <a:cxn ang="0">
                      <a:pos x="T4" y="T5"/>
                    </a:cxn>
                    <a:cxn ang="0">
                      <a:pos x="T6" y="T7"/>
                    </a:cxn>
                    <a:cxn ang="0">
                      <a:pos x="T8" y="T9"/>
                    </a:cxn>
                  </a:cxnLst>
                  <a:rect l="0" t="0" r="r" b="b"/>
                  <a:pathLst>
                    <a:path w="1" h="21">
                      <a:moveTo>
                        <a:pt x="0" y="0"/>
                      </a:moveTo>
                      <a:cubicBezTo>
                        <a:pt x="0" y="0"/>
                        <a:pt x="0" y="17"/>
                        <a:pt x="0" y="21"/>
                      </a:cubicBezTo>
                      <a:cubicBezTo>
                        <a:pt x="1" y="21"/>
                        <a:pt x="1" y="20"/>
                        <a:pt x="1" y="20"/>
                      </a:cubicBezTo>
                      <a:cubicBezTo>
                        <a:pt x="1" y="1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79" name="Freeform 290"/>
                <p:cNvSpPr>
                  <a:spLocks/>
                </p:cNvSpPr>
                <p:nvPr/>
              </p:nvSpPr>
              <p:spPr bwMode="auto">
                <a:xfrm>
                  <a:off x="14261" y="2172"/>
                  <a:ext cx="52" cy="35"/>
                </a:xfrm>
                <a:custGeom>
                  <a:avLst/>
                  <a:gdLst>
                    <a:gd name="T0" fmla="*/ 16 w 22"/>
                    <a:gd name="T1" fmla="*/ 0 h 15"/>
                    <a:gd name="T2" fmla="*/ 6 w 22"/>
                    <a:gd name="T3" fmla="*/ 0 h 15"/>
                    <a:gd name="T4" fmla="*/ 0 w 22"/>
                    <a:gd name="T5" fmla="*/ 7 h 15"/>
                    <a:gd name="T6" fmla="*/ 0 w 22"/>
                    <a:gd name="T7" fmla="*/ 15 h 15"/>
                    <a:gd name="T8" fmla="*/ 4 w 22"/>
                    <a:gd name="T9" fmla="*/ 13 h 15"/>
                    <a:gd name="T10" fmla="*/ 4 w 22"/>
                    <a:gd name="T11" fmla="*/ 8 h 15"/>
                    <a:gd name="T12" fmla="*/ 5 w 22"/>
                    <a:gd name="T13" fmla="*/ 8 h 15"/>
                    <a:gd name="T14" fmla="*/ 5 w 22"/>
                    <a:gd name="T15" fmla="*/ 13 h 15"/>
                    <a:gd name="T16" fmla="*/ 22 w 22"/>
                    <a:gd name="T17" fmla="*/ 6 h 15"/>
                    <a:gd name="T18" fmla="*/ 16 w 22"/>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15">
                      <a:moveTo>
                        <a:pt x="16" y="0"/>
                      </a:moveTo>
                      <a:cubicBezTo>
                        <a:pt x="15" y="0"/>
                        <a:pt x="7" y="0"/>
                        <a:pt x="6" y="0"/>
                      </a:cubicBezTo>
                      <a:cubicBezTo>
                        <a:pt x="2" y="0"/>
                        <a:pt x="0" y="3"/>
                        <a:pt x="0" y="7"/>
                      </a:cubicBezTo>
                      <a:cubicBezTo>
                        <a:pt x="0" y="7"/>
                        <a:pt x="0" y="11"/>
                        <a:pt x="0" y="15"/>
                      </a:cubicBezTo>
                      <a:cubicBezTo>
                        <a:pt x="1" y="14"/>
                        <a:pt x="2" y="14"/>
                        <a:pt x="4" y="13"/>
                      </a:cubicBezTo>
                      <a:cubicBezTo>
                        <a:pt x="4" y="11"/>
                        <a:pt x="4" y="8"/>
                        <a:pt x="4" y="8"/>
                      </a:cubicBezTo>
                      <a:cubicBezTo>
                        <a:pt x="4" y="8"/>
                        <a:pt x="4" y="8"/>
                        <a:pt x="5" y="8"/>
                      </a:cubicBezTo>
                      <a:cubicBezTo>
                        <a:pt x="5" y="8"/>
                        <a:pt x="5" y="10"/>
                        <a:pt x="5" y="13"/>
                      </a:cubicBezTo>
                      <a:cubicBezTo>
                        <a:pt x="11" y="11"/>
                        <a:pt x="17" y="8"/>
                        <a:pt x="22" y="6"/>
                      </a:cubicBezTo>
                      <a:cubicBezTo>
                        <a:pt x="22" y="3"/>
                        <a:pt x="19"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80" name="Freeform 291"/>
                <p:cNvSpPr>
                  <a:spLocks/>
                </p:cNvSpPr>
                <p:nvPr/>
              </p:nvSpPr>
              <p:spPr bwMode="auto">
                <a:xfrm>
                  <a:off x="14190" y="2174"/>
                  <a:ext cx="62" cy="50"/>
                </a:xfrm>
                <a:custGeom>
                  <a:avLst/>
                  <a:gdLst>
                    <a:gd name="T0" fmla="*/ 17 w 26"/>
                    <a:gd name="T1" fmla="*/ 0 h 21"/>
                    <a:gd name="T2" fmla="*/ 10 w 26"/>
                    <a:gd name="T3" fmla="*/ 0 h 21"/>
                    <a:gd name="T4" fmla="*/ 4 w 26"/>
                    <a:gd name="T5" fmla="*/ 4 h 21"/>
                    <a:gd name="T6" fmla="*/ 0 w 26"/>
                    <a:gd name="T7" fmla="*/ 18 h 21"/>
                    <a:gd name="T8" fmla="*/ 1 w 26"/>
                    <a:gd name="T9" fmla="*/ 20 h 21"/>
                    <a:gd name="T10" fmla="*/ 4 w 26"/>
                    <a:gd name="T11" fmla="*/ 19 h 21"/>
                    <a:gd name="T12" fmla="*/ 8 w 26"/>
                    <a:gd name="T13" fmla="*/ 6 h 21"/>
                    <a:gd name="T14" fmla="*/ 9 w 26"/>
                    <a:gd name="T15" fmla="*/ 6 h 21"/>
                    <a:gd name="T16" fmla="*/ 4 w 26"/>
                    <a:gd name="T17" fmla="*/ 21 h 21"/>
                    <a:gd name="T18" fmla="*/ 21 w 26"/>
                    <a:gd name="T19" fmla="*/ 17 h 21"/>
                    <a:gd name="T20" fmla="*/ 18 w 26"/>
                    <a:gd name="T21" fmla="*/ 6 h 21"/>
                    <a:gd name="T22" fmla="*/ 19 w 26"/>
                    <a:gd name="T23" fmla="*/ 6 h 21"/>
                    <a:gd name="T24" fmla="*/ 22 w 26"/>
                    <a:gd name="T25" fmla="*/ 16 h 21"/>
                    <a:gd name="T26" fmla="*/ 26 w 26"/>
                    <a:gd name="T27" fmla="*/ 15 h 21"/>
                    <a:gd name="T28" fmla="*/ 23 w 26"/>
                    <a:gd name="T29" fmla="*/ 4 h 21"/>
                    <a:gd name="T30" fmla="*/ 17 w 26"/>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21">
                      <a:moveTo>
                        <a:pt x="17" y="0"/>
                      </a:moveTo>
                      <a:cubicBezTo>
                        <a:pt x="16" y="0"/>
                        <a:pt x="11" y="0"/>
                        <a:pt x="10" y="0"/>
                      </a:cubicBezTo>
                      <a:cubicBezTo>
                        <a:pt x="7" y="0"/>
                        <a:pt x="5" y="2"/>
                        <a:pt x="4" y="4"/>
                      </a:cubicBezTo>
                      <a:cubicBezTo>
                        <a:pt x="2" y="10"/>
                        <a:pt x="0" y="17"/>
                        <a:pt x="0" y="18"/>
                      </a:cubicBezTo>
                      <a:cubicBezTo>
                        <a:pt x="0" y="19"/>
                        <a:pt x="0" y="20"/>
                        <a:pt x="1" y="20"/>
                      </a:cubicBezTo>
                      <a:cubicBezTo>
                        <a:pt x="2" y="20"/>
                        <a:pt x="3" y="20"/>
                        <a:pt x="4" y="19"/>
                      </a:cubicBezTo>
                      <a:cubicBezTo>
                        <a:pt x="4" y="18"/>
                        <a:pt x="8" y="6"/>
                        <a:pt x="8" y="6"/>
                      </a:cubicBezTo>
                      <a:cubicBezTo>
                        <a:pt x="9" y="6"/>
                        <a:pt x="9" y="6"/>
                        <a:pt x="9" y="6"/>
                      </a:cubicBezTo>
                      <a:cubicBezTo>
                        <a:pt x="6" y="13"/>
                        <a:pt x="5" y="18"/>
                        <a:pt x="4" y="21"/>
                      </a:cubicBezTo>
                      <a:cubicBezTo>
                        <a:pt x="10" y="20"/>
                        <a:pt x="16" y="18"/>
                        <a:pt x="21" y="17"/>
                      </a:cubicBezTo>
                      <a:cubicBezTo>
                        <a:pt x="18" y="6"/>
                        <a:pt x="18" y="6"/>
                        <a:pt x="18" y="6"/>
                      </a:cubicBezTo>
                      <a:cubicBezTo>
                        <a:pt x="19" y="6"/>
                        <a:pt x="19" y="6"/>
                        <a:pt x="19" y="6"/>
                      </a:cubicBezTo>
                      <a:cubicBezTo>
                        <a:pt x="19" y="6"/>
                        <a:pt x="21" y="12"/>
                        <a:pt x="22" y="16"/>
                      </a:cubicBezTo>
                      <a:cubicBezTo>
                        <a:pt x="23" y="16"/>
                        <a:pt x="25" y="15"/>
                        <a:pt x="26" y="15"/>
                      </a:cubicBezTo>
                      <a:cubicBezTo>
                        <a:pt x="25" y="12"/>
                        <a:pt x="24" y="8"/>
                        <a:pt x="23" y="4"/>
                      </a:cubicBezTo>
                      <a:cubicBezTo>
                        <a:pt x="22"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81" name="Oval 292"/>
                <p:cNvSpPr>
                  <a:spLocks noChangeArrowheads="1"/>
                </p:cNvSpPr>
                <p:nvPr/>
              </p:nvSpPr>
              <p:spPr bwMode="auto">
                <a:xfrm>
                  <a:off x="14211" y="1999"/>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82" name="Oval 293"/>
                <p:cNvSpPr>
                  <a:spLocks noChangeArrowheads="1"/>
                </p:cNvSpPr>
                <p:nvPr/>
              </p:nvSpPr>
              <p:spPr bwMode="auto">
                <a:xfrm>
                  <a:off x="14342"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83" name="Oval 294"/>
                <p:cNvSpPr>
                  <a:spLocks noChangeArrowheads="1"/>
                </p:cNvSpPr>
                <p:nvPr/>
              </p:nvSpPr>
              <p:spPr bwMode="auto">
                <a:xfrm>
                  <a:off x="14275" y="2148"/>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84" name="Freeform 295"/>
                <p:cNvSpPr>
                  <a:spLocks/>
                </p:cNvSpPr>
                <p:nvPr/>
              </p:nvSpPr>
              <p:spPr bwMode="auto">
                <a:xfrm>
                  <a:off x="14387" y="2025"/>
                  <a:ext cx="56" cy="80"/>
                </a:xfrm>
                <a:custGeom>
                  <a:avLst/>
                  <a:gdLst>
                    <a:gd name="T0" fmla="*/ 23 w 24"/>
                    <a:gd name="T1" fmla="*/ 5 h 34"/>
                    <a:gd name="T2" fmla="*/ 17 w 24"/>
                    <a:gd name="T3" fmla="*/ 0 h 34"/>
                    <a:gd name="T4" fmla="*/ 10 w 24"/>
                    <a:gd name="T5" fmla="*/ 0 h 34"/>
                    <a:gd name="T6" fmla="*/ 4 w 24"/>
                    <a:gd name="T7" fmla="*/ 5 h 34"/>
                    <a:gd name="T8" fmla="*/ 0 w 24"/>
                    <a:gd name="T9" fmla="*/ 18 h 34"/>
                    <a:gd name="T10" fmla="*/ 1 w 24"/>
                    <a:gd name="T11" fmla="*/ 21 h 34"/>
                    <a:gd name="T12" fmla="*/ 4 w 24"/>
                    <a:gd name="T13" fmla="*/ 20 h 34"/>
                    <a:gd name="T14" fmla="*/ 7 w 24"/>
                    <a:gd name="T15" fmla="*/ 6 h 34"/>
                    <a:gd name="T16" fmla="*/ 9 w 24"/>
                    <a:gd name="T17" fmla="*/ 6 h 34"/>
                    <a:gd name="T18" fmla="*/ 2 w 24"/>
                    <a:gd name="T19" fmla="*/ 28 h 34"/>
                    <a:gd name="T20" fmla="*/ 8 w 24"/>
                    <a:gd name="T21" fmla="*/ 28 h 34"/>
                    <a:gd name="T22" fmla="*/ 8 w 24"/>
                    <a:gd name="T23" fmla="*/ 34 h 34"/>
                    <a:gd name="T24" fmla="*/ 21 w 24"/>
                    <a:gd name="T25" fmla="*/ 16 h 34"/>
                    <a:gd name="T26" fmla="*/ 18 w 24"/>
                    <a:gd name="T27" fmla="*/ 6 h 34"/>
                    <a:gd name="T28" fmla="*/ 19 w 24"/>
                    <a:gd name="T29" fmla="*/ 6 h 34"/>
                    <a:gd name="T30" fmla="*/ 22 w 24"/>
                    <a:gd name="T31" fmla="*/ 14 h 34"/>
                    <a:gd name="T32" fmla="*/ 24 w 24"/>
                    <a:gd name="T33" fmla="*/ 10 h 34"/>
                    <a:gd name="T34" fmla="*/ 23 w 24"/>
                    <a:gd name="T35"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34">
                      <a:moveTo>
                        <a:pt x="23" y="5"/>
                      </a:moveTo>
                      <a:cubicBezTo>
                        <a:pt x="22" y="2"/>
                        <a:pt x="20" y="0"/>
                        <a:pt x="17" y="0"/>
                      </a:cubicBezTo>
                      <a:cubicBezTo>
                        <a:pt x="16" y="0"/>
                        <a:pt x="11" y="0"/>
                        <a:pt x="10" y="0"/>
                      </a:cubicBezTo>
                      <a:cubicBezTo>
                        <a:pt x="7" y="0"/>
                        <a:pt x="5" y="2"/>
                        <a:pt x="4" y="5"/>
                      </a:cubicBezTo>
                      <a:cubicBezTo>
                        <a:pt x="2" y="10"/>
                        <a:pt x="0" y="18"/>
                        <a:pt x="0" y="18"/>
                      </a:cubicBezTo>
                      <a:cubicBezTo>
                        <a:pt x="0" y="19"/>
                        <a:pt x="0" y="20"/>
                        <a:pt x="1" y="21"/>
                      </a:cubicBezTo>
                      <a:cubicBezTo>
                        <a:pt x="2" y="21"/>
                        <a:pt x="3" y="20"/>
                        <a:pt x="4" y="20"/>
                      </a:cubicBezTo>
                      <a:cubicBezTo>
                        <a:pt x="4" y="18"/>
                        <a:pt x="7" y="6"/>
                        <a:pt x="7" y="6"/>
                      </a:cubicBezTo>
                      <a:cubicBezTo>
                        <a:pt x="9" y="6"/>
                        <a:pt x="9" y="6"/>
                        <a:pt x="9" y="6"/>
                      </a:cubicBezTo>
                      <a:cubicBezTo>
                        <a:pt x="2" y="28"/>
                        <a:pt x="2" y="28"/>
                        <a:pt x="2" y="28"/>
                      </a:cubicBezTo>
                      <a:cubicBezTo>
                        <a:pt x="8" y="28"/>
                        <a:pt x="8" y="28"/>
                        <a:pt x="8" y="28"/>
                      </a:cubicBezTo>
                      <a:cubicBezTo>
                        <a:pt x="8" y="30"/>
                        <a:pt x="8" y="32"/>
                        <a:pt x="8" y="34"/>
                      </a:cubicBezTo>
                      <a:cubicBezTo>
                        <a:pt x="13" y="28"/>
                        <a:pt x="17" y="22"/>
                        <a:pt x="21" y="16"/>
                      </a:cubicBezTo>
                      <a:cubicBezTo>
                        <a:pt x="18" y="6"/>
                        <a:pt x="18" y="6"/>
                        <a:pt x="18" y="6"/>
                      </a:cubicBezTo>
                      <a:cubicBezTo>
                        <a:pt x="19" y="6"/>
                        <a:pt x="19" y="6"/>
                        <a:pt x="19" y="6"/>
                      </a:cubicBezTo>
                      <a:cubicBezTo>
                        <a:pt x="19" y="6"/>
                        <a:pt x="21" y="11"/>
                        <a:pt x="22" y="14"/>
                      </a:cubicBezTo>
                      <a:cubicBezTo>
                        <a:pt x="22" y="13"/>
                        <a:pt x="23" y="12"/>
                        <a:pt x="24" y="10"/>
                      </a:cubicBezTo>
                      <a:cubicBezTo>
                        <a:pt x="24" y="8"/>
                        <a:pt x="23" y="6"/>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85" name="Freeform 296"/>
                <p:cNvSpPr>
                  <a:spLocks/>
                </p:cNvSpPr>
                <p:nvPr/>
              </p:nvSpPr>
              <p:spPr bwMode="auto">
                <a:xfrm>
                  <a:off x="14195" y="2025"/>
                  <a:ext cx="54"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7 w 23"/>
                    <a:gd name="T31" fmla="*/ 44 h 47"/>
                    <a:gd name="T32" fmla="*/ 17 w 23"/>
                    <a:gd name="T33" fmla="*/ 8 h 47"/>
                    <a:gd name="T34" fmla="*/ 18 w 23"/>
                    <a:gd name="T35" fmla="*/ 8 h 47"/>
                    <a:gd name="T36" fmla="*/ 18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86" name="Freeform 297"/>
                <p:cNvSpPr>
                  <a:spLocks/>
                </p:cNvSpPr>
                <p:nvPr/>
              </p:nvSpPr>
              <p:spPr bwMode="auto">
                <a:xfrm>
                  <a:off x="14325" y="2025"/>
                  <a:ext cx="54" cy="111"/>
                </a:xfrm>
                <a:custGeom>
                  <a:avLst/>
                  <a:gdLst>
                    <a:gd name="T0" fmla="*/ 17 w 23"/>
                    <a:gd name="T1" fmla="*/ 0 h 47"/>
                    <a:gd name="T2" fmla="*/ 7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6 w 23"/>
                    <a:gd name="T15" fmla="*/ 8 h 47"/>
                    <a:gd name="T16" fmla="*/ 6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7" y="0"/>
                      </a:cubicBezTo>
                      <a:cubicBezTo>
                        <a:pt x="3" y="0"/>
                        <a:pt x="0" y="3"/>
                        <a:pt x="0" y="6"/>
                      </a:cubicBezTo>
                      <a:cubicBezTo>
                        <a:pt x="0" y="8"/>
                        <a:pt x="0" y="20"/>
                        <a:pt x="0" y="21"/>
                      </a:cubicBezTo>
                      <a:cubicBezTo>
                        <a:pt x="0" y="22"/>
                        <a:pt x="1" y="23"/>
                        <a:pt x="2" y="23"/>
                      </a:cubicBezTo>
                      <a:cubicBezTo>
                        <a:pt x="4" y="23"/>
                        <a:pt x="4" y="22"/>
                        <a:pt x="4" y="21"/>
                      </a:cubicBezTo>
                      <a:cubicBezTo>
                        <a:pt x="4" y="19"/>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7"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87" name="Oval 298"/>
                <p:cNvSpPr>
                  <a:spLocks noChangeArrowheads="1"/>
                </p:cNvSpPr>
                <p:nvPr/>
              </p:nvSpPr>
              <p:spPr bwMode="auto">
                <a:xfrm>
                  <a:off x="14211" y="2148"/>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88" name="Freeform 299"/>
                <p:cNvSpPr>
                  <a:spLocks/>
                </p:cNvSpPr>
                <p:nvPr/>
              </p:nvSpPr>
              <p:spPr bwMode="auto">
                <a:xfrm>
                  <a:off x="14254" y="2025"/>
                  <a:ext cx="66" cy="111"/>
                </a:xfrm>
                <a:custGeom>
                  <a:avLst/>
                  <a:gdLst>
                    <a:gd name="T0" fmla="*/ 23 w 28"/>
                    <a:gd name="T1" fmla="*/ 5 h 47"/>
                    <a:gd name="T2" fmla="*/ 18 w 28"/>
                    <a:gd name="T3" fmla="*/ 0 h 47"/>
                    <a:gd name="T4" fmla="*/ 10 w 28"/>
                    <a:gd name="T5" fmla="*/ 0 h 47"/>
                    <a:gd name="T6" fmla="*/ 5 w 28"/>
                    <a:gd name="T7" fmla="*/ 5 h 47"/>
                    <a:gd name="T8" fmla="*/ 1 w 28"/>
                    <a:gd name="T9" fmla="*/ 18 h 47"/>
                    <a:gd name="T10" fmla="*/ 2 w 28"/>
                    <a:gd name="T11" fmla="*/ 21 h 47"/>
                    <a:gd name="T12" fmla="*/ 4 w 28"/>
                    <a:gd name="T13" fmla="*/ 20 h 47"/>
                    <a:gd name="T14" fmla="*/ 8 w 28"/>
                    <a:gd name="T15" fmla="*/ 6 h 47"/>
                    <a:gd name="T16" fmla="*/ 9 w 28"/>
                    <a:gd name="T17" fmla="*/ 6 h 47"/>
                    <a:gd name="T18" fmla="*/ 3 w 28"/>
                    <a:gd name="T19" fmla="*/ 28 h 47"/>
                    <a:gd name="T20" fmla="*/ 9 w 28"/>
                    <a:gd name="T21" fmla="*/ 28 h 47"/>
                    <a:gd name="T22" fmla="*/ 9 w 28"/>
                    <a:gd name="T23" fmla="*/ 45 h 47"/>
                    <a:gd name="T24" fmla="*/ 11 w 28"/>
                    <a:gd name="T25" fmla="*/ 47 h 47"/>
                    <a:gd name="T26" fmla="*/ 14 w 28"/>
                    <a:gd name="T27" fmla="*/ 45 h 47"/>
                    <a:gd name="T28" fmla="*/ 14 w 28"/>
                    <a:gd name="T29" fmla="*/ 28 h 47"/>
                    <a:gd name="T30" fmla="*/ 15 w 28"/>
                    <a:gd name="T31" fmla="*/ 28 h 47"/>
                    <a:gd name="T32" fmla="*/ 15 w 28"/>
                    <a:gd name="T33" fmla="*/ 45 h 47"/>
                    <a:gd name="T34" fmla="*/ 17 w 28"/>
                    <a:gd name="T35" fmla="*/ 47 h 47"/>
                    <a:gd name="T36" fmla="*/ 19 w 28"/>
                    <a:gd name="T37" fmla="*/ 45 h 47"/>
                    <a:gd name="T38" fmla="*/ 19 w 28"/>
                    <a:gd name="T39" fmla="*/ 28 h 47"/>
                    <a:gd name="T40" fmla="*/ 25 w 28"/>
                    <a:gd name="T41" fmla="*/ 28 h 47"/>
                    <a:gd name="T42" fmla="*/ 19 w 28"/>
                    <a:gd name="T43" fmla="*/ 6 h 47"/>
                    <a:gd name="T44" fmla="*/ 20 w 28"/>
                    <a:gd name="T45" fmla="*/ 6 h 47"/>
                    <a:gd name="T46" fmla="*/ 24 w 28"/>
                    <a:gd name="T47" fmla="*/ 20 h 47"/>
                    <a:gd name="T48" fmla="*/ 26 w 28"/>
                    <a:gd name="T49" fmla="*/ 21 h 47"/>
                    <a:gd name="T50" fmla="*/ 27 w 28"/>
                    <a:gd name="T51" fmla="*/ 18 h 47"/>
                    <a:gd name="T52" fmla="*/ 23 w 28"/>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5"/>
                      </a:moveTo>
                      <a:cubicBezTo>
                        <a:pt x="23" y="2"/>
                        <a:pt x="20" y="0"/>
                        <a:pt x="18" y="0"/>
                      </a:cubicBezTo>
                      <a:cubicBezTo>
                        <a:pt x="17" y="0"/>
                        <a:pt x="11" y="0"/>
                        <a:pt x="10" y="0"/>
                      </a:cubicBezTo>
                      <a:cubicBezTo>
                        <a:pt x="8" y="0"/>
                        <a:pt x="5" y="2"/>
                        <a:pt x="5" y="5"/>
                      </a:cubicBezTo>
                      <a:cubicBezTo>
                        <a:pt x="3" y="10"/>
                        <a:pt x="1" y="18"/>
                        <a:pt x="1" y="18"/>
                      </a:cubicBezTo>
                      <a:cubicBezTo>
                        <a:pt x="0" y="19"/>
                        <a:pt x="1" y="20"/>
                        <a:pt x="2" y="21"/>
                      </a:cubicBezTo>
                      <a:cubicBezTo>
                        <a:pt x="3" y="21"/>
                        <a:pt x="4" y="20"/>
                        <a:pt x="4" y="20"/>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20"/>
                      </a:cubicBezTo>
                      <a:cubicBezTo>
                        <a:pt x="24" y="20"/>
                        <a:pt x="25" y="21"/>
                        <a:pt x="26" y="21"/>
                      </a:cubicBezTo>
                      <a:cubicBezTo>
                        <a:pt x="27" y="20"/>
                        <a:pt x="28"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89" name="Oval 300"/>
                <p:cNvSpPr>
                  <a:spLocks noChangeArrowheads="1"/>
                </p:cNvSpPr>
                <p:nvPr/>
              </p:nvSpPr>
              <p:spPr bwMode="auto">
                <a:xfrm>
                  <a:off x="14275" y="1999"/>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90" name="Oval 301"/>
                <p:cNvSpPr>
                  <a:spLocks noChangeArrowheads="1"/>
                </p:cNvSpPr>
                <p:nvPr/>
              </p:nvSpPr>
              <p:spPr bwMode="auto">
                <a:xfrm>
                  <a:off x="14408"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91" name="Freeform 302"/>
                <p:cNvSpPr>
                  <a:spLocks/>
                </p:cNvSpPr>
                <p:nvPr/>
              </p:nvSpPr>
              <p:spPr bwMode="auto">
                <a:xfrm>
                  <a:off x="14342" y="2148"/>
                  <a:ext cx="21" cy="19"/>
                </a:xfrm>
                <a:custGeom>
                  <a:avLst/>
                  <a:gdLst>
                    <a:gd name="T0" fmla="*/ 5 w 9"/>
                    <a:gd name="T1" fmla="*/ 0 h 8"/>
                    <a:gd name="T2" fmla="*/ 0 w 9"/>
                    <a:gd name="T3" fmla="*/ 5 h 8"/>
                    <a:gd name="T4" fmla="*/ 1 w 9"/>
                    <a:gd name="T5" fmla="*/ 8 h 8"/>
                    <a:gd name="T6" fmla="*/ 9 w 9"/>
                    <a:gd name="T7" fmla="*/ 2 h 8"/>
                    <a:gd name="T8" fmla="*/ 5 w 9"/>
                    <a:gd name="T9" fmla="*/ 0 h 8"/>
                  </a:gdLst>
                  <a:ahLst/>
                  <a:cxnLst>
                    <a:cxn ang="0">
                      <a:pos x="T0" y="T1"/>
                    </a:cxn>
                    <a:cxn ang="0">
                      <a:pos x="T2" y="T3"/>
                    </a:cxn>
                    <a:cxn ang="0">
                      <a:pos x="T4" y="T5"/>
                    </a:cxn>
                    <a:cxn ang="0">
                      <a:pos x="T6" y="T7"/>
                    </a:cxn>
                    <a:cxn ang="0">
                      <a:pos x="T8" y="T9"/>
                    </a:cxn>
                  </a:cxnLst>
                  <a:rect l="0" t="0" r="r" b="b"/>
                  <a:pathLst>
                    <a:path w="9" h="8">
                      <a:moveTo>
                        <a:pt x="5" y="0"/>
                      </a:moveTo>
                      <a:cubicBezTo>
                        <a:pt x="2" y="0"/>
                        <a:pt x="0" y="2"/>
                        <a:pt x="0" y="5"/>
                      </a:cubicBezTo>
                      <a:cubicBezTo>
                        <a:pt x="0" y="6"/>
                        <a:pt x="1" y="7"/>
                        <a:pt x="1" y="8"/>
                      </a:cubicBezTo>
                      <a:cubicBezTo>
                        <a:pt x="4" y="6"/>
                        <a:pt x="7" y="4"/>
                        <a:pt x="9" y="2"/>
                      </a:cubicBezTo>
                      <a:cubicBezTo>
                        <a:pt x="8" y="1"/>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92" name="Oval 303"/>
                <p:cNvSpPr>
                  <a:spLocks noChangeArrowheads="1"/>
                </p:cNvSpPr>
                <p:nvPr/>
              </p:nvSpPr>
              <p:spPr bwMode="auto">
                <a:xfrm>
                  <a:off x="13688" y="1999"/>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93" name="Freeform 304"/>
                <p:cNvSpPr>
                  <a:spLocks/>
                </p:cNvSpPr>
                <p:nvPr/>
              </p:nvSpPr>
              <p:spPr bwMode="auto">
                <a:xfrm>
                  <a:off x="13956" y="2295"/>
                  <a:ext cx="16" cy="19"/>
                </a:xfrm>
                <a:custGeom>
                  <a:avLst/>
                  <a:gdLst>
                    <a:gd name="T0" fmla="*/ 7 w 7"/>
                    <a:gd name="T1" fmla="*/ 4 h 8"/>
                    <a:gd name="T2" fmla="*/ 3 w 7"/>
                    <a:gd name="T3" fmla="*/ 0 h 8"/>
                    <a:gd name="T4" fmla="*/ 0 w 7"/>
                    <a:gd name="T5" fmla="*/ 1 h 8"/>
                    <a:gd name="T6" fmla="*/ 6 w 7"/>
                    <a:gd name="T7" fmla="*/ 8 h 8"/>
                    <a:gd name="T8" fmla="*/ 7 w 7"/>
                    <a:gd name="T9" fmla="*/ 4 h 8"/>
                  </a:gdLst>
                  <a:ahLst/>
                  <a:cxnLst>
                    <a:cxn ang="0">
                      <a:pos x="T0" y="T1"/>
                    </a:cxn>
                    <a:cxn ang="0">
                      <a:pos x="T2" y="T3"/>
                    </a:cxn>
                    <a:cxn ang="0">
                      <a:pos x="T4" y="T5"/>
                    </a:cxn>
                    <a:cxn ang="0">
                      <a:pos x="T6" y="T7"/>
                    </a:cxn>
                    <a:cxn ang="0">
                      <a:pos x="T8" y="T9"/>
                    </a:cxn>
                  </a:cxnLst>
                  <a:rect l="0" t="0" r="r" b="b"/>
                  <a:pathLst>
                    <a:path w="7" h="8">
                      <a:moveTo>
                        <a:pt x="7" y="4"/>
                      </a:moveTo>
                      <a:cubicBezTo>
                        <a:pt x="7" y="2"/>
                        <a:pt x="5" y="0"/>
                        <a:pt x="3" y="0"/>
                      </a:cubicBezTo>
                      <a:cubicBezTo>
                        <a:pt x="2" y="0"/>
                        <a:pt x="1" y="0"/>
                        <a:pt x="0" y="1"/>
                      </a:cubicBezTo>
                      <a:cubicBezTo>
                        <a:pt x="2" y="3"/>
                        <a:pt x="4" y="5"/>
                        <a:pt x="6" y="8"/>
                      </a:cubicBezTo>
                      <a:cubicBezTo>
                        <a:pt x="7" y="7"/>
                        <a:pt x="7" y="6"/>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94" name="Freeform 305"/>
                <p:cNvSpPr>
                  <a:spLocks/>
                </p:cNvSpPr>
                <p:nvPr/>
              </p:nvSpPr>
              <p:spPr bwMode="auto">
                <a:xfrm>
                  <a:off x="13871" y="2172"/>
                  <a:ext cx="52" cy="99"/>
                </a:xfrm>
                <a:custGeom>
                  <a:avLst/>
                  <a:gdLst>
                    <a:gd name="T0" fmla="*/ 18 w 22"/>
                    <a:gd name="T1" fmla="*/ 8 h 42"/>
                    <a:gd name="T2" fmla="*/ 18 w 22"/>
                    <a:gd name="T3" fmla="*/ 21 h 42"/>
                    <a:gd name="T4" fmla="*/ 20 w 22"/>
                    <a:gd name="T5" fmla="*/ 23 h 42"/>
                    <a:gd name="T6" fmla="*/ 22 w 22"/>
                    <a:gd name="T7" fmla="*/ 21 h 42"/>
                    <a:gd name="T8" fmla="*/ 22 w 22"/>
                    <a:gd name="T9" fmla="*/ 7 h 42"/>
                    <a:gd name="T10" fmla="*/ 16 w 22"/>
                    <a:gd name="T11" fmla="*/ 0 h 42"/>
                    <a:gd name="T12" fmla="*/ 6 w 22"/>
                    <a:gd name="T13" fmla="*/ 0 h 42"/>
                    <a:gd name="T14" fmla="*/ 0 w 22"/>
                    <a:gd name="T15" fmla="*/ 7 h 42"/>
                    <a:gd name="T16" fmla="*/ 0 w 22"/>
                    <a:gd name="T17" fmla="*/ 21 h 42"/>
                    <a:gd name="T18" fmla="*/ 2 w 22"/>
                    <a:gd name="T19" fmla="*/ 23 h 42"/>
                    <a:gd name="T20" fmla="*/ 4 w 22"/>
                    <a:gd name="T21" fmla="*/ 21 h 42"/>
                    <a:gd name="T22" fmla="*/ 4 w 22"/>
                    <a:gd name="T23" fmla="*/ 8 h 42"/>
                    <a:gd name="T24" fmla="*/ 5 w 22"/>
                    <a:gd name="T25" fmla="*/ 8 h 42"/>
                    <a:gd name="T26" fmla="*/ 5 w 22"/>
                    <a:gd name="T27" fmla="*/ 38 h 42"/>
                    <a:gd name="T28" fmla="*/ 10 w 22"/>
                    <a:gd name="T29" fmla="*/ 40 h 42"/>
                    <a:gd name="T30" fmla="*/ 10 w 22"/>
                    <a:gd name="T31" fmla="*/ 23 h 42"/>
                    <a:gd name="T32" fmla="*/ 12 w 22"/>
                    <a:gd name="T33" fmla="*/ 23 h 42"/>
                    <a:gd name="T34" fmla="*/ 12 w 22"/>
                    <a:gd name="T35" fmla="*/ 40 h 42"/>
                    <a:gd name="T36" fmla="*/ 17 w 22"/>
                    <a:gd name="T37" fmla="*/ 42 h 42"/>
                    <a:gd name="T38" fmla="*/ 17 w 22"/>
                    <a:gd name="T39" fmla="*/ 8 h 42"/>
                    <a:gd name="T40" fmla="*/ 18 w 22"/>
                    <a:gd name="T4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 h="42">
                      <a:moveTo>
                        <a:pt x="18" y="8"/>
                      </a:moveTo>
                      <a:cubicBezTo>
                        <a:pt x="18" y="8"/>
                        <a:pt x="18" y="20"/>
                        <a:pt x="18" y="21"/>
                      </a:cubicBezTo>
                      <a:cubicBezTo>
                        <a:pt x="18" y="22"/>
                        <a:pt x="19" y="23"/>
                        <a:pt x="20" y="23"/>
                      </a:cubicBezTo>
                      <a:cubicBezTo>
                        <a:pt x="21" y="23"/>
                        <a:pt x="22" y="22"/>
                        <a:pt x="22" y="21"/>
                      </a:cubicBezTo>
                      <a:cubicBezTo>
                        <a:pt x="22" y="20"/>
                        <a:pt x="22" y="8"/>
                        <a:pt x="22" y="7"/>
                      </a:cubicBezTo>
                      <a:cubicBezTo>
                        <a:pt x="22" y="3"/>
                        <a:pt x="20" y="0"/>
                        <a:pt x="16" y="0"/>
                      </a:cubicBezTo>
                      <a:cubicBezTo>
                        <a:pt x="15" y="0"/>
                        <a:pt x="7" y="0"/>
                        <a:pt x="6" y="0"/>
                      </a:cubicBezTo>
                      <a:cubicBezTo>
                        <a:pt x="2"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27"/>
                        <a:pt x="5" y="38"/>
                      </a:cubicBezTo>
                      <a:cubicBezTo>
                        <a:pt x="7" y="39"/>
                        <a:pt x="9" y="39"/>
                        <a:pt x="10" y="40"/>
                      </a:cubicBezTo>
                      <a:cubicBezTo>
                        <a:pt x="10" y="33"/>
                        <a:pt x="10" y="23"/>
                        <a:pt x="10" y="23"/>
                      </a:cubicBezTo>
                      <a:cubicBezTo>
                        <a:pt x="10" y="23"/>
                        <a:pt x="10" y="23"/>
                        <a:pt x="12" y="23"/>
                      </a:cubicBezTo>
                      <a:cubicBezTo>
                        <a:pt x="12" y="23"/>
                        <a:pt x="12" y="34"/>
                        <a:pt x="12" y="40"/>
                      </a:cubicBezTo>
                      <a:cubicBezTo>
                        <a:pt x="13" y="41"/>
                        <a:pt x="15" y="41"/>
                        <a:pt x="17" y="42"/>
                      </a:cubicBezTo>
                      <a:cubicBezTo>
                        <a:pt x="17" y="34"/>
                        <a:pt x="17" y="8"/>
                        <a:pt x="17" y="8"/>
                      </a:cubicBezTo>
                      <a:cubicBezTo>
                        <a:pt x="17" y="8"/>
                        <a:pt x="17"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95" name="Freeform 306"/>
                <p:cNvSpPr>
                  <a:spLocks/>
                </p:cNvSpPr>
                <p:nvPr/>
              </p:nvSpPr>
              <p:spPr bwMode="auto">
                <a:xfrm>
                  <a:off x="13972" y="2318"/>
                  <a:ext cx="17" cy="55"/>
                </a:xfrm>
                <a:custGeom>
                  <a:avLst/>
                  <a:gdLst>
                    <a:gd name="T0" fmla="*/ 3 w 7"/>
                    <a:gd name="T1" fmla="*/ 8 h 23"/>
                    <a:gd name="T2" fmla="*/ 3 w 7"/>
                    <a:gd name="T3" fmla="*/ 21 h 23"/>
                    <a:gd name="T4" fmla="*/ 5 w 7"/>
                    <a:gd name="T5" fmla="*/ 23 h 23"/>
                    <a:gd name="T6" fmla="*/ 7 w 7"/>
                    <a:gd name="T7" fmla="*/ 21 h 23"/>
                    <a:gd name="T8" fmla="*/ 7 w 7"/>
                    <a:gd name="T9" fmla="*/ 6 h 23"/>
                    <a:gd name="T10" fmla="*/ 1 w 7"/>
                    <a:gd name="T11" fmla="*/ 0 h 23"/>
                    <a:gd name="T12" fmla="*/ 0 w 7"/>
                    <a:gd name="T13" fmla="*/ 0 h 23"/>
                    <a:gd name="T14" fmla="*/ 2 w 7"/>
                    <a:gd name="T15" fmla="*/ 5 h 23"/>
                    <a:gd name="T16" fmla="*/ 2 w 7"/>
                    <a:gd name="T17" fmla="*/ 21 h 23"/>
                    <a:gd name="T18" fmla="*/ 2 w 7"/>
                    <a:gd name="T19" fmla="*/ 8 h 23"/>
                    <a:gd name="T20" fmla="*/ 3 w 7"/>
                    <a:gd name="T21"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23">
                      <a:moveTo>
                        <a:pt x="3" y="8"/>
                      </a:moveTo>
                      <a:cubicBezTo>
                        <a:pt x="3" y="8"/>
                        <a:pt x="3" y="20"/>
                        <a:pt x="3" y="21"/>
                      </a:cubicBezTo>
                      <a:cubicBezTo>
                        <a:pt x="3" y="22"/>
                        <a:pt x="4" y="23"/>
                        <a:pt x="5" y="23"/>
                      </a:cubicBezTo>
                      <a:cubicBezTo>
                        <a:pt x="6" y="23"/>
                        <a:pt x="7" y="22"/>
                        <a:pt x="7" y="21"/>
                      </a:cubicBezTo>
                      <a:cubicBezTo>
                        <a:pt x="7" y="20"/>
                        <a:pt x="7" y="8"/>
                        <a:pt x="7" y="6"/>
                      </a:cubicBezTo>
                      <a:cubicBezTo>
                        <a:pt x="7" y="3"/>
                        <a:pt x="4" y="0"/>
                        <a:pt x="1" y="0"/>
                      </a:cubicBezTo>
                      <a:cubicBezTo>
                        <a:pt x="1" y="0"/>
                        <a:pt x="0" y="0"/>
                        <a:pt x="0" y="0"/>
                      </a:cubicBezTo>
                      <a:cubicBezTo>
                        <a:pt x="1" y="2"/>
                        <a:pt x="1" y="3"/>
                        <a:pt x="2" y="5"/>
                      </a:cubicBezTo>
                      <a:cubicBezTo>
                        <a:pt x="2" y="5"/>
                        <a:pt x="1" y="13"/>
                        <a:pt x="2" y="21"/>
                      </a:cubicBezTo>
                      <a:cubicBezTo>
                        <a:pt x="2" y="14"/>
                        <a:pt x="2" y="8"/>
                        <a:pt x="2" y="8"/>
                      </a:cubicBezTo>
                      <a:cubicBezTo>
                        <a:pt x="2" y="8"/>
                        <a:pt x="2"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96" name="Oval 307"/>
                <p:cNvSpPr>
                  <a:spLocks noChangeArrowheads="1"/>
                </p:cNvSpPr>
                <p:nvPr/>
              </p:nvSpPr>
              <p:spPr bwMode="auto">
                <a:xfrm>
                  <a:off x="13688" y="2148"/>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97" name="Freeform 308"/>
                <p:cNvSpPr>
                  <a:spLocks/>
                </p:cNvSpPr>
                <p:nvPr/>
              </p:nvSpPr>
              <p:spPr bwMode="auto">
                <a:xfrm>
                  <a:off x="13755" y="2148"/>
                  <a:ext cx="21" cy="12"/>
                </a:xfrm>
                <a:custGeom>
                  <a:avLst/>
                  <a:gdLst>
                    <a:gd name="T0" fmla="*/ 5 w 9"/>
                    <a:gd name="T1" fmla="*/ 0 h 5"/>
                    <a:gd name="T2" fmla="*/ 0 w 9"/>
                    <a:gd name="T3" fmla="*/ 5 h 5"/>
                    <a:gd name="T4" fmla="*/ 0 w 9"/>
                    <a:gd name="T5" fmla="*/ 5 h 5"/>
                    <a:gd name="T6" fmla="*/ 9 w 9"/>
                    <a:gd name="T7" fmla="*/ 4 h 5"/>
                    <a:gd name="T8" fmla="*/ 5 w 9"/>
                    <a:gd name="T9" fmla="*/ 0 h 5"/>
                  </a:gdLst>
                  <a:ahLst/>
                  <a:cxnLst>
                    <a:cxn ang="0">
                      <a:pos x="T0" y="T1"/>
                    </a:cxn>
                    <a:cxn ang="0">
                      <a:pos x="T2" y="T3"/>
                    </a:cxn>
                    <a:cxn ang="0">
                      <a:pos x="T4" y="T5"/>
                    </a:cxn>
                    <a:cxn ang="0">
                      <a:pos x="T6" y="T7"/>
                    </a:cxn>
                    <a:cxn ang="0">
                      <a:pos x="T8" y="T9"/>
                    </a:cxn>
                  </a:cxnLst>
                  <a:rect l="0" t="0" r="r" b="b"/>
                  <a:pathLst>
                    <a:path w="9" h="5">
                      <a:moveTo>
                        <a:pt x="5" y="0"/>
                      </a:moveTo>
                      <a:cubicBezTo>
                        <a:pt x="2" y="0"/>
                        <a:pt x="0" y="2"/>
                        <a:pt x="0" y="5"/>
                      </a:cubicBezTo>
                      <a:cubicBezTo>
                        <a:pt x="0" y="5"/>
                        <a:pt x="0" y="5"/>
                        <a:pt x="0" y="5"/>
                      </a:cubicBezTo>
                      <a:cubicBezTo>
                        <a:pt x="3" y="4"/>
                        <a:pt x="6" y="4"/>
                        <a:pt x="9" y="4"/>
                      </a:cubicBezTo>
                      <a:cubicBezTo>
                        <a:pt x="9" y="2"/>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98" name="Freeform 309"/>
                <p:cNvSpPr>
                  <a:spLocks/>
                </p:cNvSpPr>
                <p:nvPr/>
              </p:nvSpPr>
              <p:spPr bwMode="auto">
                <a:xfrm>
                  <a:off x="13800" y="2174"/>
                  <a:ext cx="64" cy="73"/>
                </a:xfrm>
                <a:custGeom>
                  <a:avLst/>
                  <a:gdLst>
                    <a:gd name="T0" fmla="*/ 25 w 27"/>
                    <a:gd name="T1" fmla="*/ 28 h 31"/>
                    <a:gd name="T2" fmla="*/ 18 w 27"/>
                    <a:gd name="T3" fmla="*/ 6 h 31"/>
                    <a:gd name="T4" fmla="*/ 19 w 27"/>
                    <a:gd name="T5" fmla="*/ 6 h 31"/>
                    <a:gd name="T6" fmla="*/ 23 w 27"/>
                    <a:gd name="T7" fmla="*/ 19 h 31"/>
                    <a:gd name="T8" fmla="*/ 25 w 27"/>
                    <a:gd name="T9" fmla="*/ 20 h 31"/>
                    <a:gd name="T10" fmla="*/ 26 w 27"/>
                    <a:gd name="T11" fmla="*/ 18 h 31"/>
                    <a:gd name="T12" fmla="*/ 23 w 27"/>
                    <a:gd name="T13" fmla="*/ 4 h 31"/>
                    <a:gd name="T14" fmla="*/ 17 w 27"/>
                    <a:gd name="T15" fmla="*/ 0 h 31"/>
                    <a:gd name="T16" fmla="*/ 10 w 27"/>
                    <a:gd name="T17" fmla="*/ 0 h 31"/>
                    <a:gd name="T18" fmla="*/ 4 w 27"/>
                    <a:gd name="T19" fmla="*/ 4 h 31"/>
                    <a:gd name="T20" fmla="*/ 0 w 27"/>
                    <a:gd name="T21" fmla="*/ 18 h 31"/>
                    <a:gd name="T22" fmla="*/ 2 w 27"/>
                    <a:gd name="T23" fmla="*/ 20 h 31"/>
                    <a:gd name="T24" fmla="*/ 4 w 27"/>
                    <a:gd name="T25" fmla="*/ 19 h 31"/>
                    <a:gd name="T26" fmla="*/ 7 w 27"/>
                    <a:gd name="T27" fmla="*/ 6 h 31"/>
                    <a:gd name="T28" fmla="*/ 9 w 27"/>
                    <a:gd name="T29" fmla="*/ 6 h 31"/>
                    <a:gd name="T30" fmla="*/ 4 w 27"/>
                    <a:gd name="T31" fmla="*/ 22 h 31"/>
                    <a:gd name="T32" fmla="*/ 13 w 27"/>
                    <a:gd name="T33" fmla="*/ 29 h 31"/>
                    <a:gd name="T34" fmla="*/ 13 w 27"/>
                    <a:gd name="T35" fmla="*/ 28 h 31"/>
                    <a:gd name="T36" fmla="*/ 14 w 27"/>
                    <a:gd name="T37" fmla="*/ 28 h 31"/>
                    <a:gd name="T38" fmla="*/ 14 w 27"/>
                    <a:gd name="T39" fmla="*/ 29 h 31"/>
                    <a:gd name="T40" fmla="*/ 18 w 27"/>
                    <a:gd name="T41" fmla="*/ 31 h 31"/>
                    <a:gd name="T42" fmla="*/ 18 w 27"/>
                    <a:gd name="T43" fmla="*/ 28 h 31"/>
                    <a:gd name="T44" fmla="*/ 25 w 27"/>
                    <a:gd name="T45"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31">
                      <a:moveTo>
                        <a:pt x="25" y="28"/>
                      </a:moveTo>
                      <a:cubicBezTo>
                        <a:pt x="18" y="6"/>
                        <a:pt x="18" y="6"/>
                        <a:pt x="18" y="6"/>
                      </a:cubicBezTo>
                      <a:cubicBezTo>
                        <a:pt x="19" y="6"/>
                        <a:pt x="19" y="6"/>
                        <a:pt x="19" y="6"/>
                      </a:cubicBezTo>
                      <a:cubicBezTo>
                        <a:pt x="19" y="6"/>
                        <a:pt x="23" y="18"/>
                        <a:pt x="23" y="19"/>
                      </a:cubicBezTo>
                      <a:cubicBezTo>
                        <a:pt x="23" y="20"/>
                        <a:pt x="24" y="20"/>
                        <a:pt x="25" y="20"/>
                      </a:cubicBezTo>
                      <a:cubicBezTo>
                        <a:pt x="26" y="20"/>
                        <a:pt x="27" y="19"/>
                        <a:pt x="26" y="18"/>
                      </a:cubicBezTo>
                      <a:cubicBezTo>
                        <a:pt x="26" y="17"/>
                        <a:pt x="24" y="10"/>
                        <a:pt x="23" y="4"/>
                      </a:cubicBezTo>
                      <a:cubicBezTo>
                        <a:pt x="22" y="2"/>
                        <a:pt x="20" y="0"/>
                        <a:pt x="17" y="0"/>
                      </a:cubicBezTo>
                      <a:cubicBezTo>
                        <a:pt x="16" y="0"/>
                        <a:pt x="11" y="0"/>
                        <a:pt x="10" y="0"/>
                      </a:cubicBezTo>
                      <a:cubicBezTo>
                        <a:pt x="7" y="0"/>
                        <a:pt x="5" y="2"/>
                        <a:pt x="4" y="4"/>
                      </a:cubicBezTo>
                      <a:cubicBezTo>
                        <a:pt x="3" y="9"/>
                        <a:pt x="1" y="16"/>
                        <a:pt x="0" y="18"/>
                      </a:cubicBezTo>
                      <a:cubicBezTo>
                        <a:pt x="1" y="18"/>
                        <a:pt x="1" y="19"/>
                        <a:pt x="2" y="20"/>
                      </a:cubicBezTo>
                      <a:cubicBezTo>
                        <a:pt x="3" y="20"/>
                        <a:pt x="3" y="20"/>
                        <a:pt x="4" y="19"/>
                      </a:cubicBezTo>
                      <a:cubicBezTo>
                        <a:pt x="4" y="18"/>
                        <a:pt x="7" y="6"/>
                        <a:pt x="7" y="6"/>
                      </a:cubicBezTo>
                      <a:cubicBezTo>
                        <a:pt x="9" y="6"/>
                        <a:pt x="9" y="6"/>
                        <a:pt x="9" y="6"/>
                      </a:cubicBezTo>
                      <a:cubicBezTo>
                        <a:pt x="6" y="14"/>
                        <a:pt x="5" y="19"/>
                        <a:pt x="4" y="22"/>
                      </a:cubicBezTo>
                      <a:cubicBezTo>
                        <a:pt x="6" y="25"/>
                        <a:pt x="9" y="27"/>
                        <a:pt x="13" y="29"/>
                      </a:cubicBezTo>
                      <a:cubicBezTo>
                        <a:pt x="13" y="28"/>
                        <a:pt x="13" y="28"/>
                        <a:pt x="13" y="28"/>
                      </a:cubicBezTo>
                      <a:cubicBezTo>
                        <a:pt x="14" y="28"/>
                        <a:pt x="14" y="28"/>
                        <a:pt x="14" y="28"/>
                      </a:cubicBezTo>
                      <a:cubicBezTo>
                        <a:pt x="14" y="28"/>
                        <a:pt x="14" y="28"/>
                        <a:pt x="14" y="29"/>
                      </a:cubicBezTo>
                      <a:cubicBezTo>
                        <a:pt x="15" y="30"/>
                        <a:pt x="17" y="31"/>
                        <a:pt x="18" y="31"/>
                      </a:cubicBezTo>
                      <a:cubicBezTo>
                        <a:pt x="18" y="30"/>
                        <a:pt x="18" y="29"/>
                        <a:pt x="18" y="28"/>
                      </a:cubicBezTo>
                      <a:cubicBezTo>
                        <a:pt x="25" y="28"/>
                        <a:pt x="25" y="28"/>
                        <a:pt x="25"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999" name="Freeform 310"/>
                <p:cNvSpPr>
                  <a:spLocks/>
                </p:cNvSpPr>
                <p:nvPr/>
              </p:nvSpPr>
              <p:spPr bwMode="auto">
                <a:xfrm>
                  <a:off x="13790" y="2181"/>
                  <a:ext cx="3" cy="12"/>
                </a:xfrm>
                <a:custGeom>
                  <a:avLst/>
                  <a:gdLst>
                    <a:gd name="T0" fmla="*/ 0 w 1"/>
                    <a:gd name="T1" fmla="*/ 0 h 5"/>
                    <a:gd name="T2" fmla="*/ 1 w 1"/>
                    <a:gd name="T3" fmla="*/ 5 h 5"/>
                    <a:gd name="T4" fmla="*/ 1 w 1"/>
                    <a:gd name="T5" fmla="*/ 3 h 5"/>
                    <a:gd name="T6" fmla="*/ 0 w 1"/>
                    <a:gd name="T7" fmla="*/ 0 h 5"/>
                  </a:gdLst>
                  <a:ahLst/>
                  <a:cxnLst>
                    <a:cxn ang="0">
                      <a:pos x="T0" y="T1"/>
                    </a:cxn>
                    <a:cxn ang="0">
                      <a:pos x="T2" y="T3"/>
                    </a:cxn>
                    <a:cxn ang="0">
                      <a:pos x="T4" y="T5"/>
                    </a:cxn>
                    <a:cxn ang="0">
                      <a:pos x="T6" y="T7"/>
                    </a:cxn>
                  </a:cxnLst>
                  <a:rect l="0" t="0" r="r" b="b"/>
                  <a:pathLst>
                    <a:path w="1" h="5">
                      <a:moveTo>
                        <a:pt x="0" y="0"/>
                      </a:moveTo>
                      <a:cubicBezTo>
                        <a:pt x="0" y="2"/>
                        <a:pt x="1" y="4"/>
                        <a:pt x="1" y="5"/>
                      </a:cubicBezTo>
                      <a:cubicBezTo>
                        <a:pt x="1" y="4"/>
                        <a:pt x="1" y="3"/>
                        <a:pt x="1" y="3"/>
                      </a:cubicBezTo>
                      <a:cubicBezTo>
                        <a:pt x="1" y="2"/>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00" name="Freeform 311"/>
                <p:cNvSpPr>
                  <a:spLocks/>
                </p:cNvSpPr>
                <p:nvPr/>
              </p:nvSpPr>
              <p:spPr bwMode="auto">
                <a:xfrm>
                  <a:off x="13672" y="2174"/>
                  <a:ext cx="52" cy="33"/>
                </a:xfrm>
                <a:custGeom>
                  <a:avLst/>
                  <a:gdLst>
                    <a:gd name="T0" fmla="*/ 16 w 22"/>
                    <a:gd name="T1" fmla="*/ 0 h 14"/>
                    <a:gd name="T2" fmla="*/ 8 w 22"/>
                    <a:gd name="T3" fmla="*/ 0 h 14"/>
                    <a:gd name="T4" fmla="*/ 3 w 22"/>
                    <a:gd name="T5" fmla="*/ 4 h 14"/>
                    <a:gd name="T6" fmla="*/ 0 w 22"/>
                    <a:gd name="T7" fmla="*/ 14 h 14"/>
                    <a:gd name="T8" fmla="*/ 4 w 22"/>
                    <a:gd name="T9" fmla="*/ 14 h 14"/>
                    <a:gd name="T10" fmla="*/ 6 w 22"/>
                    <a:gd name="T11" fmla="*/ 6 h 14"/>
                    <a:gd name="T12" fmla="*/ 7 w 22"/>
                    <a:gd name="T13" fmla="*/ 6 h 14"/>
                    <a:gd name="T14" fmla="*/ 5 w 22"/>
                    <a:gd name="T15" fmla="*/ 14 h 14"/>
                    <a:gd name="T16" fmla="*/ 11 w 22"/>
                    <a:gd name="T17" fmla="*/ 13 h 14"/>
                    <a:gd name="T18" fmla="*/ 18 w 22"/>
                    <a:gd name="T19" fmla="*/ 10 h 14"/>
                    <a:gd name="T20" fmla="*/ 17 w 22"/>
                    <a:gd name="T21" fmla="*/ 6 h 14"/>
                    <a:gd name="T22" fmla="*/ 18 w 22"/>
                    <a:gd name="T23" fmla="*/ 6 h 14"/>
                    <a:gd name="T24" fmla="*/ 19 w 22"/>
                    <a:gd name="T25" fmla="*/ 9 h 14"/>
                    <a:gd name="T26" fmla="*/ 22 w 22"/>
                    <a:gd name="T27" fmla="*/ 6 h 14"/>
                    <a:gd name="T28" fmla="*/ 21 w 22"/>
                    <a:gd name="T29" fmla="*/ 4 h 14"/>
                    <a:gd name="T30" fmla="*/ 16 w 22"/>
                    <a:gd name="T3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4">
                      <a:moveTo>
                        <a:pt x="16" y="0"/>
                      </a:moveTo>
                      <a:cubicBezTo>
                        <a:pt x="15" y="0"/>
                        <a:pt x="9" y="0"/>
                        <a:pt x="8" y="0"/>
                      </a:cubicBezTo>
                      <a:cubicBezTo>
                        <a:pt x="6" y="0"/>
                        <a:pt x="4" y="2"/>
                        <a:pt x="3" y="4"/>
                      </a:cubicBezTo>
                      <a:cubicBezTo>
                        <a:pt x="2" y="7"/>
                        <a:pt x="1" y="11"/>
                        <a:pt x="0" y="14"/>
                      </a:cubicBezTo>
                      <a:cubicBezTo>
                        <a:pt x="1" y="14"/>
                        <a:pt x="2" y="14"/>
                        <a:pt x="4" y="14"/>
                      </a:cubicBezTo>
                      <a:cubicBezTo>
                        <a:pt x="5" y="10"/>
                        <a:pt x="6" y="6"/>
                        <a:pt x="6" y="6"/>
                      </a:cubicBezTo>
                      <a:cubicBezTo>
                        <a:pt x="7" y="6"/>
                        <a:pt x="7" y="6"/>
                        <a:pt x="7" y="6"/>
                      </a:cubicBezTo>
                      <a:cubicBezTo>
                        <a:pt x="6" y="9"/>
                        <a:pt x="6" y="12"/>
                        <a:pt x="5" y="14"/>
                      </a:cubicBezTo>
                      <a:cubicBezTo>
                        <a:pt x="7" y="14"/>
                        <a:pt x="9" y="14"/>
                        <a:pt x="11" y="13"/>
                      </a:cubicBezTo>
                      <a:cubicBezTo>
                        <a:pt x="14" y="12"/>
                        <a:pt x="16" y="11"/>
                        <a:pt x="18" y="10"/>
                      </a:cubicBezTo>
                      <a:cubicBezTo>
                        <a:pt x="17" y="6"/>
                        <a:pt x="17" y="6"/>
                        <a:pt x="17" y="6"/>
                      </a:cubicBezTo>
                      <a:cubicBezTo>
                        <a:pt x="18" y="6"/>
                        <a:pt x="18" y="6"/>
                        <a:pt x="18" y="6"/>
                      </a:cubicBezTo>
                      <a:cubicBezTo>
                        <a:pt x="18" y="6"/>
                        <a:pt x="18" y="7"/>
                        <a:pt x="19" y="9"/>
                      </a:cubicBezTo>
                      <a:cubicBezTo>
                        <a:pt x="20" y="8"/>
                        <a:pt x="21" y="7"/>
                        <a:pt x="22" y="6"/>
                      </a:cubicBezTo>
                      <a:cubicBezTo>
                        <a:pt x="22" y="5"/>
                        <a:pt x="21" y="5"/>
                        <a:pt x="21" y="4"/>
                      </a:cubicBezTo>
                      <a:cubicBezTo>
                        <a:pt x="20" y="2"/>
                        <a:pt x="18"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01" name="Freeform 312"/>
                <p:cNvSpPr>
                  <a:spLocks/>
                </p:cNvSpPr>
                <p:nvPr/>
              </p:nvSpPr>
              <p:spPr bwMode="auto">
                <a:xfrm>
                  <a:off x="13996" y="2318"/>
                  <a:ext cx="33" cy="88"/>
                </a:xfrm>
                <a:custGeom>
                  <a:avLst/>
                  <a:gdLst>
                    <a:gd name="T0" fmla="*/ 4 w 14"/>
                    <a:gd name="T1" fmla="*/ 5 h 37"/>
                    <a:gd name="T2" fmla="*/ 0 w 14"/>
                    <a:gd name="T3" fmla="*/ 19 h 37"/>
                    <a:gd name="T4" fmla="*/ 1 w 14"/>
                    <a:gd name="T5" fmla="*/ 21 h 37"/>
                    <a:gd name="T6" fmla="*/ 4 w 14"/>
                    <a:gd name="T7" fmla="*/ 20 h 37"/>
                    <a:gd name="T8" fmla="*/ 7 w 14"/>
                    <a:gd name="T9" fmla="*/ 7 h 37"/>
                    <a:gd name="T10" fmla="*/ 9 w 14"/>
                    <a:gd name="T11" fmla="*/ 7 h 37"/>
                    <a:gd name="T12" fmla="*/ 2 w 14"/>
                    <a:gd name="T13" fmla="*/ 28 h 37"/>
                    <a:gd name="T14" fmla="*/ 8 w 14"/>
                    <a:gd name="T15" fmla="*/ 28 h 37"/>
                    <a:gd name="T16" fmla="*/ 8 w 14"/>
                    <a:gd name="T17" fmla="*/ 37 h 37"/>
                    <a:gd name="T18" fmla="*/ 11 w 14"/>
                    <a:gd name="T19" fmla="*/ 33 h 37"/>
                    <a:gd name="T20" fmla="*/ 10 w 14"/>
                    <a:gd name="T21" fmla="*/ 0 h 37"/>
                    <a:gd name="T22" fmla="*/ 10 w 14"/>
                    <a:gd name="T23" fmla="*/ 0 h 37"/>
                    <a:gd name="T24" fmla="*/ 4 w 14"/>
                    <a:gd name="T25" fmla="*/ 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37">
                      <a:moveTo>
                        <a:pt x="4" y="5"/>
                      </a:moveTo>
                      <a:cubicBezTo>
                        <a:pt x="2" y="11"/>
                        <a:pt x="0" y="18"/>
                        <a:pt x="0" y="19"/>
                      </a:cubicBezTo>
                      <a:cubicBezTo>
                        <a:pt x="0" y="20"/>
                        <a:pt x="0" y="21"/>
                        <a:pt x="1" y="21"/>
                      </a:cubicBezTo>
                      <a:cubicBezTo>
                        <a:pt x="2" y="21"/>
                        <a:pt x="3" y="21"/>
                        <a:pt x="4" y="20"/>
                      </a:cubicBezTo>
                      <a:cubicBezTo>
                        <a:pt x="4" y="18"/>
                        <a:pt x="7" y="7"/>
                        <a:pt x="7" y="7"/>
                      </a:cubicBezTo>
                      <a:cubicBezTo>
                        <a:pt x="9" y="7"/>
                        <a:pt x="9" y="7"/>
                        <a:pt x="9" y="7"/>
                      </a:cubicBezTo>
                      <a:cubicBezTo>
                        <a:pt x="2" y="28"/>
                        <a:pt x="2" y="28"/>
                        <a:pt x="2" y="28"/>
                      </a:cubicBezTo>
                      <a:cubicBezTo>
                        <a:pt x="8" y="28"/>
                        <a:pt x="8" y="28"/>
                        <a:pt x="8" y="28"/>
                      </a:cubicBezTo>
                      <a:cubicBezTo>
                        <a:pt x="8" y="31"/>
                        <a:pt x="8" y="35"/>
                        <a:pt x="8" y="37"/>
                      </a:cubicBezTo>
                      <a:cubicBezTo>
                        <a:pt x="9" y="36"/>
                        <a:pt x="10" y="35"/>
                        <a:pt x="11" y="33"/>
                      </a:cubicBezTo>
                      <a:cubicBezTo>
                        <a:pt x="14" y="27"/>
                        <a:pt x="12" y="13"/>
                        <a:pt x="10" y="0"/>
                      </a:cubicBezTo>
                      <a:cubicBezTo>
                        <a:pt x="10" y="0"/>
                        <a:pt x="10" y="0"/>
                        <a:pt x="10" y="0"/>
                      </a:cubicBezTo>
                      <a:cubicBezTo>
                        <a:pt x="7" y="0"/>
                        <a:pt x="5" y="3"/>
                        <a:pt x="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02" name="Oval 313"/>
                <p:cNvSpPr>
                  <a:spLocks noChangeArrowheads="1"/>
                </p:cNvSpPr>
                <p:nvPr/>
              </p:nvSpPr>
              <p:spPr bwMode="auto">
                <a:xfrm>
                  <a:off x="14017" y="1999"/>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03" name="Oval 314"/>
                <p:cNvSpPr>
                  <a:spLocks noChangeArrowheads="1"/>
                </p:cNvSpPr>
                <p:nvPr/>
              </p:nvSpPr>
              <p:spPr bwMode="auto">
                <a:xfrm>
                  <a:off x="13951"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04" name="Freeform 315"/>
                <p:cNvSpPr>
                  <a:spLocks/>
                </p:cNvSpPr>
                <p:nvPr/>
              </p:nvSpPr>
              <p:spPr bwMode="auto">
                <a:xfrm>
                  <a:off x="13935" y="2025"/>
                  <a:ext cx="54" cy="111"/>
                </a:xfrm>
                <a:custGeom>
                  <a:avLst/>
                  <a:gdLst>
                    <a:gd name="T0" fmla="*/ 21 w 23"/>
                    <a:gd name="T1" fmla="*/ 23 h 47"/>
                    <a:gd name="T2" fmla="*/ 23 w 23"/>
                    <a:gd name="T3" fmla="*/ 21 h 47"/>
                    <a:gd name="T4" fmla="*/ 23 w 23"/>
                    <a:gd name="T5" fmla="*/ 6 h 47"/>
                    <a:gd name="T6" fmla="*/ 17 w 23"/>
                    <a:gd name="T7" fmla="*/ 0 h 47"/>
                    <a:gd name="T8" fmla="*/ 6 w 23"/>
                    <a:gd name="T9" fmla="*/ 0 h 47"/>
                    <a:gd name="T10" fmla="*/ 0 w 23"/>
                    <a:gd name="T11" fmla="*/ 6 h 47"/>
                    <a:gd name="T12" fmla="*/ 0 w 23"/>
                    <a:gd name="T13" fmla="*/ 21 h 47"/>
                    <a:gd name="T14" fmla="*/ 2 w 23"/>
                    <a:gd name="T15" fmla="*/ 23 h 47"/>
                    <a:gd name="T16" fmla="*/ 4 w 23"/>
                    <a:gd name="T17" fmla="*/ 21 h 47"/>
                    <a:gd name="T18" fmla="*/ 4 w 23"/>
                    <a:gd name="T19" fmla="*/ 8 h 47"/>
                    <a:gd name="T20" fmla="*/ 6 w 23"/>
                    <a:gd name="T21" fmla="*/ 8 h 47"/>
                    <a:gd name="T22" fmla="*/ 6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8 w 23"/>
                    <a:gd name="T37" fmla="*/ 44 h 47"/>
                    <a:gd name="T38" fmla="*/ 18 w 23"/>
                    <a:gd name="T39" fmla="*/ 8 h 47"/>
                    <a:gd name="T40" fmla="*/ 19 w 23"/>
                    <a:gd name="T41" fmla="*/ 8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ubicBezTo>
                        <a:pt x="0" y="22"/>
                        <a:pt x="1" y="23"/>
                        <a:pt x="2" y="23"/>
                      </a:cubicBezTo>
                      <a:cubicBezTo>
                        <a:pt x="4" y="23"/>
                        <a:pt x="4" y="22"/>
                        <a:pt x="4" y="21"/>
                      </a:cubicBezTo>
                      <a:cubicBezTo>
                        <a:pt x="4" y="19"/>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05" name="Oval 316"/>
                <p:cNvSpPr>
                  <a:spLocks noChangeArrowheads="1"/>
                </p:cNvSpPr>
                <p:nvPr/>
              </p:nvSpPr>
              <p:spPr bwMode="auto">
                <a:xfrm>
                  <a:off x="13951" y="2148"/>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06" name="Freeform 317"/>
                <p:cNvSpPr>
                  <a:spLocks/>
                </p:cNvSpPr>
                <p:nvPr/>
              </p:nvSpPr>
              <p:spPr bwMode="auto">
                <a:xfrm>
                  <a:off x="14017" y="2299"/>
                  <a:ext cx="3" cy="15"/>
                </a:xfrm>
                <a:custGeom>
                  <a:avLst/>
                  <a:gdLst>
                    <a:gd name="T0" fmla="*/ 1 w 1"/>
                    <a:gd name="T1" fmla="*/ 6 h 6"/>
                    <a:gd name="T2" fmla="*/ 0 w 1"/>
                    <a:gd name="T3" fmla="*/ 0 h 6"/>
                    <a:gd name="T4" fmla="*/ 0 w 1"/>
                    <a:gd name="T5" fmla="*/ 2 h 6"/>
                    <a:gd name="T6" fmla="*/ 1 w 1"/>
                    <a:gd name="T7" fmla="*/ 6 h 6"/>
                  </a:gdLst>
                  <a:ahLst/>
                  <a:cxnLst>
                    <a:cxn ang="0">
                      <a:pos x="T0" y="T1"/>
                    </a:cxn>
                    <a:cxn ang="0">
                      <a:pos x="T2" y="T3"/>
                    </a:cxn>
                    <a:cxn ang="0">
                      <a:pos x="T4" y="T5"/>
                    </a:cxn>
                    <a:cxn ang="0">
                      <a:pos x="T6" y="T7"/>
                    </a:cxn>
                  </a:cxnLst>
                  <a:rect l="0" t="0" r="r" b="b"/>
                  <a:pathLst>
                    <a:path w="1" h="6">
                      <a:moveTo>
                        <a:pt x="1" y="6"/>
                      </a:moveTo>
                      <a:cubicBezTo>
                        <a:pt x="1" y="4"/>
                        <a:pt x="0" y="2"/>
                        <a:pt x="0" y="0"/>
                      </a:cubicBezTo>
                      <a:cubicBezTo>
                        <a:pt x="0" y="1"/>
                        <a:pt x="0" y="2"/>
                        <a:pt x="0" y="2"/>
                      </a:cubicBezTo>
                      <a:cubicBezTo>
                        <a:pt x="0" y="4"/>
                        <a:pt x="0" y="5"/>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07" name="Freeform 318"/>
                <p:cNvSpPr>
                  <a:spLocks/>
                </p:cNvSpPr>
                <p:nvPr/>
              </p:nvSpPr>
              <p:spPr bwMode="auto">
                <a:xfrm>
                  <a:off x="13996" y="2025"/>
                  <a:ext cx="64" cy="111"/>
                </a:xfrm>
                <a:custGeom>
                  <a:avLst/>
                  <a:gdLst>
                    <a:gd name="T0" fmla="*/ 23 w 27"/>
                    <a:gd name="T1" fmla="*/ 5 h 47"/>
                    <a:gd name="T2" fmla="*/ 17 w 27"/>
                    <a:gd name="T3" fmla="*/ 0 h 47"/>
                    <a:gd name="T4" fmla="*/ 10 w 27"/>
                    <a:gd name="T5" fmla="*/ 0 h 47"/>
                    <a:gd name="T6" fmla="*/ 4 w 27"/>
                    <a:gd name="T7" fmla="*/ 5 h 47"/>
                    <a:gd name="T8" fmla="*/ 0 w 27"/>
                    <a:gd name="T9" fmla="*/ 18 h 47"/>
                    <a:gd name="T10" fmla="*/ 1 w 27"/>
                    <a:gd name="T11" fmla="*/ 21 h 47"/>
                    <a:gd name="T12" fmla="*/ 4 w 27"/>
                    <a:gd name="T13" fmla="*/ 20 h 47"/>
                    <a:gd name="T14" fmla="*/ 7 w 27"/>
                    <a:gd name="T15" fmla="*/ 6 h 47"/>
                    <a:gd name="T16" fmla="*/ 9 w 27"/>
                    <a:gd name="T17" fmla="*/ 6 h 47"/>
                    <a:gd name="T18" fmla="*/ 2 w 27"/>
                    <a:gd name="T19" fmla="*/ 28 h 47"/>
                    <a:gd name="T20" fmla="*/ 8 w 27"/>
                    <a:gd name="T21" fmla="*/ 28 h 47"/>
                    <a:gd name="T22" fmla="*/ 8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8 w 27"/>
                    <a:gd name="T37" fmla="*/ 45 h 47"/>
                    <a:gd name="T38" fmla="*/ 18 w 27"/>
                    <a:gd name="T39" fmla="*/ 28 h 47"/>
                    <a:gd name="T40" fmla="*/ 25 w 27"/>
                    <a:gd name="T41" fmla="*/ 28 h 47"/>
                    <a:gd name="T42" fmla="*/ 18 w 27"/>
                    <a:gd name="T43" fmla="*/ 6 h 47"/>
                    <a:gd name="T44" fmla="*/ 19 w 27"/>
                    <a:gd name="T45" fmla="*/ 6 h 47"/>
                    <a:gd name="T46" fmla="*/ 23 w 27"/>
                    <a:gd name="T47" fmla="*/ 20 h 47"/>
                    <a:gd name="T48" fmla="*/ 25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7" y="0"/>
                      </a:cubicBezTo>
                      <a:cubicBezTo>
                        <a:pt x="16" y="0"/>
                        <a:pt x="11" y="0"/>
                        <a:pt x="10" y="0"/>
                      </a:cubicBezTo>
                      <a:cubicBezTo>
                        <a:pt x="7" y="0"/>
                        <a:pt x="5" y="2"/>
                        <a:pt x="4" y="5"/>
                      </a:cubicBezTo>
                      <a:cubicBezTo>
                        <a:pt x="2" y="10"/>
                        <a:pt x="0" y="18"/>
                        <a:pt x="0" y="18"/>
                      </a:cubicBezTo>
                      <a:cubicBezTo>
                        <a:pt x="0" y="19"/>
                        <a:pt x="0" y="20"/>
                        <a:pt x="1" y="21"/>
                      </a:cubicBezTo>
                      <a:cubicBezTo>
                        <a:pt x="2" y="21"/>
                        <a:pt x="3" y="20"/>
                        <a:pt x="4" y="20"/>
                      </a:cubicBezTo>
                      <a:cubicBezTo>
                        <a:pt x="4" y="18"/>
                        <a:pt x="7" y="6"/>
                        <a:pt x="7"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6"/>
                        <a:pt x="18" y="6"/>
                        <a:pt x="18" y="6"/>
                      </a:cubicBezTo>
                      <a:cubicBezTo>
                        <a:pt x="19" y="6"/>
                        <a:pt x="19" y="6"/>
                        <a:pt x="19" y="6"/>
                      </a:cubicBezTo>
                      <a:cubicBezTo>
                        <a:pt x="19" y="6"/>
                        <a:pt x="23" y="18"/>
                        <a:pt x="23" y="20"/>
                      </a:cubicBezTo>
                      <a:cubicBezTo>
                        <a:pt x="23" y="20"/>
                        <a:pt x="24" y="21"/>
                        <a:pt x="25" y="21"/>
                      </a:cubicBezTo>
                      <a:cubicBezTo>
                        <a:pt x="26" y="20"/>
                        <a:pt x="27" y="19"/>
                        <a:pt x="27" y="18"/>
                      </a:cubicBezTo>
                      <a:cubicBezTo>
                        <a:pt x="26" y="18"/>
                        <a:pt x="24"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08" name="Oval 319"/>
                <p:cNvSpPr>
                  <a:spLocks noChangeArrowheads="1"/>
                </p:cNvSpPr>
                <p:nvPr/>
              </p:nvSpPr>
              <p:spPr bwMode="auto">
                <a:xfrm>
                  <a:off x="13821"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09" name="Oval 320"/>
                <p:cNvSpPr>
                  <a:spLocks noChangeArrowheads="1"/>
                </p:cNvSpPr>
                <p:nvPr/>
              </p:nvSpPr>
              <p:spPr bwMode="auto">
                <a:xfrm>
                  <a:off x="14017" y="2148"/>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10" name="Freeform 321"/>
                <p:cNvSpPr>
                  <a:spLocks/>
                </p:cNvSpPr>
                <p:nvPr/>
              </p:nvSpPr>
              <p:spPr bwMode="auto">
                <a:xfrm>
                  <a:off x="13804" y="2025"/>
                  <a:ext cx="55"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7 w 23"/>
                    <a:gd name="T31" fmla="*/ 44 h 47"/>
                    <a:gd name="T32" fmla="*/ 17 w 23"/>
                    <a:gd name="T33" fmla="*/ 8 h 47"/>
                    <a:gd name="T34" fmla="*/ 18 w 23"/>
                    <a:gd name="T35" fmla="*/ 8 h 47"/>
                    <a:gd name="T36" fmla="*/ 18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11" name="Oval 322"/>
                <p:cNvSpPr>
                  <a:spLocks noChangeArrowheads="1"/>
                </p:cNvSpPr>
                <p:nvPr/>
              </p:nvSpPr>
              <p:spPr bwMode="auto">
                <a:xfrm>
                  <a:off x="13821" y="2148"/>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12" name="Freeform 323"/>
                <p:cNvSpPr>
                  <a:spLocks/>
                </p:cNvSpPr>
                <p:nvPr/>
              </p:nvSpPr>
              <p:spPr bwMode="auto">
                <a:xfrm>
                  <a:off x="13864" y="2025"/>
                  <a:ext cx="63" cy="111"/>
                </a:xfrm>
                <a:custGeom>
                  <a:avLst/>
                  <a:gdLst>
                    <a:gd name="T0" fmla="*/ 23 w 27"/>
                    <a:gd name="T1" fmla="*/ 5 h 47"/>
                    <a:gd name="T2" fmla="*/ 18 w 27"/>
                    <a:gd name="T3" fmla="*/ 0 h 47"/>
                    <a:gd name="T4" fmla="*/ 10 w 27"/>
                    <a:gd name="T5" fmla="*/ 0 h 47"/>
                    <a:gd name="T6" fmla="*/ 5 w 27"/>
                    <a:gd name="T7" fmla="*/ 5 h 47"/>
                    <a:gd name="T8" fmla="*/ 1 w 27"/>
                    <a:gd name="T9" fmla="*/ 18 h 47"/>
                    <a:gd name="T10" fmla="*/ 2 w 27"/>
                    <a:gd name="T11" fmla="*/ 21 h 47"/>
                    <a:gd name="T12" fmla="*/ 4 w 27"/>
                    <a:gd name="T13" fmla="*/ 20 h 47"/>
                    <a:gd name="T14" fmla="*/ 8 w 27"/>
                    <a:gd name="T15" fmla="*/ 6 h 47"/>
                    <a:gd name="T16" fmla="*/ 9 w 27"/>
                    <a:gd name="T17" fmla="*/ 6 h 47"/>
                    <a:gd name="T18" fmla="*/ 3 w 27"/>
                    <a:gd name="T19" fmla="*/ 28 h 47"/>
                    <a:gd name="T20" fmla="*/ 9 w 27"/>
                    <a:gd name="T21" fmla="*/ 28 h 47"/>
                    <a:gd name="T22" fmla="*/ 9 w 27"/>
                    <a:gd name="T23" fmla="*/ 45 h 47"/>
                    <a:gd name="T24" fmla="*/ 11 w 27"/>
                    <a:gd name="T25" fmla="*/ 47 h 47"/>
                    <a:gd name="T26" fmla="*/ 14 w 27"/>
                    <a:gd name="T27" fmla="*/ 45 h 47"/>
                    <a:gd name="T28" fmla="*/ 14 w 27"/>
                    <a:gd name="T29" fmla="*/ 28 h 47"/>
                    <a:gd name="T30" fmla="*/ 15 w 27"/>
                    <a:gd name="T31" fmla="*/ 28 h 47"/>
                    <a:gd name="T32" fmla="*/ 15 w 27"/>
                    <a:gd name="T33" fmla="*/ 45 h 47"/>
                    <a:gd name="T34" fmla="*/ 17 w 27"/>
                    <a:gd name="T35" fmla="*/ 47 h 47"/>
                    <a:gd name="T36" fmla="*/ 19 w 27"/>
                    <a:gd name="T37" fmla="*/ 45 h 47"/>
                    <a:gd name="T38" fmla="*/ 19 w 27"/>
                    <a:gd name="T39" fmla="*/ 28 h 47"/>
                    <a:gd name="T40" fmla="*/ 25 w 27"/>
                    <a:gd name="T41" fmla="*/ 28 h 47"/>
                    <a:gd name="T42" fmla="*/ 19 w 27"/>
                    <a:gd name="T43" fmla="*/ 6 h 47"/>
                    <a:gd name="T44" fmla="*/ 20 w 27"/>
                    <a:gd name="T45" fmla="*/ 6 h 47"/>
                    <a:gd name="T46" fmla="*/ 24 w 27"/>
                    <a:gd name="T47" fmla="*/ 20 h 47"/>
                    <a:gd name="T48" fmla="*/ 26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3" y="2"/>
                        <a:pt x="20" y="0"/>
                        <a:pt x="18" y="0"/>
                      </a:cubicBezTo>
                      <a:cubicBezTo>
                        <a:pt x="17" y="0"/>
                        <a:pt x="11" y="0"/>
                        <a:pt x="10" y="0"/>
                      </a:cubicBezTo>
                      <a:cubicBezTo>
                        <a:pt x="8" y="0"/>
                        <a:pt x="5" y="2"/>
                        <a:pt x="5" y="5"/>
                      </a:cubicBezTo>
                      <a:cubicBezTo>
                        <a:pt x="3" y="10"/>
                        <a:pt x="1" y="18"/>
                        <a:pt x="1" y="18"/>
                      </a:cubicBezTo>
                      <a:cubicBezTo>
                        <a:pt x="0" y="19"/>
                        <a:pt x="1" y="20"/>
                        <a:pt x="2" y="21"/>
                      </a:cubicBezTo>
                      <a:cubicBezTo>
                        <a:pt x="3" y="21"/>
                        <a:pt x="4" y="20"/>
                        <a:pt x="4" y="20"/>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20"/>
                      </a:cubicBezTo>
                      <a:cubicBezTo>
                        <a:pt x="24" y="20"/>
                        <a:pt x="25" y="21"/>
                        <a:pt x="26" y="21"/>
                      </a:cubicBezTo>
                      <a:cubicBezTo>
                        <a:pt x="27" y="20"/>
                        <a:pt x="27"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13" name="Freeform 324"/>
                <p:cNvSpPr>
                  <a:spLocks/>
                </p:cNvSpPr>
                <p:nvPr/>
              </p:nvSpPr>
              <p:spPr bwMode="auto">
                <a:xfrm>
                  <a:off x="13733" y="2025"/>
                  <a:ext cx="64" cy="111"/>
                </a:xfrm>
                <a:custGeom>
                  <a:avLst/>
                  <a:gdLst>
                    <a:gd name="T0" fmla="*/ 23 w 27"/>
                    <a:gd name="T1" fmla="*/ 5 h 47"/>
                    <a:gd name="T2" fmla="*/ 17 w 27"/>
                    <a:gd name="T3" fmla="*/ 0 h 47"/>
                    <a:gd name="T4" fmla="*/ 10 w 27"/>
                    <a:gd name="T5" fmla="*/ 0 h 47"/>
                    <a:gd name="T6" fmla="*/ 4 w 27"/>
                    <a:gd name="T7" fmla="*/ 5 h 47"/>
                    <a:gd name="T8" fmla="*/ 0 w 27"/>
                    <a:gd name="T9" fmla="*/ 18 h 47"/>
                    <a:gd name="T10" fmla="*/ 2 w 27"/>
                    <a:gd name="T11" fmla="*/ 21 h 47"/>
                    <a:gd name="T12" fmla="*/ 4 w 27"/>
                    <a:gd name="T13" fmla="*/ 20 h 47"/>
                    <a:gd name="T14" fmla="*/ 8 w 27"/>
                    <a:gd name="T15" fmla="*/ 6 h 47"/>
                    <a:gd name="T16" fmla="*/ 9 w 27"/>
                    <a:gd name="T17" fmla="*/ 6 h 47"/>
                    <a:gd name="T18" fmla="*/ 2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9 w 27"/>
                    <a:gd name="T37" fmla="*/ 45 h 47"/>
                    <a:gd name="T38" fmla="*/ 19 w 27"/>
                    <a:gd name="T39" fmla="*/ 28 h 47"/>
                    <a:gd name="T40" fmla="*/ 25 w 27"/>
                    <a:gd name="T41" fmla="*/ 28 h 47"/>
                    <a:gd name="T42" fmla="*/ 18 w 27"/>
                    <a:gd name="T43" fmla="*/ 6 h 47"/>
                    <a:gd name="T44" fmla="*/ 20 w 27"/>
                    <a:gd name="T45" fmla="*/ 6 h 47"/>
                    <a:gd name="T46" fmla="*/ 23 w 27"/>
                    <a:gd name="T47" fmla="*/ 20 h 47"/>
                    <a:gd name="T48" fmla="*/ 26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7" y="0"/>
                      </a:cubicBezTo>
                      <a:cubicBezTo>
                        <a:pt x="16" y="0"/>
                        <a:pt x="11" y="0"/>
                        <a:pt x="10" y="0"/>
                      </a:cubicBezTo>
                      <a:cubicBezTo>
                        <a:pt x="8" y="0"/>
                        <a:pt x="5" y="2"/>
                        <a:pt x="4" y="5"/>
                      </a:cubicBezTo>
                      <a:cubicBezTo>
                        <a:pt x="3" y="10"/>
                        <a:pt x="1" y="18"/>
                        <a:pt x="0" y="18"/>
                      </a:cubicBezTo>
                      <a:cubicBezTo>
                        <a:pt x="0" y="19"/>
                        <a:pt x="1" y="20"/>
                        <a:pt x="2" y="21"/>
                      </a:cubicBezTo>
                      <a:cubicBezTo>
                        <a:pt x="3" y="21"/>
                        <a:pt x="4" y="20"/>
                        <a:pt x="4" y="20"/>
                      </a:cubicBezTo>
                      <a:cubicBezTo>
                        <a:pt x="4" y="18"/>
                        <a:pt x="8" y="6"/>
                        <a:pt x="8" y="6"/>
                      </a:cubicBezTo>
                      <a:cubicBezTo>
                        <a:pt x="9" y="6"/>
                        <a:pt x="9" y="6"/>
                        <a:pt x="9" y="6"/>
                      </a:cubicBezTo>
                      <a:cubicBezTo>
                        <a:pt x="2" y="28"/>
                        <a:pt x="2" y="28"/>
                        <a:pt x="2"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6"/>
                        <a:pt x="18" y="6"/>
                        <a:pt x="18" y="6"/>
                      </a:cubicBezTo>
                      <a:cubicBezTo>
                        <a:pt x="20" y="6"/>
                        <a:pt x="20" y="6"/>
                        <a:pt x="20" y="6"/>
                      </a:cubicBezTo>
                      <a:cubicBezTo>
                        <a:pt x="20" y="6"/>
                        <a:pt x="23" y="18"/>
                        <a:pt x="23" y="20"/>
                      </a:cubicBezTo>
                      <a:cubicBezTo>
                        <a:pt x="24" y="20"/>
                        <a:pt x="25" y="21"/>
                        <a:pt x="26" y="21"/>
                      </a:cubicBezTo>
                      <a:cubicBezTo>
                        <a:pt x="27" y="20"/>
                        <a:pt x="27"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14" name="Oval 325"/>
                <p:cNvSpPr>
                  <a:spLocks noChangeArrowheads="1"/>
                </p:cNvSpPr>
                <p:nvPr/>
              </p:nvSpPr>
              <p:spPr bwMode="auto">
                <a:xfrm>
                  <a:off x="13885" y="2148"/>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15" name="Oval 326"/>
                <p:cNvSpPr>
                  <a:spLocks noChangeArrowheads="1"/>
                </p:cNvSpPr>
                <p:nvPr/>
              </p:nvSpPr>
              <p:spPr bwMode="auto">
                <a:xfrm>
                  <a:off x="13885" y="1999"/>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16" name="Freeform 327"/>
                <p:cNvSpPr>
                  <a:spLocks/>
                </p:cNvSpPr>
                <p:nvPr/>
              </p:nvSpPr>
              <p:spPr bwMode="auto">
                <a:xfrm>
                  <a:off x="13930" y="2174"/>
                  <a:ext cx="64" cy="109"/>
                </a:xfrm>
                <a:custGeom>
                  <a:avLst/>
                  <a:gdLst>
                    <a:gd name="T0" fmla="*/ 23 w 27"/>
                    <a:gd name="T1" fmla="*/ 4 h 46"/>
                    <a:gd name="T2" fmla="*/ 18 w 27"/>
                    <a:gd name="T3" fmla="*/ 0 h 46"/>
                    <a:gd name="T4" fmla="*/ 10 w 27"/>
                    <a:gd name="T5" fmla="*/ 0 h 46"/>
                    <a:gd name="T6" fmla="*/ 5 w 27"/>
                    <a:gd name="T7" fmla="*/ 4 h 46"/>
                    <a:gd name="T8" fmla="*/ 0 w 27"/>
                    <a:gd name="T9" fmla="*/ 18 h 46"/>
                    <a:gd name="T10" fmla="*/ 2 w 27"/>
                    <a:gd name="T11" fmla="*/ 20 h 46"/>
                    <a:gd name="T12" fmla="*/ 4 w 27"/>
                    <a:gd name="T13" fmla="*/ 19 h 46"/>
                    <a:gd name="T14" fmla="*/ 8 w 27"/>
                    <a:gd name="T15" fmla="*/ 6 h 46"/>
                    <a:gd name="T16" fmla="*/ 9 w 27"/>
                    <a:gd name="T17" fmla="*/ 6 h 46"/>
                    <a:gd name="T18" fmla="*/ 3 w 27"/>
                    <a:gd name="T19" fmla="*/ 28 h 46"/>
                    <a:gd name="T20" fmla="*/ 9 w 27"/>
                    <a:gd name="T21" fmla="*/ 28 h 46"/>
                    <a:gd name="T22" fmla="*/ 9 w 27"/>
                    <a:gd name="T23" fmla="*/ 44 h 46"/>
                    <a:gd name="T24" fmla="*/ 11 w 27"/>
                    <a:gd name="T25" fmla="*/ 46 h 46"/>
                    <a:gd name="T26" fmla="*/ 13 w 27"/>
                    <a:gd name="T27" fmla="*/ 44 h 46"/>
                    <a:gd name="T28" fmla="*/ 13 w 27"/>
                    <a:gd name="T29" fmla="*/ 28 h 46"/>
                    <a:gd name="T30" fmla="*/ 14 w 27"/>
                    <a:gd name="T31" fmla="*/ 28 h 46"/>
                    <a:gd name="T32" fmla="*/ 14 w 27"/>
                    <a:gd name="T33" fmla="*/ 44 h 46"/>
                    <a:gd name="T34" fmla="*/ 17 w 27"/>
                    <a:gd name="T35" fmla="*/ 46 h 46"/>
                    <a:gd name="T36" fmla="*/ 19 w 27"/>
                    <a:gd name="T37" fmla="*/ 44 h 46"/>
                    <a:gd name="T38" fmla="*/ 19 w 27"/>
                    <a:gd name="T39" fmla="*/ 28 h 46"/>
                    <a:gd name="T40" fmla="*/ 25 w 27"/>
                    <a:gd name="T41" fmla="*/ 28 h 46"/>
                    <a:gd name="T42" fmla="*/ 18 w 27"/>
                    <a:gd name="T43" fmla="*/ 6 h 46"/>
                    <a:gd name="T44" fmla="*/ 20 w 27"/>
                    <a:gd name="T45" fmla="*/ 6 h 46"/>
                    <a:gd name="T46" fmla="*/ 23 w 27"/>
                    <a:gd name="T47" fmla="*/ 19 h 46"/>
                    <a:gd name="T48" fmla="*/ 26 w 27"/>
                    <a:gd name="T49" fmla="*/ 20 h 46"/>
                    <a:gd name="T50" fmla="*/ 27 w 27"/>
                    <a:gd name="T51" fmla="*/ 18 h 46"/>
                    <a:gd name="T52" fmla="*/ 23 w 27"/>
                    <a:gd name="T53"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23" y="4"/>
                      </a:move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ubicBezTo>
                        <a:pt x="3" y="20"/>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5"/>
                        <a:pt x="10"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7" y="46"/>
                      </a:cubicBezTo>
                      <a:cubicBezTo>
                        <a:pt x="18" y="46"/>
                        <a:pt x="19" y="45"/>
                        <a:pt x="19" y="44"/>
                      </a:cubicBezTo>
                      <a:cubicBezTo>
                        <a:pt x="19" y="43"/>
                        <a:pt x="19" y="35"/>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0"/>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17" name="Freeform 328"/>
                <p:cNvSpPr>
                  <a:spLocks/>
                </p:cNvSpPr>
                <p:nvPr/>
              </p:nvSpPr>
              <p:spPr bwMode="auto">
                <a:xfrm>
                  <a:off x="14126" y="2025"/>
                  <a:ext cx="64" cy="111"/>
                </a:xfrm>
                <a:custGeom>
                  <a:avLst/>
                  <a:gdLst>
                    <a:gd name="T0" fmla="*/ 23 w 27"/>
                    <a:gd name="T1" fmla="*/ 5 h 47"/>
                    <a:gd name="T2" fmla="*/ 18 w 27"/>
                    <a:gd name="T3" fmla="*/ 0 h 47"/>
                    <a:gd name="T4" fmla="*/ 10 w 27"/>
                    <a:gd name="T5" fmla="*/ 0 h 47"/>
                    <a:gd name="T6" fmla="*/ 5 w 27"/>
                    <a:gd name="T7" fmla="*/ 5 h 47"/>
                    <a:gd name="T8" fmla="*/ 0 w 27"/>
                    <a:gd name="T9" fmla="*/ 18 h 47"/>
                    <a:gd name="T10" fmla="*/ 2 w 27"/>
                    <a:gd name="T11" fmla="*/ 21 h 47"/>
                    <a:gd name="T12" fmla="*/ 4 w 27"/>
                    <a:gd name="T13" fmla="*/ 20 h 47"/>
                    <a:gd name="T14" fmla="*/ 8 w 27"/>
                    <a:gd name="T15" fmla="*/ 6 h 47"/>
                    <a:gd name="T16" fmla="*/ 9 w 27"/>
                    <a:gd name="T17" fmla="*/ 6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7 w 27"/>
                    <a:gd name="T35" fmla="*/ 47 h 47"/>
                    <a:gd name="T36" fmla="*/ 19 w 27"/>
                    <a:gd name="T37" fmla="*/ 45 h 47"/>
                    <a:gd name="T38" fmla="*/ 19 w 27"/>
                    <a:gd name="T39" fmla="*/ 28 h 47"/>
                    <a:gd name="T40" fmla="*/ 25 w 27"/>
                    <a:gd name="T41" fmla="*/ 28 h 47"/>
                    <a:gd name="T42" fmla="*/ 19 w 27"/>
                    <a:gd name="T43" fmla="*/ 6 h 47"/>
                    <a:gd name="T44" fmla="*/ 20 w 27"/>
                    <a:gd name="T45" fmla="*/ 6 h 47"/>
                    <a:gd name="T46" fmla="*/ 23 w 27"/>
                    <a:gd name="T47" fmla="*/ 20 h 47"/>
                    <a:gd name="T48" fmla="*/ 26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8" y="0"/>
                      </a:cubicBezTo>
                      <a:cubicBezTo>
                        <a:pt x="16" y="0"/>
                        <a:pt x="11" y="0"/>
                        <a:pt x="10" y="0"/>
                      </a:cubicBezTo>
                      <a:cubicBezTo>
                        <a:pt x="8" y="0"/>
                        <a:pt x="5" y="2"/>
                        <a:pt x="5" y="5"/>
                      </a:cubicBezTo>
                      <a:cubicBezTo>
                        <a:pt x="3" y="10"/>
                        <a:pt x="1" y="18"/>
                        <a:pt x="0" y="18"/>
                      </a:cubicBezTo>
                      <a:cubicBezTo>
                        <a:pt x="0" y="19"/>
                        <a:pt x="1" y="20"/>
                        <a:pt x="2" y="21"/>
                      </a:cubicBezTo>
                      <a:cubicBezTo>
                        <a:pt x="3" y="21"/>
                        <a:pt x="4" y="20"/>
                        <a:pt x="4" y="20"/>
                      </a:cubicBezTo>
                      <a:cubicBezTo>
                        <a:pt x="4"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3" y="20"/>
                      </a:cubicBezTo>
                      <a:cubicBezTo>
                        <a:pt x="24" y="20"/>
                        <a:pt x="25" y="21"/>
                        <a:pt x="26" y="21"/>
                      </a:cubicBezTo>
                      <a:cubicBezTo>
                        <a:pt x="27" y="20"/>
                        <a:pt x="27"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18" name="Oval 329"/>
                <p:cNvSpPr>
                  <a:spLocks noChangeArrowheads="1"/>
                </p:cNvSpPr>
                <p:nvPr/>
              </p:nvSpPr>
              <p:spPr bwMode="auto">
                <a:xfrm>
                  <a:off x="13755"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19" name="Oval 330"/>
                <p:cNvSpPr>
                  <a:spLocks noChangeArrowheads="1"/>
                </p:cNvSpPr>
                <p:nvPr/>
              </p:nvSpPr>
              <p:spPr bwMode="auto">
                <a:xfrm>
                  <a:off x="14148" y="2148"/>
                  <a:ext cx="23"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20" name="Oval 331"/>
                <p:cNvSpPr>
                  <a:spLocks noChangeArrowheads="1"/>
                </p:cNvSpPr>
                <p:nvPr/>
              </p:nvSpPr>
              <p:spPr bwMode="auto">
                <a:xfrm>
                  <a:off x="14081" y="1999"/>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21" name="Freeform 332"/>
                <p:cNvSpPr>
                  <a:spLocks/>
                </p:cNvSpPr>
                <p:nvPr/>
              </p:nvSpPr>
              <p:spPr bwMode="auto">
                <a:xfrm>
                  <a:off x="14067" y="2025"/>
                  <a:ext cx="52" cy="111"/>
                </a:xfrm>
                <a:custGeom>
                  <a:avLst/>
                  <a:gdLst>
                    <a:gd name="T0" fmla="*/ 16 w 22"/>
                    <a:gd name="T1" fmla="*/ 0 h 47"/>
                    <a:gd name="T2" fmla="*/ 6 w 22"/>
                    <a:gd name="T3" fmla="*/ 0 h 47"/>
                    <a:gd name="T4" fmla="*/ 0 w 22"/>
                    <a:gd name="T5" fmla="*/ 6 h 47"/>
                    <a:gd name="T6" fmla="*/ 0 w 22"/>
                    <a:gd name="T7" fmla="*/ 21 h 47"/>
                    <a:gd name="T8" fmla="*/ 2 w 22"/>
                    <a:gd name="T9" fmla="*/ 23 h 47"/>
                    <a:gd name="T10" fmla="*/ 4 w 22"/>
                    <a:gd name="T11" fmla="*/ 21 h 47"/>
                    <a:gd name="T12" fmla="*/ 4 w 22"/>
                    <a:gd name="T13" fmla="*/ 8 h 47"/>
                    <a:gd name="T14" fmla="*/ 5 w 22"/>
                    <a:gd name="T15" fmla="*/ 8 h 47"/>
                    <a:gd name="T16" fmla="*/ 5 w 22"/>
                    <a:gd name="T17" fmla="*/ 44 h 47"/>
                    <a:gd name="T18" fmla="*/ 8 w 22"/>
                    <a:gd name="T19" fmla="*/ 47 h 47"/>
                    <a:gd name="T20" fmla="*/ 10 w 22"/>
                    <a:gd name="T21" fmla="*/ 44 h 47"/>
                    <a:gd name="T22" fmla="*/ 10 w 22"/>
                    <a:gd name="T23" fmla="*/ 23 h 47"/>
                    <a:gd name="T24" fmla="*/ 12 w 22"/>
                    <a:gd name="T25" fmla="*/ 23 h 47"/>
                    <a:gd name="T26" fmla="*/ 12 w 22"/>
                    <a:gd name="T27" fmla="*/ 44 h 47"/>
                    <a:gd name="T28" fmla="*/ 14 w 22"/>
                    <a:gd name="T29" fmla="*/ 47 h 47"/>
                    <a:gd name="T30" fmla="*/ 17 w 22"/>
                    <a:gd name="T31" fmla="*/ 44 h 47"/>
                    <a:gd name="T32" fmla="*/ 17 w 22"/>
                    <a:gd name="T33" fmla="*/ 8 h 47"/>
                    <a:gd name="T34" fmla="*/ 18 w 22"/>
                    <a:gd name="T35" fmla="*/ 8 h 47"/>
                    <a:gd name="T36" fmla="*/ 18 w 22"/>
                    <a:gd name="T37" fmla="*/ 21 h 47"/>
                    <a:gd name="T38" fmla="*/ 20 w 22"/>
                    <a:gd name="T39" fmla="*/ 23 h 47"/>
                    <a:gd name="T40" fmla="*/ 22 w 22"/>
                    <a:gd name="T41" fmla="*/ 21 h 47"/>
                    <a:gd name="T42" fmla="*/ 22 w 22"/>
                    <a:gd name="T43" fmla="*/ 6 h 47"/>
                    <a:gd name="T44" fmla="*/ 16 w 22"/>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16" y="0"/>
                      </a:moveTo>
                      <a:cubicBezTo>
                        <a:pt x="15" y="0"/>
                        <a:pt x="7" y="0"/>
                        <a:pt x="6" y="0"/>
                      </a:cubicBezTo>
                      <a:cubicBezTo>
                        <a:pt x="2"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22" name="Oval 333"/>
                <p:cNvSpPr>
                  <a:spLocks noChangeArrowheads="1"/>
                </p:cNvSpPr>
                <p:nvPr/>
              </p:nvSpPr>
              <p:spPr bwMode="auto">
                <a:xfrm>
                  <a:off x="14148" y="1999"/>
                  <a:ext cx="23"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23" name="Freeform 334"/>
                <p:cNvSpPr>
                  <a:spLocks/>
                </p:cNvSpPr>
                <p:nvPr/>
              </p:nvSpPr>
              <p:spPr bwMode="auto">
                <a:xfrm>
                  <a:off x="14001" y="2172"/>
                  <a:ext cx="54" cy="111"/>
                </a:xfrm>
                <a:custGeom>
                  <a:avLst/>
                  <a:gdLst>
                    <a:gd name="T0" fmla="*/ 19 w 23"/>
                    <a:gd name="T1" fmla="*/ 8 h 47"/>
                    <a:gd name="T2" fmla="*/ 19 w 23"/>
                    <a:gd name="T3" fmla="*/ 21 h 47"/>
                    <a:gd name="T4" fmla="*/ 21 w 23"/>
                    <a:gd name="T5" fmla="*/ 23 h 47"/>
                    <a:gd name="T6" fmla="*/ 23 w 23"/>
                    <a:gd name="T7" fmla="*/ 21 h 47"/>
                    <a:gd name="T8" fmla="*/ 23 w 23"/>
                    <a:gd name="T9" fmla="*/ 7 h 47"/>
                    <a:gd name="T10" fmla="*/ 17 w 23"/>
                    <a:gd name="T11" fmla="*/ 0 h 47"/>
                    <a:gd name="T12" fmla="*/ 6 w 23"/>
                    <a:gd name="T13" fmla="*/ 0 h 47"/>
                    <a:gd name="T14" fmla="*/ 0 w 23"/>
                    <a:gd name="T15" fmla="*/ 7 h 47"/>
                    <a:gd name="T16" fmla="*/ 0 w 23"/>
                    <a:gd name="T17" fmla="*/ 21 h 47"/>
                    <a:gd name="T18" fmla="*/ 2 w 23"/>
                    <a:gd name="T19" fmla="*/ 23 h 47"/>
                    <a:gd name="T20" fmla="*/ 4 w 23"/>
                    <a:gd name="T21" fmla="*/ 21 h 47"/>
                    <a:gd name="T22" fmla="*/ 4 w 23"/>
                    <a:gd name="T23" fmla="*/ 8 h 47"/>
                    <a:gd name="T24" fmla="*/ 5 w 23"/>
                    <a:gd name="T25" fmla="*/ 8 h 47"/>
                    <a:gd name="T26" fmla="*/ 5 w 23"/>
                    <a:gd name="T27" fmla="*/ 45 h 47"/>
                    <a:gd name="T28" fmla="*/ 6 w 23"/>
                    <a:gd name="T29" fmla="*/ 47 h 47"/>
                    <a:gd name="T30" fmla="*/ 6 w 23"/>
                    <a:gd name="T31" fmla="*/ 39 h 47"/>
                    <a:gd name="T32" fmla="*/ 11 w 23"/>
                    <a:gd name="T33" fmla="*/ 38 h 47"/>
                    <a:gd name="T34" fmla="*/ 11 w 23"/>
                    <a:gd name="T35" fmla="*/ 23 h 47"/>
                    <a:gd name="T36" fmla="*/ 12 w 23"/>
                    <a:gd name="T37" fmla="*/ 23 h 47"/>
                    <a:gd name="T38" fmla="*/ 12 w 23"/>
                    <a:gd name="T39" fmla="*/ 38 h 47"/>
                    <a:gd name="T40" fmla="*/ 17 w 23"/>
                    <a:gd name="T41" fmla="*/ 37 h 47"/>
                    <a:gd name="T42" fmla="*/ 17 w 23"/>
                    <a:gd name="T43" fmla="*/ 8 h 47"/>
                    <a:gd name="T44" fmla="*/ 19 w 23"/>
                    <a:gd name="T45" fmla="*/ 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9" y="8"/>
                      </a:moveTo>
                      <a:cubicBezTo>
                        <a:pt x="19" y="8"/>
                        <a:pt x="19" y="20"/>
                        <a:pt x="19" y="21"/>
                      </a:cubicBezTo>
                      <a:cubicBezTo>
                        <a:pt x="19" y="22"/>
                        <a:pt x="19" y="23"/>
                        <a:pt x="21" y="23"/>
                      </a:cubicBezTo>
                      <a:cubicBezTo>
                        <a:pt x="22" y="23"/>
                        <a:pt x="23" y="22"/>
                        <a:pt x="23" y="21"/>
                      </a:cubicBezTo>
                      <a:cubicBezTo>
                        <a:pt x="23" y="20"/>
                        <a:pt x="23" y="8"/>
                        <a:pt x="23" y="7"/>
                      </a:cubicBezTo>
                      <a:cubicBezTo>
                        <a:pt x="23" y="3"/>
                        <a:pt x="20" y="0"/>
                        <a:pt x="17" y="0"/>
                      </a:cubicBezTo>
                      <a:cubicBezTo>
                        <a:pt x="15" y="0"/>
                        <a:pt x="8"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5"/>
                      </a:cubicBezTo>
                      <a:cubicBezTo>
                        <a:pt x="5" y="45"/>
                        <a:pt x="6" y="46"/>
                        <a:pt x="6" y="47"/>
                      </a:cubicBezTo>
                      <a:cubicBezTo>
                        <a:pt x="6" y="44"/>
                        <a:pt x="6" y="41"/>
                        <a:pt x="6" y="39"/>
                      </a:cubicBezTo>
                      <a:cubicBezTo>
                        <a:pt x="8" y="39"/>
                        <a:pt x="9" y="39"/>
                        <a:pt x="11" y="38"/>
                      </a:cubicBezTo>
                      <a:cubicBezTo>
                        <a:pt x="11" y="32"/>
                        <a:pt x="11" y="23"/>
                        <a:pt x="11" y="23"/>
                      </a:cubicBezTo>
                      <a:cubicBezTo>
                        <a:pt x="11" y="23"/>
                        <a:pt x="11" y="23"/>
                        <a:pt x="12" y="23"/>
                      </a:cubicBezTo>
                      <a:cubicBezTo>
                        <a:pt x="12" y="23"/>
                        <a:pt x="12" y="32"/>
                        <a:pt x="12" y="38"/>
                      </a:cubicBezTo>
                      <a:cubicBezTo>
                        <a:pt x="14" y="38"/>
                        <a:pt x="16" y="37"/>
                        <a:pt x="17" y="37"/>
                      </a:cubicBezTo>
                      <a:cubicBezTo>
                        <a:pt x="17" y="26"/>
                        <a:pt x="17" y="8"/>
                        <a:pt x="17" y="8"/>
                      </a:cubicBezTo>
                      <a:cubicBezTo>
                        <a:pt x="17" y="8"/>
                        <a:pt x="17" y="8"/>
                        <a:pt x="1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24" name="Freeform 335"/>
                <p:cNvSpPr>
                  <a:spLocks/>
                </p:cNvSpPr>
                <p:nvPr/>
              </p:nvSpPr>
              <p:spPr bwMode="auto">
                <a:xfrm>
                  <a:off x="13674" y="2025"/>
                  <a:ext cx="52" cy="111"/>
                </a:xfrm>
                <a:custGeom>
                  <a:avLst/>
                  <a:gdLst>
                    <a:gd name="T0" fmla="*/ 16 w 22"/>
                    <a:gd name="T1" fmla="*/ 0 h 47"/>
                    <a:gd name="T2" fmla="*/ 6 w 22"/>
                    <a:gd name="T3" fmla="*/ 0 h 47"/>
                    <a:gd name="T4" fmla="*/ 0 w 22"/>
                    <a:gd name="T5" fmla="*/ 6 h 47"/>
                    <a:gd name="T6" fmla="*/ 0 w 22"/>
                    <a:gd name="T7" fmla="*/ 21 h 47"/>
                    <a:gd name="T8" fmla="*/ 2 w 22"/>
                    <a:gd name="T9" fmla="*/ 23 h 47"/>
                    <a:gd name="T10" fmla="*/ 4 w 22"/>
                    <a:gd name="T11" fmla="*/ 21 h 47"/>
                    <a:gd name="T12" fmla="*/ 4 w 22"/>
                    <a:gd name="T13" fmla="*/ 8 h 47"/>
                    <a:gd name="T14" fmla="*/ 5 w 22"/>
                    <a:gd name="T15" fmla="*/ 8 h 47"/>
                    <a:gd name="T16" fmla="*/ 5 w 22"/>
                    <a:gd name="T17" fmla="*/ 44 h 47"/>
                    <a:gd name="T18" fmla="*/ 8 w 22"/>
                    <a:gd name="T19" fmla="*/ 47 h 47"/>
                    <a:gd name="T20" fmla="*/ 10 w 22"/>
                    <a:gd name="T21" fmla="*/ 44 h 47"/>
                    <a:gd name="T22" fmla="*/ 10 w 22"/>
                    <a:gd name="T23" fmla="*/ 23 h 47"/>
                    <a:gd name="T24" fmla="*/ 11 w 22"/>
                    <a:gd name="T25" fmla="*/ 23 h 47"/>
                    <a:gd name="T26" fmla="*/ 11 w 22"/>
                    <a:gd name="T27" fmla="*/ 44 h 47"/>
                    <a:gd name="T28" fmla="*/ 14 w 22"/>
                    <a:gd name="T29" fmla="*/ 47 h 47"/>
                    <a:gd name="T30" fmla="*/ 17 w 22"/>
                    <a:gd name="T31" fmla="*/ 44 h 47"/>
                    <a:gd name="T32" fmla="*/ 17 w 22"/>
                    <a:gd name="T33" fmla="*/ 8 h 47"/>
                    <a:gd name="T34" fmla="*/ 18 w 22"/>
                    <a:gd name="T35" fmla="*/ 8 h 47"/>
                    <a:gd name="T36" fmla="*/ 18 w 22"/>
                    <a:gd name="T37" fmla="*/ 21 h 47"/>
                    <a:gd name="T38" fmla="*/ 20 w 22"/>
                    <a:gd name="T39" fmla="*/ 23 h 47"/>
                    <a:gd name="T40" fmla="*/ 22 w 22"/>
                    <a:gd name="T41" fmla="*/ 21 h 47"/>
                    <a:gd name="T42" fmla="*/ 22 w 22"/>
                    <a:gd name="T43" fmla="*/ 6 h 47"/>
                    <a:gd name="T44" fmla="*/ 16 w 22"/>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16" y="0"/>
                      </a:moveTo>
                      <a:cubicBezTo>
                        <a:pt x="14" y="0"/>
                        <a:pt x="7" y="0"/>
                        <a:pt x="6" y="0"/>
                      </a:cubicBezTo>
                      <a:cubicBezTo>
                        <a:pt x="2" y="0"/>
                        <a:pt x="0" y="3"/>
                        <a:pt x="0" y="6"/>
                      </a:cubicBezTo>
                      <a:cubicBezTo>
                        <a:pt x="0" y="8"/>
                        <a:pt x="0" y="20"/>
                        <a:pt x="0" y="21"/>
                      </a:cubicBezTo>
                      <a:cubicBezTo>
                        <a:pt x="0" y="22"/>
                        <a:pt x="0"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19"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25" name="Freeform 336"/>
                <p:cNvSpPr>
                  <a:spLocks/>
                </p:cNvSpPr>
                <p:nvPr/>
              </p:nvSpPr>
              <p:spPr bwMode="auto">
                <a:xfrm>
                  <a:off x="14062" y="2174"/>
                  <a:ext cx="64" cy="76"/>
                </a:xfrm>
                <a:custGeom>
                  <a:avLst/>
                  <a:gdLst>
                    <a:gd name="T0" fmla="*/ 24 w 27"/>
                    <a:gd name="T1" fmla="*/ 28 h 32"/>
                    <a:gd name="T2" fmla="*/ 18 w 27"/>
                    <a:gd name="T3" fmla="*/ 6 h 32"/>
                    <a:gd name="T4" fmla="*/ 19 w 27"/>
                    <a:gd name="T5" fmla="*/ 6 h 32"/>
                    <a:gd name="T6" fmla="*/ 23 w 27"/>
                    <a:gd name="T7" fmla="*/ 19 h 32"/>
                    <a:gd name="T8" fmla="*/ 25 w 27"/>
                    <a:gd name="T9" fmla="*/ 20 h 32"/>
                    <a:gd name="T10" fmla="*/ 26 w 27"/>
                    <a:gd name="T11" fmla="*/ 18 h 32"/>
                    <a:gd name="T12" fmla="*/ 22 w 27"/>
                    <a:gd name="T13" fmla="*/ 4 h 32"/>
                    <a:gd name="T14" fmla="*/ 17 w 27"/>
                    <a:gd name="T15" fmla="*/ 0 h 32"/>
                    <a:gd name="T16" fmla="*/ 9 w 27"/>
                    <a:gd name="T17" fmla="*/ 0 h 32"/>
                    <a:gd name="T18" fmla="*/ 4 w 27"/>
                    <a:gd name="T19" fmla="*/ 4 h 32"/>
                    <a:gd name="T20" fmla="*/ 0 w 27"/>
                    <a:gd name="T21" fmla="*/ 18 h 32"/>
                    <a:gd name="T22" fmla="*/ 1 w 27"/>
                    <a:gd name="T23" fmla="*/ 20 h 32"/>
                    <a:gd name="T24" fmla="*/ 3 w 27"/>
                    <a:gd name="T25" fmla="*/ 19 h 32"/>
                    <a:gd name="T26" fmla="*/ 7 w 27"/>
                    <a:gd name="T27" fmla="*/ 6 h 32"/>
                    <a:gd name="T28" fmla="*/ 8 w 27"/>
                    <a:gd name="T29" fmla="*/ 6 h 32"/>
                    <a:gd name="T30" fmla="*/ 2 w 27"/>
                    <a:gd name="T31" fmla="*/ 28 h 32"/>
                    <a:gd name="T32" fmla="*/ 8 w 27"/>
                    <a:gd name="T33" fmla="*/ 28 h 32"/>
                    <a:gd name="T34" fmla="*/ 8 w 27"/>
                    <a:gd name="T35" fmla="*/ 32 h 32"/>
                    <a:gd name="T36" fmla="*/ 13 w 27"/>
                    <a:gd name="T37" fmla="*/ 32 h 32"/>
                    <a:gd name="T38" fmla="*/ 13 w 27"/>
                    <a:gd name="T39" fmla="*/ 28 h 32"/>
                    <a:gd name="T40" fmla="*/ 14 w 27"/>
                    <a:gd name="T41" fmla="*/ 28 h 32"/>
                    <a:gd name="T42" fmla="*/ 14 w 27"/>
                    <a:gd name="T43" fmla="*/ 31 h 32"/>
                    <a:gd name="T44" fmla="*/ 18 w 27"/>
                    <a:gd name="T45" fmla="*/ 30 h 32"/>
                    <a:gd name="T46" fmla="*/ 18 w 27"/>
                    <a:gd name="T47" fmla="*/ 28 h 32"/>
                    <a:gd name="T48" fmla="*/ 24 w 27"/>
                    <a:gd name="T4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7" h="32">
                      <a:moveTo>
                        <a:pt x="24" y="28"/>
                      </a:moveTo>
                      <a:cubicBezTo>
                        <a:pt x="18" y="6"/>
                        <a:pt x="18" y="6"/>
                        <a:pt x="18" y="6"/>
                      </a:cubicBezTo>
                      <a:cubicBezTo>
                        <a:pt x="19" y="6"/>
                        <a:pt x="19" y="6"/>
                        <a:pt x="19" y="6"/>
                      </a:cubicBezTo>
                      <a:cubicBezTo>
                        <a:pt x="19" y="6"/>
                        <a:pt x="22" y="18"/>
                        <a:pt x="23" y="19"/>
                      </a:cubicBezTo>
                      <a:cubicBezTo>
                        <a:pt x="23" y="20"/>
                        <a:pt x="24" y="20"/>
                        <a:pt x="25" y="20"/>
                      </a:cubicBezTo>
                      <a:cubicBezTo>
                        <a:pt x="26" y="20"/>
                        <a:pt x="27" y="19"/>
                        <a:pt x="26" y="18"/>
                      </a:cubicBezTo>
                      <a:cubicBezTo>
                        <a:pt x="26" y="17"/>
                        <a:pt x="24" y="10"/>
                        <a:pt x="22" y="4"/>
                      </a:cubicBez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0"/>
                        <a:pt x="3" y="20"/>
                        <a:pt x="3" y="19"/>
                      </a:cubicBezTo>
                      <a:cubicBezTo>
                        <a:pt x="4" y="18"/>
                        <a:pt x="7" y="6"/>
                        <a:pt x="7" y="6"/>
                      </a:cubicBezTo>
                      <a:cubicBezTo>
                        <a:pt x="8" y="6"/>
                        <a:pt x="8" y="6"/>
                        <a:pt x="8" y="6"/>
                      </a:cubicBezTo>
                      <a:cubicBezTo>
                        <a:pt x="2" y="28"/>
                        <a:pt x="2" y="28"/>
                        <a:pt x="2" y="28"/>
                      </a:cubicBezTo>
                      <a:cubicBezTo>
                        <a:pt x="8" y="28"/>
                        <a:pt x="8" y="28"/>
                        <a:pt x="8" y="28"/>
                      </a:cubicBezTo>
                      <a:cubicBezTo>
                        <a:pt x="8" y="29"/>
                        <a:pt x="8" y="31"/>
                        <a:pt x="8" y="32"/>
                      </a:cubicBezTo>
                      <a:cubicBezTo>
                        <a:pt x="10" y="32"/>
                        <a:pt x="11" y="32"/>
                        <a:pt x="13" y="32"/>
                      </a:cubicBezTo>
                      <a:cubicBezTo>
                        <a:pt x="13" y="29"/>
                        <a:pt x="13" y="28"/>
                        <a:pt x="13" y="28"/>
                      </a:cubicBezTo>
                      <a:cubicBezTo>
                        <a:pt x="14" y="28"/>
                        <a:pt x="14" y="28"/>
                        <a:pt x="14" y="28"/>
                      </a:cubicBezTo>
                      <a:cubicBezTo>
                        <a:pt x="14" y="28"/>
                        <a:pt x="14" y="29"/>
                        <a:pt x="14" y="31"/>
                      </a:cubicBezTo>
                      <a:cubicBezTo>
                        <a:pt x="15" y="31"/>
                        <a:pt x="17" y="31"/>
                        <a:pt x="18" y="30"/>
                      </a:cubicBezTo>
                      <a:cubicBezTo>
                        <a:pt x="18" y="30"/>
                        <a:pt x="18" y="29"/>
                        <a:pt x="18" y="28"/>
                      </a:cubicBezTo>
                      <a:cubicBezTo>
                        <a:pt x="24" y="28"/>
                        <a:pt x="24" y="28"/>
                        <a:pt x="2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26" name="Freeform 337"/>
                <p:cNvSpPr>
                  <a:spLocks/>
                </p:cNvSpPr>
                <p:nvPr/>
              </p:nvSpPr>
              <p:spPr bwMode="auto">
                <a:xfrm>
                  <a:off x="14131" y="2172"/>
                  <a:ext cx="54" cy="66"/>
                </a:xfrm>
                <a:custGeom>
                  <a:avLst/>
                  <a:gdLst>
                    <a:gd name="T0" fmla="*/ 19 w 23"/>
                    <a:gd name="T1" fmla="*/ 8 h 28"/>
                    <a:gd name="T2" fmla="*/ 19 w 23"/>
                    <a:gd name="T3" fmla="*/ 21 h 28"/>
                    <a:gd name="T4" fmla="*/ 21 w 23"/>
                    <a:gd name="T5" fmla="*/ 23 h 28"/>
                    <a:gd name="T6" fmla="*/ 23 w 23"/>
                    <a:gd name="T7" fmla="*/ 21 h 28"/>
                    <a:gd name="T8" fmla="*/ 23 w 23"/>
                    <a:gd name="T9" fmla="*/ 7 h 28"/>
                    <a:gd name="T10" fmla="*/ 17 w 23"/>
                    <a:gd name="T11" fmla="*/ 0 h 28"/>
                    <a:gd name="T12" fmla="*/ 7 w 23"/>
                    <a:gd name="T13" fmla="*/ 0 h 28"/>
                    <a:gd name="T14" fmla="*/ 0 w 23"/>
                    <a:gd name="T15" fmla="*/ 7 h 28"/>
                    <a:gd name="T16" fmla="*/ 0 w 23"/>
                    <a:gd name="T17" fmla="*/ 21 h 28"/>
                    <a:gd name="T18" fmla="*/ 3 w 23"/>
                    <a:gd name="T19" fmla="*/ 23 h 28"/>
                    <a:gd name="T20" fmla="*/ 5 w 23"/>
                    <a:gd name="T21" fmla="*/ 21 h 28"/>
                    <a:gd name="T22" fmla="*/ 5 w 23"/>
                    <a:gd name="T23" fmla="*/ 8 h 28"/>
                    <a:gd name="T24" fmla="*/ 6 w 23"/>
                    <a:gd name="T25" fmla="*/ 8 h 28"/>
                    <a:gd name="T26" fmla="*/ 6 w 23"/>
                    <a:gd name="T27" fmla="*/ 28 h 28"/>
                    <a:gd name="T28" fmla="*/ 11 w 23"/>
                    <a:gd name="T29" fmla="*/ 27 h 28"/>
                    <a:gd name="T30" fmla="*/ 11 w 23"/>
                    <a:gd name="T31" fmla="*/ 23 h 28"/>
                    <a:gd name="T32" fmla="*/ 12 w 23"/>
                    <a:gd name="T33" fmla="*/ 23 h 28"/>
                    <a:gd name="T34" fmla="*/ 12 w 23"/>
                    <a:gd name="T35" fmla="*/ 26 h 28"/>
                    <a:gd name="T36" fmla="*/ 18 w 23"/>
                    <a:gd name="T37" fmla="*/ 25 h 28"/>
                    <a:gd name="T38" fmla="*/ 18 w 23"/>
                    <a:gd name="T39" fmla="*/ 8 h 28"/>
                    <a:gd name="T40" fmla="*/ 19 w 23"/>
                    <a:gd name="T41"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 h="28">
                      <a:moveTo>
                        <a:pt x="19" y="8"/>
                      </a:move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ubicBezTo>
                        <a:pt x="15" y="0"/>
                        <a:pt x="8" y="0"/>
                        <a:pt x="7" y="0"/>
                      </a:cubicBezTo>
                      <a:cubicBezTo>
                        <a:pt x="3" y="0"/>
                        <a:pt x="0" y="3"/>
                        <a:pt x="0" y="7"/>
                      </a:cubicBezTo>
                      <a:cubicBezTo>
                        <a:pt x="0" y="8"/>
                        <a:pt x="0" y="20"/>
                        <a:pt x="0" y="21"/>
                      </a:cubicBezTo>
                      <a:cubicBezTo>
                        <a:pt x="0" y="22"/>
                        <a:pt x="1" y="23"/>
                        <a:pt x="3" y="23"/>
                      </a:cubicBezTo>
                      <a:cubicBezTo>
                        <a:pt x="4" y="23"/>
                        <a:pt x="5" y="22"/>
                        <a:pt x="5" y="21"/>
                      </a:cubicBezTo>
                      <a:cubicBezTo>
                        <a:pt x="5" y="20"/>
                        <a:pt x="5" y="8"/>
                        <a:pt x="5" y="8"/>
                      </a:cubicBezTo>
                      <a:cubicBezTo>
                        <a:pt x="5" y="8"/>
                        <a:pt x="5" y="8"/>
                        <a:pt x="6" y="8"/>
                      </a:cubicBezTo>
                      <a:cubicBezTo>
                        <a:pt x="6" y="8"/>
                        <a:pt x="6" y="18"/>
                        <a:pt x="6" y="28"/>
                      </a:cubicBezTo>
                      <a:cubicBezTo>
                        <a:pt x="7" y="28"/>
                        <a:pt x="9" y="27"/>
                        <a:pt x="11" y="27"/>
                      </a:cubicBezTo>
                      <a:cubicBezTo>
                        <a:pt x="11" y="25"/>
                        <a:pt x="11" y="23"/>
                        <a:pt x="11" y="23"/>
                      </a:cubicBezTo>
                      <a:cubicBezTo>
                        <a:pt x="11" y="23"/>
                        <a:pt x="11" y="23"/>
                        <a:pt x="12" y="23"/>
                      </a:cubicBezTo>
                      <a:cubicBezTo>
                        <a:pt x="12" y="23"/>
                        <a:pt x="12" y="25"/>
                        <a:pt x="12" y="26"/>
                      </a:cubicBezTo>
                      <a:cubicBezTo>
                        <a:pt x="14" y="26"/>
                        <a:pt x="16" y="26"/>
                        <a:pt x="18" y="25"/>
                      </a:cubicBezTo>
                      <a:cubicBezTo>
                        <a:pt x="18" y="16"/>
                        <a:pt x="18" y="8"/>
                        <a:pt x="18" y="8"/>
                      </a:cubicBezTo>
                      <a:cubicBezTo>
                        <a:pt x="18" y="8"/>
                        <a:pt x="18" y="8"/>
                        <a:pt x="1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27" name="Oval 338"/>
                <p:cNvSpPr>
                  <a:spLocks noChangeArrowheads="1"/>
                </p:cNvSpPr>
                <p:nvPr/>
              </p:nvSpPr>
              <p:spPr bwMode="auto">
                <a:xfrm>
                  <a:off x="14081" y="2148"/>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28" name="Freeform 339"/>
                <p:cNvSpPr>
                  <a:spLocks/>
                </p:cNvSpPr>
                <p:nvPr/>
              </p:nvSpPr>
              <p:spPr bwMode="auto">
                <a:xfrm>
                  <a:off x="13473" y="2025"/>
                  <a:ext cx="64" cy="111"/>
                </a:xfrm>
                <a:custGeom>
                  <a:avLst/>
                  <a:gdLst>
                    <a:gd name="T0" fmla="*/ 23 w 27"/>
                    <a:gd name="T1" fmla="*/ 5 h 47"/>
                    <a:gd name="T2" fmla="*/ 18 w 27"/>
                    <a:gd name="T3" fmla="*/ 0 h 47"/>
                    <a:gd name="T4" fmla="*/ 10 w 27"/>
                    <a:gd name="T5" fmla="*/ 0 h 47"/>
                    <a:gd name="T6" fmla="*/ 5 w 27"/>
                    <a:gd name="T7" fmla="*/ 5 h 47"/>
                    <a:gd name="T8" fmla="*/ 1 w 27"/>
                    <a:gd name="T9" fmla="*/ 18 h 47"/>
                    <a:gd name="T10" fmla="*/ 2 w 27"/>
                    <a:gd name="T11" fmla="*/ 21 h 47"/>
                    <a:gd name="T12" fmla="*/ 4 w 27"/>
                    <a:gd name="T13" fmla="*/ 20 h 47"/>
                    <a:gd name="T14" fmla="*/ 8 w 27"/>
                    <a:gd name="T15" fmla="*/ 6 h 47"/>
                    <a:gd name="T16" fmla="*/ 9 w 27"/>
                    <a:gd name="T17" fmla="*/ 6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5 w 27"/>
                    <a:gd name="T31" fmla="*/ 28 h 47"/>
                    <a:gd name="T32" fmla="*/ 15 w 27"/>
                    <a:gd name="T33" fmla="*/ 45 h 47"/>
                    <a:gd name="T34" fmla="*/ 17 w 27"/>
                    <a:gd name="T35" fmla="*/ 47 h 47"/>
                    <a:gd name="T36" fmla="*/ 19 w 27"/>
                    <a:gd name="T37" fmla="*/ 45 h 47"/>
                    <a:gd name="T38" fmla="*/ 19 w 27"/>
                    <a:gd name="T39" fmla="*/ 28 h 47"/>
                    <a:gd name="T40" fmla="*/ 25 w 27"/>
                    <a:gd name="T41" fmla="*/ 28 h 47"/>
                    <a:gd name="T42" fmla="*/ 19 w 27"/>
                    <a:gd name="T43" fmla="*/ 6 h 47"/>
                    <a:gd name="T44" fmla="*/ 20 w 27"/>
                    <a:gd name="T45" fmla="*/ 6 h 47"/>
                    <a:gd name="T46" fmla="*/ 24 w 27"/>
                    <a:gd name="T47" fmla="*/ 20 h 47"/>
                    <a:gd name="T48" fmla="*/ 26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8" y="0"/>
                      </a:cubicBezTo>
                      <a:cubicBezTo>
                        <a:pt x="17" y="0"/>
                        <a:pt x="11" y="0"/>
                        <a:pt x="10" y="0"/>
                      </a:cubicBezTo>
                      <a:cubicBezTo>
                        <a:pt x="8" y="0"/>
                        <a:pt x="5" y="2"/>
                        <a:pt x="5" y="5"/>
                      </a:cubicBezTo>
                      <a:cubicBezTo>
                        <a:pt x="3" y="10"/>
                        <a:pt x="1" y="18"/>
                        <a:pt x="1" y="18"/>
                      </a:cubicBezTo>
                      <a:cubicBezTo>
                        <a:pt x="0" y="19"/>
                        <a:pt x="1" y="20"/>
                        <a:pt x="2" y="21"/>
                      </a:cubicBezTo>
                      <a:cubicBezTo>
                        <a:pt x="3" y="21"/>
                        <a:pt x="4" y="20"/>
                        <a:pt x="4" y="20"/>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20"/>
                      </a:cubicBezTo>
                      <a:cubicBezTo>
                        <a:pt x="24" y="20"/>
                        <a:pt x="25" y="21"/>
                        <a:pt x="26" y="21"/>
                      </a:cubicBezTo>
                      <a:cubicBezTo>
                        <a:pt x="27" y="20"/>
                        <a:pt x="27"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29" name="Oval 340"/>
                <p:cNvSpPr>
                  <a:spLocks noChangeArrowheads="1"/>
                </p:cNvSpPr>
                <p:nvPr/>
              </p:nvSpPr>
              <p:spPr bwMode="auto">
                <a:xfrm>
                  <a:off x="13561"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30" name="Oval 341"/>
                <p:cNvSpPr>
                  <a:spLocks noChangeArrowheads="1"/>
                </p:cNvSpPr>
                <p:nvPr/>
              </p:nvSpPr>
              <p:spPr bwMode="auto">
                <a:xfrm>
                  <a:off x="13561" y="2148"/>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31" name="Freeform 342"/>
                <p:cNvSpPr>
                  <a:spLocks/>
                </p:cNvSpPr>
                <p:nvPr/>
              </p:nvSpPr>
              <p:spPr bwMode="auto">
                <a:xfrm>
                  <a:off x="13438" y="2148"/>
                  <a:ext cx="14" cy="19"/>
                </a:xfrm>
                <a:custGeom>
                  <a:avLst/>
                  <a:gdLst>
                    <a:gd name="T0" fmla="*/ 6 w 6"/>
                    <a:gd name="T1" fmla="*/ 5 h 8"/>
                    <a:gd name="T2" fmla="*/ 1 w 6"/>
                    <a:gd name="T3" fmla="*/ 0 h 8"/>
                    <a:gd name="T4" fmla="*/ 0 w 6"/>
                    <a:gd name="T5" fmla="*/ 0 h 8"/>
                    <a:gd name="T6" fmla="*/ 5 w 6"/>
                    <a:gd name="T7" fmla="*/ 8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6" y="2"/>
                        <a:pt x="4" y="0"/>
                        <a:pt x="1" y="0"/>
                      </a:cubicBezTo>
                      <a:cubicBezTo>
                        <a:pt x="1" y="0"/>
                        <a:pt x="1" y="0"/>
                        <a:pt x="0" y="0"/>
                      </a:cubicBezTo>
                      <a:cubicBezTo>
                        <a:pt x="2" y="3"/>
                        <a:pt x="3" y="5"/>
                        <a:pt x="5" y="8"/>
                      </a:cubicBezTo>
                      <a:cubicBezTo>
                        <a:pt x="6" y="7"/>
                        <a:pt x="6" y="6"/>
                        <a:pt x="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32" name="Oval 343"/>
                <p:cNvSpPr>
                  <a:spLocks noChangeArrowheads="1"/>
                </p:cNvSpPr>
                <p:nvPr/>
              </p:nvSpPr>
              <p:spPr bwMode="auto">
                <a:xfrm>
                  <a:off x="13494" y="2148"/>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33" name="Freeform 344"/>
                <p:cNvSpPr>
                  <a:spLocks/>
                </p:cNvSpPr>
                <p:nvPr/>
              </p:nvSpPr>
              <p:spPr bwMode="auto">
                <a:xfrm>
                  <a:off x="13544" y="2025"/>
                  <a:ext cx="54"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6 w 23"/>
                    <a:gd name="T15" fmla="*/ 8 h 47"/>
                    <a:gd name="T16" fmla="*/ 6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4" y="23"/>
                        <a:pt x="4" y="22"/>
                        <a:pt x="4" y="21"/>
                      </a:cubicBezTo>
                      <a:cubicBezTo>
                        <a:pt x="4" y="19"/>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34" name="Freeform 345"/>
                <p:cNvSpPr>
                  <a:spLocks/>
                </p:cNvSpPr>
                <p:nvPr/>
              </p:nvSpPr>
              <p:spPr bwMode="auto">
                <a:xfrm>
                  <a:off x="13539" y="2174"/>
                  <a:ext cx="64" cy="80"/>
                </a:xfrm>
                <a:custGeom>
                  <a:avLst/>
                  <a:gdLst>
                    <a:gd name="T0" fmla="*/ 18 w 27"/>
                    <a:gd name="T1" fmla="*/ 0 h 34"/>
                    <a:gd name="T2" fmla="*/ 10 w 27"/>
                    <a:gd name="T3" fmla="*/ 0 h 34"/>
                    <a:gd name="T4" fmla="*/ 4 w 27"/>
                    <a:gd name="T5" fmla="*/ 4 h 34"/>
                    <a:gd name="T6" fmla="*/ 0 w 27"/>
                    <a:gd name="T7" fmla="*/ 18 h 34"/>
                    <a:gd name="T8" fmla="*/ 2 w 27"/>
                    <a:gd name="T9" fmla="*/ 20 h 34"/>
                    <a:gd name="T10" fmla="*/ 4 w 27"/>
                    <a:gd name="T11" fmla="*/ 19 h 34"/>
                    <a:gd name="T12" fmla="*/ 8 w 27"/>
                    <a:gd name="T13" fmla="*/ 6 h 34"/>
                    <a:gd name="T14" fmla="*/ 9 w 27"/>
                    <a:gd name="T15" fmla="*/ 6 h 34"/>
                    <a:gd name="T16" fmla="*/ 3 w 27"/>
                    <a:gd name="T17" fmla="*/ 28 h 34"/>
                    <a:gd name="T18" fmla="*/ 9 w 27"/>
                    <a:gd name="T19" fmla="*/ 28 h 34"/>
                    <a:gd name="T20" fmla="*/ 9 w 27"/>
                    <a:gd name="T21" fmla="*/ 32 h 34"/>
                    <a:gd name="T22" fmla="*/ 13 w 27"/>
                    <a:gd name="T23" fmla="*/ 33 h 34"/>
                    <a:gd name="T24" fmla="*/ 13 w 27"/>
                    <a:gd name="T25" fmla="*/ 28 h 34"/>
                    <a:gd name="T26" fmla="*/ 14 w 27"/>
                    <a:gd name="T27" fmla="*/ 28 h 34"/>
                    <a:gd name="T28" fmla="*/ 14 w 27"/>
                    <a:gd name="T29" fmla="*/ 34 h 34"/>
                    <a:gd name="T30" fmla="*/ 19 w 27"/>
                    <a:gd name="T31" fmla="*/ 34 h 34"/>
                    <a:gd name="T32" fmla="*/ 19 w 27"/>
                    <a:gd name="T33" fmla="*/ 28 h 34"/>
                    <a:gd name="T34" fmla="*/ 25 w 27"/>
                    <a:gd name="T35" fmla="*/ 28 h 34"/>
                    <a:gd name="T36" fmla="*/ 19 w 27"/>
                    <a:gd name="T37" fmla="*/ 6 h 34"/>
                    <a:gd name="T38" fmla="*/ 20 w 27"/>
                    <a:gd name="T39" fmla="*/ 6 h 34"/>
                    <a:gd name="T40" fmla="*/ 23 w 27"/>
                    <a:gd name="T41" fmla="*/ 19 h 34"/>
                    <a:gd name="T42" fmla="*/ 24 w 27"/>
                    <a:gd name="T43" fmla="*/ 20 h 34"/>
                    <a:gd name="T44" fmla="*/ 27 w 27"/>
                    <a:gd name="T45" fmla="*/ 17 h 34"/>
                    <a:gd name="T46" fmla="*/ 23 w 27"/>
                    <a:gd name="T47" fmla="*/ 4 h 34"/>
                    <a:gd name="T48" fmla="*/ 18 w 27"/>
                    <a:gd name="T4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7" h="34">
                      <a:moveTo>
                        <a:pt x="18" y="0"/>
                      </a:moveTo>
                      <a:cubicBezTo>
                        <a:pt x="16" y="0"/>
                        <a:pt x="11" y="0"/>
                        <a:pt x="10" y="0"/>
                      </a:cubicBezTo>
                      <a:cubicBezTo>
                        <a:pt x="8" y="0"/>
                        <a:pt x="5" y="2"/>
                        <a:pt x="4" y="4"/>
                      </a:cubicBezTo>
                      <a:cubicBezTo>
                        <a:pt x="3" y="10"/>
                        <a:pt x="1" y="17"/>
                        <a:pt x="0" y="18"/>
                      </a:cubicBezTo>
                      <a:cubicBezTo>
                        <a:pt x="0" y="19"/>
                        <a:pt x="1" y="20"/>
                        <a:pt x="2" y="20"/>
                      </a:cubicBezTo>
                      <a:cubicBezTo>
                        <a:pt x="3" y="20"/>
                        <a:pt x="4" y="20"/>
                        <a:pt x="4" y="19"/>
                      </a:cubicBezTo>
                      <a:cubicBezTo>
                        <a:pt x="4" y="18"/>
                        <a:pt x="8" y="6"/>
                        <a:pt x="8" y="6"/>
                      </a:cubicBezTo>
                      <a:cubicBezTo>
                        <a:pt x="9" y="6"/>
                        <a:pt x="9" y="6"/>
                        <a:pt x="9" y="6"/>
                      </a:cubicBezTo>
                      <a:cubicBezTo>
                        <a:pt x="3" y="28"/>
                        <a:pt x="3" y="28"/>
                        <a:pt x="3" y="28"/>
                      </a:cubicBezTo>
                      <a:cubicBezTo>
                        <a:pt x="9" y="28"/>
                        <a:pt x="9" y="28"/>
                        <a:pt x="9" y="28"/>
                      </a:cubicBezTo>
                      <a:cubicBezTo>
                        <a:pt x="9" y="29"/>
                        <a:pt x="9" y="31"/>
                        <a:pt x="9" y="32"/>
                      </a:cubicBezTo>
                      <a:cubicBezTo>
                        <a:pt x="10" y="33"/>
                        <a:pt x="12" y="33"/>
                        <a:pt x="13" y="33"/>
                      </a:cubicBezTo>
                      <a:cubicBezTo>
                        <a:pt x="13" y="30"/>
                        <a:pt x="13" y="28"/>
                        <a:pt x="13" y="28"/>
                      </a:cubicBezTo>
                      <a:cubicBezTo>
                        <a:pt x="14" y="28"/>
                        <a:pt x="14" y="28"/>
                        <a:pt x="14" y="28"/>
                      </a:cubicBezTo>
                      <a:cubicBezTo>
                        <a:pt x="14" y="28"/>
                        <a:pt x="14" y="30"/>
                        <a:pt x="14" y="34"/>
                      </a:cubicBezTo>
                      <a:cubicBezTo>
                        <a:pt x="16" y="34"/>
                        <a:pt x="17" y="34"/>
                        <a:pt x="19" y="34"/>
                      </a:cubicBezTo>
                      <a:cubicBezTo>
                        <a:pt x="19" y="32"/>
                        <a:pt x="19" y="30"/>
                        <a:pt x="19" y="28"/>
                      </a:cubicBezTo>
                      <a:cubicBezTo>
                        <a:pt x="25" y="28"/>
                        <a:pt x="25" y="28"/>
                        <a:pt x="25" y="28"/>
                      </a:cubicBezTo>
                      <a:cubicBezTo>
                        <a:pt x="19" y="6"/>
                        <a:pt x="19" y="6"/>
                        <a:pt x="19" y="6"/>
                      </a:cubicBezTo>
                      <a:cubicBezTo>
                        <a:pt x="20" y="6"/>
                        <a:pt x="20" y="6"/>
                        <a:pt x="20" y="6"/>
                      </a:cubicBezTo>
                      <a:cubicBezTo>
                        <a:pt x="20" y="6"/>
                        <a:pt x="23" y="18"/>
                        <a:pt x="23" y="19"/>
                      </a:cubicBezTo>
                      <a:cubicBezTo>
                        <a:pt x="24" y="19"/>
                        <a:pt x="24" y="20"/>
                        <a:pt x="24" y="20"/>
                      </a:cubicBezTo>
                      <a:cubicBezTo>
                        <a:pt x="25" y="19"/>
                        <a:pt x="26" y="18"/>
                        <a:pt x="27" y="17"/>
                      </a:cubicBezTo>
                      <a:cubicBezTo>
                        <a:pt x="26" y="15"/>
                        <a:pt x="24" y="9"/>
                        <a:pt x="23" y="4"/>
                      </a:cubicBezTo>
                      <a:cubicBezTo>
                        <a:pt x="22" y="2"/>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35" name="Oval 346"/>
                <p:cNvSpPr>
                  <a:spLocks noChangeArrowheads="1"/>
                </p:cNvSpPr>
                <p:nvPr/>
              </p:nvSpPr>
              <p:spPr bwMode="auto">
                <a:xfrm>
                  <a:off x="13627"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36" name="Freeform 347"/>
                <p:cNvSpPr>
                  <a:spLocks/>
                </p:cNvSpPr>
                <p:nvPr/>
              </p:nvSpPr>
              <p:spPr bwMode="auto">
                <a:xfrm>
                  <a:off x="13480" y="2172"/>
                  <a:ext cx="52" cy="61"/>
                </a:xfrm>
                <a:custGeom>
                  <a:avLst/>
                  <a:gdLst>
                    <a:gd name="T0" fmla="*/ 18 w 22"/>
                    <a:gd name="T1" fmla="*/ 8 h 26"/>
                    <a:gd name="T2" fmla="*/ 18 w 22"/>
                    <a:gd name="T3" fmla="*/ 21 h 26"/>
                    <a:gd name="T4" fmla="*/ 20 w 22"/>
                    <a:gd name="T5" fmla="*/ 23 h 26"/>
                    <a:gd name="T6" fmla="*/ 22 w 22"/>
                    <a:gd name="T7" fmla="*/ 21 h 26"/>
                    <a:gd name="T8" fmla="*/ 22 w 22"/>
                    <a:gd name="T9" fmla="*/ 7 h 26"/>
                    <a:gd name="T10" fmla="*/ 16 w 22"/>
                    <a:gd name="T11" fmla="*/ 0 h 26"/>
                    <a:gd name="T12" fmla="*/ 6 w 22"/>
                    <a:gd name="T13" fmla="*/ 0 h 26"/>
                    <a:gd name="T14" fmla="*/ 0 w 22"/>
                    <a:gd name="T15" fmla="*/ 7 h 26"/>
                    <a:gd name="T16" fmla="*/ 0 w 22"/>
                    <a:gd name="T17" fmla="*/ 13 h 26"/>
                    <a:gd name="T18" fmla="*/ 4 w 22"/>
                    <a:gd name="T19" fmla="*/ 17 h 26"/>
                    <a:gd name="T20" fmla="*/ 4 w 22"/>
                    <a:gd name="T21" fmla="*/ 8 h 26"/>
                    <a:gd name="T22" fmla="*/ 5 w 22"/>
                    <a:gd name="T23" fmla="*/ 8 h 26"/>
                    <a:gd name="T24" fmla="*/ 5 w 22"/>
                    <a:gd name="T25" fmla="*/ 18 h 26"/>
                    <a:gd name="T26" fmla="*/ 17 w 22"/>
                    <a:gd name="T27" fmla="*/ 26 h 26"/>
                    <a:gd name="T28" fmla="*/ 17 w 22"/>
                    <a:gd name="T29" fmla="*/ 8 h 26"/>
                    <a:gd name="T30" fmla="*/ 18 w 22"/>
                    <a:gd name="T31"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6">
                      <a:moveTo>
                        <a:pt x="18" y="8"/>
                      </a:moveTo>
                      <a:cubicBezTo>
                        <a:pt x="18" y="8"/>
                        <a:pt x="18" y="20"/>
                        <a:pt x="18" y="21"/>
                      </a:cubicBezTo>
                      <a:cubicBezTo>
                        <a:pt x="18" y="22"/>
                        <a:pt x="19" y="23"/>
                        <a:pt x="20" y="23"/>
                      </a:cubicBezTo>
                      <a:cubicBezTo>
                        <a:pt x="21" y="23"/>
                        <a:pt x="22" y="22"/>
                        <a:pt x="22" y="21"/>
                      </a:cubicBezTo>
                      <a:cubicBezTo>
                        <a:pt x="22" y="20"/>
                        <a:pt x="22" y="8"/>
                        <a:pt x="22" y="7"/>
                      </a:cubicBezTo>
                      <a:cubicBezTo>
                        <a:pt x="22" y="3"/>
                        <a:pt x="20" y="0"/>
                        <a:pt x="16" y="0"/>
                      </a:cubicBezTo>
                      <a:cubicBezTo>
                        <a:pt x="15" y="0"/>
                        <a:pt x="7" y="0"/>
                        <a:pt x="6" y="0"/>
                      </a:cubicBezTo>
                      <a:cubicBezTo>
                        <a:pt x="2" y="0"/>
                        <a:pt x="0" y="3"/>
                        <a:pt x="0" y="7"/>
                      </a:cubicBezTo>
                      <a:cubicBezTo>
                        <a:pt x="0" y="7"/>
                        <a:pt x="0" y="10"/>
                        <a:pt x="0" y="13"/>
                      </a:cubicBezTo>
                      <a:cubicBezTo>
                        <a:pt x="1" y="14"/>
                        <a:pt x="2" y="15"/>
                        <a:pt x="4" y="17"/>
                      </a:cubicBezTo>
                      <a:cubicBezTo>
                        <a:pt x="4" y="13"/>
                        <a:pt x="4" y="8"/>
                        <a:pt x="4" y="8"/>
                      </a:cubicBezTo>
                      <a:cubicBezTo>
                        <a:pt x="4" y="8"/>
                        <a:pt x="4" y="8"/>
                        <a:pt x="5" y="8"/>
                      </a:cubicBezTo>
                      <a:cubicBezTo>
                        <a:pt x="5" y="8"/>
                        <a:pt x="5" y="12"/>
                        <a:pt x="5" y="18"/>
                      </a:cubicBezTo>
                      <a:cubicBezTo>
                        <a:pt x="9" y="20"/>
                        <a:pt x="13" y="23"/>
                        <a:pt x="17" y="26"/>
                      </a:cubicBezTo>
                      <a:cubicBezTo>
                        <a:pt x="17" y="17"/>
                        <a:pt x="17" y="8"/>
                        <a:pt x="17" y="8"/>
                      </a:cubicBezTo>
                      <a:cubicBezTo>
                        <a:pt x="17" y="8"/>
                        <a:pt x="17"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37" name="Freeform 348"/>
                <p:cNvSpPr>
                  <a:spLocks/>
                </p:cNvSpPr>
                <p:nvPr/>
              </p:nvSpPr>
              <p:spPr bwMode="auto">
                <a:xfrm>
                  <a:off x="13426" y="2025"/>
                  <a:ext cx="42" cy="111"/>
                </a:xfrm>
                <a:custGeom>
                  <a:avLst/>
                  <a:gdLst>
                    <a:gd name="T0" fmla="*/ 6 w 18"/>
                    <a:gd name="T1" fmla="*/ 44 h 47"/>
                    <a:gd name="T2" fmla="*/ 6 w 18"/>
                    <a:gd name="T3" fmla="*/ 23 h 47"/>
                    <a:gd name="T4" fmla="*/ 7 w 18"/>
                    <a:gd name="T5" fmla="*/ 23 h 47"/>
                    <a:gd name="T6" fmla="*/ 7 w 18"/>
                    <a:gd name="T7" fmla="*/ 44 h 47"/>
                    <a:gd name="T8" fmla="*/ 10 w 18"/>
                    <a:gd name="T9" fmla="*/ 47 h 47"/>
                    <a:gd name="T10" fmla="*/ 12 w 18"/>
                    <a:gd name="T11" fmla="*/ 44 h 47"/>
                    <a:gd name="T12" fmla="*/ 12 w 18"/>
                    <a:gd name="T13" fmla="*/ 8 h 47"/>
                    <a:gd name="T14" fmla="*/ 13 w 18"/>
                    <a:gd name="T15" fmla="*/ 8 h 47"/>
                    <a:gd name="T16" fmla="*/ 13 w 18"/>
                    <a:gd name="T17" fmla="*/ 21 h 47"/>
                    <a:gd name="T18" fmla="*/ 16 w 18"/>
                    <a:gd name="T19" fmla="*/ 23 h 47"/>
                    <a:gd name="T20" fmla="*/ 18 w 18"/>
                    <a:gd name="T21" fmla="*/ 21 h 47"/>
                    <a:gd name="T22" fmla="*/ 18 w 18"/>
                    <a:gd name="T23" fmla="*/ 6 h 47"/>
                    <a:gd name="T24" fmla="*/ 11 w 18"/>
                    <a:gd name="T25" fmla="*/ 0 h 47"/>
                    <a:gd name="T26" fmla="*/ 1 w 18"/>
                    <a:gd name="T27" fmla="*/ 0 h 47"/>
                    <a:gd name="T28" fmla="*/ 0 w 18"/>
                    <a:gd name="T29" fmla="*/ 0 h 47"/>
                    <a:gd name="T30" fmla="*/ 0 w 18"/>
                    <a:gd name="T31" fmla="*/ 8 h 47"/>
                    <a:gd name="T32" fmla="*/ 0 w 18"/>
                    <a:gd name="T33" fmla="*/ 8 h 47"/>
                    <a:gd name="T34" fmla="*/ 0 w 18"/>
                    <a:gd name="T35" fmla="*/ 32 h 47"/>
                    <a:gd name="T36" fmla="*/ 3 w 18"/>
                    <a:gd name="T37" fmla="*/ 47 h 47"/>
                    <a:gd name="T38" fmla="*/ 6 w 18"/>
                    <a:gd name="T39"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47">
                      <a:moveTo>
                        <a:pt x="6" y="44"/>
                      </a:moveTo>
                      <a:cubicBezTo>
                        <a:pt x="6" y="42"/>
                        <a:pt x="6" y="23"/>
                        <a:pt x="6" y="23"/>
                      </a:cubicBezTo>
                      <a:cubicBezTo>
                        <a:pt x="6" y="23"/>
                        <a:pt x="6" y="23"/>
                        <a:pt x="7" y="23"/>
                      </a:cubicBezTo>
                      <a:cubicBezTo>
                        <a:pt x="7" y="23"/>
                        <a:pt x="7" y="42"/>
                        <a:pt x="7" y="44"/>
                      </a:cubicBezTo>
                      <a:cubicBezTo>
                        <a:pt x="7" y="46"/>
                        <a:pt x="8" y="47"/>
                        <a:pt x="10" y="47"/>
                      </a:cubicBezTo>
                      <a:cubicBezTo>
                        <a:pt x="11" y="47"/>
                        <a:pt x="12" y="46"/>
                        <a:pt x="12" y="44"/>
                      </a:cubicBezTo>
                      <a:cubicBezTo>
                        <a:pt x="12" y="42"/>
                        <a:pt x="12" y="8"/>
                        <a:pt x="12" y="8"/>
                      </a:cubicBezTo>
                      <a:cubicBezTo>
                        <a:pt x="12" y="8"/>
                        <a:pt x="12" y="8"/>
                        <a:pt x="13" y="8"/>
                      </a:cubicBezTo>
                      <a:cubicBezTo>
                        <a:pt x="13" y="8"/>
                        <a:pt x="13" y="19"/>
                        <a:pt x="13" y="21"/>
                      </a:cubicBezTo>
                      <a:cubicBezTo>
                        <a:pt x="13" y="22"/>
                        <a:pt x="14" y="23"/>
                        <a:pt x="16" y="23"/>
                      </a:cubicBezTo>
                      <a:cubicBezTo>
                        <a:pt x="17" y="23"/>
                        <a:pt x="18" y="22"/>
                        <a:pt x="18" y="21"/>
                      </a:cubicBezTo>
                      <a:cubicBezTo>
                        <a:pt x="18" y="20"/>
                        <a:pt x="18" y="8"/>
                        <a:pt x="18" y="6"/>
                      </a:cubicBezTo>
                      <a:cubicBezTo>
                        <a:pt x="18" y="3"/>
                        <a:pt x="15" y="0"/>
                        <a:pt x="11" y="0"/>
                      </a:cubicBezTo>
                      <a:cubicBezTo>
                        <a:pt x="10" y="0"/>
                        <a:pt x="3" y="0"/>
                        <a:pt x="1" y="0"/>
                      </a:cubicBezTo>
                      <a:cubicBezTo>
                        <a:pt x="1" y="0"/>
                        <a:pt x="0" y="0"/>
                        <a:pt x="0" y="0"/>
                      </a:cubicBezTo>
                      <a:cubicBezTo>
                        <a:pt x="0" y="3"/>
                        <a:pt x="0" y="5"/>
                        <a:pt x="0" y="8"/>
                      </a:cubicBezTo>
                      <a:cubicBezTo>
                        <a:pt x="0" y="8"/>
                        <a:pt x="0" y="8"/>
                        <a:pt x="0" y="8"/>
                      </a:cubicBezTo>
                      <a:cubicBezTo>
                        <a:pt x="0" y="8"/>
                        <a:pt x="0" y="21"/>
                        <a:pt x="0" y="32"/>
                      </a:cubicBezTo>
                      <a:cubicBezTo>
                        <a:pt x="1" y="37"/>
                        <a:pt x="2" y="42"/>
                        <a:pt x="3" y="47"/>
                      </a:cubicBezTo>
                      <a:cubicBezTo>
                        <a:pt x="5" y="46"/>
                        <a:pt x="6" y="45"/>
                        <a:pt x="6"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38" name="Oval 349"/>
                <p:cNvSpPr>
                  <a:spLocks noChangeArrowheads="1"/>
                </p:cNvSpPr>
                <p:nvPr/>
              </p:nvSpPr>
              <p:spPr bwMode="auto">
                <a:xfrm>
                  <a:off x="13494" y="1999"/>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39" name="Freeform 350"/>
                <p:cNvSpPr>
                  <a:spLocks/>
                </p:cNvSpPr>
                <p:nvPr/>
              </p:nvSpPr>
              <p:spPr bwMode="auto">
                <a:xfrm>
                  <a:off x="13454" y="2174"/>
                  <a:ext cx="10" cy="14"/>
                </a:xfrm>
                <a:custGeom>
                  <a:avLst/>
                  <a:gdLst>
                    <a:gd name="T0" fmla="*/ 0 w 4"/>
                    <a:gd name="T1" fmla="*/ 0 h 6"/>
                    <a:gd name="T2" fmla="*/ 3 w 4"/>
                    <a:gd name="T3" fmla="*/ 4 h 6"/>
                    <a:gd name="T4" fmla="*/ 4 w 4"/>
                    <a:gd name="T5" fmla="*/ 6 h 6"/>
                    <a:gd name="T6" fmla="*/ 4 w 4"/>
                    <a:gd name="T7" fmla="*/ 4 h 6"/>
                    <a:gd name="T8" fmla="*/ 0 w 4"/>
                    <a:gd name="T9" fmla="*/ 0 h 6"/>
                  </a:gdLst>
                  <a:ahLst/>
                  <a:cxnLst>
                    <a:cxn ang="0">
                      <a:pos x="T0" y="T1"/>
                    </a:cxn>
                    <a:cxn ang="0">
                      <a:pos x="T2" y="T3"/>
                    </a:cxn>
                    <a:cxn ang="0">
                      <a:pos x="T4" y="T5"/>
                    </a:cxn>
                    <a:cxn ang="0">
                      <a:pos x="T6" y="T7"/>
                    </a:cxn>
                    <a:cxn ang="0">
                      <a:pos x="T8" y="T9"/>
                    </a:cxn>
                  </a:cxnLst>
                  <a:rect l="0" t="0" r="r" b="b"/>
                  <a:pathLst>
                    <a:path w="4" h="6">
                      <a:moveTo>
                        <a:pt x="0" y="0"/>
                      </a:moveTo>
                      <a:cubicBezTo>
                        <a:pt x="0" y="1"/>
                        <a:pt x="1" y="2"/>
                        <a:pt x="3" y="4"/>
                      </a:cubicBezTo>
                      <a:cubicBezTo>
                        <a:pt x="3" y="4"/>
                        <a:pt x="3" y="5"/>
                        <a:pt x="4" y="6"/>
                      </a:cubicBezTo>
                      <a:cubicBezTo>
                        <a:pt x="4" y="5"/>
                        <a:pt x="4" y="4"/>
                        <a:pt x="4" y="4"/>
                      </a:cubicBezTo>
                      <a:cubicBezTo>
                        <a:pt x="3" y="2"/>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40" name="Oval 351"/>
                <p:cNvSpPr>
                  <a:spLocks noChangeArrowheads="1"/>
                </p:cNvSpPr>
                <p:nvPr/>
              </p:nvSpPr>
              <p:spPr bwMode="auto">
                <a:xfrm>
                  <a:off x="13430" y="1999"/>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41" name="Oval 352"/>
                <p:cNvSpPr>
                  <a:spLocks noChangeArrowheads="1"/>
                </p:cNvSpPr>
                <p:nvPr/>
              </p:nvSpPr>
              <p:spPr bwMode="auto">
                <a:xfrm>
                  <a:off x="13627" y="2148"/>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42" name="Freeform 353"/>
                <p:cNvSpPr>
                  <a:spLocks/>
                </p:cNvSpPr>
                <p:nvPr/>
              </p:nvSpPr>
              <p:spPr bwMode="auto">
                <a:xfrm>
                  <a:off x="13610" y="2172"/>
                  <a:ext cx="55" cy="35"/>
                </a:xfrm>
                <a:custGeom>
                  <a:avLst/>
                  <a:gdLst>
                    <a:gd name="T0" fmla="*/ 17 w 23"/>
                    <a:gd name="T1" fmla="*/ 0 h 15"/>
                    <a:gd name="T2" fmla="*/ 6 w 23"/>
                    <a:gd name="T3" fmla="*/ 0 h 15"/>
                    <a:gd name="T4" fmla="*/ 0 w 23"/>
                    <a:gd name="T5" fmla="*/ 7 h 15"/>
                    <a:gd name="T6" fmla="*/ 0 w 23"/>
                    <a:gd name="T7" fmla="*/ 15 h 15"/>
                    <a:gd name="T8" fmla="*/ 4 w 23"/>
                    <a:gd name="T9" fmla="*/ 12 h 15"/>
                    <a:gd name="T10" fmla="*/ 4 w 23"/>
                    <a:gd name="T11" fmla="*/ 8 h 15"/>
                    <a:gd name="T12" fmla="*/ 5 w 23"/>
                    <a:gd name="T13" fmla="*/ 8 h 15"/>
                    <a:gd name="T14" fmla="*/ 5 w 23"/>
                    <a:gd name="T15" fmla="*/ 12 h 15"/>
                    <a:gd name="T16" fmla="*/ 17 w 23"/>
                    <a:gd name="T17" fmla="*/ 13 h 15"/>
                    <a:gd name="T18" fmla="*/ 17 w 23"/>
                    <a:gd name="T19" fmla="*/ 8 h 15"/>
                    <a:gd name="T20" fmla="*/ 19 w 23"/>
                    <a:gd name="T21" fmla="*/ 8 h 15"/>
                    <a:gd name="T22" fmla="*/ 19 w 23"/>
                    <a:gd name="T23" fmla="*/ 13 h 15"/>
                    <a:gd name="T24" fmla="*/ 23 w 23"/>
                    <a:gd name="T25" fmla="*/ 14 h 15"/>
                    <a:gd name="T26" fmla="*/ 23 w 23"/>
                    <a:gd name="T27" fmla="*/ 7 h 15"/>
                    <a:gd name="T28" fmla="*/ 17 w 23"/>
                    <a:gd name="T2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15">
                      <a:moveTo>
                        <a:pt x="17" y="0"/>
                      </a:moveTo>
                      <a:cubicBezTo>
                        <a:pt x="15" y="0"/>
                        <a:pt x="8" y="0"/>
                        <a:pt x="6" y="0"/>
                      </a:cubicBezTo>
                      <a:cubicBezTo>
                        <a:pt x="3" y="0"/>
                        <a:pt x="0" y="3"/>
                        <a:pt x="0" y="7"/>
                      </a:cubicBezTo>
                      <a:cubicBezTo>
                        <a:pt x="0" y="7"/>
                        <a:pt x="0" y="11"/>
                        <a:pt x="0" y="15"/>
                      </a:cubicBezTo>
                      <a:cubicBezTo>
                        <a:pt x="1" y="14"/>
                        <a:pt x="3" y="13"/>
                        <a:pt x="4" y="12"/>
                      </a:cubicBezTo>
                      <a:cubicBezTo>
                        <a:pt x="4" y="10"/>
                        <a:pt x="4" y="8"/>
                        <a:pt x="4" y="8"/>
                      </a:cubicBezTo>
                      <a:cubicBezTo>
                        <a:pt x="4" y="8"/>
                        <a:pt x="4" y="8"/>
                        <a:pt x="5" y="8"/>
                      </a:cubicBezTo>
                      <a:cubicBezTo>
                        <a:pt x="5" y="8"/>
                        <a:pt x="5" y="10"/>
                        <a:pt x="5" y="12"/>
                      </a:cubicBezTo>
                      <a:cubicBezTo>
                        <a:pt x="9" y="11"/>
                        <a:pt x="13" y="12"/>
                        <a:pt x="17" y="13"/>
                      </a:cubicBezTo>
                      <a:cubicBezTo>
                        <a:pt x="17" y="10"/>
                        <a:pt x="17" y="8"/>
                        <a:pt x="17" y="8"/>
                      </a:cubicBezTo>
                      <a:cubicBezTo>
                        <a:pt x="17" y="8"/>
                        <a:pt x="17" y="8"/>
                        <a:pt x="19" y="8"/>
                      </a:cubicBezTo>
                      <a:cubicBezTo>
                        <a:pt x="19" y="8"/>
                        <a:pt x="19" y="10"/>
                        <a:pt x="19" y="13"/>
                      </a:cubicBezTo>
                      <a:cubicBezTo>
                        <a:pt x="20" y="13"/>
                        <a:pt x="21" y="14"/>
                        <a:pt x="23" y="14"/>
                      </a:cubicBezTo>
                      <a:cubicBezTo>
                        <a:pt x="23" y="11"/>
                        <a:pt x="23" y="7"/>
                        <a:pt x="23" y="7"/>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43" name="Freeform 354"/>
                <p:cNvSpPr>
                  <a:spLocks/>
                </p:cNvSpPr>
                <p:nvPr/>
              </p:nvSpPr>
              <p:spPr bwMode="auto">
                <a:xfrm>
                  <a:off x="13606" y="2025"/>
                  <a:ext cx="63" cy="111"/>
                </a:xfrm>
                <a:custGeom>
                  <a:avLst/>
                  <a:gdLst>
                    <a:gd name="T0" fmla="*/ 23 w 27"/>
                    <a:gd name="T1" fmla="*/ 5 h 47"/>
                    <a:gd name="T2" fmla="*/ 17 w 27"/>
                    <a:gd name="T3" fmla="*/ 0 h 47"/>
                    <a:gd name="T4" fmla="*/ 10 w 27"/>
                    <a:gd name="T5" fmla="*/ 0 h 47"/>
                    <a:gd name="T6" fmla="*/ 4 w 27"/>
                    <a:gd name="T7" fmla="*/ 5 h 47"/>
                    <a:gd name="T8" fmla="*/ 0 w 27"/>
                    <a:gd name="T9" fmla="*/ 18 h 47"/>
                    <a:gd name="T10" fmla="*/ 1 w 27"/>
                    <a:gd name="T11" fmla="*/ 21 h 47"/>
                    <a:gd name="T12" fmla="*/ 4 w 27"/>
                    <a:gd name="T13" fmla="*/ 20 h 47"/>
                    <a:gd name="T14" fmla="*/ 8 w 27"/>
                    <a:gd name="T15" fmla="*/ 6 h 47"/>
                    <a:gd name="T16" fmla="*/ 9 w 27"/>
                    <a:gd name="T17" fmla="*/ 6 h 47"/>
                    <a:gd name="T18" fmla="*/ 2 w 27"/>
                    <a:gd name="T19" fmla="*/ 28 h 47"/>
                    <a:gd name="T20" fmla="*/ 8 w 27"/>
                    <a:gd name="T21" fmla="*/ 28 h 47"/>
                    <a:gd name="T22" fmla="*/ 8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8 w 27"/>
                    <a:gd name="T37" fmla="*/ 45 h 47"/>
                    <a:gd name="T38" fmla="*/ 18 w 27"/>
                    <a:gd name="T39" fmla="*/ 28 h 47"/>
                    <a:gd name="T40" fmla="*/ 25 w 27"/>
                    <a:gd name="T41" fmla="*/ 28 h 47"/>
                    <a:gd name="T42" fmla="*/ 18 w 27"/>
                    <a:gd name="T43" fmla="*/ 6 h 47"/>
                    <a:gd name="T44" fmla="*/ 19 w 27"/>
                    <a:gd name="T45" fmla="*/ 6 h 47"/>
                    <a:gd name="T46" fmla="*/ 23 w 27"/>
                    <a:gd name="T47" fmla="*/ 20 h 47"/>
                    <a:gd name="T48" fmla="*/ 25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7" y="0"/>
                      </a:cubicBezTo>
                      <a:cubicBezTo>
                        <a:pt x="16" y="0"/>
                        <a:pt x="11" y="0"/>
                        <a:pt x="10" y="0"/>
                      </a:cubicBezTo>
                      <a:cubicBezTo>
                        <a:pt x="7" y="0"/>
                        <a:pt x="5" y="2"/>
                        <a:pt x="4" y="5"/>
                      </a:cubicBezTo>
                      <a:cubicBezTo>
                        <a:pt x="2" y="10"/>
                        <a:pt x="0" y="18"/>
                        <a:pt x="0" y="18"/>
                      </a:cubicBezTo>
                      <a:cubicBezTo>
                        <a:pt x="0" y="19"/>
                        <a:pt x="0" y="20"/>
                        <a:pt x="1" y="21"/>
                      </a:cubicBezTo>
                      <a:cubicBezTo>
                        <a:pt x="2" y="21"/>
                        <a:pt x="3" y="20"/>
                        <a:pt x="4" y="20"/>
                      </a:cubicBezTo>
                      <a:cubicBezTo>
                        <a:pt x="4" y="18"/>
                        <a:pt x="8" y="6"/>
                        <a:pt x="8"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6"/>
                        <a:pt x="18" y="6"/>
                        <a:pt x="18" y="6"/>
                      </a:cubicBezTo>
                      <a:cubicBezTo>
                        <a:pt x="19" y="6"/>
                        <a:pt x="19" y="6"/>
                        <a:pt x="19" y="6"/>
                      </a:cubicBezTo>
                      <a:cubicBezTo>
                        <a:pt x="19" y="6"/>
                        <a:pt x="23" y="18"/>
                        <a:pt x="23" y="20"/>
                      </a:cubicBezTo>
                      <a:cubicBezTo>
                        <a:pt x="23" y="20"/>
                        <a:pt x="24" y="21"/>
                        <a:pt x="25" y="21"/>
                      </a:cubicBezTo>
                      <a:cubicBezTo>
                        <a:pt x="26" y="20"/>
                        <a:pt x="27" y="19"/>
                        <a:pt x="27" y="18"/>
                      </a:cubicBezTo>
                      <a:cubicBezTo>
                        <a:pt x="26" y="18"/>
                        <a:pt x="24"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44" name="Oval 355"/>
                <p:cNvSpPr>
                  <a:spLocks noChangeArrowheads="1"/>
                </p:cNvSpPr>
                <p:nvPr/>
              </p:nvSpPr>
              <p:spPr bwMode="auto">
                <a:xfrm>
                  <a:off x="14732" y="39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45" name="Freeform 356"/>
                <p:cNvSpPr>
                  <a:spLocks/>
                </p:cNvSpPr>
                <p:nvPr/>
              </p:nvSpPr>
              <p:spPr bwMode="auto">
                <a:xfrm>
                  <a:off x="14798" y="390"/>
                  <a:ext cx="15" cy="21"/>
                </a:xfrm>
                <a:custGeom>
                  <a:avLst/>
                  <a:gdLst>
                    <a:gd name="T0" fmla="*/ 0 w 6"/>
                    <a:gd name="T1" fmla="*/ 5 h 9"/>
                    <a:gd name="T2" fmla="*/ 5 w 6"/>
                    <a:gd name="T3" fmla="*/ 9 h 9"/>
                    <a:gd name="T4" fmla="*/ 6 w 6"/>
                    <a:gd name="T5" fmla="*/ 9 h 9"/>
                    <a:gd name="T6" fmla="*/ 5 w 6"/>
                    <a:gd name="T7" fmla="*/ 0 h 9"/>
                    <a:gd name="T8" fmla="*/ 5 w 6"/>
                    <a:gd name="T9" fmla="*/ 0 h 9"/>
                    <a:gd name="T10" fmla="*/ 0 w 6"/>
                    <a:gd name="T11" fmla="*/ 5 h 9"/>
                  </a:gdLst>
                  <a:ahLst/>
                  <a:cxnLst>
                    <a:cxn ang="0">
                      <a:pos x="T0" y="T1"/>
                    </a:cxn>
                    <a:cxn ang="0">
                      <a:pos x="T2" y="T3"/>
                    </a:cxn>
                    <a:cxn ang="0">
                      <a:pos x="T4" y="T5"/>
                    </a:cxn>
                    <a:cxn ang="0">
                      <a:pos x="T6" y="T7"/>
                    </a:cxn>
                    <a:cxn ang="0">
                      <a:pos x="T8" y="T9"/>
                    </a:cxn>
                    <a:cxn ang="0">
                      <a:pos x="T10" y="T11"/>
                    </a:cxn>
                  </a:cxnLst>
                  <a:rect l="0" t="0" r="r" b="b"/>
                  <a:pathLst>
                    <a:path w="6" h="9">
                      <a:moveTo>
                        <a:pt x="0" y="5"/>
                      </a:moveTo>
                      <a:cubicBezTo>
                        <a:pt x="0" y="7"/>
                        <a:pt x="2" y="9"/>
                        <a:pt x="5" y="9"/>
                      </a:cubicBezTo>
                      <a:cubicBezTo>
                        <a:pt x="5" y="9"/>
                        <a:pt x="6" y="9"/>
                        <a:pt x="6" y="9"/>
                      </a:cubicBezTo>
                      <a:cubicBezTo>
                        <a:pt x="6" y="6"/>
                        <a:pt x="5" y="3"/>
                        <a:pt x="5" y="0"/>
                      </a:cubicBezTo>
                      <a:cubicBezTo>
                        <a:pt x="5" y="0"/>
                        <a:pt x="5" y="0"/>
                        <a:pt x="5" y="0"/>
                      </a:cubicBezTo>
                      <a:cubicBezTo>
                        <a:pt x="2" y="0"/>
                        <a:pt x="0"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46" name="Freeform 357"/>
                <p:cNvSpPr>
                  <a:spLocks/>
                </p:cNvSpPr>
                <p:nvPr/>
              </p:nvSpPr>
              <p:spPr bwMode="auto">
                <a:xfrm>
                  <a:off x="14796" y="352"/>
                  <a:ext cx="9" cy="26"/>
                </a:xfrm>
                <a:custGeom>
                  <a:avLst/>
                  <a:gdLst>
                    <a:gd name="T0" fmla="*/ 0 w 4"/>
                    <a:gd name="T1" fmla="*/ 9 h 11"/>
                    <a:gd name="T2" fmla="*/ 3 w 4"/>
                    <a:gd name="T3" fmla="*/ 11 h 11"/>
                    <a:gd name="T4" fmla="*/ 4 w 4"/>
                    <a:gd name="T5" fmla="*/ 10 h 11"/>
                    <a:gd name="T6" fmla="*/ 0 w 4"/>
                    <a:gd name="T7" fmla="*/ 0 h 11"/>
                    <a:gd name="T8" fmla="*/ 0 w 4"/>
                    <a:gd name="T9" fmla="*/ 9 h 11"/>
                  </a:gdLst>
                  <a:ahLst/>
                  <a:cxnLst>
                    <a:cxn ang="0">
                      <a:pos x="T0" y="T1"/>
                    </a:cxn>
                    <a:cxn ang="0">
                      <a:pos x="T2" y="T3"/>
                    </a:cxn>
                    <a:cxn ang="0">
                      <a:pos x="T4" y="T5"/>
                    </a:cxn>
                    <a:cxn ang="0">
                      <a:pos x="T6" y="T7"/>
                    </a:cxn>
                    <a:cxn ang="0">
                      <a:pos x="T8" y="T9"/>
                    </a:cxn>
                  </a:cxnLst>
                  <a:rect l="0" t="0" r="r" b="b"/>
                  <a:pathLst>
                    <a:path w="4" h="11">
                      <a:moveTo>
                        <a:pt x="0" y="9"/>
                      </a:moveTo>
                      <a:cubicBezTo>
                        <a:pt x="0" y="10"/>
                        <a:pt x="1" y="11"/>
                        <a:pt x="3" y="11"/>
                      </a:cubicBezTo>
                      <a:cubicBezTo>
                        <a:pt x="3" y="11"/>
                        <a:pt x="4" y="11"/>
                        <a:pt x="4" y="10"/>
                      </a:cubicBezTo>
                      <a:cubicBezTo>
                        <a:pt x="3" y="7"/>
                        <a:pt x="2" y="3"/>
                        <a:pt x="0" y="0"/>
                      </a:cubicBezTo>
                      <a:cubicBezTo>
                        <a:pt x="0" y="4"/>
                        <a:pt x="0" y="8"/>
                        <a:pt x="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47" name="Freeform 358"/>
                <p:cNvSpPr>
                  <a:spLocks/>
                </p:cNvSpPr>
                <p:nvPr/>
              </p:nvSpPr>
              <p:spPr bwMode="auto">
                <a:xfrm>
                  <a:off x="14782" y="413"/>
                  <a:ext cx="42" cy="112"/>
                </a:xfrm>
                <a:custGeom>
                  <a:avLst/>
                  <a:gdLst>
                    <a:gd name="T0" fmla="*/ 0 w 18"/>
                    <a:gd name="T1" fmla="*/ 6 h 47"/>
                    <a:gd name="T2" fmla="*/ 0 w 18"/>
                    <a:gd name="T3" fmla="*/ 21 h 47"/>
                    <a:gd name="T4" fmla="*/ 2 w 18"/>
                    <a:gd name="T5" fmla="*/ 23 h 47"/>
                    <a:gd name="T6" fmla="*/ 4 w 18"/>
                    <a:gd name="T7" fmla="*/ 21 h 47"/>
                    <a:gd name="T8" fmla="*/ 4 w 18"/>
                    <a:gd name="T9" fmla="*/ 8 h 47"/>
                    <a:gd name="T10" fmla="*/ 5 w 18"/>
                    <a:gd name="T11" fmla="*/ 8 h 47"/>
                    <a:gd name="T12" fmla="*/ 5 w 18"/>
                    <a:gd name="T13" fmla="*/ 44 h 47"/>
                    <a:gd name="T14" fmla="*/ 8 w 18"/>
                    <a:gd name="T15" fmla="*/ 47 h 47"/>
                    <a:gd name="T16" fmla="*/ 11 w 18"/>
                    <a:gd name="T17" fmla="*/ 44 h 47"/>
                    <a:gd name="T18" fmla="*/ 11 w 18"/>
                    <a:gd name="T19" fmla="*/ 23 h 47"/>
                    <a:gd name="T20" fmla="*/ 12 w 18"/>
                    <a:gd name="T21" fmla="*/ 23 h 47"/>
                    <a:gd name="T22" fmla="*/ 12 w 18"/>
                    <a:gd name="T23" fmla="*/ 44 h 47"/>
                    <a:gd name="T24" fmla="*/ 15 w 18"/>
                    <a:gd name="T25" fmla="*/ 47 h 47"/>
                    <a:gd name="T26" fmla="*/ 18 w 18"/>
                    <a:gd name="T27" fmla="*/ 44 h 47"/>
                    <a:gd name="T28" fmla="*/ 18 w 18"/>
                    <a:gd name="T29" fmla="*/ 20 h 47"/>
                    <a:gd name="T30" fmla="*/ 14 w 18"/>
                    <a:gd name="T31" fmla="*/ 0 h 47"/>
                    <a:gd name="T32" fmla="*/ 6 w 18"/>
                    <a:gd name="T33" fmla="*/ 0 h 47"/>
                    <a:gd name="T34" fmla="*/ 0 w 18"/>
                    <a:gd name="T3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7">
                      <a:moveTo>
                        <a:pt x="0" y="6"/>
                      </a:move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3"/>
                        <a:pt x="18" y="30"/>
                        <a:pt x="18" y="20"/>
                      </a:cubicBezTo>
                      <a:cubicBezTo>
                        <a:pt x="16" y="14"/>
                        <a:pt x="15" y="7"/>
                        <a:pt x="14" y="0"/>
                      </a:cubicBezTo>
                      <a:cubicBezTo>
                        <a:pt x="11" y="0"/>
                        <a:pt x="7"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48" name="Freeform 359"/>
                <p:cNvSpPr>
                  <a:spLocks/>
                </p:cNvSpPr>
                <p:nvPr/>
              </p:nvSpPr>
              <p:spPr bwMode="auto">
                <a:xfrm>
                  <a:off x="14782" y="328"/>
                  <a:ext cx="4" cy="5"/>
                </a:xfrm>
                <a:custGeom>
                  <a:avLst/>
                  <a:gdLst>
                    <a:gd name="T0" fmla="*/ 2 w 2"/>
                    <a:gd name="T1" fmla="*/ 2 h 2"/>
                    <a:gd name="T2" fmla="*/ 1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cubicBezTo>
                        <a:pt x="2" y="2"/>
                        <a:pt x="1" y="1"/>
                        <a:pt x="1" y="0"/>
                      </a:cubicBezTo>
                      <a:cubicBezTo>
                        <a:pt x="0" y="2"/>
                        <a:pt x="0" y="2"/>
                        <a:pt x="0" y="2"/>
                      </a:cubicBezTo>
                      <a:cubicBezTo>
                        <a:pt x="1" y="2"/>
                        <a:pt x="2"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49" name="Freeform 360"/>
                <p:cNvSpPr>
                  <a:spLocks/>
                </p:cNvSpPr>
                <p:nvPr/>
              </p:nvSpPr>
              <p:spPr bwMode="auto">
                <a:xfrm>
                  <a:off x="14954" y="581"/>
                  <a:ext cx="17" cy="29"/>
                </a:xfrm>
                <a:custGeom>
                  <a:avLst/>
                  <a:gdLst>
                    <a:gd name="T0" fmla="*/ 0 w 7"/>
                    <a:gd name="T1" fmla="*/ 0 h 12"/>
                    <a:gd name="T2" fmla="*/ 4 w 7"/>
                    <a:gd name="T3" fmla="*/ 11 h 12"/>
                    <a:gd name="T4" fmla="*/ 6 w 7"/>
                    <a:gd name="T5" fmla="*/ 12 h 12"/>
                    <a:gd name="T6" fmla="*/ 7 w 7"/>
                    <a:gd name="T7" fmla="*/ 10 h 12"/>
                    <a:gd name="T8" fmla="*/ 7 w 7"/>
                    <a:gd name="T9" fmla="*/ 8 h 12"/>
                    <a:gd name="T10" fmla="*/ 5 w 7"/>
                    <a:gd name="T11" fmla="*/ 6 h 12"/>
                    <a:gd name="T12" fmla="*/ 0 w 7"/>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7" h="12">
                      <a:moveTo>
                        <a:pt x="0" y="0"/>
                      </a:moveTo>
                      <a:cubicBezTo>
                        <a:pt x="1" y="3"/>
                        <a:pt x="3" y="10"/>
                        <a:pt x="4" y="11"/>
                      </a:cubicBezTo>
                      <a:cubicBezTo>
                        <a:pt x="4" y="12"/>
                        <a:pt x="5" y="12"/>
                        <a:pt x="6" y="12"/>
                      </a:cubicBezTo>
                      <a:cubicBezTo>
                        <a:pt x="7" y="12"/>
                        <a:pt x="7" y="11"/>
                        <a:pt x="7" y="10"/>
                      </a:cubicBezTo>
                      <a:cubicBezTo>
                        <a:pt x="7" y="9"/>
                        <a:pt x="7" y="9"/>
                        <a:pt x="7" y="8"/>
                      </a:cubicBezTo>
                      <a:cubicBezTo>
                        <a:pt x="6" y="8"/>
                        <a:pt x="6" y="7"/>
                        <a:pt x="5" y="6"/>
                      </a:cubicBezTo>
                      <a:cubicBezTo>
                        <a:pt x="4" y="4"/>
                        <a:pt x="2"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50" name="Freeform 361"/>
                <p:cNvSpPr>
                  <a:spLocks/>
                </p:cNvSpPr>
                <p:nvPr/>
              </p:nvSpPr>
              <p:spPr bwMode="auto">
                <a:xfrm>
                  <a:off x="14907" y="560"/>
                  <a:ext cx="59" cy="111"/>
                </a:xfrm>
                <a:custGeom>
                  <a:avLst/>
                  <a:gdLst>
                    <a:gd name="T0" fmla="*/ 5 w 25"/>
                    <a:gd name="T1" fmla="*/ 5 h 47"/>
                    <a:gd name="T2" fmla="*/ 1 w 25"/>
                    <a:gd name="T3" fmla="*/ 19 h 47"/>
                    <a:gd name="T4" fmla="*/ 2 w 25"/>
                    <a:gd name="T5" fmla="*/ 21 h 47"/>
                    <a:gd name="T6" fmla="*/ 4 w 25"/>
                    <a:gd name="T7" fmla="*/ 20 h 47"/>
                    <a:gd name="T8" fmla="*/ 8 w 25"/>
                    <a:gd name="T9" fmla="*/ 7 h 47"/>
                    <a:gd name="T10" fmla="*/ 9 w 25"/>
                    <a:gd name="T11" fmla="*/ 7 h 47"/>
                    <a:gd name="T12" fmla="*/ 3 w 25"/>
                    <a:gd name="T13" fmla="*/ 28 h 47"/>
                    <a:gd name="T14" fmla="*/ 9 w 25"/>
                    <a:gd name="T15" fmla="*/ 28 h 47"/>
                    <a:gd name="T16" fmla="*/ 9 w 25"/>
                    <a:gd name="T17" fmla="*/ 45 h 47"/>
                    <a:gd name="T18" fmla="*/ 11 w 25"/>
                    <a:gd name="T19" fmla="*/ 47 h 47"/>
                    <a:gd name="T20" fmla="*/ 13 w 25"/>
                    <a:gd name="T21" fmla="*/ 45 h 47"/>
                    <a:gd name="T22" fmla="*/ 13 w 25"/>
                    <a:gd name="T23" fmla="*/ 28 h 47"/>
                    <a:gd name="T24" fmla="*/ 14 w 25"/>
                    <a:gd name="T25" fmla="*/ 28 h 47"/>
                    <a:gd name="T26" fmla="*/ 14 w 25"/>
                    <a:gd name="T27" fmla="*/ 45 h 47"/>
                    <a:gd name="T28" fmla="*/ 17 w 25"/>
                    <a:gd name="T29" fmla="*/ 47 h 47"/>
                    <a:gd name="T30" fmla="*/ 19 w 25"/>
                    <a:gd name="T31" fmla="*/ 45 h 47"/>
                    <a:gd name="T32" fmla="*/ 19 w 25"/>
                    <a:gd name="T33" fmla="*/ 28 h 47"/>
                    <a:gd name="T34" fmla="*/ 25 w 25"/>
                    <a:gd name="T35" fmla="*/ 28 h 47"/>
                    <a:gd name="T36" fmla="*/ 19 w 25"/>
                    <a:gd name="T37" fmla="*/ 7 h 47"/>
                    <a:gd name="T38" fmla="*/ 10 w 25"/>
                    <a:gd name="T39" fmla="*/ 0 h 47"/>
                    <a:gd name="T40" fmla="*/ 5 w 25"/>
                    <a:gd name="T41"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47">
                      <a:moveTo>
                        <a:pt x="5" y="5"/>
                      </a:move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20" y="13"/>
                        <a:pt x="19" y="8"/>
                        <a:pt x="19" y="7"/>
                      </a:cubicBezTo>
                      <a:cubicBezTo>
                        <a:pt x="16" y="5"/>
                        <a:pt x="13" y="2"/>
                        <a:pt x="10" y="0"/>
                      </a:cubicBezTo>
                      <a:cubicBezTo>
                        <a:pt x="8" y="1"/>
                        <a:pt x="5" y="3"/>
                        <a:pt x="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51" name="Freeform 362"/>
                <p:cNvSpPr>
                  <a:spLocks/>
                </p:cNvSpPr>
                <p:nvPr/>
              </p:nvSpPr>
              <p:spPr bwMode="auto">
                <a:xfrm>
                  <a:off x="14760" y="309"/>
                  <a:ext cx="10" cy="12"/>
                </a:xfrm>
                <a:custGeom>
                  <a:avLst/>
                  <a:gdLst>
                    <a:gd name="T0" fmla="*/ 0 w 4"/>
                    <a:gd name="T1" fmla="*/ 3 h 5"/>
                    <a:gd name="T2" fmla="*/ 2 w 4"/>
                    <a:gd name="T3" fmla="*/ 5 h 5"/>
                    <a:gd name="T4" fmla="*/ 4 w 4"/>
                    <a:gd name="T5" fmla="*/ 3 h 5"/>
                    <a:gd name="T6" fmla="*/ 0 w 4"/>
                    <a:gd name="T7" fmla="*/ 0 h 5"/>
                    <a:gd name="T8" fmla="*/ 0 w 4"/>
                    <a:gd name="T9" fmla="*/ 3 h 5"/>
                  </a:gdLst>
                  <a:ahLst/>
                  <a:cxnLst>
                    <a:cxn ang="0">
                      <a:pos x="T0" y="T1"/>
                    </a:cxn>
                    <a:cxn ang="0">
                      <a:pos x="T2" y="T3"/>
                    </a:cxn>
                    <a:cxn ang="0">
                      <a:pos x="T4" y="T5"/>
                    </a:cxn>
                    <a:cxn ang="0">
                      <a:pos x="T6" y="T7"/>
                    </a:cxn>
                    <a:cxn ang="0">
                      <a:pos x="T8" y="T9"/>
                    </a:cxn>
                  </a:cxnLst>
                  <a:rect l="0" t="0" r="r" b="b"/>
                  <a:pathLst>
                    <a:path w="4" h="5">
                      <a:moveTo>
                        <a:pt x="0" y="3"/>
                      </a:moveTo>
                      <a:cubicBezTo>
                        <a:pt x="0" y="4"/>
                        <a:pt x="1" y="5"/>
                        <a:pt x="2" y="5"/>
                      </a:cubicBezTo>
                      <a:cubicBezTo>
                        <a:pt x="3" y="5"/>
                        <a:pt x="4" y="4"/>
                        <a:pt x="4" y="3"/>
                      </a:cubicBezTo>
                      <a:cubicBezTo>
                        <a:pt x="3" y="2"/>
                        <a:pt x="1" y="1"/>
                        <a:pt x="0" y="0"/>
                      </a:cubicBezTo>
                      <a:cubicBezTo>
                        <a:pt x="0" y="2"/>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52" name="Freeform 363"/>
                <p:cNvSpPr>
                  <a:spLocks/>
                </p:cNvSpPr>
                <p:nvPr/>
              </p:nvSpPr>
              <p:spPr bwMode="auto">
                <a:xfrm>
                  <a:off x="14715" y="560"/>
                  <a:ext cx="55" cy="111"/>
                </a:xfrm>
                <a:custGeom>
                  <a:avLst/>
                  <a:gdLst>
                    <a:gd name="T0" fmla="*/ 23 w 23"/>
                    <a:gd name="T1" fmla="*/ 21 h 47"/>
                    <a:gd name="T2" fmla="*/ 23 w 23"/>
                    <a:gd name="T3" fmla="*/ 6 h 47"/>
                    <a:gd name="T4" fmla="*/ 17 w 23"/>
                    <a:gd name="T5" fmla="*/ 0 h 47"/>
                    <a:gd name="T6" fmla="*/ 7 w 23"/>
                    <a:gd name="T7" fmla="*/ 0 h 47"/>
                    <a:gd name="T8" fmla="*/ 0 w 23"/>
                    <a:gd name="T9" fmla="*/ 6 h 47"/>
                    <a:gd name="T10" fmla="*/ 0 w 23"/>
                    <a:gd name="T11" fmla="*/ 21 h 47"/>
                    <a:gd name="T12" fmla="*/ 3 w 23"/>
                    <a:gd name="T13" fmla="*/ 23 h 47"/>
                    <a:gd name="T14" fmla="*/ 5 w 23"/>
                    <a:gd name="T15" fmla="*/ 21 h 47"/>
                    <a:gd name="T16" fmla="*/ 5 w 23"/>
                    <a:gd name="T17" fmla="*/ 8 h 47"/>
                    <a:gd name="T18" fmla="*/ 6 w 23"/>
                    <a:gd name="T19" fmla="*/ 8 h 47"/>
                    <a:gd name="T20" fmla="*/ 6 w 23"/>
                    <a:gd name="T21" fmla="*/ 44 h 47"/>
                    <a:gd name="T22" fmla="*/ 8 w 23"/>
                    <a:gd name="T23" fmla="*/ 47 h 47"/>
                    <a:gd name="T24" fmla="*/ 11 w 23"/>
                    <a:gd name="T25" fmla="*/ 44 h 47"/>
                    <a:gd name="T26" fmla="*/ 11 w 23"/>
                    <a:gd name="T27" fmla="*/ 23 h 47"/>
                    <a:gd name="T28" fmla="*/ 12 w 23"/>
                    <a:gd name="T29" fmla="*/ 23 h 47"/>
                    <a:gd name="T30" fmla="*/ 12 w 23"/>
                    <a:gd name="T31" fmla="*/ 44 h 47"/>
                    <a:gd name="T32" fmla="*/ 15 w 23"/>
                    <a:gd name="T33" fmla="*/ 47 h 47"/>
                    <a:gd name="T34" fmla="*/ 18 w 23"/>
                    <a:gd name="T35" fmla="*/ 44 h 47"/>
                    <a:gd name="T36" fmla="*/ 18 w 23"/>
                    <a:gd name="T37" fmla="*/ 8 h 47"/>
                    <a:gd name="T38" fmla="*/ 19 w 23"/>
                    <a:gd name="T39" fmla="*/ 8 h 47"/>
                    <a:gd name="T40" fmla="*/ 19 w 23"/>
                    <a:gd name="T41" fmla="*/ 21 h 47"/>
                    <a:gd name="T42" fmla="*/ 21 w 23"/>
                    <a:gd name="T43" fmla="*/ 23 h 47"/>
                    <a:gd name="T44" fmla="*/ 23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3" y="21"/>
                      </a:moveTo>
                      <a:cubicBezTo>
                        <a:pt x="23" y="20"/>
                        <a:pt x="23" y="8"/>
                        <a:pt x="23" y="6"/>
                      </a:cubicBezTo>
                      <a:cubicBezTo>
                        <a:pt x="23" y="3"/>
                        <a:pt x="20" y="0"/>
                        <a:pt x="17" y="0"/>
                      </a:cubicBezTo>
                      <a:cubicBezTo>
                        <a:pt x="15" y="0"/>
                        <a:pt x="8" y="0"/>
                        <a:pt x="7" y="0"/>
                      </a:cubicBezTo>
                      <a:cubicBezTo>
                        <a:pt x="3" y="0"/>
                        <a:pt x="0" y="3"/>
                        <a:pt x="0" y="6"/>
                      </a:cubicBezTo>
                      <a:cubicBezTo>
                        <a:pt x="0" y="8"/>
                        <a:pt x="0" y="20"/>
                        <a:pt x="0" y="21"/>
                      </a:cubicBezTo>
                      <a:cubicBezTo>
                        <a:pt x="0" y="22"/>
                        <a:pt x="1" y="23"/>
                        <a:pt x="3" y="23"/>
                      </a:cubicBez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53" name="Oval 364"/>
                <p:cNvSpPr>
                  <a:spLocks noChangeArrowheads="1"/>
                </p:cNvSpPr>
                <p:nvPr/>
              </p:nvSpPr>
              <p:spPr bwMode="auto">
                <a:xfrm>
                  <a:off x="14732" y="536"/>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54" name="Freeform 365"/>
                <p:cNvSpPr>
                  <a:spLocks/>
                </p:cNvSpPr>
                <p:nvPr/>
              </p:nvSpPr>
              <p:spPr bwMode="auto">
                <a:xfrm>
                  <a:off x="14730" y="302"/>
                  <a:ext cx="28" cy="76"/>
                </a:xfrm>
                <a:custGeom>
                  <a:avLst/>
                  <a:gdLst>
                    <a:gd name="T0" fmla="*/ 0 w 12"/>
                    <a:gd name="T1" fmla="*/ 29 h 32"/>
                    <a:gd name="T2" fmla="*/ 2 w 12"/>
                    <a:gd name="T3" fmla="*/ 32 h 32"/>
                    <a:gd name="T4" fmla="*/ 5 w 12"/>
                    <a:gd name="T5" fmla="*/ 29 h 32"/>
                    <a:gd name="T6" fmla="*/ 5 w 12"/>
                    <a:gd name="T7" fmla="*/ 8 h 32"/>
                    <a:gd name="T8" fmla="*/ 6 w 12"/>
                    <a:gd name="T9" fmla="*/ 8 h 32"/>
                    <a:gd name="T10" fmla="*/ 6 w 12"/>
                    <a:gd name="T11" fmla="*/ 29 h 32"/>
                    <a:gd name="T12" fmla="*/ 9 w 12"/>
                    <a:gd name="T13" fmla="*/ 32 h 32"/>
                    <a:gd name="T14" fmla="*/ 12 w 12"/>
                    <a:gd name="T15" fmla="*/ 29 h 32"/>
                    <a:gd name="T16" fmla="*/ 12 w 12"/>
                    <a:gd name="T17" fmla="*/ 3 h 32"/>
                    <a:gd name="T18" fmla="*/ 0 w 12"/>
                    <a:gd name="T19" fmla="*/ 0 h 32"/>
                    <a:gd name="T20" fmla="*/ 0 w 12"/>
                    <a:gd name="T21" fmla="*/ 2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32">
                      <a:moveTo>
                        <a:pt x="0" y="29"/>
                      </a:moveTo>
                      <a:cubicBezTo>
                        <a:pt x="0" y="30"/>
                        <a:pt x="1" y="32"/>
                        <a:pt x="2" y="32"/>
                      </a:cubicBezTo>
                      <a:cubicBezTo>
                        <a:pt x="4" y="32"/>
                        <a:pt x="5" y="30"/>
                        <a:pt x="5" y="29"/>
                      </a:cubicBezTo>
                      <a:cubicBezTo>
                        <a:pt x="5" y="27"/>
                        <a:pt x="5" y="8"/>
                        <a:pt x="5" y="8"/>
                      </a:cubicBezTo>
                      <a:cubicBezTo>
                        <a:pt x="5" y="8"/>
                        <a:pt x="5" y="8"/>
                        <a:pt x="6" y="8"/>
                      </a:cubicBezTo>
                      <a:cubicBezTo>
                        <a:pt x="6" y="8"/>
                        <a:pt x="6" y="27"/>
                        <a:pt x="6" y="29"/>
                      </a:cubicBezTo>
                      <a:cubicBezTo>
                        <a:pt x="6" y="30"/>
                        <a:pt x="8" y="32"/>
                        <a:pt x="9" y="32"/>
                      </a:cubicBezTo>
                      <a:cubicBezTo>
                        <a:pt x="11" y="32"/>
                        <a:pt x="12" y="30"/>
                        <a:pt x="12" y="29"/>
                      </a:cubicBezTo>
                      <a:cubicBezTo>
                        <a:pt x="12" y="27"/>
                        <a:pt x="12" y="13"/>
                        <a:pt x="12" y="3"/>
                      </a:cubicBezTo>
                      <a:cubicBezTo>
                        <a:pt x="9" y="1"/>
                        <a:pt x="5" y="0"/>
                        <a:pt x="0" y="0"/>
                      </a:cubicBezTo>
                      <a:cubicBezTo>
                        <a:pt x="0" y="10"/>
                        <a:pt x="0" y="27"/>
                        <a:pt x="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55" name="Freeform 366"/>
                <p:cNvSpPr>
                  <a:spLocks/>
                </p:cNvSpPr>
                <p:nvPr/>
              </p:nvSpPr>
              <p:spPr bwMode="auto">
                <a:xfrm>
                  <a:off x="14715" y="302"/>
                  <a:ext cx="12" cy="19"/>
                </a:xfrm>
                <a:custGeom>
                  <a:avLst/>
                  <a:gdLst>
                    <a:gd name="T0" fmla="*/ 3 w 5"/>
                    <a:gd name="T1" fmla="*/ 8 h 8"/>
                    <a:gd name="T2" fmla="*/ 5 w 5"/>
                    <a:gd name="T3" fmla="*/ 6 h 8"/>
                    <a:gd name="T4" fmla="*/ 5 w 5"/>
                    <a:gd name="T5" fmla="*/ 0 h 8"/>
                    <a:gd name="T6" fmla="*/ 0 w 5"/>
                    <a:gd name="T7" fmla="*/ 0 h 8"/>
                    <a:gd name="T8" fmla="*/ 0 w 5"/>
                    <a:gd name="T9" fmla="*/ 6 h 8"/>
                    <a:gd name="T10" fmla="*/ 3 w 5"/>
                    <a:gd name="T11" fmla="*/ 8 h 8"/>
                  </a:gdLst>
                  <a:ahLst/>
                  <a:cxnLst>
                    <a:cxn ang="0">
                      <a:pos x="T0" y="T1"/>
                    </a:cxn>
                    <a:cxn ang="0">
                      <a:pos x="T2" y="T3"/>
                    </a:cxn>
                    <a:cxn ang="0">
                      <a:pos x="T4" y="T5"/>
                    </a:cxn>
                    <a:cxn ang="0">
                      <a:pos x="T6" y="T7"/>
                    </a:cxn>
                    <a:cxn ang="0">
                      <a:pos x="T8" y="T9"/>
                    </a:cxn>
                    <a:cxn ang="0">
                      <a:pos x="T10" y="T11"/>
                    </a:cxn>
                  </a:cxnLst>
                  <a:rect l="0" t="0" r="r" b="b"/>
                  <a:pathLst>
                    <a:path w="5" h="8">
                      <a:moveTo>
                        <a:pt x="3" y="8"/>
                      </a:moveTo>
                      <a:cubicBezTo>
                        <a:pt x="4" y="8"/>
                        <a:pt x="5" y="7"/>
                        <a:pt x="5" y="6"/>
                      </a:cubicBezTo>
                      <a:cubicBezTo>
                        <a:pt x="5" y="5"/>
                        <a:pt x="5" y="3"/>
                        <a:pt x="5" y="0"/>
                      </a:cubicBezTo>
                      <a:cubicBezTo>
                        <a:pt x="3" y="0"/>
                        <a:pt x="2" y="0"/>
                        <a:pt x="0" y="0"/>
                      </a:cubicBezTo>
                      <a:cubicBezTo>
                        <a:pt x="0" y="2"/>
                        <a:pt x="0" y="5"/>
                        <a:pt x="0" y="6"/>
                      </a:cubicBezTo>
                      <a:cubicBezTo>
                        <a:pt x="0" y="7"/>
                        <a:pt x="1"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56" name="Oval 367"/>
                <p:cNvSpPr>
                  <a:spLocks noChangeArrowheads="1"/>
                </p:cNvSpPr>
                <p:nvPr/>
              </p:nvSpPr>
              <p:spPr bwMode="auto">
                <a:xfrm>
                  <a:off x="14798" y="536"/>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57" name="Freeform 368"/>
                <p:cNvSpPr>
                  <a:spLocks/>
                </p:cNvSpPr>
                <p:nvPr/>
              </p:nvSpPr>
              <p:spPr bwMode="auto">
                <a:xfrm>
                  <a:off x="14711" y="413"/>
                  <a:ext cx="64" cy="112"/>
                </a:xfrm>
                <a:custGeom>
                  <a:avLst/>
                  <a:gdLst>
                    <a:gd name="T0" fmla="*/ 2 w 27"/>
                    <a:gd name="T1" fmla="*/ 21 h 47"/>
                    <a:gd name="T2" fmla="*/ 4 w 27"/>
                    <a:gd name="T3" fmla="*/ 20 h 47"/>
                    <a:gd name="T4" fmla="*/ 8 w 27"/>
                    <a:gd name="T5" fmla="*/ 7 h 47"/>
                    <a:gd name="T6" fmla="*/ 9 w 27"/>
                    <a:gd name="T7" fmla="*/ 7 h 47"/>
                    <a:gd name="T8" fmla="*/ 3 w 27"/>
                    <a:gd name="T9" fmla="*/ 29 h 47"/>
                    <a:gd name="T10" fmla="*/ 9 w 27"/>
                    <a:gd name="T11" fmla="*/ 29 h 47"/>
                    <a:gd name="T12" fmla="*/ 9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7 w 27"/>
                    <a:gd name="T25" fmla="*/ 47 h 47"/>
                    <a:gd name="T26" fmla="*/ 19 w 27"/>
                    <a:gd name="T27" fmla="*/ 45 h 47"/>
                    <a:gd name="T28" fmla="*/ 19 w 27"/>
                    <a:gd name="T29" fmla="*/ 29 h 47"/>
                    <a:gd name="T30" fmla="*/ 25 w 27"/>
                    <a:gd name="T31" fmla="*/ 29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58" name="Oval 369"/>
                <p:cNvSpPr>
                  <a:spLocks noChangeArrowheads="1"/>
                </p:cNvSpPr>
                <p:nvPr/>
              </p:nvSpPr>
              <p:spPr bwMode="auto">
                <a:xfrm>
                  <a:off x="14862" y="536"/>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59" name="Freeform 370"/>
                <p:cNvSpPr>
                  <a:spLocks/>
                </p:cNvSpPr>
                <p:nvPr/>
              </p:nvSpPr>
              <p:spPr bwMode="auto">
                <a:xfrm>
                  <a:off x="14848" y="560"/>
                  <a:ext cx="52" cy="111"/>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8 w 22"/>
                    <a:gd name="T11" fmla="*/ 47 h 47"/>
                    <a:gd name="T12" fmla="*/ 11 w 22"/>
                    <a:gd name="T13" fmla="*/ 44 h 47"/>
                    <a:gd name="T14" fmla="*/ 11 w 22"/>
                    <a:gd name="T15" fmla="*/ 23 h 47"/>
                    <a:gd name="T16" fmla="*/ 12 w 22"/>
                    <a:gd name="T17" fmla="*/ 23 h 47"/>
                    <a:gd name="T18" fmla="*/ 12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6 h 47"/>
                    <a:gd name="T36" fmla="*/ 16 w 22"/>
                    <a:gd name="T37" fmla="*/ 0 h 47"/>
                    <a:gd name="T38" fmla="*/ 6 w 22"/>
                    <a:gd name="T39" fmla="*/ 0 h 47"/>
                    <a:gd name="T40" fmla="*/ 0 w 22"/>
                    <a:gd name="T41" fmla="*/ 6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60" name="Freeform 371"/>
                <p:cNvSpPr>
                  <a:spLocks/>
                </p:cNvSpPr>
                <p:nvPr/>
              </p:nvSpPr>
              <p:spPr bwMode="auto">
                <a:xfrm>
                  <a:off x="14777" y="560"/>
                  <a:ext cx="64" cy="111"/>
                </a:xfrm>
                <a:custGeom>
                  <a:avLst/>
                  <a:gdLst>
                    <a:gd name="T0" fmla="*/ 1 w 27"/>
                    <a:gd name="T1" fmla="*/ 21 h 47"/>
                    <a:gd name="T2" fmla="*/ 4 w 27"/>
                    <a:gd name="T3" fmla="*/ 20 h 47"/>
                    <a:gd name="T4" fmla="*/ 8 w 27"/>
                    <a:gd name="T5" fmla="*/ 7 h 47"/>
                    <a:gd name="T6" fmla="*/ 9 w 27"/>
                    <a:gd name="T7" fmla="*/ 7 h 47"/>
                    <a:gd name="T8" fmla="*/ 2 w 27"/>
                    <a:gd name="T9" fmla="*/ 28 h 47"/>
                    <a:gd name="T10" fmla="*/ 8 w 27"/>
                    <a:gd name="T11" fmla="*/ 28 h 47"/>
                    <a:gd name="T12" fmla="*/ 8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5 w 27"/>
                    <a:gd name="T31" fmla="*/ 28 h 47"/>
                    <a:gd name="T32" fmla="*/ 18 w 27"/>
                    <a:gd name="T33" fmla="*/ 7 h 47"/>
                    <a:gd name="T34" fmla="*/ 19 w 27"/>
                    <a:gd name="T35" fmla="*/ 7 h 47"/>
                    <a:gd name="T36" fmla="*/ 23 w 27"/>
                    <a:gd name="T37" fmla="*/ 20 h 47"/>
                    <a:gd name="T38" fmla="*/ 25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8" y="7"/>
                        <a:pt x="8"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5" y="21"/>
                        <a:pt x="25" y="21"/>
                      </a:cubicBezTo>
                      <a:cubicBezTo>
                        <a:pt x="26" y="21"/>
                        <a:pt x="27" y="20"/>
                        <a:pt x="27" y="19"/>
                      </a:cubicBezTo>
                      <a:cubicBezTo>
                        <a:pt x="26" y="18"/>
                        <a:pt x="24" y="11"/>
                        <a:pt x="23" y="5"/>
                      </a:cubicBezTo>
                      <a:cubicBezTo>
                        <a:pt x="22" y="2"/>
                        <a:pt x="20" y="0"/>
                        <a:pt x="17" y="0"/>
                      </a:cubicBezTo>
                      <a:cubicBezTo>
                        <a:pt x="16" y="0"/>
                        <a:pt x="11" y="0"/>
                        <a:pt x="10" y="0"/>
                      </a:cubicBezTo>
                      <a:cubicBezTo>
                        <a:pt x="7" y="0"/>
                        <a:pt x="5" y="2"/>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61" name="Oval 372"/>
                <p:cNvSpPr>
                  <a:spLocks noChangeArrowheads="1"/>
                </p:cNvSpPr>
                <p:nvPr/>
              </p:nvSpPr>
              <p:spPr bwMode="auto">
                <a:xfrm>
                  <a:off x="14538" y="39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62" name="Freeform 373"/>
                <p:cNvSpPr>
                  <a:spLocks/>
                </p:cNvSpPr>
                <p:nvPr/>
              </p:nvSpPr>
              <p:spPr bwMode="auto">
                <a:xfrm>
                  <a:off x="14304" y="577"/>
                  <a:ext cx="16" cy="33"/>
                </a:xfrm>
                <a:custGeom>
                  <a:avLst/>
                  <a:gdLst>
                    <a:gd name="T0" fmla="*/ 3 w 7"/>
                    <a:gd name="T1" fmla="*/ 13 h 14"/>
                    <a:gd name="T2" fmla="*/ 5 w 7"/>
                    <a:gd name="T3" fmla="*/ 14 h 14"/>
                    <a:gd name="T4" fmla="*/ 6 w 7"/>
                    <a:gd name="T5" fmla="*/ 12 h 14"/>
                    <a:gd name="T6" fmla="*/ 3 w 7"/>
                    <a:gd name="T7" fmla="*/ 0 h 14"/>
                    <a:gd name="T8" fmla="*/ 0 w 7"/>
                    <a:gd name="T9" fmla="*/ 3 h 14"/>
                    <a:gd name="T10" fmla="*/ 3 w 7"/>
                    <a:gd name="T11" fmla="*/ 13 h 14"/>
                  </a:gdLst>
                  <a:ahLst/>
                  <a:cxnLst>
                    <a:cxn ang="0">
                      <a:pos x="T0" y="T1"/>
                    </a:cxn>
                    <a:cxn ang="0">
                      <a:pos x="T2" y="T3"/>
                    </a:cxn>
                    <a:cxn ang="0">
                      <a:pos x="T4" y="T5"/>
                    </a:cxn>
                    <a:cxn ang="0">
                      <a:pos x="T6" y="T7"/>
                    </a:cxn>
                    <a:cxn ang="0">
                      <a:pos x="T8" y="T9"/>
                    </a:cxn>
                    <a:cxn ang="0">
                      <a:pos x="T10" y="T11"/>
                    </a:cxn>
                  </a:cxnLst>
                  <a:rect l="0" t="0" r="r" b="b"/>
                  <a:pathLst>
                    <a:path w="7" h="14">
                      <a:moveTo>
                        <a:pt x="3" y="13"/>
                      </a:moveTo>
                      <a:cubicBezTo>
                        <a:pt x="3" y="14"/>
                        <a:pt x="4" y="14"/>
                        <a:pt x="5" y="14"/>
                      </a:cubicBezTo>
                      <a:cubicBezTo>
                        <a:pt x="6" y="14"/>
                        <a:pt x="7" y="13"/>
                        <a:pt x="6" y="12"/>
                      </a:cubicBezTo>
                      <a:cubicBezTo>
                        <a:pt x="6" y="11"/>
                        <a:pt x="4" y="5"/>
                        <a:pt x="3" y="0"/>
                      </a:cubicBezTo>
                      <a:cubicBezTo>
                        <a:pt x="2" y="1"/>
                        <a:pt x="1" y="2"/>
                        <a:pt x="0" y="3"/>
                      </a:cubicBezTo>
                      <a:cubicBezTo>
                        <a:pt x="1" y="6"/>
                        <a:pt x="2" y="12"/>
                        <a:pt x="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63" name="Freeform 374"/>
                <p:cNvSpPr>
                  <a:spLocks/>
                </p:cNvSpPr>
                <p:nvPr/>
              </p:nvSpPr>
              <p:spPr bwMode="auto">
                <a:xfrm>
                  <a:off x="14524" y="413"/>
                  <a:ext cx="52" cy="112"/>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7 w 22"/>
                    <a:gd name="T11" fmla="*/ 47 h 47"/>
                    <a:gd name="T12" fmla="*/ 10 w 22"/>
                    <a:gd name="T13" fmla="*/ 44 h 47"/>
                    <a:gd name="T14" fmla="*/ 10 w 22"/>
                    <a:gd name="T15" fmla="*/ 23 h 47"/>
                    <a:gd name="T16" fmla="*/ 11 w 22"/>
                    <a:gd name="T17" fmla="*/ 23 h 47"/>
                    <a:gd name="T18" fmla="*/ 11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6 h 47"/>
                    <a:gd name="T36" fmla="*/ 16 w 22"/>
                    <a:gd name="T37" fmla="*/ 0 h 47"/>
                    <a:gd name="T38" fmla="*/ 6 w 22"/>
                    <a:gd name="T39" fmla="*/ 0 h 47"/>
                    <a:gd name="T40" fmla="*/ 0 w 22"/>
                    <a:gd name="T41" fmla="*/ 6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7"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19" y="0"/>
                        <a:pt x="16" y="0"/>
                      </a:cubicBezTo>
                      <a:cubicBezTo>
                        <a:pt x="14" y="0"/>
                        <a:pt x="7" y="0"/>
                        <a:pt x="6" y="0"/>
                      </a:cubicBezTo>
                      <a:cubicBezTo>
                        <a:pt x="2" y="0"/>
                        <a:pt x="0" y="3"/>
                        <a:pt x="0" y="6"/>
                      </a:cubicBezTo>
                      <a:cubicBezTo>
                        <a:pt x="0" y="8"/>
                        <a:pt x="0" y="20"/>
                        <a:pt x="0" y="21"/>
                      </a:cubicBezTo>
                      <a:cubicBezTo>
                        <a:pt x="0" y="22"/>
                        <a:pt x="0"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64" name="Oval 375"/>
                <p:cNvSpPr>
                  <a:spLocks noChangeArrowheads="1"/>
                </p:cNvSpPr>
                <p:nvPr/>
              </p:nvSpPr>
              <p:spPr bwMode="auto">
                <a:xfrm>
                  <a:off x="14668" y="536"/>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65" name="Freeform 376"/>
                <p:cNvSpPr>
                  <a:spLocks/>
                </p:cNvSpPr>
                <p:nvPr/>
              </p:nvSpPr>
              <p:spPr bwMode="auto">
                <a:xfrm>
                  <a:off x="14583" y="413"/>
                  <a:ext cx="64" cy="112"/>
                </a:xfrm>
                <a:custGeom>
                  <a:avLst/>
                  <a:gdLst>
                    <a:gd name="T0" fmla="*/ 1 w 27"/>
                    <a:gd name="T1" fmla="*/ 21 h 47"/>
                    <a:gd name="T2" fmla="*/ 4 w 27"/>
                    <a:gd name="T3" fmla="*/ 20 h 47"/>
                    <a:gd name="T4" fmla="*/ 8 w 27"/>
                    <a:gd name="T5" fmla="*/ 7 h 47"/>
                    <a:gd name="T6" fmla="*/ 9 w 27"/>
                    <a:gd name="T7" fmla="*/ 7 h 47"/>
                    <a:gd name="T8" fmla="*/ 2 w 27"/>
                    <a:gd name="T9" fmla="*/ 29 h 47"/>
                    <a:gd name="T10" fmla="*/ 9 w 27"/>
                    <a:gd name="T11" fmla="*/ 29 h 47"/>
                    <a:gd name="T12" fmla="*/ 9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6 w 27"/>
                    <a:gd name="T25" fmla="*/ 47 h 47"/>
                    <a:gd name="T26" fmla="*/ 19 w 27"/>
                    <a:gd name="T27" fmla="*/ 45 h 47"/>
                    <a:gd name="T28" fmla="*/ 19 w 27"/>
                    <a:gd name="T29" fmla="*/ 29 h 47"/>
                    <a:gd name="T30" fmla="*/ 25 w 27"/>
                    <a:gd name="T31" fmla="*/ 29 h 47"/>
                    <a:gd name="T32" fmla="*/ 18 w 27"/>
                    <a:gd name="T33" fmla="*/ 7 h 47"/>
                    <a:gd name="T34" fmla="*/ 19 w 27"/>
                    <a:gd name="T35" fmla="*/ 7 h 47"/>
                    <a:gd name="T36" fmla="*/ 23 w 27"/>
                    <a:gd name="T37" fmla="*/ 20 h 47"/>
                    <a:gd name="T38" fmla="*/ 26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4" y="21"/>
                        <a:pt x="4" y="20"/>
                      </a:cubicBezTo>
                      <a:cubicBezTo>
                        <a:pt x="4" y="18"/>
                        <a:pt x="8" y="7"/>
                        <a:pt x="8" y="7"/>
                      </a:cubicBezTo>
                      <a:cubicBezTo>
                        <a:pt x="9" y="7"/>
                        <a:pt x="9" y="7"/>
                        <a:pt x="9" y="7"/>
                      </a:cubicBezTo>
                      <a:cubicBezTo>
                        <a:pt x="2" y="29"/>
                        <a:pt x="2" y="29"/>
                        <a:pt x="2"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19" y="7"/>
                        <a:pt x="19" y="7"/>
                        <a:pt x="19" y="7"/>
                      </a:cubicBezTo>
                      <a:cubicBezTo>
                        <a:pt x="19" y="7"/>
                        <a:pt x="23" y="18"/>
                        <a:pt x="23" y="20"/>
                      </a:cubicBezTo>
                      <a:cubicBezTo>
                        <a:pt x="24" y="21"/>
                        <a:pt x="25" y="21"/>
                        <a:pt x="26" y="21"/>
                      </a:cubicBezTo>
                      <a:cubicBezTo>
                        <a:pt x="27" y="21"/>
                        <a:pt x="27" y="20"/>
                        <a:pt x="27" y="19"/>
                      </a:cubicBezTo>
                      <a:cubicBezTo>
                        <a:pt x="27" y="18"/>
                        <a:pt x="24" y="11"/>
                        <a:pt x="23" y="5"/>
                      </a:cubicBezTo>
                      <a:cubicBezTo>
                        <a:pt x="22" y="3"/>
                        <a:pt x="20" y="0"/>
                        <a:pt x="17" y="0"/>
                      </a:cubicBezTo>
                      <a:cubicBezTo>
                        <a:pt x="16" y="0"/>
                        <a:pt x="11" y="0"/>
                        <a:pt x="10" y="0"/>
                      </a:cubicBezTo>
                      <a:cubicBezTo>
                        <a:pt x="7" y="0"/>
                        <a:pt x="5" y="3"/>
                        <a:pt x="4" y="5"/>
                      </a:cubicBezTo>
                      <a:cubicBezTo>
                        <a:pt x="3"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66" name="Freeform 377"/>
                <p:cNvSpPr>
                  <a:spLocks/>
                </p:cNvSpPr>
                <p:nvPr/>
              </p:nvSpPr>
              <p:spPr bwMode="auto">
                <a:xfrm>
                  <a:off x="14342" y="539"/>
                  <a:ext cx="21" cy="19"/>
                </a:xfrm>
                <a:custGeom>
                  <a:avLst/>
                  <a:gdLst>
                    <a:gd name="T0" fmla="*/ 5 w 9"/>
                    <a:gd name="T1" fmla="*/ 8 h 8"/>
                    <a:gd name="T2" fmla="*/ 9 w 9"/>
                    <a:gd name="T3" fmla="*/ 3 h 8"/>
                    <a:gd name="T4" fmla="*/ 8 w 9"/>
                    <a:gd name="T5" fmla="*/ 0 h 8"/>
                    <a:gd name="T6" fmla="*/ 4 w 9"/>
                    <a:gd name="T7" fmla="*/ 3 h 8"/>
                    <a:gd name="T8" fmla="*/ 0 w 9"/>
                    <a:gd name="T9" fmla="*/ 5 h 8"/>
                    <a:gd name="T10" fmla="*/ 5 w 9"/>
                    <a:gd name="T11" fmla="*/ 8 h 8"/>
                  </a:gdLst>
                  <a:ahLst/>
                  <a:cxnLst>
                    <a:cxn ang="0">
                      <a:pos x="T0" y="T1"/>
                    </a:cxn>
                    <a:cxn ang="0">
                      <a:pos x="T2" y="T3"/>
                    </a:cxn>
                    <a:cxn ang="0">
                      <a:pos x="T4" y="T5"/>
                    </a:cxn>
                    <a:cxn ang="0">
                      <a:pos x="T6" y="T7"/>
                    </a:cxn>
                    <a:cxn ang="0">
                      <a:pos x="T8" y="T9"/>
                    </a:cxn>
                    <a:cxn ang="0">
                      <a:pos x="T10" y="T11"/>
                    </a:cxn>
                  </a:cxnLst>
                  <a:rect l="0" t="0" r="r" b="b"/>
                  <a:pathLst>
                    <a:path w="9" h="8">
                      <a:moveTo>
                        <a:pt x="5" y="8"/>
                      </a:moveTo>
                      <a:cubicBezTo>
                        <a:pt x="7" y="8"/>
                        <a:pt x="9" y="6"/>
                        <a:pt x="9" y="3"/>
                      </a:cubicBezTo>
                      <a:cubicBezTo>
                        <a:pt x="9" y="2"/>
                        <a:pt x="9" y="1"/>
                        <a:pt x="8" y="0"/>
                      </a:cubicBezTo>
                      <a:cubicBezTo>
                        <a:pt x="7" y="1"/>
                        <a:pt x="6" y="2"/>
                        <a:pt x="4" y="3"/>
                      </a:cubicBezTo>
                      <a:cubicBezTo>
                        <a:pt x="3" y="3"/>
                        <a:pt x="2" y="4"/>
                        <a:pt x="0" y="5"/>
                      </a:cubicBezTo>
                      <a:cubicBezTo>
                        <a:pt x="1" y="7"/>
                        <a:pt x="3" y="8"/>
                        <a:pt x="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67" name="Freeform 378"/>
                <p:cNvSpPr>
                  <a:spLocks/>
                </p:cNvSpPr>
                <p:nvPr/>
              </p:nvSpPr>
              <p:spPr bwMode="auto">
                <a:xfrm>
                  <a:off x="14649" y="560"/>
                  <a:ext cx="64" cy="111"/>
                </a:xfrm>
                <a:custGeom>
                  <a:avLst/>
                  <a:gdLst>
                    <a:gd name="T0" fmla="*/ 1 w 27"/>
                    <a:gd name="T1" fmla="*/ 21 h 47"/>
                    <a:gd name="T2" fmla="*/ 3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9 h 47"/>
                    <a:gd name="T42" fmla="*/ 22 w 27"/>
                    <a:gd name="T43" fmla="*/ 5 h 47"/>
                    <a:gd name="T44" fmla="*/ 17 w 27"/>
                    <a:gd name="T45" fmla="*/ 0 h 47"/>
                    <a:gd name="T46" fmla="*/ 9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2"/>
                        <a:pt x="19" y="0"/>
                        <a:pt x="17" y="0"/>
                      </a:cubicBezTo>
                      <a:cubicBezTo>
                        <a:pt x="16" y="0"/>
                        <a:pt x="10" y="0"/>
                        <a:pt x="9" y="0"/>
                      </a:cubicBezTo>
                      <a:cubicBezTo>
                        <a:pt x="7" y="0"/>
                        <a:pt x="5" y="2"/>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68" name="Oval 379"/>
                <p:cNvSpPr>
                  <a:spLocks noChangeArrowheads="1"/>
                </p:cNvSpPr>
                <p:nvPr/>
              </p:nvSpPr>
              <p:spPr bwMode="auto">
                <a:xfrm>
                  <a:off x="14604" y="390"/>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69" name="Oval 380"/>
                <p:cNvSpPr>
                  <a:spLocks noChangeArrowheads="1"/>
                </p:cNvSpPr>
                <p:nvPr/>
              </p:nvSpPr>
              <p:spPr bwMode="auto">
                <a:xfrm>
                  <a:off x="14538" y="536"/>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70" name="Freeform 381"/>
                <p:cNvSpPr>
                  <a:spLocks/>
                </p:cNvSpPr>
                <p:nvPr/>
              </p:nvSpPr>
              <p:spPr bwMode="auto">
                <a:xfrm>
                  <a:off x="14275" y="586"/>
                  <a:ext cx="38" cy="85"/>
                </a:xfrm>
                <a:custGeom>
                  <a:avLst/>
                  <a:gdLst>
                    <a:gd name="T0" fmla="*/ 2 w 16"/>
                    <a:gd name="T1" fmla="*/ 36 h 36"/>
                    <a:gd name="T2" fmla="*/ 5 w 16"/>
                    <a:gd name="T3" fmla="*/ 34 h 36"/>
                    <a:gd name="T4" fmla="*/ 5 w 16"/>
                    <a:gd name="T5" fmla="*/ 17 h 36"/>
                    <a:gd name="T6" fmla="*/ 6 w 16"/>
                    <a:gd name="T7" fmla="*/ 17 h 36"/>
                    <a:gd name="T8" fmla="*/ 6 w 16"/>
                    <a:gd name="T9" fmla="*/ 34 h 36"/>
                    <a:gd name="T10" fmla="*/ 8 w 16"/>
                    <a:gd name="T11" fmla="*/ 36 h 36"/>
                    <a:gd name="T12" fmla="*/ 10 w 16"/>
                    <a:gd name="T13" fmla="*/ 34 h 36"/>
                    <a:gd name="T14" fmla="*/ 10 w 16"/>
                    <a:gd name="T15" fmla="*/ 17 h 36"/>
                    <a:gd name="T16" fmla="*/ 16 w 16"/>
                    <a:gd name="T17" fmla="*/ 17 h 36"/>
                    <a:gd name="T18" fmla="*/ 11 w 16"/>
                    <a:gd name="T19" fmla="*/ 0 h 36"/>
                    <a:gd name="T20" fmla="*/ 0 w 16"/>
                    <a:gd name="T21" fmla="*/ 20 h 36"/>
                    <a:gd name="T22" fmla="*/ 0 w 16"/>
                    <a:gd name="T23" fmla="*/ 34 h 36"/>
                    <a:gd name="T24" fmla="*/ 2 w 1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36">
                      <a:moveTo>
                        <a:pt x="2" y="36"/>
                      </a:moveTo>
                      <a:cubicBezTo>
                        <a:pt x="3" y="36"/>
                        <a:pt x="5" y="35"/>
                        <a:pt x="5" y="34"/>
                      </a:cubicBezTo>
                      <a:cubicBezTo>
                        <a:pt x="5" y="32"/>
                        <a:pt x="5" y="17"/>
                        <a:pt x="5" y="17"/>
                      </a:cubicBezTo>
                      <a:cubicBezTo>
                        <a:pt x="6" y="17"/>
                        <a:pt x="6" y="17"/>
                        <a:pt x="6" y="17"/>
                      </a:cubicBezTo>
                      <a:cubicBezTo>
                        <a:pt x="6" y="17"/>
                        <a:pt x="6" y="32"/>
                        <a:pt x="6" y="34"/>
                      </a:cubicBezTo>
                      <a:cubicBezTo>
                        <a:pt x="6" y="35"/>
                        <a:pt x="7" y="36"/>
                        <a:pt x="8" y="36"/>
                      </a:cubicBezTo>
                      <a:cubicBezTo>
                        <a:pt x="9" y="36"/>
                        <a:pt x="10" y="35"/>
                        <a:pt x="10" y="34"/>
                      </a:cubicBezTo>
                      <a:cubicBezTo>
                        <a:pt x="10" y="33"/>
                        <a:pt x="10" y="25"/>
                        <a:pt x="10" y="17"/>
                      </a:cubicBezTo>
                      <a:cubicBezTo>
                        <a:pt x="16" y="17"/>
                        <a:pt x="16" y="17"/>
                        <a:pt x="16" y="17"/>
                      </a:cubicBezTo>
                      <a:cubicBezTo>
                        <a:pt x="14" y="8"/>
                        <a:pt x="12" y="3"/>
                        <a:pt x="11" y="0"/>
                      </a:cubicBezTo>
                      <a:cubicBezTo>
                        <a:pt x="6" y="6"/>
                        <a:pt x="2" y="12"/>
                        <a:pt x="0" y="20"/>
                      </a:cubicBezTo>
                      <a:cubicBezTo>
                        <a:pt x="0" y="27"/>
                        <a:pt x="0" y="33"/>
                        <a:pt x="0" y="34"/>
                      </a:cubicBezTo>
                      <a:cubicBezTo>
                        <a:pt x="0" y="35"/>
                        <a:pt x="1" y="36"/>
                        <a:pt x="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71" name="Freeform 382"/>
                <p:cNvSpPr>
                  <a:spLocks/>
                </p:cNvSpPr>
                <p:nvPr/>
              </p:nvSpPr>
              <p:spPr bwMode="auto">
                <a:xfrm>
                  <a:off x="14325" y="560"/>
                  <a:ext cx="54" cy="111"/>
                </a:xfrm>
                <a:custGeom>
                  <a:avLst/>
                  <a:gdLst>
                    <a:gd name="T0" fmla="*/ 17 w 23"/>
                    <a:gd name="T1" fmla="*/ 0 h 47"/>
                    <a:gd name="T2" fmla="*/ 7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6 w 23"/>
                    <a:gd name="T15" fmla="*/ 8 h 47"/>
                    <a:gd name="T16" fmla="*/ 6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7" y="0"/>
                      </a:cubicBezTo>
                      <a:cubicBezTo>
                        <a:pt x="3" y="0"/>
                        <a:pt x="0" y="3"/>
                        <a:pt x="0" y="6"/>
                      </a:cubicBezTo>
                      <a:cubicBezTo>
                        <a:pt x="0" y="8"/>
                        <a:pt x="0" y="20"/>
                        <a:pt x="0" y="21"/>
                      </a:cubicBezTo>
                      <a:cubicBezTo>
                        <a:pt x="0" y="22"/>
                        <a:pt x="1" y="23"/>
                        <a:pt x="2" y="23"/>
                      </a:cubicBezTo>
                      <a:cubicBezTo>
                        <a:pt x="4"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72" name="Oval 383"/>
                <p:cNvSpPr>
                  <a:spLocks noChangeArrowheads="1"/>
                </p:cNvSpPr>
                <p:nvPr/>
              </p:nvSpPr>
              <p:spPr bwMode="auto">
                <a:xfrm>
                  <a:off x="14408" y="536"/>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73" name="Oval 384"/>
                <p:cNvSpPr>
                  <a:spLocks noChangeArrowheads="1"/>
                </p:cNvSpPr>
                <p:nvPr/>
              </p:nvSpPr>
              <p:spPr bwMode="auto">
                <a:xfrm>
                  <a:off x="14472" y="536"/>
                  <a:ext cx="23"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74" name="Freeform 385"/>
                <p:cNvSpPr>
                  <a:spLocks/>
                </p:cNvSpPr>
                <p:nvPr/>
              </p:nvSpPr>
              <p:spPr bwMode="auto">
                <a:xfrm>
                  <a:off x="14387" y="560"/>
                  <a:ext cx="63" cy="111"/>
                </a:xfrm>
                <a:custGeom>
                  <a:avLst/>
                  <a:gdLst>
                    <a:gd name="T0" fmla="*/ 27 w 27"/>
                    <a:gd name="T1" fmla="*/ 19 h 47"/>
                    <a:gd name="T2" fmla="*/ 23 w 27"/>
                    <a:gd name="T3" fmla="*/ 5 h 47"/>
                    <a:gd name="T4" fmla="*/ 17 w 27"/>
                    <a:gd name="T5" fmla="*/ 0 h 47"/>
                    <a:gd name="T6" fmla="*/ 10 w 27"/>
                    <a:gd name="T7" fmla="*/ 0 h 47"/>
                    <a:gd name="T8" fmla="*/ 4 w 27"/>
                    <a:gd name="T9" fmla="*/ 5 h 47"/>
                    <a:gd name="T10" fmla="*/ 0 w 27"/>
                    <a:gd name="T11" fmla="*/ 19 h 47"/>
                    <a:gd name="T12" fmla="*/ 1 w 27"/>
                    <a:gd name="T13" fmla="*/ 21 h 47"/>
                    <a:gd name="T14" fmla="*/ 4 w 27"/>
                    <a:gd name="T15" fmla="*/ 20 h 47"/>
                    <a:gd name="T16" fmla="*/ 8 w 27"/>
                    <a:gd name="T17" fmla="*/ 7 h 47"/>
                    <a:gd name="T18" fmla="*/ 9 w 27"/>
                    <a:gd name="T19" fmla="*/ 7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9 w 27"/>
                    <a:gd name="T39" fmla="*/ 45 h 47"/>
                    <a:gd name="T40" fmla="*/ 19 w 27"/>
                    <a:gd name="T41" fmla="*/ 28 h 47"/>
                    <a:gd name="T42" fmla="*/ 25 w 27"/>
                    <a:gd name="T43" fmla="*/ 28 h 47"/>
                    <a:gd name="T44" fmla="*/ 18 w 27"/>
                    <a:gd name="T45" fmla="*/ 7 h 47"/>
                    <a:gd name="T46" fmla="*/ 19 w 27"/>
                    <a:gd name="T47" fmla="*/ 7 h 47"/>
                    <a:gd name="T48" fmla="*/ 23 w 27"/>
                    <a:gd name="T49" fmla="*/ 20 h 47"/>
                    <a:gd name="T50" fmla="*/ 25 w 27"/>
                    <a:gd name="T51" fmla="*/ 21 h 47"/>
                    <a:gd name="T52" fmla="*/ 27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9"/>
                      </a:moveTo>
                      <a:cubicBezTo>
                        <a:pt x="26" y="18"/>
                        <a:pt x="24" y="11"/>
                        <a:pt x="23" y="5"/>
                      </a:cubicBezTo>
                      <a:cubicBezTo>
                        <a:pt x="22" y="2"/>
                        <a:pt x="20" y="0"/>
                        <a:pt x="17" y="0"/>
                      </a:cubicBezTo>
                      <a:cubicBezTo>
                        <a:pt x="16" y="0"/>
                        <a:pt x="11" y="0"/>
                        <a:pt x="10" y="0"/>
                      </a:cubicBezTo>
                      <a:cubicBezTo>
                        <a:pt x="7" y="0"/>
                        <a:pt x="5" y="2"/>
                        <a:pt x="4" y="5"/>
                      </a:cubicBezTo>
                      <a:cubicBezTo>
                        <a:pt x="2" y="11"/>
                        <a:pt x="0" y="18"/>
                        <a:pt x="0" y="19"/>
                      </a:cubicBezTo>
                      <a:cubicBezTo>
                        <a:pt x="0" y="20"/>
                        <a:pt x="0" y="21"/>
                        <a:pt x="1" y="21"/>
                      </a:cubicBezTo>
                      <a:cubicBezTo>
                        <a:pt x="2" y="21"/>
                        <a:pt x="3" y="21"/>
                        <a:pt x="4" y="20"/>
                      </a:cubicBezTo>
                      <a:cubicBezTo>
                        <a:pt x="4" y="18"/>
                        <a:pt x="8" y="7"/>
                        <a:pt x="8"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75" name="Freeform 386"/>
                <p:cNvSpPr>
                  <a:spLocks/>
                </p:cNvSpPr>
                <p:nvPr/>
              </p:nvSpPr>
              <p:spPr bwMode="auto">
                <a:xfrm>
                  <a:off x="14458" y="560"/>
                  <a:ext cx="52" cy="111"/>
                </a:xfrm>
                <a:custGeom>
                  <a:avLst/>
                  <a:gdLst>
                    <a:gd name="T0" fmla="*/ 22 w 22"/>
                    <a:gd name="T1" fmla="*/ 21 h 47"/>
                    <a:gd name="T2" fmla="*/ 22 w 22"/>
                    <a:gd name="T3" fmla="*/ 6 h 47"/>
                    <a:gd name="T4" fmla="*/ 16 w 22"/>
                    <a:gd name="T5" fmla="*/ 0 h 47"/>
                    <a:gd name="T6" fmla="*/ 6 w 22"/>
                    <a:gd name="T7" fmla="*/ 0 h 47"/>
                    <a:gd name="T8" fmla="*/ 0 w 22"/>
                    <a:gd name="T9" fmla="*/ 6 h 47"/>
                    <a:gd name="T10" fmla="*/ 0 w 22"/>
                    <a:gd name="T11" fmla="*/ 21 h 47"/>
                    <a:gd name="T12" fmla="*/ 2 w 22"/>
                    <a:gd name="T13" fmla="*/ 23 h 47"/>
                    <a:gd name="T14" fmla="*/ 4 w 22"/>
                    <a:gd name="T15" fmla="*/ 21 h 47"/>
                    <a:gd name="T16" fmla="*/ 4 w 22"/>
                    <a:gd name="T17" fmla="*/ 8 h 47"/>
                    <a:gd name="T18" fmla="*/ 5 w 22"/>
                    <a:gd name="T19" fmla="*/ 8 h 47"/>
                    <a:gd name="T20" fmla="*/ 5 w 22"/>
                    <a:gd name="T21" fmla="*/ 44 h 47"/>
                    <a:gd name="T22" fmla="*/ 8 w 22"/>
                    <a:gd name="T23" fmla="*/ 47 h 47"/>
                    <a:gd name="T24" fmla="*/ 11 w 22"/>
                    <a:gd name="T25" fmla="*/ 44 h 47"/>
                    <a:gd name="T26" fmla="*/ 11 w 22"/>
                    <a:gd name="T27" fmla="*/ 23 h 47"/>
                    <a:gd name="T28" fmla="*/ 12 w 22"/>
                    <a:gd name="T29" fmla="*/ 23 h 47"/>
                    <a:gd name="T30" fmla="*/ 12 w 22"/>
                    <a:gd name="T31" fmla="*/ 44 h 47"/>
                    <a:gd name="T32" fmla="*/ 14 w 22"/>
                    <a:gd name="T33" fmla="*/ 47 h 47"/>
                    <a:gd name="T34" fmla="*/ 17 w 22"/>
                    <a:gd name="T35" fmla="*/ 44 h 47"/>
                    <a:gd name="T36" fmla="*/ 17 w 22"/>
                    <a:gd name="T37" fmla="*/ 8 h 47"/>
                    <a:gd name="T38" fmla="*/ 18 w 22"/>
                    <a:gd name="T39" fmla="*/ 8 h 47"/>
                    <a:gd name="T40" fmla="*/ 18 w 22"/>
                    <a:gd name="T41" fmla="*/ 21 h 47"/>
                    <a:gd name="T42" fmla="*/ 20 w 22"/>
                    <a:gd name="T43" fmla="*/ 23 h 47"/>
                    <a:gd name="T44" fmla="*/ 22 w 22"/>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2" y="21"/>
                      </a:moveTo>
                      <a:cubicBezTo>
                        <a:pt x="22" y="20"/>
                        <a:pt x="22" y="8"/>
                        <a:pt x="22" y="6"/>
                      </a:cubicBezTo>
                      <a:cubicBezTo>
                        <a:pt x="22" y="3"/>
                        <a:pt x="20" y="0"/>
                        <a:pt x="16" y="0"/>
                      </a:cubicBezTo>
                      <a:cubicBezTo>
                        <a:pt x="15" y="0"/>
                        <a:pt x="8" y="0"/>
                        <a:pt x="6" y="0"/>
                      </a:cubicBezTo>
                      <a:cubicBezTo>
                        <a:pt x="2"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76" name="Oval 387"/>
                <p:cNvSpPr>
                  <a:spLocks noChangeArrowheads="1"/>
                </p:cNvSpPr>
                <p:nvPr/>
              </p:nvSpPr>
              <p:spPr bwMode="auto">
                <a:xfrm>
                  <a:off x="14668" y="39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77" name="Freeform 388"/>
                <p:cNvSpPr>
                  <a:spLocks/>
                </p:cNvSpPr>
                <p:nvPr/>
              </p:nvSpPr>
              <p:spPr bwMode="auto">
                <a:xfrm>
                  <a:off x="14654" y="413"/>
                  <a:ext cx="54" cy="112"/>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7 w 23"/>
                    <a:gd name="T23" fmla="*/ 44 h 47"/>
                    <a:gd name="T24" fmla="*/ 17 w 23"/>
                    <a:gd name="T25" fmla="*/ 8 h 47"/>
                    <a:gd name="T26" fmla="*/ 18 w 23"/>
                    <a:gd name="T27" fmla="*/ 8 h 47"/>
                    <a:gd name="T28" fmla="*/ 18 w 23"/>
                    <a:gd name="T29" fmla="*/ 21 h 47"/>
                    <a:gd name="T30" fmla="*/ 20 w 23"/>
                    <a:gd name="T31" fmla="*/ 23 h 47"/>
                    <a:gd name="T32" fmla="*/ 23 w 23"/>
                    <a:gd name="T33" fmla="*/ 21 h 47"/>
                    <a:gd name="T34" fmla="*/ 23 w 23"/>
                    <a:gd name="T35" fmla="*/ 6 h 47"/>
                    <a:gd name="T36" fmla="*/ 16 w 23"/>
                    <a:gd name="T37" fmla="*/ 0 h 47"/>
                    <a:gd name="T38" fmla="*/ 6 w 23"/>
                    <a:gd name="T39" fmla="*/ 0 h 47"/>
                    <a:gd name="T40" fmla="*/ 0 w 23"/>
                    <a:gd name="T41" fmla="*/ 6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2" y="23"/>
                        <a:pt x="23" y="22"/>
                        <a:pt x="23" y="21"/>
                      </a:cubicBezTo>
                      <a:cubicBezTo>
                        <a:pt x="23" y="20"/>
                        <a:pt x="23" y="8"/>
                        <a:pt x="23" y="6"/>
                      </a:cubicBezTo>
                      <a:cubicBezTo>
                        <a:pt x="23" y="3"/>
                        <a:pt x="20" y="0"/>
                        <a:pt x="16" y="0"/>
                      </a:cubicBezTo>
                      <a:cubicBezTo>
                        <a:pt x="15" y="0"/>
                        <a:pt x="8" y="0"/>
                        <a:pt x="6" y="0"/>
                      </a:cubicBezTo>
                      <a:cubicBezTo>
                        <a:pt x="3"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78" name="Freeform 389"/>
                <p:cNvSpPr>
                  <a:spLocks/>
                </p:cNvSpPr>
                <p:nvPr/>
              </p:nvSpPr>
              <p:spPr bwMode="auto">
                <a:xfrm>
                  <a:off x="14517" y="560"/>
                  <a:ext cx="64" cy="111"/>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2"/>
                        <a:pt x="20" y="0"/>
                        <a:pt x="18" y="0"/>
                      </a:cubicBezTo>
                      <a:cubicBezTo>
                        <a:pt x="16" y="0"/>
                        <a:pt x="11" y="0"/>
                        <a:pt x="10" y="0"/>
                      </a:cubicBezTo>
                      <a:cubicBezTo>
                        <a:pt x="8" y="0"/>
                        <a:pt x="5" y="2"/>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79" name="Freeform 390"/>
                <p:cNvSpPr>
                  <a:spLocks/>
                </p:cNvSpPr>
                <p:nvPr/>
              </p:nvSpPr>
              <p:spPr bwMode="auto">
                <a:xfrm>
                  <a:off x="14453" y="413"/>
                  <a:ext cx="64" cy="112"/>
                </a:xfrm>
                <a:custGeom>
                  <a:avLst/>
                  <a:gdLst>
                    <a:gd name="T0" fmla="*/ 1 w 27"/>
                    <a:gd name="T1" fmla="*/ 21 h 47"/>
                    <a:gd name="T2" fmla="*/ 3 w 27"/>
                    <a:gd name="T3" fmla="*/ 20 h 47"/>
                    <a:gd name="T4" fmla="*/ 7 w 27"/>
                    <a:gd name="T5" fmla="*/ 7 h 47"/>
                    <a:gd name="T6" fmla="*/ 8 w 27"/>
                    <a:gd name="T7" fmla="*/ 7 h 47"/>
                    <a:gd name="T8" fmla="*/ 2 w 27"/>
                    <a:gd name="T9" fmla="*/ 29 h 47"/>
                    <a:gd name="T10" fmla="*/ 8 w 27"/>
                    <a:gd name="T11" fmla="*/ 29 h 47"/>
                    <a:gd name="T12" fmla="*/ 8 w 27"/>
                    <a:gd name="T13" fmla="*/ 45 h 47"/>
                    <a:gd name="T14" fmla="*/ 10 w 27"/>
                    <a:gd name="T15" fmla="*/ 47 h 47"/>
                    <a:gd name="T16" fmla="*/ 13 w 27"/>
                    <a:gd name="T17" fmla="*/ 45 h 47"/>
                    <a:gd name="T18" fmla="*/ 13 w 27"/>
                    <a:gd name="T19" fmla="*/ 29 h 47"/>
                    <a:gd name="T20" fmla="*/ 14 w 27"/>
                    <a:gd name="T21" fmla="*/ 29 h 47"/>
                    <a:gd name="T22" fmla="*/ 14 w 27"/>
                    <a:gd name="T23" fmla="*/ 45 h 47"/>
                    <a:gd name="T24" fmla="*/ 16 w 27"/>
                    <a:gd name="T25" fmla="*/ 47 h 47"/>
                    <a:gd name="T26" fmla="*/ 18 w 27"/>
                    <a:gd name="T27" fmla="*/ 45 h 47"/>
                    <a:gd name="T28" fmla="*/ 18 w 27"/>
                    <a:gd name="T29" fmla="*/ 29 h 47"/>
                    <a:gd name="T30" fmla="*/ 24 w 27"/>
                    <a:gd name="T31" fmla="*/ 29 h 47"/>
                    <a:gd name="T32" fmla="*/ 18 w 27"/>
                    <a:gd name="T33" fmla="*/ 7 h 47"/>
                    <a:gd name="T34" fmla="*/ 19 w 27"/>
                    <a:gd name="T35" fmla="*/ 7 h 47"/>
                    <a:gd name="T36" fmla="*/ 23 w 27"/>
                    <a:gd name="T37" fmla="*/ 20 h 47"/>
                    <a:gd name="T38" fmla="*/ 25 w 27"/>
                    <a:gd name="T39" fmla="*/ 21 h 47"/>
                    <a:gd name="T40" fmla="*/ 26 w 27"/>
                    <a:gd name="T41" fmla="*/ 19 h 47"/>
                    <a:gd name="T42" fmla="*/ 22 w 27"/>
                    <a:gd name="T43" fmla="*/ 5 h 47"/>
                    <a:gd name="T44" fmla="*/ 17 w 27"/>
                    <a:gd name="T45" fmla="*/ 0 h 47"/>
                    <a:gd name="T46" fmla="*/ 9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3" y="20"/>
                      </a:cubicBezTo>
                      <a:cubicBezTo>
                        <a:pt x="4" y="18"/>
                        <a:pt x="7" y="7"/>
                        <a:pt x="7" y="7"/>
                      </a:cubicBezTo>
                      <a:cubicBezTo>
                        <a:pt x="8" y="7"/>
                        <a:pt x="8" y="7"/>
                        <a:pt x="8" y="7"/>
                      </a:cubicBezTo>
                      <a:cubicBezTo>
                        <a:pt x="2" y="29"/>
                        <a:pt x="2" y="29"/>
                        <a:pt x="2" y="29"/>
                      </a:cubicBezTo>
                      <a:cubicBezTo>
                        <a:pt x="8" y="29"/>
                        <a:pt x="8" y="29"/>
                        <a:pt x="8" y="29"/>
                      </a:cubicBezTo>
                      <a:cubicBezTo>
                        <a:pt x="8" y="36"/>
                        <a:pt x="8" y="44"/>
                        <a:pt x="8" y="45"/>
                      </a:cubicBezTo>
                      <a:cubicBezTo>
                        <a:pt x="8" y="46"/>
                        <a:pt x="9" y="47"/>
                        <a:pt x="10"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7" y="47"/>
                        <a:pt x="18" y="46"/>
                        <a:pt x="18" y="45"/>
                      </a:cubicBezTo>
                      <a:cubicBezTo>
                        <a:pt x="18" y="44"/>
                        <a:pt x="18" y="36"/>
                        <a:pt x="18" y="29"/>
                      </a:cubicBezTo>
                      <a:cubicBezTo>
                        <a:pt x="24" y="29"/>
                        <a:pt x="24" y="29"/>
                        <a:pt x="24" y="29"/>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80" name="Freeform 391"/>
                <p:cNvSpPr>
                  <a:spLocks/>
                </p:cNvSpPr>
                <p:nvPr/>
              </p:nvSpPr>
              <p:spPr bwMode="auto">
                <a:xfrm>
                  <a:off x="14699" y="300"/>
                  <a:ext cx="14" cy="16"/>
                </a:xfrm>
                <a:custGeom>
                  <a:avLst/>
                  <a:gdLst>
                    <a:gd name="T0" fmla="*/ 0 w 6"/>
                    <a:gd name="T1" fmla="*/ 0 h 7"/>
                    <a:gd name="T2" fmla="*/ 2 w 6"/>
                    <a:gd name="T3" fmla="*/ 5 h 7"/>
                    <a:gd name="T4" fmla="*/ 4 w 6"/>
                    <a:gd name="T5" fmla="*/ 7 h 7"/>
                    <a:gd name="T6" fmla="*/ 5 w 6"/>
                    <a:gd name="T7" fmla="*/ 4 h 7"/>
                    <a:gd name="T8" fmla="*/ 4 w 6"/>
                    <a:gd name="T9" fmla="*/ 0 h 7"/>
                    <a:gd name="T10" fmla="*/ 0 w 6"/>
                    <a:gd name="T11" fmla="*/ 0 h 7"/>
                  </a:gdLst>
                  <a:ahLst/>
                  <a:cxnLst>
                    <a:cxn ang="0">
                      <a:pos x="T0" y="T1"/>
                    </a:cxn>
                    <a:cxn ang="0">
                      <a:pos x="T2" y="T3"/>
                    </a:cxn>
                    <a:cxn ang="0">
                      <a:pos x="T4" y="T5"/>
                    </a:cxn>
                    <a:cxn ang="0">
                      <a:pos x="T6" y="T7"/>
                    </a:cxn>
                    <a:cxn ang="0">
                      <a:pos x="T8" y="T9"/>
                    </a:cxn>
                    <a:cxn ang="0">
                      <a:pos x="T10" y="T11"/>
                    </a:cxn>
                  </a:cxnLst>
                  <a:rect l="0" t="0" r="r" b="b"/>
                  <a:pathLst>
                    <a:path w="6" h="7">
                      <a:moveTo>
                        <a:pt x="0" y="0"/>
                      </a:moveTo>
                      <a:cubicBezTo>
                        <a:pt x="1" y="3"/>
                        <a:pt x="2" y="5"/>
                        <a:pt x="2" y="5"/>
                      </a:cubicBezTo>
                      <a:cubicBezTo>
                        <a:pt x="2" y="6"/>
                        <a:pt x="3" y="7"/>
                        <a:pt x="4" y="7"/>
                      </a:cubicBezTo>
                      <a:cubicBezTo>
                        <a:pt x="5" y="6"/>
                        <a:pt x="6" y="5"/>
                        <a:pt x="5" y="4"/>
                      </a:cubicBezTo>
                      <a:cubicBezTo>
                        <a:pt x="5" y="4"/>
                        <a:pt x="5" y="2"/>
                        <a:pt x="4" y="0"/>
                      </a:cubicBezTo>
                      <a:cubicBezTo>
                        <a:pt x="3"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81" name="Freeform 392"/>
                <p:cNvSpPr>
                  <a:spLocks/>
                </p:cNvSpPr>
                <p:nvPr/>
              </p:nvSpPr>
              <p:spPr bwMode="auto">
                <a:xfrm>
                  <a:off x="14524" y="314"/>
                  <a:ext cx="52" cy="64"/>
                </a:xfrm>
                <a:custGeom>
                  <a:avLst/>
                  <a:gdLst>
                    <a:gd name="T0" fmla="*/ 6 w 22"/>
                    <a:gd name="T1" fmla="*/ 8 h 27"/>
                    <a:gd name="T2" fmla="*/ 6 w 22"/>
                    <a:gd name="T3" fmla="*/ 25 h 27"/>
                    <a:gd name="T4" fmla="*/ 8 w 22"/>
                    <a:gd name="T5" fmla="*/ 27 h 27"/>
                    <a:gd name="T6" fmla="*/ 10 w 22"/>
                    <a:gd name="T7" fmla="*/ 25 h 27"/>
                    <a:gd name="T8" fmla="*/ 10 w 22"/>
                    <a:gd name="T9" fmla="*/ 8 h 27"/>
                    <a:gd name="T10" fmla="*/ 11 w 22"/>
                    <a:gd name="T11" fmla="*/ 8 h 27"/>
                    <a:gd name="T12" fmla="*/ 11 w 22"/>
                    <a:gd name="T13" fmla="*/ 25 h 27"/>
                    <a:gd name="T14" fmla="*/ 14 w 22"/>
                    <a:gd name="T15" fmla="*/ 27 h 27"/>
                    <a:gd name="T16" fmla="*/ 16 w 22"/>
                    <a:gd name="T17" fmla="*/ 25 h 27"/>
                    <a:gd name="T18" fmla="*/ 16 w 22"/>
                    <a:gd name="T19" fmla="*/ 8 h 27"/>
                    <a:gd name="T20" fmla="*/ 22 w 22"/>
                    <a:gd name="T21" fmla="*/ 8 h 27"/>
                    <a:gd name="T22" fmla="*/ 20 w 22"/>
                    <a:gd name="T23" fmla="*/ 0 h 27"/>
                    <a:gd name="T24" fmla="*/ 11 w 22"/>
                    <a:gd name="T25" fmla="*/ 1 h 27"/>
                    <a:gd name="T26" fmla="*/ 1 w 22"/>
                    <a:gd name="T27" fmla="*/ 4 h 27"/>
                    <a:gd name="T28" fmla="*/ 0 w 22"/>
                    <a:gd name="T29" fmla="*/ 8 h 27"/>
                    <a:gd name="T30" fmla="*/ 6 w 22"/>
                    <a:gd name="T31"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7">
                      <a:moveTo>
                        <a:pt x="6" y="8"/>
                      </a:moveTo>
                      <a:cubicBezTo>
                        <a:pt x="6" y="16"/>
                        <a:pt x="6" y="24"/>
                        <a:pt x="6" y="25"/>
                      </a:cubicBezTo>
                      <a:cubicBezTo>
                        <a:pt x="6" y="26"/>
                        <a:pt x="7" y="27"/>
                        <a:pt x="8" y="27"/>
                      </a:cubicBezTo>
                      <a:cubicBezTo>
                        <a:pt x="9" y="27"/>
                        <a:pt x="10" y="26"/>
                        <a:pt x="10" y="25"/>
                      </a:cubicBezTo>
                      <a:cubicBezTo>
                        <a:pt x="10" y="23"/>
                        <a:pt x="10" y="8"/>
                        <a:pt x="10" y="8"/>
                      </a:cubicBezTo>
                      <a:cubicBezTo>
                        <a:pt x="11" y="8"/>
                        <a:pt x="11" y="8"/>
                        <a:pt x="11" y="8"/>
                      </a:cubicBezTo>
                      <a:cubicBezTo>
                        <a:pt x="11" y="8"/>
                        <a:pt x="11" y="23"/>
                        <a:pt x="11" y="25"/>
                      </a:cubicBezTo>
                      <a:cubicBezTo>
                        <a:pt x="11" y="26"/>
                        <a:pt x="12" y="27"/>
                        <a:pt x="14" y="27"/>
                      </a:cubicBezTo>
                      <a:cubicBezTo>
                        <a:pt x="15" y="27"/>
                        <a:pt x="16" y="26"/>
                        <a:pt x="16" y="25"/>
                      </a:cubicBezTo>
                      <a:cubicBezTo>
                        <a:pt x="16" y="24"/>
                        <a:pt x="16" y="16"/>
                        <a:pt x="16" y="8"/>
                      </a:cubicBezTo>
                      <a:cubicBezTo>
                        <a:pt x="22" y="8"/>
                        <a:pt x="22" y="8"/>
                        <a:pt x="22" y="8"/>
                      </a:cubicBezTo>
                      <a:cubicBezTo>
                        <a:pt x="21" y="5"/>
                        <a:pt x="20" y="2"/>
                        <a:pt x="20" y="0"/>
                      </a:cubicBezTo>
                      <a:cubicBezTo>
                        <a:pt x="16" y="0"/>
                        <a:pt x="14" y="1"/>
                        <a:pt x="11" y="1"/>
                      </a:cubicBezTo>
                      <a:cubicBezTo>
                        <a:pt x="7" y="2"/>
                        <a:pt x="4" y="3"/>
                        <a:pt x="1" y="4"/>
                      </a:cubicBezTo>
                      <a:cubicBezTo>
                        <a:pt x="0" y="8"/>
                        <a:pt x="0" y="8"/>
                        <a:pt x="0" y="8"/>
                      </a:cubicBezTo>
                      <a:cubicBezTo>
                        <a:pt x="6" y="8"/>
                        <a:pt x="6" y="8"/>
                        <a:pt x="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82" name="Freeform 393"/>
                <p:cNvSpPr>
                  <a:spLocks/>
                </p:cNvSpPr>
                <p:nvPr/>
              </p:nvSpPr>
              <p:spPr bwMode="auto">
                <a:xfrm>
                  <a:off x="14573" y="312"/>
                  <a:ext cx="8" cy="4"/>
                </a:xfrm>
                <a:custGeom>
                  <a:avLst/>
                  <a:gdLst>
                    <a:gd name="T0" fmla="*/ 2 w 3"/>
                    <a:gd name="T1" fmla="*/ 2 h 2"/>
                    <a:gd name="T2" fmla="*/ 3 w 3"/>
                    <a:gd name="T3" fmla="*/ 0 h 2"/>
                    <a:gd name="T4" fmla="*/ 0 w 3"/>
                    <a:gd name="T5" fmla="*/ 1 h 2"/>
                    <a:gd name="T6" fmla="*/ 2 w 3"/>
                    <a:gd name="T7" fmla="*/ 2 h 2"/>
                  </a:gdLst>
                  <a:ahLst/>
                  <a:cxnLst>
                    <a:cxn ang="0">
                      <a:pos x="T0" y="T1"/>
                    </a:cxn>
                    <a:cxn ang="0">
                      <a:pos x="T2" y="T3"/>
                    </a:cxn>
                    <a:cxn ang="0">
                      <a:pos x="T4" y="T5"/>
                    </a:cxn>
                    <a:cxn ang="0">
                      <a:pos x="T6" y="T7"/>
                    </a:cxn>
                  </a:cxnLst>
                  <a:rect l="0" t="0" r="r" b="b"/>
                  <a:pathLst>
                    <a:path w="3" h="2">
                      <a:moveTo>
                        <a:pt x="2" y="2"/>
                      </a:moveTo>
                      <a:cubicBezTo>
                        <a:pt x="3" y="1"/>
                        <a:pt x="3" y="1"/>
                        <a:pt x="3" y="0"/>
                      </a:cubicBezTo>
                      <a:cubicBezTo>
                        <a:pt x="2" y="0"/>
                        <a:pt x="1" y="0"/>
                        <a:pt x="0" y="1"/>
                      </a:cubicBezTo>
                      <a:cubicBezTo>
                        <a:pt x="0" y="1"/>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83" name="Freeform 394"/>
                <p:cNvSpPr>
                  <a:spLocks/>
                </p:cNvSpPr>
                <p:nvPr/>
              </p:nvSpPr>
              <p:spPr bwMode="auto">
                <a:xfrm>
                  <a:off x="14600" y="304"/>
                  <a:ext cx="30" cy="74"/>
                </a:xfrm>
                <a:custGeom>
                  <a:avLst/>
                  <a:gdLst>
                    <a:gd name="T0" fmla="*/ 0 w 13"/>
                    <a:gd name="T1" fmla="*/ 28 h 31"/>
                    <a:gd name="T2" fmla="*/ 3 w 13"/>
                    <a:gd name="T3" fmla="*/ 31 h 31"/>
                    <a:gd name="T4" fmla="*/ 6 w 13"/>
                    <a:gd name="T5" fmla="*/ 28 h 31"/>
                    <a:gd name="T6" fmla="*/ 6 w 13"/>
                    <a:gd name="T7" fmla="*/ 7 h 31"/>
                    <a:gd name="T8" fmla="*/ 7 w 13"/>
                    <a:gd name="T9" fmla="*/ 7 h 31"/>
                    <a:gd name="T10" fmla="*/ 7 w 13"/>
                    <a:gd name="T11" fmla="*/ 28 h 31"/>
                    <a:gd name="T12" fmla="*/ 10 w 13"/>
                    <a:gd name="T13" fmla="*/ 31 h 31"/>
                    <a:gd name="T14" fmla="*/ 13 w 13"/>
                    <a:gd name="T15" fmla="*/ 28 h 31"/>
                    <a:gd name="T16" fmla="*/ 13 w 13"/>
                    <a:gd name="T17" fmla="*/ 0 h 31"/>
                    <a:gd name="T18" fmla="*/ 0 w 13"/>
                    <a:gd name="T19" fmla="*/ 2 h 31"/>
                    <a:gd name="T20" fmla="*/ 0 w 13"/>
                    <a:gd name="T21"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31">
                      <a:moveTo>
                        <a:pt x="0" y="28"/>
                      </a:moveTo>
                      <a:cubicBezTo>
                        <a:pt x="0" y="29"/>
                        <a:pt x="2" y="31"/>
                        <a:pt x="3" y="31"/>
                      </a:cubicBezTo>
                      <a:cubicBezTo>
                        <a:pt x="5" y="31"/>
                        <a:pt x="6" y="29"/>
                        <a:pt x="6" y="28"/>
                      </a:cubicBezTo>
                      <a:cubicBezTo>
                        <a:pt x="6" y="26"/>
                        <a:pt x="6" y="7"/>
                        <a:pt x="6" y="7"/>
                      </a:cubicBezTo>
                      <a:cubicBezTo>
                        <a:pt x="6" y="7"/>
                        <a:pt x="6" y="7"/>
                        <a:pt x="7" y="7"/>
                      </a:cubicBezTo>
                      <a:cubicBezTo>
                        <a:pt x="7" y="7"/>
                        <a:pt x="7" y="26"/>
                        <a:pt x="7" y="28"/>
                      </a:cubicBezTo>
                      <a:cubicBezTo>
                        <a:pt x="7" y="29"/>
                        <a:pt x="8" y="31"/>
                        <a:pt x="10" y="31"/>
                      </a:cubicBezTo>
                      <a:cubicBezTo>
                        <a:pt x="11" y="31"/>
                        <a:pt x="13" y="29"/>
                        <a:pt x="13" y="28"/>
                      </a:cubicBezTo>
                      <a:cubicBezTo>
                        <a:pt x="13" y="26"/>
                        <a:pt x="13" y="10"/>
                        <a:pt x="13" y="0"/>
                      </a:cubicBezTo>
                      <a:cubicBezTo>
                        <a:pt x="8" y="1"/>
                        <a:pt x="4" y="1"/>
                        <a:pt x="0" y="2"/>
                      </a:cubicBezTo>
                      <a:cubicBezTo>
                        <a:pt x="0" y="12"/>
                        <a:pt x="0" y="26"/>
                        <a:pt x="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84" name="Freeform 395"/>
                <p:cNvSpPr>
                  <a:spLocks/>
                </p:cNvSpPr>
                <p:nvPr/>
              </p:nvSpPr>
              <p:spPr bwMode="auto">
                <a:xfrm>
                  <a:off x="14588" y="309"/>
                  <a:ext cx="9" cy="12"/>
                </a:xfrm>
                <a:custGeom>
                  <a:avLst/>
                  <a:gdLst>
                    <a:gd name="T0" fmla="*/ 2 w 4"/>
                    <a:gd name="T1" fmla="*/ 5 h 5"/>
                    <a:gd name="T2" fmla="*/ 4 w 4"/>
                    <a:gd name="T3" fmla="*/ 3 h 5"/>
                    <a:gd name="T4" fmla="*/ 4 w 4"/>
                    <a:gd name="T5" fmla="*/ 0 h 5"/>
                    <a:gd name="T6" fmla="*/ 0 w 4"/>
                    <a:gd name="T7" fmla="*/ 0 h 5"/>
                    <a:gd name="T8" fmla="*/ 0 w 4"/>
                    <a:gd name="T9" fmla="*/ 3 h 5"/>
                    <a:gd name="T10" fmla="*/ 2 w 4"/>
                    <a:gd name="T11" fmla="*/ 5 h 5"/>
                  </a:gdLst>
                  <a:ahLst/>
                  <a:cxnLst>
                    <a:cxn ang="0">
                      <a:pos x="T0" y="T1"/>
                    </a:cxn>
                    <a:cxn ang="0">
                      <a:pos x="T2" y="T3"/>
                    </a:cxn>
                    <a:cxn ang="0">
                      <a:pos x="T4" y="T5"/>
                    </a:cxn>
                    <a:cxn ang="0">
                      <a:pos x="T6" y="T7"/>
                    </a:cxn>
                    <a:cxn ang="0">
                      <a:pos x="T8" y="T9"/>
                    </a:cxn>
                    <a:cxn ang="0">
                      <a:pos x="T10" y="T11"/>
                    </a:cxn>
                  </a:cxnLst>
                  <a:rect l="0" t="0" r="r" b="b"/>
                  <a:pathLst>
                    <a:path w="4" h="5">
                      <a:moveTo>
                        <a:pt x="2" y="5"/>
                      </a:moveTo>
                      <a:cubicBezTo>
                        <a:pt x="3" y="5"/>
                        <a:pt x="4" y="4"/>
                        <a:pt x="4" y="3"/>
                      </a:cubicBezTo>
                      <a:cubicBezTo>
                        <a:pt x="4" y="2"/>
                        <a:pt x="4" y="1"/>
                        <a:pt x="4" y="0"/>
                      </a:cubicBezTo>
                      <a:cubicBezTo>
                        <a:pt x="3" y="0"/>
                        <a:pt x="1" y="0"/>
                        <a:pt x="0" y="0"/>
                      </a:cubicBezTo>
                      <a:cubicBezTo>
                        <a:pt x="0" y="2"/>
                        <a:pt x="0" y="2"/>
                        <a:pt x="0" y="3"/>
                      </a:cubicBezTo>
                      <a:cubicBezTo>
                        <a:pt x="0" y="4"/>
                        <a:pt x="1" y="5"/>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85" name="Freeform 396"/>
                <p:cNvSpPr>
                  <a:spLocks/>
                </p:cNvSpPr>
                <p:nvPr/>
              </p:nvSpPr>
              <p:spPr bwMode="auto">
                <a:xfrm>
                  <a:off x="14633" y="304"/>
                  <a:ext cx="9" cy="17"/>
                </a:xfrm>
                <a:custGeom>
                  <a:avLst/>
                  <a:gdLst>
                    <a:gd name="T0" fmla="*/ 0 w 4"/>
                    <a:gd name="T1" fmla="*/ 5 h 7"/>
                    <a:gd name="T2" fmla="*/ 2 w 4"/>
                    <a:gd name="T3" fmla="*/ 7 h 7"/>
                    <a:gd name="T4" fmla="*/ 4 w 4"/>
                    <a:gd name="T5" fmla="*/ 5 h 7"/>
                    <a:gd name="T6" fmla="*/ 4 w 4"/>
                    <a:gd name="T7" fmla="*/ 0 h 7"/>
                    <a:gd name="T8" fmla="*/ 0 w 4"/>
                    <a:gd name="T9" fmla="*/ 0 h 7"/>
                    <a:gd name="T10" fmla="*/ 0 w 4"/>
                    <a:gd name="T11" fmla="*/ 5 h 7"/>
                  </a:gdLst>
                  <a:ahLst/>
                  <a:cxnLst>
                    <a:cxn ang="0">
                      <a:pos x="T0" y="T1"/>
                    </a:cxn>
                    <a:cxn ang="0">
                      <a:pos x="T2" y="T3"/>
                    </a:cxn>
                    <a:cxn ang="0">
                      <a:pos x="T4" y="T5"/>
                    </a:cxn>
                    <a:cxn ang="0">
                      <a:pos x="T6" y="T7"/>
                    </a:cxn>
                    <a:cxn ang="0">
                      <a:pos x="T8" y="T9"/>
                    </a:cxn>
                    <a:cxn ang="0">
                      <a:pos x="T10" y="T11"/>
                    </a:cxn>
                  </a:cxnLst>
                  <a:rect l="0" t="0" r="r" b="b"/>
                  <a:pathLst>
                    <a:path w="4" h="7">
                      <a:moveTo>
                        <a:pt x="0" y="5"/>
                      </a:moveTo>
                      <a:cubicBezTo>
                        <a:pt x="0" y="6"/>
                        <a:pt x="1" y="7"/>
                        <a:pt x="2" y="7"/>
                      </a:cubicBezTo>
                      <a:cubicBezTo>
                        <a:pt x="3" y="7"/>
                        <a:pt x="4" y="6"/>
                        <a:pt x="4" y="5"/>
                      </a:cubicBezTo>
                      <a:cubicBezTo>
                        <a:pt x="4" y="4"/>
                        <a:pt x="4" y="2"/>
                        <a:pt x="4" y="0"/>
                      </a:cubicBezTo>
                      <a:cubicBezTo>
                        <a:pt x="2" y="0"/>
                        <a:pt x="1" y="0"/>
                        <a:pt x="0" y="0"/>
                      </a:cubicBezTo>
                      <a:cubicBezTo>
                        <a:pt x="0" y="2"/>
                        <a:pt x="0"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86" name="Freeform 397"/>
                <p:cNvSpPr>
                  <a:spLocks/>
                </p:cNvSpPr>
                <p:nvPr/>
              </p:nvSpPr>
              <p:spPr bwMode="auto">
                <a:xfrm>
                  <a:off x="14654" y="300"/>
                  <a:ext cx="52" cy="78"/>
                </a:xfrm>
                <a:custGeom>
                  <a:avLst/>
                  <a:gdLst>
                    <a:gd name="T0" fmla="*/ 0 w 22"/>
                    <a:gd name="T1" fmla="*/ 14 h 33"/>
                    <a:gd name="T2" fmla="*/ 6 w 22"/>
                    <a:gd name="T3" fmla="*/ 14 h 33"/>
                    <a:gd name="T4" fmla="*/ 6 w 22"/>
                    <a:gd name="T5" fmla="*/ 31 h 33"/>
                    <a:gd name="T6" fmla="*/ 8 w 22"/>
                    <a:gd name="T7" fmla="*/ 33 h 33"/>
                    <a:gd name="T8" fmla="*/ 11 w 22"/>
                    <a:gd name="T9" fmla="*/ 31 h 33"/>
                    <a:gd name="T10" fmla="*/ 11 w 22"/>
                    <a:gd name="T11" fmla="*/ 14 h 33"/>
                    <a:gd name="T12" fmla="*/ 12 w 22"/>
                    <a:gd name="T13" fmla="*/ 14 h 33"/>
                    <a:gd name="T14" fmla="*/ 12 w 22"/>
                    <a:gd name="T15" fmla="*/ 31 h 33"/>
                    <a:gd name="T16" fmla="*/ 14 w 22"/>
                    <a:gd name="T17" fmla="*/ 33 h 33"/>
                    <a:gd name="T18" fmla="*/ 16 w 22"/>
                    <a:gd name="T19" fmla="*/ 31 h 33"/>
                    <a:gd name="T20" fmla="*/ 16 w 22"/>
                    <a:gd name="T21" fmla="*/ 14 h 33"/>
                    <a:gd name="T22" fmla="*/ 22 w 22"/>
                    <a:gd name="T23" fmla="*/ 14 h 33"/>
                    <a:gd name="T24" fmla="*/ 18 w 22"/>
                    <a:gd name="T25" fmla="*/ 0 h 33"/>
                    <a:gd name="T26" fmla="*/ 4 w 22"/>
                    <a:gd name="T27" fmla="*/ 1 h 33"/>
                    <a:gd name="T28" fmla="*/ 0 w 22"/>
                    <a:gd name="T29"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33">
                      <a:moveTo>
                        <a:pt x="0" y="14"/>
                      </a:moveTo>
                      <a:cubicBezTo>
                        <a:pt x="6" y="14"/>
                        <a:pt x="6" y="14"/>
                        <a:pt x="6" y="14"/>
                      </a:cubicBezTo>
                      <a:cubicBezTo>
                        <a:pt x="6" y="22"/>
                        <a:pt x="6" y="30"/>
                        <a:pt x="6" y="31"/>
                      </a:cubicBezTo>
                      <a:cubicBezTo>
                        <a:pt x="6" y="32"/>
                        <a:pt x="7" y="33"/>
                        <a:pt x="8" y="33"/>
                      </a:cubicBezTo>
                      <a:cubicBezTo>
                        <a:pt x="10" y="33"/>
                        <a:pt x="11" y="32"/>
                        <a:pt x="11" y="31"/>
                      </a:cubicBezTo>
                      <a:cubicBezTo>
                        <a:pt x="11" y="29"/>
                        <a:pt x="11" y="14"/>
                        <a:pt x="11" y="14"/>
                      </a:cubicBezTo>
                      <a:cubicBezTo>
                        <a:pt x="12" y="14"/>
                        <a:pt x="12" y="14"/>
                        <a:pt x="12" y="14"/>
                      </a:cubicBezTo>
                      <a:cubicBezTo>
                        <a:pt x="12" y="14"/>
                        <a:pt x="12" y="29"/>
                        <a:pt x="12" y="31"/>
                      </a:cubicBezTo>
                      <a:cubicBezTo>
                        <a:pt x="12" y="32"/>
                        <a:pt x="13" y="33"/>
                        <a:pt x="14" y="33"/>
                      </a:cubicBezTo>
                      <a:cubicBezTo>
                        <a:pt x="15" y="33"/>
                        <a:pt x="16" y="32"/>
                        <a:pt x="16" y="31"/>
                      </a:cubicBezTo>
                      <a:cubicBezTo>
                        <a:pt x="16" y="30"/>
                        <a:pt x="16" y="22"/>
                        <a:pt x="16" y="14"/>
                      </a:cubicBezTo>
                      <a:cubicBezTo>
                        <a:pt x="22" y="14"/>
                        <a:pt x="22" y="14"/>
                        <a:pt x="22" y="14"/>
                      </a:cubicBezTo>
                      <a:cubicBezTo>
                        <a:pt x="21" y="8"/>
                        <a:pt x="19" y="3"/>
                        <a:pt x="18" y="0"/>
                      </a:cubicBezTo>
                      <a:cubicBezTo>
                        <a:pt x="14" y="0"/>
                        <a:pt x="9" y="1"/>
                        <a:pt x="4" y="1"/>
                      </a:cubicBezTo>
                      <a:cubicBezTo>
                        <a:pt x="0" y="14"/>
                        <a:pt x="0" y="14"/>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087" name="Freeform 398"/>
                <p:cNvSpPr>
                  <a:spLocks/>
                </p:cNvSpPr>
                <p:nvPr/>
              </p:nvSpPr>
              <p:spPr bwMode="auto">
                <a:xfrm>
                  <a:off x="14649" y="302"/>
                  <a:ext cx="12" cy="14"/>
                </a:xfrm>
                <a:custGeom>
                  <a:avLst/>
                  <a:gdLst>
                    <a:gd name="T0" fmla="*/ 1 w 5"/>
                    <a:gd name="T1" fmla="*/ 6 h 6"/>
                    <a:gd name="T2" fmla="*/ 3 w 5"/>
                    <a:gd name="T3" fmla="*/ 4 h 6"/>
                    <a:gd name="T4" fmla="*/ 5 w 5"/>
                    <a:gd name="T5" fmla="*/ 0 h 6"/>
                    <a:gd name="T6" fmla="*/ 1 w 5"/>
                    <a:gd name="T7" fmla="*/ 0 h 6"/>
                    <a:gd name="T8" fmla="*/ 0 w 5"/>
                    <a:gd name="T9" fmla="*/ 3 h 6"/>
                    <a:gd name="T10" fmla="*/ 1 w 5"/>
                    <a:gd name="T11" fmla="*/ 6 h 6"/>
                  </a:gdLst>
                  <a:ahLst/>
                  <a:cxnLst>
                    <a:cxn ang="0">
                      <a:pos x="T0" y="T1"/>
                    </a:cxn>
                    <a:cxn ang="0">
                      <a:pos x="T2" y="T3"/>
                    </a:cxn>
                    <a:cxn ang="0">
                      <a:pos x="T4" y="T5"/>
                    </a:cxn>
                    <a:cxn ang="0">
                      <a:pos x="T6" y="T7"/>
                    </a:cxn>
                    <a:cxn ang="0">
                      <a:pos x="T8" y="T9"/>
                    </a:cxn>
                    <a:cxn ang="0">
                      <a:pos x="T10" y="T11"/>
                    </a:cxn>
                  </a:cxnLst>
                  <a:rect l="0" t="0" r="r" b="b"/>
                  <a:pathLst>
                    <a:path w="5" h="6">
                      <a:moveTo>
                        <a:pt x="1" y="6"/>
                      </a:moveTo>
                      <a:cubicBezTo>
                        <a:pt x="2" y="6"/>
                        <a:pt x="3" y="5"/>
                        <a:pt x="3" y="4"/>
                      </a:cubicBezTo>
                      <a:cubicBezTo>
                        <a:pt x="4" y="4"/>
                        <a:pt x="4" y="2"/>
                        <a:pt x="5" y="0"/>
                      </a:cubicBezTo>
                      <a:cubicBezTo>
                        <a:pt x="3" y="0"/>
                        <a:pt x="2" y="0"/>
                        <a:pt x="1" y="0"/>
                      </a:cubicBezTo>
                      <a:cubicBezTo>
                        <a:pt x="0" y="2"/>
                        <a:pt x="0" y="3"/>
                        <a:pt x="0" y="3"/>
                      </a:cubicBezTo>
                      <a:cubicBezTo>
                        <a:pt x="0" y="4"/>
                        <a:pt x="0" y="5"/>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grpSp>
            <p:nvGrpSpPr>
              <p:cNvPr id="325" name="Group 600"/>
              <p:cNvGrpSpPr>
                <a:grpSpLocks/>
              </p:cNvGrpSpPr>
              <p:nvPr/>
            </p:nvGrpSpPr>
            <p:grpSpPr bwMode="auto">
              <a:xfrm>
                <a:off x="19885026" y="569913"/>
                <a:ext cx="4159250" cy="1893888"/>
                <a:chOff x="12526" y="359"/>
                <a:chExt cx="2620" cy="1193"/>
              </a:xfrm>
              <a:grpFill/>
            </p:grpSpPr>
            <p:sp>
              <p:nvSpPr>
                <p:cNvPr id="1688" name="Freeform 400"/>
                <p:cNvSpPr>
                  <a:spLocks/>
                </p:cNvSpPr>
                <p:nvPr/>
              </p:nvSpPr>
              <p:spPr bwMode="auto">
                <a:xfrm>
                  <a:off x="14405" y="510"/>
                  <a:ext cx="12" cy="15"/>
                </a:xfrm>
                <a:custGeom>
                  <a:avLst/>
                  <a:gdLst>
                    <a:gd name="T0" fmla="*/ 2 w 5"/>
                    <a:gd name="T1" fmla="*/ 6 h 6"/>
                    <a:gd name="T2" fmla="*/ 5 w 5"/>
                    <a:gd name="T3" fmla="*/ 3 h 6"/>
                    <a:gd name="T4" fmla="*/ 5 w 5"/>
                    <a:gd name="T5" fmla="*/ 0 h 6"/>
                    <a:gd name="T6" fmla="*/ 0 w 5"/>
                    <a:gd name="T7" fmla="*/ 5 h 6"/>
                    <a:gd name="T8" fmla="*/ 2 w 5"/>
                    <a:gd name="T9" fmla="*/ 6 h 6"/>
                  </a:gdLst>
                  <a:ahLst/>
                  <a:cxnLst>
                    <a:cxn ang="0">
                      <a:pos x="T0" y="T1"/>
                    </a:cxn>
                    <a:cxn ang="0">
                      <a:pos x="T2" y="T3"/>
                    </a:cxn>
                    <a:cxn ang="0">
                      <a:pos x="T4" y="T5"/>
                    </a:cxn>
                    <a:cxn ang="0">
                      <a:pos x="T6" y="T7"/>
                    </a:cxn>
                    <a:cxn ang="0">
                      <a:pos x="T8" y="T9"/>
                    </a:cxn>
                  </a:cxnLst>
                  <a:rect l="0" t="0" r="r" b="b"/>
                  <a:pathLst>
                    <a:path w="5" h="6">
                      <a:moveTo>
                        <a:pt x="2" y="6"/>
                      </a:moveTo>
                      <a:cubicBezTo>
                        <a:pt x="4" y="6"/>
                        <a:pt x="5" y="5"/>
                        <a:pt x="5" y="3"/>
                      </a:cubicBezTo>
                      <a:cubicBezTo>
                        <a:pt x="5" y="3"/>
                        <a:pt x="5" y="2"/>
                        <a:pt x="5" y="0"/>
                      </a:cubicBezTo>
                      <a:cubicBezTo>
                        <a:pt x="3" y="2"/>
                        <a:pt x="1" y="4"/>
                        <a:pt x="0" y="5"/>
                      </a:cubicBezTo>
                      <a:cubicBezTo>
                        <a:pt x="0" y="6"/>
                        <a:pt x="1" y="6"/>
                        <a:pt x="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89" name="Freeform 401"/>
                <p:cNvSpPr>
                  <a:spLocks/>
                </p:cNvSpPr>
                <p:nvPr/>
              </p:nvSpPr>
              <p:spPr bwMode="auto">
                <a:xfrm>
                  <a:off x="14588" y="560"/>
                  <a:ext cx="54" cy="111"/>
                </a:xfrm>
                <a:custGeom>
                  <a:avLst/>
                  <a:gdLst>
                    <a:gd name="T0" fmla="*/ 23 w 23"/>
                    <a:gd name="T1" fmla="*/ 21 h 47"/>
                    <a:gd name="T2" fmla="*/ 23 w 23"/>
                    <a:gd name="T3" fmla="*/ 6 h 47"/>
                    <a:gd name="T4" fmla="*/ 17 w 23"/>
                    <a:gd name="T5" fmla="*/ 0 h 47"/>
                    <a:gd name="T6" fmla="*/ 6 w 23"/>
                    <a:gd name="T7" fmla="*/ 0 h 47"/>
                    <a:gd name="T8" fmla="*/ 0 w 23"/>
                    <a:gd name="T9" fmla="*/ 6 h 47"/>
                    <a:gd name="T10" fmla="*/ 0 w 23"/>
                    <a:gd name="T11" fmla="*/ 21 h 47"/>
                    <a:gd name="T12" fmla="*/ 2 w 23"/>
                    <a:gd name="T13" fmla="*/ 23 h 47"/>
                    <a:gd name="T14" fmla="*/ 4 w 23"/>
                    <a:gd name="T15" fmla="*/ 21 h 47"/>
                    <a:gd name="T16" fmla="*/ 4 w 23"/>
                    <a:gd name="T17" fmla="*/ 8 h 47"/>
                    <a:gd name="T18" fmla="*/ 5 w 23"/>
                    <a:gd name="T19" fmla="*/ 8 h 47"/>
                    <a:gd name="T20" fmla="*/ 5 w 23"/>
                    <a:gd name="T21" fmla="*/ 44 h 47"/>
                    <a:gd name="T22" fmla="*/ 8 w 23"/>
                    <a:gd name="T23" fmla="*/ 47 h 47"/>
                    <a:gd name="T24" fmla="*/ 11 w 23"/>
                    <a:gd name="T25" fmla="*/ 44 h 47"/>
                    <a:gd name="T26" fmla="*/ 11 w 23"/>
                    <a:gd name="T27" fmla="*/ 23 h 47"/>
                    <a:gd name="T28" fmla="*/ 12 w 23"/>
                    <a:gd name="T29" fmla="*/ 23 h 47"/>
                    <a:gd name="T30" fmla="*/ 12 w 23"/>
                    <a:gd name="T31" fmla="*/ 44 h 47"/>
                    <a:gd name="T32" fmla="*/ 15 w 23"/>
                    <a:gd name="T33" fmla="*/ 47 h 47"/>
                    <a:gd name="T34" fmla="*/ 18 w 23"/>
                    <a:gd name="T35" fmla="*/ 44 h 47"/>
                    <a:gd name="T36" fmla="*/ 18 w 23"/>
                    <a:gd name="T37" fmla="*/ 8 h 47"/>
                    <a:gd name="T38" fmla="*/ 19 w 23"/>
                    <a:gd name="T39" fmla="*/ 8 h 47"/>
                    <a:gd name="T40" fmla="*/ 19 w 23"/>
                    <a:gd name="T41" fmla="*/ 21 h 47"/>
                    <a:gd name="T42" fmla="*/ 21 w 23"/>
                    <a:gd name="T43" fmla="*/ 23 h 47"/>
                    <a:gd name="T44" fmla="*/ 23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3" y="21"/>
                      </a:move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90" name="Freeform 402"/>
                <p:cNvSpPr>
                  <a:spLocks/>
                </p:cNvSpPr>
                <p:nvPr/>
              </p:nvSpPr>
              <p:spPr bwMode="auto">
                <a:xfrm>
                  <a:off x="14488" y="359"/>
                  <a:ext cx="10" cy="19"/>
                </a:xfrm>
                <a:custGeom>
                  <a:avLst/>
                  <a:gdLst>
                    <a:gd name="T0" fmla="*/ 4 w 4"/>
                    <a:gd name="T1" fmla="*/ 5 h 8"/>
                    <a:gd name="T2" fmla="*/ 4 w 4"/>
                    <a:gd name="T3" fmla="*/ 0 h 8"/>
                    <a:gd name="T4" fmla="*/ 1 w 4"/>
                    <a:gd name="T5" fmla="*/ 5 h 8"/>
                    <a:gd name="T6" fmla="*/ 0 w 4"/>
                    <a:gd name="T7" fmla="*/ 7 h 8"/>
                    <a:gd name="T8" fmla="*/ 1 w 4"/>
                    <a:gd name="T9" fmla="*/ 8 h 8"/>
                    <a:gd name="T10" fmla="*/ 4 w 4"/>
                    <a:gd name="T11" fmla="*/ 5 h 8"/>
                  </a:gdLst>
                  <a:ahLst/>
                  <a:cxnLst>
                    <a:cxn ang="0">
                      <a:pos x="T0" y="T1"/>
                    </a:cxn>
                    <a:cxn ang="0">
                      <a:pos x="T2" y="T3"/>
                    </a:cxn>
                    <a:cxn ang="0">
                      <a:pos x="T4" y="T5"/>
                    </a:cxn>
                    <a:cxn ang="0">
                      <a:pos x="T6" y="T7"/>
                    </a:cxn>
                    <a:cxn ang="0">
                      <a:pos x="T8" y="T9"/>
                    </a:cxn>
                    <a:cxn ang="0">
                      <a:pos x="T10" y="T11"/>
                    </a:cxn>
                  </a:cxnLst>
                  <a:rect l="0" t="0" r="r" b="b"/>
                  <a:pathLst>
                    <a:path w="4" h="8">
                      <a:moveTo>
                        <a:pt x="4" y="5"/>
                      </a:moveTo>
                      <a:cubicBezTo>
                        <a:pt x="4" y="4"/>
                        <a:pt x="4" y="2"/>
                        <a:pt x="4" y="0"/>
                      </a:cubicBezTo>
                      <a:cubicBezTo>
                        <a:pt x="3" y="1"/>
                        <a:pt x="3" y="3"/>
                        <a:pt x="1" y="5"/>
                      </a:cubicBezTo>
                      <a:cubicBezTo>
                        <a:pt x="1" y="6"/>
                        <a:pt x="0" y="6"/>
                        <a:pt x="0" y="7"/>
                      </a:cubicBezTo>
                      <a:cubicBezTo>
                        <a:pt x="0" y="7"/>
                        <a:pt x="1" y="8"/>
                        <a:pt x="1" y="8"/>
                      </a:cubicBezTo>
                      <a:cubicBezTo>
                        <a:pt x="3" y="8"/>
                        <a:pt x="4" y="6"/>
                        <a:pt x="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91" name="Freeform 403"/>
                <p:cNvSpPr>
                  <a:spLocks/>
                </p:cNvSpPr>
                <p:nvPr/>
              </p:nvSpPr>
              <p:spPr bwMode="auto">
                <a:xfrm>
                  <a:off x="14415" y="451"/>
                  <a:ext cx="19" cy="74"/>
                </a:xfrm>
                <a:custGeom>
                  <a:avLst/>
                  <a:gdLst>
                    <a:gd name="T0" fmla="*/ 1 w 8"/>
                    <a:gd name="T1" fmla="*/ 5 h 31"/>
                    <a:gd name="T2" fmla="*/ 1 w 8"/>
                    <a:gd name="T3" fmla="*/ 12 h 31"/>
                    <a:gd name="T4" fmla="*/ 1 w 8"/>
                    <a:gd name="T5" fmla="*/ 7 h 31"/>
                    <a:gd name="T6" fmla="*/ 2 w 8"/>
                    <a:gd name="T7" fmla="*/ 7 h 31"/>
                    <a:gd name="T8" fmla="*/ 2 w 8"/>
                    <a:gd name="T9" fmla="*/ 17 h 31"/>
                    <a:gd name="T10" fmla="*/ 2 w 8"/>
                    <a:gd name="T11" fmla="*/ 23 h 31"/>
                    <a:gd name="T12" fmla="*/ 2 w 8"/>
                    <a:gd name="T13" fmla="*/ 28 h 31"/>
                    <a:gd name="T14" fmla="*/ 5 w 8"/>
                    <a:gd name="T15" fmla="*/ 31 h 31"/>
                    <a:gd name="T16" fmla="*/ 8 w 8"/>
                    <a:gd name="T17" fmla="*/ 28 h 31"/>
                    <a:gd name="T18" fmla="*/ 8 w 8"/>
                    <a:gd name="T19" fmla="*/ 0 h 31"/>
                    <a:gd name="T20" fmla="*/ 1 w 8"/>
                    <a:gd name="T21"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31">
                      <a:moveTo>
                        <a:pt x="1" y="5"/>
                      </a:moveTo>
                      <a:cubicBezTo>
                        <a:pt x="0" y="7"/>
                        <a:pt x="0" y="9"/>
                        <a:pt x="1" y="12"/>
                      </a:cubicBezTo>
                      <a:cubicBezTo>
                        <a:pt x="1" y="9"/>
                        <a:pt x="1" y="7"/>
                        <a:pt x="1" y="7"/>
                      </a:cubicBezTo>
                      <a:cubicBezTo>
                        <a:pt x="1" y="7"/>
                        <a:pt x="1" y="7"/>
                        <a:pt x="2" y="7"/>
                      </a:cubicBezTo>
                      <a:cubicBezTo>
                        <a:pt x="2" y="7"/>
                        <a:pt x="2" y="12"/>
                        <a:pt x="2" y="17"/>
                      </a:cubicBezTo>
                      <a:cubicBezTo>
                        <a:pt x="2" y="20"/>
                        <a:pt x="2" y="21"/>
                        <a:pt x="2" y="23"/>
                      </a:cubicBezTo>
                      <a:cubicBezTo>
                        <a:pt x="2" y="26"/>
                        <a:pt x="2" y="28"/>
                        <a:pt x="2" y="28"/>
                      </a:cubicBezTo>
                      <a:cubicBezTo>
                        <a:pt x="2" y="30"/>
                        <a:pt x="3" y="31"/>
                        <a:pt x="5" y="31"/>
                      </a:cubicBezTo>
                      <a:cubicBezTo>
                        <a:pt x="6" y="31"/>
                        <a:pt x="8" y="30"/>
                        <a:pt x="8" y="28"/>
                      </a:cubicBezTo>
                      <a:cubicBezTo>
                        <a:pt x="8" y="27"/>
                        <a:pt x="8" y="10"/>
                        <a:pt x="8" y="0"/>
                      </a:cubicBezTo>
                      <a:cubicBezTo>
                        <a:pt x="5" y="1"/>
                        <a:pt x="3" y="3"/>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92" name="Oval 404"/>
                <p:cNvSpPr>
                  <a:spLocks noChangeArrowheads="1"/>
                </p:cNvSpPr>
                <p:nvPr/>
              </p:nvSpPr>
              <p:spPr bwMode="auto">
                <a:xfrm>
                  <a:off x="14604" y="536"/>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93" name="Freeform 405"/>
                <p:cNvSpPr>
                  <a:spLocks/>
                </p:cNvSpPr>
                <p:nvPr/>
              </p:nvSpPr>
              <p:spPr bwMode="auto">
                <a:xfrm>
                  <a:off x="14472" y="390"/>
                  <a:ext cx="23" cy="21"/>
                </a:xfrm>
                <a:custGeom>
                  <a:avLst/>
                  <a:gdLst>
                    <a:gd name="T0" fmla="*/ 5 w 10"/>
                    <a:gd name="T1" fmla="*/ 9 h 9"/>
                    <a:gd name="T2" fmla="*/ 10 w 10"/>
                    <a:gd name="T3" fmla="*/ 5 h 9"/>
                    <a:gd name="T4" fmla="*/ 5 w 10"/>
                    <a:gd name="T5" fmla="*/ 0 h 9"/>
                    <a:gd name="T6" fmla="*/ 3 w 10"/>
                    <a:gd name="T7" fmla="*/ 0 h 9"/>
                    <a:gd name="T8" fmla="*/ 0 w 10"/>
                    <a:gd name="T9" fmla="*/ 4 h 9"/>
                    <a:gd name="T10" fmla="*/ 0 w 10"/>
                    <a:gd name="T11" fmla="*/ 5 h 9"/>
                    <a:gd name="T12" fmla="*/ 5 w 10"/>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5" y="9"/>
                      </a:moveTo>
                      <a:cubicBezTo>
                        <a:pt x="8" y="9"/>
                        <a:pt x="10" y="7"/>
                        <a:pt x="10" y="5"/>
                      </a:cubicBezTo>
                      <a:cubicBezTo>
                        <a:pt x="10" y="2"/>
                        <a:pt x="8" y="0"/>
                        <a:pt x="5" y="0"/>
                      </a:cubicBezTo>
                      <a:cubicBezTo>
                        <a:pt x="4" y="0"/>
                        <a:pt x="4" y="0"/>
                        <a:pt x="3" y="0"/>
                      </a:cubicBezTo>
                      <a:cubicBezTo>
                        <a:pt x="2" y="2"/>
                        <a:pt x="1" y="3"/>
                        <a:pt x="0" y="4"/>
                      </a:cubicBezTo>
                      <a:cubicBezTo>
                        <a:pt x="0" y="4"/>
                        <a:pt x="0" y="5"/>
                        <a:pt x="0" y="5"/>
                      </a:cubicBezTo>
                      <a:cubicBezTo>
                        <a:pt x="0" y="7"/>
                        <a:pt x="3" y="9"/>
                        <a:pt x="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94" name="Freeform 406"/>
                <p:cNvSpPr>
                  <a:spLocks/>
                </p:cNvSpPr>
                <p:nvPr/>
              </p:nvSpPr>
              <p:spPr bwMode="auto">
                <a:xfrm>
                  <a:off x="14436" y="442"/>
                  <a:ext cx="10" cy="26"/>
                </a:xfrm>
                <a:custGeom>
                  <a:avLst/>
                  <a:gdLst>
                    <a:gd name="T0" fmla="*/ 0 w 4"/>
                    <a:gd name="T1" fmla="*/ 9 h 11"/>
                    <a:gd name="T2" fmla="*/ 2 w 4"/>
                    <a:gd name="T3" fmla="*/ 11 h 11"/>
                    <a:gd name="T4" fmla="*/ 4 w 4"/>
                    <a:gd name="T5" fmla="*/ 9 h 11"/>
                    <a:gd name="T6" fmla="*/ 4 w 4"/>
                    <a:gd name="T7" fmla="*/ 0 h 11"/>
                    <a:gd name="T8" fmla="*/ 0 w 4"/>
                    <a:gd name="T9" fmla="*/ 3 h 11"/>
                    <a:gd name="T10" fmla="*/ 0 w 4"/>
                    <a:gd name="T11" fmla="*/ 9 h 11"/>
                  </a:gdLst>
                  <a:ahLst/>
                  <a:cxnLst>
                    <a:cxn ang="0">
                      <a:pos x="T0" y="T1"/>
                    </a:cxn>
                    <a:cxn ang="0">
                      <a:pos x="T2" y="T3"/>
                    </a:cxn>
                    <a:cxn ang="0">
                      <a:pos x="T4" y="T5"/>
                    </a:cxn>
                    <a:cxn ang="0">
                      <a:pos x="T6" y="T7"/>
                    </a:cxn>
                    <a:cxn ang="0">
                      <a:pos x="T8" y="T9"/>
                    </a:cxn>
                    <a:cxn ang="0">
                      <a:pos x="T10" y="T11"/>
                    </a:cxn>
                  </a:cxnLst>
                  <a:rect l="0" t="0" r="r" b="b"/>
                  <a:pathLst>
                    <a:path w="4" h="11">
                      <a:moveTo>
                        <a:pt x="0" y="9"/>
                      </a:moveTo>
                      <a:cubicBezTo>
                        <a:pt x="0" y="10"/>
                        <a:pt x="1" y="11"/>
                        <a:pt x="2" y="11"/>
                      </a:cubicBezTo>
                      <a:cubicBezTo>
                        <a:pt x="3" y="11"/>
                        <a:pt x="4" y="10"/>
                        <a:pt x="4" y="9"/>
                      </a:cubicBezTo>
                      <a:cubicBezTo>
                        <a:pt x="4" y="8"/>
                        <a:pt x="4" y="4"/>
                        <a:pt x="4" y="0"/>
                      </a:cubicBezTo>
                      <a:cubicBezTo>
                        <a:pt x="3" y="1"/>
                        <a:pt x="1" y="2"/>
                        <a:pt x="0" y="3"/>
                      </a:cubicBezTo>
                      <a:cubicBezTo>
                        <a:pt x="0" y="6"/>
                        <a:pt x="0" y="9"/>
                        <a:pt x="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95" name="Freeform 407"/>
                <p:cNvSpPr>
                  <a:spLocks/>
                </p:cNvSpPr>
                <p:nvPr/>
              </p:nvSpPr>
              <p:spPr bwMode="auto">
                <a:xfrm>
                  <a:off x="12974" y="652"/>
                  <a:ext cx="9" cy="19"/>
                </a:xfrm>
                <a:custGeom>
                  <a:avLst/>
                  <a:gdLst>
                    <a:gd name="T0" fmla="*/ 2 w 4"/>
                    <a:gd name="T1" fmla="*/ 8 h 8"/>
                    <a:gd name="T2" fmla="*/ 4 w 4"/>
                    <a:gd name="T3" fmla="*/ 6 h 8"/>
                    <a:gd name="T4" fmla="*/ 4 w 4"/>
                    <a:gd name="T5" fmla="*/ 4 h 8"/>
                    <a:gd name="T6" fmla="*/ 0 w 4"/>
                    <a:gd name="T7" fmla="*/ 0 h 8"/>
                    <a:gd name="T8" fmla="*/ 0 w 4"/>
                    <a:gd name="T9" fmla="*/ 6 h 8"/>
                    <a:gd name="T10" fmla="*/ 2 w 4"/>
                    <a:gd name="T11" fmla="*/ 8 h 8"/>
                  </a:gdLst>
                  <a:ahLst/>
                  <a:cxnLst>
                    <a:cxn ang="0">
                      <a:pos x="T0" y="T1"/>
                    </a:cxn>
                    <a:cxn ang="0">
                      <a:pos x="T2" y="T3"/>
                    </a:cxn>
                    <a:cxn ang="0">
                      <a:pos x="T4" y="T5"/>
                    </a:cxn>
                    <a:cxn ang="0">
                      <a:pos x="T6" y="T7"/>
                    </a:cxn>
                    <a:cxn ang="0">
                      <a:pos x="T8" y="T9"/>
                    </a:cxn>
                    <a:cxn ang="0">
                      <a:pos x="T10" y="T11"/>
                    </a:cxn>
                  </a:cxnLst>
                  <a:rect l="0" t="0" r="r" b="b"/>
                  <a:pathLst>
                    <a:path w="4" h="8">
                      <a:moveTo>
                        <a:pt x="2" y="8"/>
                      </a:moveTo>
                      <a:cubicBezTo>
                        <a:pt x="3" y="8"/>
                        <a:pt x="4" y="7"/>
                        <a:pt x="4" y="6"/>
                      </a:cubicBezTo>
                      <a:cubicBezTo>
                        <a:pt x="4" y="6"/>
                        <a:pt x="4" y="5"/>
                        <a:pt x="4" y="4"/>
                      </a:cubicBezTo>
                      <a:cubicBezTo>
                        <a:pt x="3" y="3"/>
                        <a:pt x="1" y="1"/>
                        <a:pt x="0" y="0"/>
                      </a:cubicBezTo>
                      <a:cubicBezTo>
                        <a:pt x="0" y="3"/>
                        <a:pt x="0" y="5"/>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96" name="Freeform 408"/>
                <p:cNvSpPr>
                  <a:spLocks/>
                </p:cNvSpPr>
                <p:nvPr/>
              </p:nvSpPr>
              <p:spPr bwMode="auto">
                <a:xfrm>
                  <a:off x="12986" y="664"/>
                  <a:ext cx="9" cy="7"/>
                </a:xfrm>
                <a:custGeom>
                  <a:avLst/>
                  <a:gdLst>
                    <a:gd name="T0" fmla="*/ 0 w 4"/>
                    <a:gd name="T1" fmla="*/ 1 h 3"/>
                    <a:gd name="T2" fmla="*/ 2 w 4"/>
                    <a:gd name="T3" fmla="*/ 3 h 3"/>
                    <a:gd name="T4" fmla="*/ 4 w 4"/>
                    <a:gd name="T5" fmla="*/ 3 h 3"/>
                    <a:gd name="T6" fmla="*/ 0 w 4"/>
                    <a:gd name="T7" fmla="*/ 0 h 3"/>
                    <a:gd name="T8" fmla="*/ 0 w 4"/>
                    <a:gd name="T9" fmla="*/ 1 h 3"/>
                  </a:gdLst>
                  <a:ahLst/>
                  <a:cxnLst>
                    <a:cxn ang="0">
                      <a:pos x="T0" y="T1"/>
                    </a:cxn>
                    <a:cxn ang="0">
                      <a:pos x="T2" y="T3"/>
                    </a:cxn>
                    <a:cxn ang="0">
                      <a:pos x="T4" y="T5"/>
                    </a:cxn>
                    <a:cxn ang="0">
                      <a:pos x="T6" y="T7"/>
                    </a:cxn>
                    <a:cxn ang="0">
                      <a:pos x="T8" y="T9"/>
                    </a:cxn>
                  </a:cxnLst>
                  <a:rect l="0" t="0" r="r" b="b"/>
                  <a:pathLst>
                    <a:path w="4" h="3">
                      <a:moveTo>
                        <a:pt x="0" y="1"/>
                      </a:moveTo>
                      <a:cubicBezTo>
                        <a:pt x="0" y="2"/>
                        <a:pt x="1" y="3"/>
                        <a:pt x="2" y="3"/>
                      </a:cubicBezTo>
                      <a:cubicBezTo>
                        <a:pt x="3" y="3"/>
                        <a:pt x="3" y="3"/>
                        <a:pt x="4" y="3"/>
                      </a:cubicBezTo>
                      <a:cubicBezTo>
                        <a:pt x="2" y="2"/>
                        <a:pt x="1" y="1"/>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97" name="Freeform 409"/>
                <p:cNvSpPr>
                  <a:spLocks/>
                </p:cNvSpPr>
                <p:nvPr/>
              </p:nvSpPr>
              <p:spPr bwMode="auto">
                <a:xfrm>
                  <a:off x="12905" y="605"/>
                  <a:ext cx="29" cy="66"/>
                </a:xfrm>
                <a:custGeom>
                  <a:avLst/>
                  <a:gdLst>
                    <a:gd name="T0" fmla="*/ 0 w 12"/>
                    <a:gd name="T1" fmla="*/ 25 h 28"/>
                    <a:gd name="T2" fmla="*/ 2 w 12"/>
                    <a:gd name="T3" fmla="*/ 28 h 28"/>
                    <a:gd name="T4" fmla="*/ 5 w 12"/>
                    <a:gd name="T5" fmla="*/ 25 h 28"/>
                    <a:gd name="T6" fmla="*/ 5 w 12"/>
                    <a:gd name="T7" fmla="*/ 4 h 28"/>
                    <a:gd name="T8" fmla="*/ 6 w 12"/>
                    <a:gd name="T9" fmla="*/ 4 h 28"/>
                    <a:gd name="T10" fmla="*/ 6 w 12"/>
                    <a:gd name="T11" fmla="*/ 25 h 28"/>
                    <a:gd name="T12" fmla="*/ 9 w 12"/>
                    <a:gd name="T13" fmla="*/ 28 h 28"/>
                    <a:gd name="T14" fmla="*/ 12 w 12"/>
                    <a:gd name="T15" fmla="*/ 25 h 28"/>
                    <a:gd name="T16" fmla="*/ 12 w 12"/>
                    <a:gd name="T17" fmla="*/ 7 h 28"/>
                    <a:gd name="T18" fmla="*/ 0 w 12"/>
                    <a:gd name="T19" fmla="*/ 0 h 28"/>
                    <a:gd name="T20" fmla="*/ 0 w 12"/>
                    <a:gd name="T21"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8">
                      <a:moveTo>
                        <a:pt x="0" y="25"/>
                      </a:moveTo>
                      <a:cubicBezTo>
                        <a:pt x="0" y="27"/>
                        <a:pt x="1" y="28"/>
                        <a:pt x="2" y="28"/>
                      </a:cubicBezTo>
                      <a:cubicBezTo>
                        <a:pt x="4" y="28"/>
                        <a:pt x="5" y="27"/>
                        <a:pt x="5" y="25"/>
                      </a:cubicBezTo>
                      <a:cubicBezTo>
                        <a:pt x="5" y="23"/>
                        <a:pt x="5" y="4"/>
                        <a:pt x="5" y="4"/>
                      </a:cubicBezTo>
                      <a:cubicBezTo>
                        <a:pt x="5" y="4"/>
                        <a:pt x="5" y="4"/>
                        <a:pt x="6" y="4"/>
                      </a:cubicBezTo>
                      <a:cubicBezTo>
                        <a:pt x="6" y="4"/>
                        <a:pt x="6" y="23"/>
                        <a:pt x="6" y="25"/>
                      </a:cubicBezTo>
                      <a:cubicBezTo>
                        <a:pt x="6" y="27"/>
                        <a:pt x="8" y="28"/>
                        <a:pt x="9" y="28"/>
                      </a:cubicBezTo>
                      <a:cubicBezTo>
                        <a:pt x="11" y="28"/>
                        <a:pt x="12" y="27"/>
                        <a:pt x="12" y="25"/>
                      </a:cubicBezTo>
                      <a:cubicBezTo>
                        <a:pt x="12" y="24"/>
                        <a:pt x="12" y="16"/>
                        <a:pt x="12" y="7"/>
                      </a:cubicBezTo>
                      <a:cubicBezTo>
                        <a:pt x="7" y="4"/>
                        <a:pt x="3" y="1"/>
                        <a:pt x="0" y="0"/>
                      </a:cubicBezTo>
                      <a:cubicBezTo>
                        <a:pt x="0" y="10"/>
                        <a:pt x="0" y="24"/>
                        <a:pt x="0"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98" name="Freeform 410"/>
                <p:cNvSpPr>
                  <a:spLocks/>
                </p:cNvSpPr>
                <p:nvPr/>
              </p:nvSpPr>
              <p:spPr bwMode="auto">
                <a:xfrm>
                  <a:off x="12853" y="610"/>
                  <a:ext cx="26" cy="61"/>
                </a:xfrm>
                <a:custGeom>
                  <a:avLst/>
                  <a:gdLst>
                    <a:gd name="T0" fmla="*/ 0 w 11"/>
                    <a:gd name="T1" fmla="*/ 7 h 26"/>
                    <a:gd name="T2" fmla="*/ 1 w 11"/>
                    <a:gd name="T3" fmla="*/ 7 h 26"/>
                    <a:gd name="T4" fmla="*/ 1 w 11"/>
                    <a:gd name="T5" fmla="*/ 24 h 26"/>
                    <a:gd name="T6" fmla="*/ 3 w 11"/>
                    <a:gd name="T7" fmla="*/ 26 h 26"/>
                    <a:gd name="T8" fmla="*/ 5 w 11"/>
                    <a:gd name="T9" fmla="*/ 24 h 26"/>
                    <a:gd name="T10" fmla="*/ 5 w 11"/>
                    <a:gd name="T11" fmla="*/ 7 h 26"/>
                    <a:gd name="T12" fmla="*/ 11 w 11"/>
                    <a:gd name="T13" fmla="*/ 7 h 26"/>
                    <a:gd name="T14" fmla="*/ 9 w 11"/>
                    <a:gd name="T15" fmla="*/ 0 h 26"/>
                    <a:gd name="T16" fmla="*/ 0 w 11"/>
                    <a:gd name="T17"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6">
                      <a:moveTo>
                        <a:pt x="0" y="7"/>
                      </a:moveTo>
                      <a:cubicBezTo>
                        <a:pt x="1" y="7"/>
                        <a:pt x="1" y="7"/>
                        <a:pt x="1" y="7"/>
                      </a:cubicBezTo>
                      <a:cubicBezTo>
                        <a:pt x="1" y="7"/>
                        <a:pt x="1" y="22"/>
                        <a:pt x="1" y="24"/>
                      </a:cubicBezTo>
                      <a:cubicBezTo>
                        <a:pt x="1" y="25"/>
                        <a:pt x="2" y="26"/>
                        <a:pt x="3" y="26"/>
                      </a:cubicBezTo>
                      <a:cubicBezTo>
                        <a:pt x="4" y="26"/>
                        <a:pt x="5" y="25"/>
                        <a:pt x="5" y="24"/>
                      </a:cubicBezTo>
                      <a:cubicBezTo>
                        <a:pt x="5" y="23"/>
                        <a:pt x="5" y="15"/>
                        <a:pt x="5" y="7"/>
                      </a:cubicBezTo>
                      <a:cubicBezTo>
                        <a:pt x="11" y="7"/>
                        <a:pt x="11" y="7"/>
                        <a:pt x="11" y="7"/>
                      </a:cubicBezTo>
                      <a:cubicBezTo>
                        <a:pt x="10" y="4"/>
                        <a:pt x="10" y="2"/>
                        <a:pt x="9" y="0"/>
                      </a:cubicBezTo>
                      <a:cubicBezTo>
                        <a:pt x="6" y="1"/>
                        <a:pt x="3" y="4"/>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99" name="Freeform 411"/>
                <p:cNvSpPr>
                  <a:spLocks/>
                </p:cNvSpPr>
                <p:nvPr/>
              </p:nvSpPr>
              <p:spPr bwMode="auto">
                <a:xfrm>
                  <a:off x="12841" y="629"/>
                  <a:ext cx="12" cy="42"/>
                </a:xfrm>
                <a:custGeom>
                  <a:avLst/>
                  <a:gdLst>
                    <a:gd name="T0" fmla="*/ 2 w 5"/>
                    <a:gd name="T1" fmla="*/ 18 h 18"/>
                    <a:gd name="T2" fmla="*/ 5 w 5"/>
                    <a:gd name="T3" fmla="*/ 16 h 18"/>
                    <a:gd name="T4" fmla="*/ 5 w 5"/>
                    <a:gd name="T5" fmla="*/ 0 h 18"/>
                    <a:gd name="T6" fmla="*/ 0 w 5"/>
                    <a:gd name="T7" fmla="*/ 7 h 18"/>
                    <a:gd name="T8" fmla="*/ 0 w 5"/>
                    <a:gd name="T9" fmla="*/ 16 h 18"/>
                    <a:gd name="T10" fmla="*/ 2 w 5"/>
                    <a:gd name="T11" fmla="*/ 18 h 18"/>
                  </a:gdLst>
                  <a:ahLst/>
                  <a:cxnLst>
                    <a:cxn ang="0">
                      <a:pos x="T0" y="T1"/>
                    </a:cxn>
                    <a:cxn ang="0">
                      <a:pos x="T2" y="T3"/>
                    </a:cxn>
                    <a:cxn ang="0">
                      <a:pos x="T4" y="T5"/>
                    </a:cxn>
                    <a:cxn ang="0">
                      <a:pos x="T6" y="T7"/>
                    </a:cxn>
                    <a:cxn ang="0">
                      <a:pos x="T8" y="T9"/>
                    </a:cxn>
                    <a:cxn ang="0">
                      <a:pos x="T10" y="T11"/>
                    </a:cxn>
                  </a:cxnLst>
                  <a:rect l="0" t="0" r="r" b="b"/>
                  <a:pathLst>
                    <a:path w="5" h="18">
                      <a:moveTo>
                        <a:pt x="2" y="18"/>
                      </a:moveTo>
                      <a:cubicBezTo>
                        <a:pt x="4" y="18"/>
                        <a:pt x="5" y="17"/>
                        <a:pt x="5" y="16"/>
                      </a:cubicBezTo>
                      <a:cubicBezTo>
                        <a:pt x="5" y="14"/>
                        <a:pt x="5" y="2"/>
                        <a:pt x="5" y="0"/>
                      </a:cubicBezTo>
                      <a:cubicBezTo>
                        <a:pt x="3" y="2"/>
                        <a:pt x="2" y="4"/>
                        <a:pt x="0" y="7"/>
                      </a:cubicBezTo>
                      <a:cubicBezTo>
                        <a:pt x="0" y="12"/>
                        <a:pt x="0" y="15"/>
                        <a:pt x="0" y="16"/>
                      </a:cubicBezTo>
                      <a:cubicBezTo>
                        <a:pt x="0" y="17"/>
                        <a:pt x="1" y="18"/>
                        <a:pt x="2"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00" name="Freeform 412"/>
                <p:cNvSpPr>
                  <a:spLocks/>
                </p:cNvSpPr>
                <p:nvPr/>
              </p:nvSpPr>
              <p:spPr bwMode="auto">
                <a:xfrm>
                  <a:off x="12891" y="603"/>
                  <a:ext cx="12" cy="11"/>
                </a:xfrm>
                <a:custGeom>
                  <a:avLst/>
                  <a:gdLst>
                    <a:gd name="T0" fmla="*/ 3 w 5"/>
                    <a:gd name="T1" fmla="*/ 5 h 5"/>
                    <a:gd name="T2" fmla="*/ 5 w 5"/>
                    <a:gd name="T3" fmla="*/ 3 h 5"/>
                    <a:gd name="T4" fmla="*/ 5 w 5"/>
                    <a:gd name="T5" fmla="*/ 0 h 5"/>
                    <a:gd name="T6" fmla="*/ 3 w 5"/>
                    <a:gd name="T7" fmla="*/ 0 h 5"/>
                    <a:gd name="T8" fmla="*/ 0 w 5"/>
                    <a:gd name="T9" fmla="*/ 0 h 5"/>
                    <a:gd name="T10" fmla="*/ 0 w 5"/>
                    <a:gd name="T11" fmla="*/ 3 h 5"/>
                    <a:gd name="T12" fmla="*/ 3 w 5"/>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3" y="5"/>
                      </a:moveTo>
                      <a:cubicBezTo>
                        <a:pt x="4" y="5"/>
                        <a:pt x="5" y="4"/>
                        <a:pt x="5" y="3"/>
                      </a:cubicBezTo>
                      <a:cubicBezTo>
                        <a:pt x="5" y="3"/>
                        <a:pt x="5" y="2"/>
                        <a:pt x="5" y="0"/>
                      </a:cubicBezTo>
                      <a:cubicBezTo>
                        <a:pt x="4" y="0"/>
                        <a:pt x="3" y="0"/>
                        <a:pt x="3" y="0"/>
                      </a:cubicBezTo>
                      <a:cubicBezTo>
                        <a:pt x="2" y="0"/>
                        <a:pt x="1" y="0"/>
                        <a:pt x="0" y="0"/>
                      </a:cubicBezTo>
                      <a:cubicBezTo>
                        <a:pt x="0" y="2"/>
                        <a:pt x="0" y="3"/>
                        <a:pt x="0" y="3"/>
                      </a:cubicBezTo>
                      <a:cubicBezTo>
                        <a:pt x="0" y="4"/>
                        <a:pt x="1" y="5"/>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01" name="Freeform 413"/>
                <p:cNvSpPr>
                  <a:spLocks/>
                </p:cNvSpPr>
                <p:nvPr/>
              </p:nvSpPr>
              <p:spPr bwMode="auto">
                <a:xfrm>
                  <a:off x="12877" y="605"/>
                  <a:ext cx="9" cy="5"/>
                </a:xfrm>
                <a:custGeom>
                  <a:avLst/>
                  <a:gdLst>
                    <a:gd name="T0" fmla="*/ 2 w 4"/>
                    <a:gd name="T1" fmla="*/ 2 h 2"/>
                    <a:gd name="T2" fmla="*/ 3 w 4"/>
                    <a:gd name="T3" fmla="*/ 0 h 2"/>
                    <a:gd name="T4" fmla="*/ 0 w 4"/>
                    <a:gd name="T5" fmla="*/ 1 h 2"/>
                    <a:gd name="T6" fmla="*/ 2 w 4"/>
                    <a:gd name="T7" fmla="*/ 2 h 2"/>
                  </a:gdLst>
                  <a:ahLst/>
                  <a:cxnLst>
                    <a:cxn ang="0">
                      <a:pos x="T0" y="T1"/>
                    </a:cxn>
                    <a:cxn ang="0">
                      <a:pos x="T2" y="T3"/>
                    </a:cxn>
                    <a:cxn ang="0">
                      <a:pos x="T4" y="T5"/>
                    </a:cxn>
                    <a:cxn ang="0">
                      <a:pos x="T6" y="T7"/>
                    </a:cxn>
                  </a:cxnLst>
                  <a:rect l="0" t="0" r="r" b="b"/>
                  <a:pathLst>
                    <a:path w="4" h="2">
                      <a:moveTo>
                        <a:pt x="2" y="2"/>
                      </a:moveTo>
                      <a:cubicBezTo>
                        <a:pt x="3" y="2"/>
                        <a:pt x="4" y="1"/>
                        <a:pt x="3" y="0"/>
                      </a:cubicBezTo>
                      <a:cubicBezTo>
                        <a:pt x="2" y="0"/>
                        <a:pt x="1" y="1"/>
                        <a:pt x="0" y="1"/>
                      </a:cubicBezTo>
                      <a:cubicBezTo>
                        <a:pt x="0" y="2"/>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02" name="Freeform 414"/>
                <p:cNvSpPr>
                  <a:spLocks/>
                </p:cNvSpPr>
                <p:nvPr/>
              </p:nvSpPr>
              <p:spPr bwMode="auto">
                <a:xfrm>
                  <a:off x="14905" y="707"/>
                  <a:ext cx="64" cy="111"/>
                </a:xfrm>
                <a:custGeom>
                  <a:avLst/>
                  <a:gdLst>
                    <a:gd name="T0" fmla="*/ 2 w 27"/>
                    <a:gd name="T1" fmla="*/ 20 h 47"/>
                    <a:gd name="T2" fmla="*/ 4 w 27"/>
                    <a:gd name="T3" fmla="*/ 19 h 47"/>
                    <a:gd name="T4" fmla="*/ 8 w 27"/>
                    <a:gd name="T5" fmla="*/ 6 h 47"/>
                    <a:gd name="T6" fmla="*/ 9 w 27"/>
                    <a:gd name="T7" fmla="*/ 6 h 47"/>
                    <a:gd name="T8" fmla="*/ 3 w 27"/>
                    <a:gd name="T9" fmla="*/ 28 h 47"/>
                    <a:gd name="T10" fmla="*/ 9 w 27"/>
                    <a:gd name="T11" fmla="*/ 28 h 47"/>
                    <a:gd name="T12" fmla="*/ 9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7 w 27"/>
                    <a:gd name="T25" fmla="*/ 47 h 47"/>
                    <a:gd name="T26" fmla="*/ 19 w 27"/>
                    <a:gd name="T27" fmla="*/ 44 h 47"/>
                    <a:gd name="T28" fmla="*/ 19 w 27"/>
                    <a:gd name="T29" fmla="*/ 28 h 47"/>
                    <a:gd name="T30" fmla="*/ 25 w 27"/>
                    <a:gd name="T31" fmla="*/ 28 h 47"/>
                    <a:gd name="T32" fmla="*/ 19 w 27"/>
                    <a:gd name="T33" fmla="*/ 6 h 47"/>
                    <a:gd name="T34" fmla="*/ 20 w 27"/>
                    <a:gd name="T35" fmla="*/ 6 h 47"/>
                    <a:gd name="T36" fmla="*/ 23 w 27"/>
                    <a:gd name="T37" fmla="*/ 19 h 47"/>
                    <a:gd name="T38" fmla="*/ 26 w 27"/>
                    <a:gd name="T39" fmla="*/ 20 h 47"/>
                    <a:gd name="T40" fmla="*/ 27 w 27"/>
                    <a:gd name="T41" fmla="*/ 18 h 47"/>
                    <a:gd name="T42" fmla="*/ 23 w 27"/>
                    <a:gd name="T43" fmla="*/ 4 h 47"/>
                    <a:gd name="T44" fmla="*/ 18 w 27"/>
                    <a:gd name="T45" fmla="*/ 0 h 47"/>
                    <a:gd name="T46" fmla="*/ 10 w 27"/>
                    <a:gd name="T47" fmla="*/ 0 h 47"/>
                    <a:gd name="T48" fmla="*/ 5 w 27"/>
                    <a:gd name="T49" fmla="*/ 4 h 47"/>
                    <a:gd name="T50" fmla="*/ 0 w 27"/>
                    <a:gd name="T51" fmla="*/ 18 h 47"/>
                    <a:gd name="T52" fmla="*/ 2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0"/>
                      </a:move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6"/>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6"/>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03" name="Oval 415"/>
                <p:cNvSpPr>
                  <a:spLocks noChangeArrowheads="1"/>
                </p:cNvSpPr>
                <p:nvPr/>
              </p:nvSpPr>
              <p:spPr bwMode="auto">
                <a:xfrm>
                  <a:off x="14796"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04" name="Freeform 416"/>
                <p:cNvSpPr>
                  <a:spLocks/>
                </p:cNvSpPr>
                <p:nvPr/>
              </p:nvSpPr>
              <p:spPr bwMode="auto">
                <a:xfrm>
                  <a:off x="14713" y="1000"/>
                  <a:ext cx="55"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4" y="23"/>
                        <a:pt x="4" y="22"/>
                        <a:pt x="4" y="21"/>
                      </a:cubicBezTo>
                      <a:cubicBezTo>
                        <a:pt x="4" y="19"/>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05" name="Oval 417"/>
                <p:cNvSpPr>
                  <a:spLocks noChangeArrowheads="1"/>
                </p:cNvSpPr>
                <p:nvPr/>
              </p:nvSpPr>
              <p:spPr bwMode="auto">
                <a:xfrm>
                  <a:off x="14926" y="681"/>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06" name="Oval 418"/>
                <p:cNvSpPr>
                  <a:spLocks noChangeArrowheads="1"/>
                </p:cNvSpPr>
                <p:nvPr/>
              </p:nvSpPr>
              <p:spPr bwMode="auto">
                <a:xfrm>
                  <a:off x="14926" y="83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07" name="Oval 419"/>
                <p:cNvSpPr>
                  <a:spLocks noChangeArrowheads="1"/>
                </p:cNvSpPr>
                <p:nvPr/>
              </p:nvSpPr>
              <p:spPr bwMode="auto">
                <a:xfrm>
                  <a:off x="14730"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08" name="Freeform 420"/>
                <p:cNvSpPr>
                  <a:spLocks/>
                </p:cNvSpPr>
                <p:nvPr/>
              </p:nvSpPr>
              <p:spPr bwMode="auto">
                <a:xfrm>
                  <a:off x="14775" y="1000"/>
                  <a:ext cx="64" cy="111"/>
                </a:xfrm>
                <a:custGeom>
                  <a:avLst/>
                  <a:gdLst>
                    <a:gd name="T0" fmla="*/ 23 w 27"/>
                    <a:gd name="T1" fmla="*/ 5 h 47"/>
                    <a:gd name="T2" fmla="*/ 17 w 27"/>
                    <a:gd name="T3" fmla="*/ 0 h 47"/>
                    <a:gd name="T4" fmla="*/ 10 w 27"/>
                    <a:gd name="T5" fmla="*/ 0 h 47"/>
                    <a:gd name="T6" fmla="*/ 4 w 27"/>
                    <a:gd name="T7" fmla="*/ 5 h 47"/>
                    <a:gd name="T8" fmla="*/ 0 w 27"/>
                    <a:gd name="T9" fmla="*/ 18 h 47"/>
                    <a:gd name="T10" fmla="*/ 1 w 27"/>
                    <a:gd name="T11" fmla="*/ 21 h 47"/>
                    <a:gd name="T12" fmla="*/ 4 w 27"/>
                    <a:gd name="T13" fmla="*/ 20 h 47"/>
                    <a:gd name="T14" fmla="*/ 7 w 27"/>
                    <a:gd name="T15" fmla="*/ 7 h 47"/>
                    <a:gd name="T16" fmla="*/ 9 w 27"/>
                    <a:gd name="T17" fmla="*/ 7 h 47"/>
                    <a:gd name="T18" fmla="*/ 2 w 27"/>
                    <a:gd name="T19" fmla="*/ 28 h 47"/>
                    <a:gd name="T20" fmla="*/ 8 w 27"/>
                    <a:gd name="T21" fmla="*/ 28 h 47"/>
                    <a:gd name="T22" fmla="*/ 8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8 w 27"/>
                    <a:gd name="T37" fmla="*/ 45 h 47"/>
                    <a:gd name="T38" fmla="*/ 18 w 27"/>
                    <a:gd name="T39" fmla="*/ 28 h 47"/>
                    <a:gd name="T40" fmla="*/ 25 w 27"/>
                    <a:gd name="T41" fmla="*/ 28 h 47"/>
                    <a:gd name="T42" fmla="*/ 18 w 27"/>
                    <a:gd name="T43" fmla="*/ 7 h 47"/>
                    <a:gd name="T44" fmla="*/ 19 w 27"/>
                    <a:gd name="T45" fmla="*/ 7 h 47"/>
                    <a:gd name="T46" fmla="*/ 23 w 27"/>
                    <a:gd name="T47" fmla="*/ 20 h 47"/>
                    <a:gd name="T48" fmla="*/ 25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19" y="0"/>
                        <a:pt x="17" y="0"/>
                      </a:cubicBezTo>
                      <a:cubicBezTo>
                        <a:pt x="16" y="0"/>
                        <a:pt x="11" y="0"/>
                        <a:pt x="10" y="0"/>
                      </a:cubicBezTo>
                      <a:cubicBezTo>
                        <a:pt x="7" y="0"/>
                        <a:pt x="5" y="2"/>
                        <a:pt x="4" y="5"/>
                      </a:cubicBezTo>
                      <a:cubicBezTo>
                        <a:pt x="2" y="10"/>
                        <a:pt x="0" y="18"/>
                        <a:pt x="0" y="18"/>
                      </a:cubicBezTo>
                      <a:cubicBezTo>
                        <a:pt x="0" y="19"/>
                        <a:pt x="0" y="20"/>
                        <a:pt x="1" y="21"/>
                      </a:cubicBezTo>
                      <a:cubicBezTo>
                        <a:pt x="2" y="21"/>
                        <a:pt x="3" y="20"/>
                        <a:pt x="4" y="20"/>
                      </a:cubicBezTo>
                      <a:cubicBezTo>
                        <a:pt x="4" y="18"/>
                        <a:pt x="7" y="7"/>
                        <a:pt x="7"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0"/>
                        <a:pt x="24" y="21"/>
                        <a:pt x="25" y="21"/>
                      </a:cubicBezTo>
                      <a:cubicBezTo>
                        <a:pt x="26" y="20"/>
                        <a:pt x="27" y="19"/>
                        <a:pt x="27" y="18"/>
                      </a:cubicBezTo>
                      <a:cubicBezTo>
                        <a:pt x="26" y="18"/>
                        <a:pt x="24"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09" name="Freeform 421"/>
                <p:cNvSpPr>
                  <a:spLocks/>
                </p:cNvSpPr>
                <p:nvPr/>
              </p:nvSpPr>
              <p:spPr bwMode="auto">
                <a:xfrm>
                  <a:off x="14779" y="853"/>
                  <a:ext cx="55" cy="112"/>
                </a:xfrm>
                <a:custGeom>
                  <a:avLst/>
                  <a:gdLst>
                    <a:gd name="T0" fmla="*/ 0 w 23"/>
                    <a:gd name="T1" fmla="*/ 6 h 47"/>
                    <a:gd name="T2" fmla="*/ 0 w 23"/>
                    <a:gd name="T3" fmla="*/ 21 h 47"/>
                    <a:gd name="T4" fmla="*/ 2 w 23"/>
                    <a:gd name="T5" fmla="*/ 23 h 47"/>
                    <a:gd name="T6" fmla="*/ 4 w 23"/>
                    <a:gd name="T7" fmla="*/ 21 h 47"/>
                    <a:gd name="T8" fmla="*/ 4 w 23"/>
                    <a:gd name="T9" fmla="*/ 8 h 47"/>
                    <a:gd name="T10" fmla="*/ 5 w 23"/>
                    <a:gd name="T11" fmla="*/ 8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7 w 23"/>
                    <a:gd name="T27" fmla="*/ 44 h 47"/>
                    <a:gd name="T28" fmla="*/ 17 w 23"/>
                    <a:gd name="T29" fmla="*/ 8 h 47"/>
                    <a:gd name="T30" fmla="*/ 19 w 23"/>
                    <a:gd name="T31" fmla="*/ 8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10" name="Freeform 422"/>
                <p:cNvSpPr>
                  <a:spLocks/>
                </p:cNvSpPr>
                <p:nvPr/>
              </p:nvSpPr>
              <p:spPr bwMode="auto">
                <a:xfrm>
                  <a:off x="15037" y="707"/>
                  <a:ext cx="64" cy="111"/>
                </a:xfrm>
                <a:custGeom>
                  <a:avLst/>
                  <a:gdLst>
                    <a:gd name="T0" fmla="*/ 1 w 27"/>
                    <a:gd name="T1" fmla="*/ 20 h 47"/>
                    <a:gd name="T2" fmla="*/ 3 w 27"/>
                    <a:gd name="T3" fmla="*/ 19 h 47"/>
                    <a:gd name="T4" fmla="*/ 7 w 27"/>
                    <a:gd name="T5" fmla="*/ 6 h 47"/>
                    <a:gd name="T6" fmla="*/ 8 w 27"/>
                    <a:gd name="T7" fmla="*/ 6 h 47"/>
                    <a:gd name="T8" fmla="*/ 2 w 27"/>
                    <a:gd name="T9" fmla="*/ 28 h 47"/>
                    <a:gd name="T10" fmla="*/ 8 w 27"/>
                    <a:gd name="T11" fmla="*/ 28 h 47"/>
                    <a:gd name="T12" fmla="*/ 8 w 27"/>
                    <a:gd name="T13" fmla="*/ 44 h 47"/>
                    <a:gd name="T14" fmla="*/ 10 w 27"/>
                    <a:gd name="T15" fmla="*/ 47 h 47"/>
                    <a:gd name="T16" fmla="*/ 13 w 27"/>
                    <a:gd name="T17" fmla="*/ 44 h 47"/>
                    <a:gd name="T18" fmla="*/ 13 w 27"/>
                    <a:gd name="T19" fmla="*/ 28 h 47"/>
                    <a:gd name="T20" fmla="*/ 14 w 27"/>
                    <a:gd name="T21" fmla="*/ 28 h 47"/>
                    <a:gd name="T22" fmla="*/ 14 w 27"/>
                    <a:gd name="T23" fmla="*/ 44 h 47"/>
                    <a:gd name="T24" fmla="*/ 16 w 27"/>
                    <a:gd name="T25" fmla="*/ 47 h 47"/>
                    <a:gd name="T26" fmla="*/ 18 w 27"/>
                    <a:gd name="T27" fmla="*/ 44 h 47"/>
                    <a:gd name="T28" fmla="*/ 18 w 27"/>
                    <a:gd name="T29" fmla="*/ 28 h 47"/>
                    <a:gd name="T30" fmla="*/ 24 w 27"/>
                    <a:gd name="T31" fmla="*/ 28 h 47"/>
                    <a:gd name="T32" fmla="*/ 18 w 27"/>
                    <a:gd name="T33" fmla="*/ 6 h 47"/>
                    <a:gd name="T34" fmla="*/ 19 w 27"/>
                    <a:gd name="T35" fmla="*/ 6 h 47"/>
                    <a:gd name="T36" fmla="*/ 23 w 27"/>
                    <a:gd name="T37" fmla="*/ 19 h 47"/>
                    <a:gd name="T38" fmla="*/ 25 w 27"/>
                    <a:gd name="T39" fmla="*/ 20 h 47"/>
                    <a:gd name="T40" fmla="*/ 26 w 27"/>
                    <a:gd name="T41" fmla="*/ 18 h 47"/>
                    <a:gd name="T42" fmla="*/ 22 w 27"/>
                    <a:gd name="T43" fmla="*/ 4 h 47"/>
                    <a:gd name="T44" fmla="*/ 17 w 27"/>
                    <a:gd name="T45" fmla="*/ 0 h 47"/>
                    <a:gd name="T46" fmla="*/ 9 w 27"/>
                    <a:gd name="T47" fmla="*/ 0 h 47"/>
                    <a:gd name="T48" fmla="*/ 4 w 27"/>
                    <a:gd name="T49" fmla="*/ 4 h 47"/>
                    <a:gd name="T50" fmla="*/ 0 w 27"/>
                    <a:gd name="T51" fmla="*/ 18 h 47"/>
                    <a:gd name="T52" fmla="*/ 1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0"/>
                      </a:move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6"/>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6"/>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11" name="Oval 423"/>
                <p:cNvSpPr>
                  <a:spLocks noChangeArrowheads="1"/>
                </p:cNvSpPr>
                <p:nvPr/>
              </p:nvSpPr>
              <p:spPr bwMode="auto">
                <a:xfrm>
                  <a:off x="15056" y="83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12" name="Oval 424"/>
                <p:cNvSpPr>
                  <a:spLocks noChangeArrowheads="1"/>
                </p:cNvSpPr>
                <p:nvPr/>
              </p:nvSpPr>
              <p:spPr bwMode="auto">
                <a:xfrm>
                  <a:off x="14992" y="974"/>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13" name="Freeform 425"/>
                <p:cNvSpPr>
                  <a:spLocks/>
                </p:cNvSpPr>
                <p:nvPr/>
              </p:nvSpPr>
              <p:spPr bwMode="auto">
                <a:xfrm>
                  <a:off x="14910" y="853"/>
                  <a:ext cx="54" cy="112"/>
                </a:xfrm>
                <a:custGeom>
                  <a:avLst/>
                  <a:gdLst>
                    <a:gd name="T0" fmla="*/ 17 w 23"/>
                    <a:gd name="T1" fmla="*/ 0 h 47"/>
                    <a:gd name="T2" fmla="*/ 7 w 23"/>
                    <a:gd name="T3" fmla="*/ 0 h 47"/>
                    <a:gd name="T4" fmla="*/ 0 w 23"/>
                    <a:gd name="T5" fmla="*/ 6 h 47"/>
                    <a:gd name="T6" fmla="*/ 0 w 23"/>
                    <a:gd name="T7" fmla="*/ 21 h 47"/>
                    <a:gd name="T8" fmla="*/ 2 w 23"/>
                    <a:gd name="T9" fmla="*/ 23 h 47"/>
                    <a:gd name="T10" fmla="*/ 5 w 23"/>
                    <a:gd name="T11" fmla="*/ 21 h 47"/>
                    <a:gd name="T12" fmla="*/ 5 w 23"/>
                    <a:gd name="T13" fmla="*/ 8 h 47"/>
                    <a:gd name="T14" fmla="*/ 6 w 23"/>
                    <a:gd name="T15" fmla="*/ 8 h 47"/>
                    <a:gd name="T16" fmla="*/ 6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7" y="0"/>
                      </a:cubicBezTo>
                      <a:cubicBezTo>
                        <a:pt x="3" y="0"/>
                        <a:pt x="0" y="3"/>
                        <a:pt x="0" y="6"/>
                      </a:cubicBezTo>
                      <a:cubicBezTo>
                        <a:pt x="0" y="8"/>
                        <a:pt x="0" y="20"/>
                        <a:pt x="0" y="21"/>
                      </a:cubicBezTo>
                      <a:cubicBezTo>
                        <a:pt x="0" y="22"/>
                        <a:pt x="1" y="23"/>
                        <a:pt x="2" y="23"/>
                      </a:cubicBez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14" name="Freeform 426"/>
                <p:cNvSpPr>
                  <a:spLocks/>
                </p:cNvSpPr>
                <p:nvPr/>
              </p:nvSpPr>
              <p:spPr bwMode="auto">
                <a:xfrm>
                  <a:off x="14905" y="1000"/>
                  <a:ext cx="64" cy="66"/>
                </a:xfrm>
                <a:custGeom>
                  <a:avLst/>
                  <a:gdLst>
                    <a:gd name="T0" fmla="*/ 20 w 27"/>
                    <a:gd name="T1" fmla="*/ 7 h 28"/>
                    <a:gd name="T2" fmla="*/ 23 w 27"/>
                    <a:gd name="T3" fmla="*/ 20 h 28"/>
                    <a:gd name="T4" fmla="*/ 26 w 27"/>
                    <a:gd name="T5" fmla="*/ 21 h 28"/>
                    <a:gd name="T6" fmla="*/ 27 w 27"/>
                    <a:gd name="T7" fmla="*/ 18 h 28"/>
                    <a:gd name="T8" fmla="*/ 23 w 27"/>
                    <a:gd name="T9" fmla="*/ 5 h 28"/>
                    <a:gd name="T10" fmla="*/ 18 w 27"/>
                    <a:gd name="T11" fmla="*/ 0 h 28"/>
                    <a:gd name="T12" fmla="*/ 10 w 27"/>
                    <a:gd name="T13" fmla="*/ 0 h 28"/>
                    <a:gd name="T14" fmla="*/ 5 w 27"/>
                    <a:gd name="T15" fmla="*/ 5 h 28"/>
                    <a:gd name="T16" fmla="*/ 0 w 27"/>
                    <a:gd name="T17" fmla="*/ 18 h 28"/>
                    <a:gd name="T18" fmla="*/ 2 w 27"/>
                    <a:gd name="T19" fmla="*/ 21 h 28"/>
                    <a:gd name="T20" fmla="*/ 4 w 27"/>
                    <a:gd name="T21" fmla="*/ 20 h 28"/>
                    <a:gd name="T22" fmla="*/ 8 w 27"/>
                    <a:gd name="T23" fmla="*/ 7 h 28"/>
                    <a:gd name="T24" fmla="*/ 9 w 27"/>
                    <a:gd name="T25" fmla="*/ 7 h 28"/>
                    <a:gd name="T26" fmla="*/ 3 w 27"/>
                    <a:gd name="T27" fmla="*/ 28 h 28"/>
                    <a:gd name="T28" fmla="*/ 5 w 27"/>
                    <a:gd name="T29" fmla="*/ 28 h 28"/>
                    <a:gd name="T30" fmla="*/ 5 w 27"/>
                    <a:gd name="T31" fmla="*/ 28 h 28"/>
                    <a:gd name="T32" fmla="*/ 24 w 27"/>
                    <a:gd name="T33" fmla="*/ 25 h 28"/>
                    <a:gd name="T34" fmla="*/ 19 w 27"/>
                    <a:gd name="T35" fmla="*/ 7 h 28"/>
                    <a:gd name="T36" fmla="*/ 20 w 27"/>
                    <a:gd name="T37"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0" y="7"/>
                      </a:moveTo>
                      <a:cubicBezTo>
                        <a:pt x="20" y="7"/>
                        <a:pt x="23" y="18"/>
                        <a:pt x="23" y="20"/>
                      </a:cubicBezTo>
                      <a:cubicBezTo>
                        <a:pt x="24" y="20"/>
                        <a:pt x="25" y="21"/>
                        <a:pt x="26" y="21"/>
                      </a:cubicBezTo>
                      <a:cubicBezTo>
                        <a:pt x="27" y="20"/>
                        <a:pt x="27" y="19"/>
                        <a:pt x="27" y="18"/>
                      </a:cubicBezTo>
                      <a:cubicBezTo>
                        <a:pt x="27" y="18"/>
                        <a:pt x="25" y="10"/>
                        <a:pt x="23" y="5"/>
                      </a:cubicBezTo>
                      <a:cubicBezTo>
                        <a:pt x="22" y="2"/>
                        <a:pt x="20" y="0"/>
                        <a:pt x="18" y="0"/>
                      </a:cubicBezTo>
                      <a:cubicBezTo>
                        <a:pt x="16" y="0"/>
                        <a:pt x="11" y="0"/>
                        <a:pt x="10" y="0"/>
                      </a:cubicBezTo>
                      <a:cubicBezTo>
                        <a:pt x="8" y="0"/>
                        <a:pt x="5" y="2"/>
                        <a:pt x="5" y="5"/>
                      </a:cubicBezTo>
                      <a:cubicBezTo>
                        <a:pt x="3" y="10"/>
                        <a:pt x="1" y="18"/>
                        <a:pt x="0" y="18"/>
                      </a:cubicBezTo>
                      <a:cubicBezTo>
                        <a:pt x="0" y="19"/>
                        <a:pt x="1" y="20"/>
                        <a:pt x="2" y="21"/>
                      </a:cubicBezTo>
                      <a:cubicBezTo>
                        <a:pt x="3" y="21"/>
                        <a:pt x="4" y="20"/>
                        <a:pt x="4" y="20"/>
                      </a:cubicBezTo>
                      <a:cubicBezTo>
                        <a:pt x="4" y="18"/>
                        <a:pt x="8" y="7"/>
                        <a:pt x="8" y="7"/>
                      </a:cubicBezTo>
                      <a:cubicBezTo>
                        <a:pt x="9" y="7"/>
                        <a:pt x="9" y="7"/>
                        <a:pt x="9" y="7"/>
                      </a:cubicBezTo>
                      <a:cubicBezTo>
                        <a:pt x="3" y="28"/>
                        <a:pt x="3" y="28"/>
                        <a:pt x="3" y="28"/>
                      </a:cubicBezTo>
                      <a:cubicBezTo>
                        <a:pt x="4" y="28"/>
                        <a:pt x="4" y="28"/>
                        <a:pt x="5" y="28"/>
                      </a:cubicBezTo>
                      <a:cubicBezTo>
                        <a:pt x="5" y="28"/>
                        <a:pt x="5" y="28"/>
                        <a:pt x="5" y="28"/>
                      </a:cubicBezTo>
                      <a:cubicBezTo>
                        <a:pt x="9" y="26"/>
                        <a:pt x="16" y="26"/>
                        <a:pt x="24" y="25"/>
                      </a:cubicBezTo>
                      <a:cubicBezTo>
                        <a:pt x="19" y="7"/>
                        <a:pt x="19" y="7"/>
                        <a:pt x="19" y="7"/>
                      </a:cubicBezTo>
                      <a:cubicBezTo>
                        <a:pt x="20" y="7"/>
                        <a:pt x="20" y="7"/>
                        <a:pt x="2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15" name="Oval 427"/>
                <p:cNvSpPr>
                  <a:spLocks noChangeArrowheads="1"/>
                </p:cNvSpPr>
                <p:nvPr/>
              </p:nvSpPr>
              <p:spPr bwMode="auto">
                <a:xfrm>
                  <a:off x="14926"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16" name="Freeform 428"/>
                <p:cNvSpPr>
                  <a:spLocks/>
                </p:cNvSpPr>
                <p:nvPr/>
              </p:nvSpPr>
              <p:spPr bwMode="auto">
                <a:xfrm>
                  <a:off x="14976" y="707"/>
                  <a:ext cx="54" cy="109"/>
                </a:xfrm>
                <a:custGeom>
                  <a:avLst/>
                  <a:gdLst>
                    <a:gd name="T0" fmla="*/ 2 w 23"/>
                    <a:gd name="T1" fmla="*/ 23 h 46"/>
                    <a:gd name="T2" fmla="*/ 4 w 23"/>
                    <a:gd name="T3" fmla="*/ 20 h 46"/>
                    <a:gd name="T4" fmla="*/ 4 w 23"/>
                    <a:gd name="T5" fmla="*/ 7 h 46"/>
                    <a:gd name="T6" fmla="*/ 5 w 23"/>
                    <a:gd name="T7" fmla="*/ 7 h 46"/>
                    <a:gd name="T8" fmla="*/ 5 w 23"/>
                    <a:gd name="T9" fmla="*/ 44 h 46"/>
                    <a:gd name="T10" fmla="*/ 8 w 23"/>
                    <a:gd name="T11" fmla="*/ 46 h 46"/>
                    <a:gd name="T12" fmla="*/ 11 w 23"/>
                    <a:gd name="T13" fmla="*/ 44 h 46"/>
                    <a:gd name="T14" fmla="*/ 11 w 23"/>
                    <a:gd name="T15" fmla="*/ 23 h 46"/>
                    <a:gd name="T16" fmla="*/ 12 w 23"/>
                    <a:gd name="T17" fmla="*/ 23 h 46"/>
                    <a:gd name="T18" fmla="*/ 12 w 23"/>
                    <a:gd name="T19" fmla="*/ 44 h 46"/>
                    <a:gd name="T20" fmla="*/ 15 w 23"/>
                    <a:gd name="T21" fmla="*/ 46 h 46"/>
                    <a:gd name="T22" fmla="*/ 18 w 23"/>
                    <a:gd name="T23" fmla="*/ 44 h 46"/>
                    <a:gd name="T24" fmla="*/ 18 w 23"/>
                    <a:gd name="T25" fmla="*/ 7 h 46"/>
                    <a:gd name="T26" fmla="*/ 19 w 23"/>
                    <a:gd name="T27" fmla="*/ 7 h 46"/>
                    <a:gd name="T28" fmla="*/ 19 w 23"/>
                    <a:gd name="T29" fmla="*/ 20 h 46"/>
                    <a:gd name="T30" fmla="*/ 21 w 23"/>
                    <a:gd name="T31" fmla="*/ 23 h 46"/>
                    <a:gd name="T32" fmla="*/ 23 w 23"/>
                    <a:gd name="T33" fmla="*/ 20 h 46"/>
                    <a:gd name="T34" fmla="*/ 23 w 23"/>
                    <a:gd name="T35" fmla="*/ 6 h 46"/>
                    <a:gd name="T36" fmla="*/ 17 w 23"/>
                    <a:gd name="T37" fmla="*/ 0 h 46"/>
                    <a:gd name="T38" fmla="*/ 6 w 23"/>
                    <a:gd name="T39" fmla="*/ 0 h 46"/>
                    <a:gd name="T40" fmla="*/ 0 w 23"/>
                    <a:gd name="T41" fmla="*/ 6 h 46"/>
                    <a:gd name="T42" fmla="*/ 0 w 23"/>
                    <a:gd name="T43" fmla="*/ 20 h 46"/>
                    <a:gd name="T44" fmla="*/ 2 w 23"/>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 y="23"/>
                      </a:moveTo>
                      <a:cubicBezTo>
                        <a:pt x="3"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7"/>
                        <a:pt x="23" y="6"/>
                      </a:cubicBezTo>
                      <a:cubicBezTo>
                        <a:pt x="23" y="3"/>
                        <a:pt x="20" y="0"/>
                        <a:pt x="17" y="0"/>
                      </a:cubicBezTo>
                      <a:cubicBezTo>
                        <a:pt x="15" y="0"/>
                        <a:pt x="8" y="0"/>
                        <a:pt x="6" y="0"/>
                      </a:cubicBezTo>
                      <a:cubicBezTo>
                        <a:pt x="3" y="0"/>
                        <a:pt x="0" y="3"/>
                        <a:pt x="0" y="6"/>
                      </a:cubicBezTo>
                      <a:cubicBezTo>
                        <a:pt x="0" y="7"/>
                        <a:pt x="0" y="19"/>
                        <a:pt x="0" y="20"/>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17" name="Oval 429"/>
                <p:cNvSpPr>
                  <a:spLocks noChangeArrowheads="1"/>
                </p:cNvSpPr>
                <p:nvPr/>
              </p:nvSpPr>
              <p:spPr bwMode="auto">
                <a:xfrm>
                  <a:off x="14992" y="830"/>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18" name="Freeform 430"/>
                <p:cNvSpPr>
                  <a:spLocks/>
                </p:cNvSpPr>
                <p:nvPr/>
              </p:nvSpPr>
              <p:spPr bwMode="auto">
                <a:xfrm>
                  <a:off x="15056" y="683"/>
                  <a:ext cx="24" cy="21"/>
                </a:xfrm>
                <a:custGeom>
                  <a:avLst/>
                  <a:gdLst>
                    <a:gd name="T0" fmla="*/ 5 w 10"/>
                    <a:gd name="T1" fmla="*/ 9 h 9"/>
                    <a:gd name="T2" fmla="*/ 10 w 10"/>
                    <a:gd name="T3" fmla="*/ 4 h 9"/>
                    <a:gd name="T4" fmla="*/ 8 w 10"/>
                    <a:gd name="T5" fmla="*/ 0 h 9"/>
                    <a:gd name="T6" fmla="*/ 0 w 10"/>
                    <a:gd name="T7" fmla="*/ 4 h 9"/>
                    <a:gd name="T8" fmla="*/ 0 w 10"/>
                    <a:gd name="T9" fmla="*/ 4 h 9"/>
                    <a:gd name="T10" fmla="*/ 5 w 10"/>
                    <a:gd name="T11" fmla="*/ 9 h 9"/>
                  </a:gdLst>
                  <a:ahLst/>
                  <a:cxnLst>
                    <a:cxn ang="0">
                      <a:pos x="T0" y="T1"/>
                    </a:cxn>
                    <a:cxn ang="0">
                      <a:pos x="T2" y="T3"/>
                    </a:cxn>
                    <a:cxn ang="0">
                      <a:pos x="T4" y="T5"/>
                    </a:cxn>
                    <a:cxn ang="0">
                      <a:pos x="T6" y="T7"/>
                    </a:cxn>
                    <a:cxn ang="0">
                      <a:pos x="T8" y="T9"/>
                    </a:cxn>
                    <a:cxn ang="0">
                      <a:pos x="T10" y="T11"/>
                    </a:cxn>
                  </a:cxnLst>
                  <a:rect l="0" t="0" r="r" b="b"/>
                  <a:pathLst>
                    <a:path w="10" h="9">
                      <a:moveTo>
                        <a:pt x="5" y="9"/>
                      </a:moveTo>
                      <a:cubicBezTo>
                        <a:pt x="8" y="9"/>
                        <a:pt x="10" y="7"/>
                        <a:pt x="10" y="4"/>
                      </a:cubicBezTo>
                      <a:cubicBezTo>
                        <a:pt x="10" y="2"/>
                        <a:pt x="9" y="1"/>
                        <a:pt x="8" y="0"/>
                      </a:cubicBezTo>
                      <a:cubicBezTo>
                        <a:pt x="5" y="1"/>
                        <a:pt x="3" y="3"/>
                        <a:pt x="0" y="4"/>
                      </a:cubicBezTo>
                      <a:cubicBezTo>
                        <a:pt x="0" y="4"/>
                        <a:pt x="0" y="4"/>
                        <a:pt x="0" y="4"/>
                      </a:cubicBezTo>
                      <a:cubicBezTo>
                        <a:pt x="0" y="7"/>
                        <a:pt x="3" y="9"/>
                        <a:pt x="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19" name="Freeform 431"/>
                <p:cNvSpPr>
                  <a:spLocks/>
                </p:cNvSpPr>
                <p:nvPr/>
              </p:nvSpPr>
              <p:spPr bwMode="auto">
                <a:xfrm>
                  <a:off x="15123" y="830"/>
                  <a:ext cx="11" cy="21"/>
                </a:xfrm>
                <a:custGeom>
                  <a:avLst/>
                  <a:gdLst>
                    <a:gd name="T0" fmla="*/ 0 w 5"/>
                    <a:gd name="T1" fmla="*/ 4 h 9"/>
                    <a:gd name="T2" fmla="*/ 3 w 5"/>
                    <a:gd name="T3" fmla="*/ 9 h 9"/>
                    <a:gd name="T4" fmla="*/ 4 w 5"/>
                    <a:gd name="T5" fmla="*/ 7 h 9"/>
                    <a:gd name="T6" fmla="*/ 5 w 5"/>
                    <a:gd name="T7" fmla="*/ 0 h 9"/>
                    <a:gd name="T8" fmla="*/ 5 w 5"/>
                    <a:gd name="T9" fmla="*/ 0 h 9"/>
                    <a:gd name="T10" fmla="*/ 0 w 5"/>
                    <a:gd name="T11" fmla="*/ 4 h 9"/>
                  </a:gdLst>
                  <a:ahLst/>
                  <a:cxnLst>
                    <a:cxn ang="0">
                      <a:pos x="T0" y="T1"/>
                    </a:cxn>
                    <a:cxn ang="0">
                      <a:pos x="T2" y="T3"/>
                    </a:cxn>
                    <a:cxn ang="0">
                      <a:pos x="T4" y="T5"/>
                    </a:cxn>
                    <a:cxn ang="0">
                      <a:pos x="T6" y="T7"/>
                    </a:cxn>
                    <a:cxn ang="0">
                      <a:pos x="T8" y="T9"/>
                    </a:cxn>
                    <a:cxn ang="0">
                      <a:pos x="T10" y="T11"/>
                    </a:cxn>
                  </a:cxnLst>
                  <a:rect l="0" t="0" r="r" b="b"/>
                  <a:pathLst>
                    <a:path w="5" h="9">
                      <a:moveTo>
                        <a:pt x="0" y="4"/>
                      </a:moveTo>
                      <a:cubicBezTo>
                        <a:pt x="0" y="6"/>
                        <a:pt x="1" y="8"/>
                        <a:pt x="3" y="9"/>
                      </a:cubicBezTo>
                      <a:cubicBezTo>
                        <a:pt x="3" y="8"/>
                        <a:pt x="3" y="8"/>
                        <a:pt x="4" y="7"/>
                      </a:cubicBezTo>
                      <a:cubicBezTo>
                        <a:pt x="4" y="5"/>
                        <a:pt x="4" y="2"/>
                        <a:pt x="5" y="0"/>
                      </a:cubicBezTo>
                      <a:cubicBezTo>
                        <a:pt x="5" y="0"/>
                        <a:pt x="5" y="0"/>
                        <a:pt x="5"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20" name="Freeform 432"/>
                <p:cNvSpPr>
                  <a:spLocks/>
                </p:cNvSpPr>
                <p:nvPr/>
              </p:nvSpPr>
              <p:spPr bwMode="auto">
                <a:xfrm>
                  <a:off x="15106" y="707"/>
                  <a:ext cx="40" cy="109"/>
                </a:xfrm>
                <a:custGeom>
                  <a:avLst/>
                  <a:gdLst>
                    <a:gd name="T0" fmla="*/ 0 w 17"/>
                    <a:gd name="T1" fmla="*/ 6 h 46"/>
                    <a:gd name="T2" fmla="*/ 0 w 17"/>
                    <a:gd name="T3" fmla="*/ 20 h 46"/>
                    <a:gd name="T4" fmla="*/ 3 w 17"/>
                    <a:gd name="T5" fmla="*/ 23 h 46"/>
                    <a:gd name="T6" fmla="*/ 5 w 17"/>
                    <a:gd name="T7" fmla="*/ 20 h 46"/>
                    <a:gd name="T8" fmla="*/ 5 w 17"/>
                    <a:gd name="T9" fmla="*/ 7 h 46"/>
                    <a:gd name="T10" fmla="*/ 6 w 17"/>
                    <a:gd name="T11" fmla="*/ 7 h 46"/>
                    <a:gd name="T12" fmla="*/ 6 w 17"/>
                    <a:gd name="T13" fmla="*/ 44 h 46"/>
                    <a:gd name="T14" fmla="*/ 8 w 17"/>
                    <a:gd name="T15" fmla="*/ 46 h 46"/>
                    <a:gd name="T16" fmla="*/ 11 w 17"/>
                    <a:gd name="T17" fmla="*/ 44 h 46"/>
                    <a:gd name="T18" fmla="*/ 11 w 17"/>
                    <a:gd name="T19" fmla="*/ 23 h 46"/>
                    <a:gd name="T20" fmla="*/ 12 w 17"/>
                    <a:gd name="T21" fmla="*/ 23 h 46"/>
                    <a:gd name="T22" fmla="*/ 12 w 17"/>
                    <a:gd name="T23" fmla="*/ 44 h 46"/>
                    <a:gd name="T24" fmla="*/ 13 w 17"/>
                    <a:gd name="T25" fmla="*/ 45 h 46"/>
                    <a:gd name="T26" fmla="*/ 12 w 17"/>
                    <a:gd name="T27" fmla="*/ 0 h 46"/>
                    <a:gd name="T28" fmla="*/ 7 w 17"/>
                    <a:gd name="T29" fmla="*/ 0 h 46"/>
                    <a:gd name="T30" fmla="*/ 0 w 17"/>
                    <a:gd name="T31"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46">
                      <a:moveTo>
                        <a:pt x="0" y="6"/>
                      </a:moveTo>
                      <a:cubicBezTo>
                        <a:pt x="0" y="7"/>
                        <a:pt x="0" y="19"/>
                        <a:pt x="0" y="20"/>
                      </a:cubicBezTo>
                      <a:cubicBezTo>
                        <a:pt x="0" y="22"/>
                        <a:pt x="1" y="23"/>
                        <a:pt x="3" y="23"/>
                      </a:cubicBezTo>
                      <a:cubicBezTo>
                        <a:pt x="4" y="23"/>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4"/>
                        <a:pt x="13" y="45"/>
                        <a:pt x="13" y="45"/>
                      </a:cubicBezTo>
                      <a:cubicBezTo>
                        <a:pt x="15" y="29"/>
                        <a:pt x="17" y="12"/>
                        <a:pt x="12" y="0"/>
                      </a:cubicBezTo>
                      <a:cubicBezTo>
                        <a:pt x="10" y="0"/>
                        <a:pt x="7" y="0"/>
                        <a:pt x="7"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21" name="Freeform 433"/>
                <p:cNvSpPr>
                  <a:spLocks/>
                </p:cNvSpPr>
                <p:nvPr/>
              </p:nvSpPr>
              <p:spPr bwMode="auto">
                <a:xfrm>
                  <a:off x="14841" y="853"/>
                  <a:ext cx="64" cy="112"/>
                </a:xfrm>
                <a:custGeom>
                  <a:avLst/>
                  <a:gdLst>
                    <a:gd name="T0" fmla="*/ 1 w 27"/>
                    <a:gd name="T1" fmla="*/ 21 h 47"/>
                    <a:gd name="T2" fmla="*/ 3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9 h 47"/>
                    <a:gd name="T42" fmla="*/ 22 w 27"/>
                    <a:gd name="T43" fmla="*/ 5 h 47"/>
                    <a:gd name="T44" fmla="*/ 17 w 27"/>
                    <a:gd name="T45" fmla="*/ 0 h 47"/>
                    <a:gd name="T46" fmla="*/ 9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22" name="Freeform 434"/>
                <p:cNvSpPr>
                  <a:spLocks/>
                </p:cNvSpPr>
                <p:nvPr/>
              </p:nvSpPr>
              <p:spPr bwMode="auto">
                <a:xfrm>
                  <a:off x="15123" y="688"/>
                  <a:ext cx="11" cy="16"/>
                </a:xfrm>
                <a:custGeom>
                  <a:avLst/>
                  <a:gdLst>
                    <a:gd name="T0" fmla="*/ 5 w 5"/>
                    <a:gd name="T1" fmla="*/ 7 h 7"/>
                    <a:gd name="T2" fmla="*/ 0 w 5"/>
                    <a:gd name="T3" fmla="*/ 0 h 7"/>
                    <a:gd name="T4" fmla="*/ 0 w 5"/>
                    <a:gd name="T5" fmla="*/ 2 h 7"/>
                    <a:gd name="T6" fmla="*/ 5 w 5"/>
                    <a:gd name="T7" fmla="*/ 7 h 7"/>
                  </a:gdLst>
                  <a:ahLst/>
                  <a:cxnLst>
                    <a:cxn ang="0">
                      <a:pos x="T0" y="T1"/>
                    </a:cxn>
                    <a:cxn ang="0">
                      <a:pos x="T2" y="T3"/>
                    </a:cxn>
                    <a:cxn ang="0">
                      <a:pos x="T4" y="T5"/>
                    </a:cxn>
                    <a:cxn ang="0">
                      <a:pos x="T6" y="T7"/>
                    </a:cxn>
                  </a:cxnLst>
                  <a:rect l="0" t="0" r="r" b="b"/>
                  <a:pathLst>
                    <a:path w="5" h="7">
                      <a:moveTo>
                        <a:pt x="5" y="7"/>
                      </a:moveTo>
                      <a:cubicBezTo>
                        <a:pt x="4" y="4"/>
                        <a:pt x="2" y="2"/>
                        <a:pt x="0" y="0"/>
                      </a:cubicBezTo>
                      <a:cubicBezTo>
                        <a:pt x="0" y="1"/>
                        <a:pt x="0" y="1"/>
                        <a:pt x="0" y="2"/>
                      </a:cubicBezTo>
                      <a:cubicBezTo>
                        <a:pt x="0" y="4"/>
                        <a:pt x="2" y="7"/>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23" name="Freeform 435"/>
                <p:cNvSpPr>
                  <a:spLocks/>
                </p:cNvSpPr>
                <p:nvPr/>
              </p:nvSpPr>
              <p:spPr bwMode="auto">
                <a:xfrm>
                  <a:off x="14708" y="853"/>
                  <a:ext cx="64" cy="112"/>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8 w 27"/>
                    <a:gd name="T33" fmla="*/ 7 h 47"/>
                    <a:gd name="T34" fmla="*/ 20 w 27"/>
                    <a:gd name="T35" fmla="*/ 7 h 47"/>
                    <a:gd name="T36" fmla="*/ 23 w 27"/>
                    <a:gd name="T37" fmla="*/ 20 h 47"/>
                    <a:gd name="T38" fmla="*/ 26 w 27"/>
                    <a:gd name="T39" fmla="*/ 21 h 47"/>
                    <a:gd name="T40" fmla="*/ 27 w 27"/>
                    <a:gd name="T41" fmla="*/ 19 h 47"/>
                    <a:gd name="T42" fmla="*/ 23 w 27"/>
                    <a:gd name="T43" fmla="*/ 5 h 47"/>
                    <a:gd name="T44" fmla="*/ 17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4"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ubicBezTo>
                        <a:pt x="22" y="3"/>
                        <a:pt x="20" y="0"/>
                        <a:pt x="17" y="0"/>
                      </a:cubicBezTo>
                      <a:cubicBezTo>
                        <a:pt x="16" y="0"/>
                        <a:pt x="11" y="0"/>
                        <a:pt x="10" y="0"/>
                      </a:cubicBezTo>
                      <a:cubicBezTo>
                        <a:pt x="8" y="0"/>
                        <a:pt x="5" y="3"/>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24" name="Oval 436"/>
                <p:cNvSpPr>
                  <a:spLocks noChangeArrowheads="1"/>
                </p:cNvSpPr>
                <p:nvPr/>
              </p:nvSpPr>
              <p:spPr bwMode="auto">
                <a:xfrm>
                  <a:off x="14860" y="830"/>
                  <a:ext cx="23"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25" name="Oval 437"/>
                <p:cNvSpPr>
                  <a:spLocks noChangeArrowheads="1"/>
                </p:cNvSpPr>
                <p:nvPr/>
              </p:nvSpPr>
              <p:spPr bwMode="auto">
                <a:xfrm>
                  <a:off x="14730" y="681"/>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26" name="Oval 438"/>
                <p:cNvSpPr>
                  <a:spLocks noChangeArrowheads="1"/>
                </p:cNvSpPr>
                <p:nvPr/>
              </p:nvSpPr>
              <p:spPr bwMode="auto">
                <a:xfrm>
                  <a:off x="14730"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27" name="Freeform 439"/>
                <p:cNvSpPr>
                  <a:spLocks/>
                </p:cNvSpPr>
                <p:nvPr/>
              </p:nvSpPr>
              <p:spPr bwMode="auto">
                <a:xfrm>
                  <a:off x="14713" y="707"/>
                  <a:ext cx="55" cy="109"/>
                </a:xfrm>
                <a:custGeom>
                  <a:avLst/>
                  <a:gdLst>
                    <a:gd name="T0" fmla="*/ 21 w 23"/>
                    <a:gd name="T1" fmla="*/ 23 h 46"/>
                    <a:gd name="T2" fmla="*/ 23 w 23"/>
                    <a:gd name="T3" fmla="*/ 20 h 46"/>
                    <a:gd name="T4" fmla="*/ 23 w 23"/>
                    <a:gd name="T5" fmla="*/ 6 h 46"/>
                    <a:gd name="T6" fmla="*/ 17 w 23"/>
                    <a:gd name="T7" fmla="*/ 0 h 46"/>
                    <a:gd name="T8" fmla="*/ 6 w 23"/>
                    <a:gd name="T9" fmla="*/ 0 h 46"/>
                    <a:gd name="T10" fmla="*/ 0 w 23"/>
                    <a:gd name="T11" fmla="*/ 6 h 46"/>
                    <a:gd name="T12" fmla="*/ 0 w 23"/>
                    <a:gd name="T13" fmla="*/ 20 h 46"/>
                    <a:gd name="T14" fmla="*/ 2 w 23"/>
                    <a:gd name="T15" fmla="*/ 23 h 46"/>
                    <a:gd name="T16" fmla="*/ 4 w 23"/>
                    <a:gd name="T17" fmla="*/ 20 h 46"/>
                    <a:gd name="T18" fmla="*/ 4 w 23"/>
                    <a:gd name="T19" fmla="*/ 7 h 46"/>
                    <a:gd name="T20" fmla="*/ 5 w 23"/>
                    <a:gd name="T21" fmla="*/ 7 h 46"/>
                    <a:gd name="T22" fmla="*/ 5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8 w 23"/>
                    <a:gd name="T37" fmla="*/ 44 h 46"/>
                    <a:gd name="T38" fmla="*/ 18 w 23"/>
                    <a:gd name="T39" fmla="*/ 7 h 46"/>
                    <a:gd name="T40" fmla="*/ 19 w 23"/>
                    <a:gd name="T41" fmla="*/ 7 h 46"/>
                    <a:gd name="T42" fmla="*/ 19 w 23"/>
                    <a:gd name="T43" fmla="*/ 20 h 46"/>
                    <a:gd name="T44" fmla="*/ 21 w 23"/>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3"/>
                      </a:moveTo>
                      <a:cubicBezTo>
                        <a:pt x="22" y="23"/>
                        <a:pt x="23" y="22"/>
                        <a:pt x="23" y="20"/>
                      </a:cubicBezTo>
                      <a:cubicBezTo>
                        <a:pt x="23" y="19"/>
                        <a:pt x="23" y="7"/>
                        <a:pt x="23" y="6"/>
                      </a:cubicBezTo>
                      <a:cubicBezTo>
                        <a:pt x="23" y="3"/>
                        <a:pt x="20" y="0"/>
                        <a:pt x="17" y="0"/>
                      </a:cubicBezTo>
                      <a:cubicBezTo>
                        <a:pt x="15" y="0"/>
                        <a:pt x="8" y="0"/>
                        <a:pt x="6" y="0"/>
                      </a:cubicBezTo>
                      <a:cubicBezTo>
                        <a:pt x="3" y="0"/>
                        <a:pt x="0" y="3"/>
                        <a:pt x="0" y="6"/>
                      </a:cubicBezTo>
                      <a:cubicBezTo>
                        <a:pt x="0" y="7"/>
                        <a:pt x="0" y="19"/>
                        <a:pt x="0" y="20"/>
                      </a:cubicBezTo>
                      <a:cubicBezTo>
                        <a:pt x="0" y="22"/>
                        <a:pt x="1" y="23"/>
                        <a:pt x="2" y="23"/>
                      </a:cubicBezTo>
                      <a:cubicBezTo>
                        <a:pt x="4"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28" name="Freeform 440"/>
                <p:cNvSpPr>
                  <a:spLocks/>
                </p:cNvSpPr>
                <p:nvPr/>
              </p:nvSpPr>
              <p:spPr bwMode="auto">
                <a:xfrm>
                  <a:off x="14992" y="681"/>
                  <a:ext cx="22" cy="23"/>
                </a:xfrm>
                <a:custGeom>
                  <a:avLst/>
                  <a:gdLst>
                    <a:gd name="T0" fmla="*/ 0 w 9"/>
                    <a:gd name="T1" fmla="*/ 5 h 10"/>
                    <a:gd name="T2" fmla="*/ 4 w 9"/>
                    <a:gd name="T3" fmla="*/ 10 h 10"/>
                    <a:gd name="T4" fmla="*/ 9 w 9"/>
                    <a:gd name="T5" fmla="*/ 5 h 10"/>
                    <a:gd name="T6" fmla="*/ 9 w 9"/>
                    <a:gd name="T7" fmla="*/ 3 h 10"/>
                    <a:gd name="T8" fmla="*/ 5 w 9"/>
                    <a:gd name="T9" fmla="*/ 0 h 10"/>
                    <a:gd name="T10" fmla="*/ 4 w 9"/>
                    <a:gd name="T11" fmla="*/ 0 h 10"/>
                    <a:gd name="T12" fmla="*/ 0 w 9"/>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0" y="5"/>
                      </a:moveTo>
                      <a:cubicBezTo>
                        <a:pt x="0" y="8"/>
                        <a:pt x="2" y="10"/>
                        <a:pt x="4" y="10"/>
                      </a:cubicBezTo>
                      <a:cubicBezTo>
                        <a:pt x="7" y="10"/>
                        <a:pt x="9" y="8"/>
                        <a:pt x="9" y="5"/>
                      </a:cubicBezTo>
                      <a:cubicBezTo>
                        <a:pt x="9" y="4"/>
                        <a:pt x="9" y="3"/>
                        <a:pt x="9" y="3"/>
                      </a:cubicBezTo>
                      <a:cubicBezTo>
                        <a:pt x="8" y="2"/>
                        <a:pt x="7" y="1"/>
                        <a:pt x="5" y="0"/>
                      </a:cubicBezTo>
                      <a:cubicBezTo>
                        <a:pt x="5" y="0"/>
                        <a:pt x="5" y="0"/>
                        <a:pt x="4" y="0"/>
                      </a:cubicBezTo>
                      <a:cubicBezTo>
                        <a:pt x="2" y="0"/>
                        <a:pt x="0"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29" name="Freeform 441"/>
                <p:cNvSpPr>
                  <a:spLocks/>
                </p:cNvSpPr>
                <p:nvPr/>
              </p:nvSpPr>
              <p:spPr bwMode="auto">
                <a:xfrm>
                  <a:off x="14846" y="1000"/>
                  <a:ext cx="52" cy="109"/>
                </a:xfrm>
                <a:custGeom>
                  <a:avLst/>
                  <a:gdLst>
                    <a:gd name="T0" fmla="*/ 17 w 22"/>
                    <a:gd name="T1" fmla="*/ 8 h 46"/>
                    <a:gd name="T2" fmla="*/ 18 w 22"/>
                    <a:gd name="T3" fmla="*/ 8 h 46"/>
                    <a:gd name="T4" fmla="*/ 18 w 22"/>
                    <a:gd name="T5" fmla="*/ 21 h 46"/>
                    <a:gd name="T6" fmla="*/ 20 w 22"/>
                    <a:gd name="T7" fmla="*/ 23 h 46"/>
                    <a:gd name="T8" fmla="*/ 22 w 22"/>
                    <a:gd name="T9" fmla="*/ 21 h 46"/>
                    <a:gd name="T10" fmla="*/ 22 w 22"/>
                    <a:gd name="T11" fmla="*/ 6 h 46"/>
                    <a:gd name="T12" fmla="*/ 16 w 22"/>
                    <a:gd name="T13" fmla="*/ 0 h 46"/>
                    <a:gd name="T14" fmla="*/ 6 w 22"/>
                    <a:gd name="T15" fmla="*/ 0 h 46"/>
                    <a:gd name="T16" fmla="*/ 0 w 22"/>
                    <a:gd name="T17" fmla="*/ 6 h 46"/>
                    <a:gd name="T18" fmla="*/ 0 w 22"/>
                    <a:gd name="T19" fmla="*/ 21 h 46"/>
                    <a:gd name="T20" fmla="*/ 2 w 22"/>
                    <a:gd name="T21" fmla="*/ 23 h 46"/>
                    <a:gd name="T22" fmla="*/ 4 w 22"/>
                    <a:gd name="T23" fmla="*/ 21 h 46"/>
                    <a:gd name="T24" fmla="*/ 4 w 22"/>
                    <a:gd name="T25" fmla="*/ 8 h 46"/>
                    <a:gd name="T26" fmla="*/ 5 w 22"/>
                    <a:gd name="T27" fmla="*/ 8 h 46"/>
                    <a:gd name="T28" fmla="*/ 5 w 22"/>
                    <a:gd name="T29" fmla="*/ 44 h 46"/>
                    <a:gd name="T30" fmla="*/ 6 w 22"/>
                    <a:gd name="T31" fmla="*/ 46 h 46"/>
                    <a:gd name="T32" fmla="*/ 9 w 22"/>
                    <a:gd name="T33" fmla="*/ 46 h 46"/>
                    <a:gd name="T34" fmla="*/ 11 w 22"/>
                    <a:gd name="T35" fmla="*/ 44 h 46"/>
                    <a:gd name="T36" fmla="*/ 11 w 22"/>
                    <a:gd name="T37" fmla="*/ 23 h 46"/>
                    <a:gd name="T38" fmla="*/ 12 w 22"/>
                    <a:gd name="T39" fmla="*/ 23 h 46"/>
                    <a:gd name="T40" fmla="*/ 12 w 22"/>
                    <a:gd name="T41" fmla="*/ 44 h 46"/>
                    <a:gd name="T42" fmla="*/ 12 w 22"/>
                    <a:gd name="T43" fmla="*/ 46 h 46"/>
                    <a:gd name="T44" fmla="*/ 16 w 22"/>
                    <a:gd name="T45" fmla="*/ 46 h 46"/>
                    <a:gd name="T46" fmla="*/ 17 w 22"/>
                    <a:gd name="T47" fmla="*/ 44 h 46"/>
                    <a:gd name="T48" fmla="*/ 17 w 22"/>
                    <a:gd name="T49"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46">
                      <a:moveTo>
                        <a:pt x="17" y="8"/>
                      </a:move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5"/>
                        <a:pt x="6" y="46"/>
                        <a:pt x="6" y="46"/>
                      </a:cubicBezTo>
                      <a:cubicBezTo>
                        <a:pt x="7" y="46"/>
                        <a:pt x="8" y="46"/>
                        <a:pt x="9" y="46"/>
                      </a:cubicBezTo>
                      <a:cubicBezTo>
                        <a:pt x="10" y="46"/>
                        <a:pt x="11" y="45"/>
                        <a:pt x="11" y="44"/>
                      </a:cubicBezTo>
                      <a:cubicBezTo>
                        <a:pt x="11" y="42"/>
                        <a:pt x="11" y="23"/>
                        <a:pt x="11" y="23"/>
                      </a:cubicBezTo>
                      <a:cubicBezTo>
                        <a:pt x="11" y="23"/>
                        <a:pt x="11" y="23"/>
                        <a:pt x="12" y="23"/>
                      </a:cubicBezTo>
                      <a:cubicBezTo>
                        <a:pt x="12" y="23"/>
                        <a:pt x="12" y="42"/>
                        <a:pt x="12" y="44"/>
                      </a:cubicBezTo>
                      <a:cubicBezTo>
                        <a:pt x="12" y="45"/>
                        <a:pt x="12" y="46"/>
                        <a:pt x="12" y="46"/>
                      </a:cubicBezTo>
                      <a:cubicBezTo>
                        <a:pt x="14" y="46"/>
                        <a:pt x="15" y="46"/>
                        <a:pt x="16" y="46"/>
                      </a:cubicBezTo>
                      <a:cubicBezTo>
                        <a:pt x="17" y="45"/>
                        <a:pt x="17" y="45"/>
                        <a:pt x="17" y="44"/>
                      </a:cubicBezTo>
                      <a:cubicBezTo>
                        <a:pt x="17" y="42"/>
                        <a:pt x="17"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30" name="Oval 442"/>
                <p:cNvSpPr>
                  <a:spLocks noChangeArrowheads="1"/>
                </p:cNvSpPr>
                <p:nvPr/>
              </p:nvSpPr>
              <p:spPr bwMode="auto">
                <a:xfrm>
                  <a:off x="14860" y="681"/>
                  <a:ext cx="23"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31" name="Oval 443"/>
                <p:cNvSpPr>
                  <a:spLocks noChangeArrowheads="1"/>
                </p:cNvSpPr>
                <p:nvPr/>
              </p:nvSpPr>
              <p:spPr bwMode="auto">
                <a:xfrm>
                  <a:off x="14796"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32" name="Freeform 444"/>
                <p:cNvSpPr>
                  <a:spLocks/>
                </p:cNvSpPr>
                <p:nvPr/>
              </p:nvSpPr>
              <p:spPr bwMode="auto">
                <a:xfrm>
                  <a:off x="14971" y="853"/>
                  <a:ext cx="62" cy="112"/>
                </a:xfrm>
                <a:custGeom>
                  <a:avLst/>
                  <a:gdLst>
                    <a:gd name="T0" fmla="*/ 17 w 26"/>
                    <a:gd name="T1" fmla="*/ 0 h 47"/>
                    <a:gd name="T2" fmla="*/ 10 w 26"/>
                    <a:gd name="T3" fmla="*/ 0 h 47"/>
                    <a:gd name="T4" fmla="*/ 4 w 26"/>
                    <a:gd name="T5" fmla="*/ 5 h 47"/>
                    <a:gd name="T6" fmla="*/ 0 w 26"/>
                    <a:gd name="T7" fmla="*/ 19 h 47"/>
                    <a:gd name="T8" fmla="*/ 1 w 26"/>
                    <a:gd name="T9" fmla="*/ 21 h 47"/>
                    <a:gd name="T10" fmla="*/ 4 w 26"/>
                    <a:gd name="T11" fmla="*/ 20 h 47"/>
                    <a:gd name="T12" fmla="*/ 8 w 26"/>
                    <a:gd name="T13" fmla="*/ 7 h 47"/>
                    <a:gd name="T14" fmla="*/ 9 w 26"/>
                    <a:gd name="T15" fmla="*/ 7 h 47"/>
                    <a:gd name="T16" fmla="*/ 2 w 26"/>
                    <a:gd name="T17" fmla="*/ 28 h 47"/>
                    <a:gd name="T18" fmla="*/ 9 w 26"/>
                    <a:gd name="T19" fmla="*/ 28 h 47"/>
                    <a:gd name="T20" fmla="*/ 9 w 26"/>
                    <a:gd name="T21" fmla="*/ 45 h 47"/>
                    <a:gd name="T22" fmla="*/ 11 w 26"/>
                    <a:gd name="T23" fmla="*/ 47 h 47"/>
                    <a:gd name="T24" fmla="*/ 13 w 26"/>
                    <a:gd name="T25" fmla="*/ 45 h 47"/>
                    <a:gd name="T26" fmla="*/ 13 w 26"/>
                    <a:gd name="T27" fmla="*/ 28 h 47"/>
                    <a:gd name="T28" fmla="*/ 14 w 26"/>
                    <a:gd name="T29" fmla="*/ 28 h 47"/>
                    <a:gd name="T30" fmla="*/ 14 w 26"/>
                    <a:gd name="T31" fmla="*/ 45 h 47"/>
                    <a:gd name="T32" fmla="*/ 16 w 26"/>
                    <a:gd name="T33" fmla="*/ 47 h 47"/>
                    <a:gd name="T34" fmla="*/ 19 w 26"/>
                    <a:gd name="T35" fmla="*/ 45 h 47"/>
                    <a:gd name="T36" fmla="*/ 19 w 26"/>
                    <a:gd name="T37" fmla="*/ 28 h 47"/>
                    <a:gd name="T38" fmla="*/ 21 w 26"/>
                    <a:gd name="T39" fmla="*/ 28 h 47"/>
                    <a:gd name="T40" fmla="*/ 22 w 26"/>
                    <a:gd name="T41" fmla="*/ 21 h 47"/>
                    <a:gd name="T42" fmla="*/ 18 w 26"/>
                    <a:gd name="T43" fmla="*/ 7 h 47"/>
                    <a:gd name="T44" fmla="*/ 19 w 26"/>
                    <a:gd name="T45" fmla="*/ 7 h 47"/>
                    <a:gd name="T46" fmla="*/ 23 w 26"/>
                    <a:gd name="T47" fmla="*/ 19 h 47"/>
                    <a:gd name="T48" fmla="*/ 26 w 26"/>
                    <a:gd name="T49" fmla="*/ 15 h 47"/>
                    <a:gd name="T50" fmla="*/ 23 w 26"/>
                    <a:gd name="T51" fmla="*/ 5 h 47"/>
                    <a:gd name="T52" fmla="*/ 17 w 26"/>
                    <a:gd name="T5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 h="47">
                      <a:moveTo>
                        <a:pt x="17" y="0"/>
                      </a:moveTo>
                      <a:cubicBezTo>
                        <a:pt x="16" y="0"/>
                        <a:pt x="11" y="0"/>
                        <a:pt x="10" y="0"/>
                      </a:cubicBezTo>
                      <a:cubicBezTo>
                        <a:pt x="7" y="0"/>
                        <a:pt x="5" y="3"/>
                        <a:pt x="4" y="5"/>
                      </a:cubicBezTo>
                      <a:cubicBezTo>
                        <a:pt x="3" y="11"/>
                        <a:pt x="0" y="18"/>
                        <a:pt x="0" y="19"/>
                      </a:cubicBezTo>
                      <a:cubicBezTo>
                        <a:pt x="0" y="20"/>
                        <a:pt x="0" y="21"/>
                        <a:pt x="1" y="21"/>
                      </a:cubicBezTo>
                      <a:cubicBezTo>
                        <a:pt x="2" y="21"/>
                        <a:pt x="3" y="21"/>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19" y="28"/>
                        <a:pt x="20" y="28"/>
                        <a:pt x="21" y="28"/>
                      </a:cubicBezTo>
                      <a:cubicBezTo>
                        <a:pt x="21" y="26"/>
                        <a:pt x="22" y="23"/>
                        <a:pt x="22" y="21"/>
                      </a:cubicBezTo>
                      <a:cubicBezTo>
                        <a:pt x="18" y="7"/>
                        <a:pt x="18" y="7"/>
                        <a:pt x="18" y="7"/>
                      </a:cubicBezTo>
                      <a:cubicBezTo>
                        <a:pt x="19" y="7"/>
                        <a:pt x="19" y="7"/>
                        <a:pt x="19" y="7"/>
                      </a:cubicBezTo>
                      <a:cubicBezTo>
                        <a:pt x="19" y="7"/>
                        <a:pt x="23" y="17"/>
                        <a:pt x="23" y="19"/>
                      </a:cubicBezTo>
                      <a:cubicBezTo>
                        <a:pt x="24" y="18"/>
                        <a:pt x="25" y="17"/>
                        <a:pt x="26" y="15"/>
                      </a:cubicBezTo>
                      <a:cubicBezTo>
                        <a:pt x="25" y="13"/>
                        <a:pt x="24" y="8"/>
                        <a:pt x="23" y="5"/>
                      </a:cubicBezTo>
                      <a:cubicBezTo>
                        <a:pt x="22"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33" name="Oval 445"/>
                <p:cNvSpPr>
                  <a:spLocks noChangeArrowheads="1"/>
                </p:cNvSpPr>
                <p:nvPr/>
              </p:nvSpPr>
              <p:spPr bwMode="auto">
                <a:xfrm>
                  <a:off x="14796" y="681"/>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34" name="Freeform 446"/>
                <p:cNvSpPr>
                  <a:spLocks/>
                </p:cNvSpPr>
                <p:nvPr/>
              </p:nvSpPr>
              <p:spPr bwMode="auto">
                <a:xfrm>
                  <a:off x="14976" y="1000"/>
                  <a:ext cx="47" cy="55"/>
                </a:xfrm>
                <a:custGeom>
                  <a:avLst/>
                  <a:gdLst>
                    <a:gd name="T0" fmla="*/ 6 w 20"/>
                    <a:gd name="T1" fmla="*/ 0 h 23"/>
                    <a:gd name="T2" fmla="*/ 0 w 20"/>
                    <a:gd name="T3" fmla="*/ 6 h 23"/>
                    <a:gd name="T4" fmla="*/ 0 w 20"/>
                    <a:gd name="T5" fmla="*/ 21 h 23"/>
                    <a:gd name="T6" fmla="*/ 2 w 20"/>
                    <a:gd name="T7" fmla="*/ 23 h 23"/>
                    <a:gd name="T8" fmla="*/ 4 w 20"/>
                    <a:gd name="T9" fmla="*/ 21 h 23"/>
                    <a:gd name="T10" fmla="*/ 4 w 20"/>
                    <a:gd name="T11" fmla="*/ 8 h 23"/>
                    <a:gd name="T12" fmla="*/ 5 w 20"/>
                    <a:gd name="T13" fmla="*/ 8 h 23"/>
                    <a:gd name="T14" fmla="*/ 5 w 20"/>
                    <a:gd name="T15" fmla="*/ 23 h 23"/>
                    <a:gd name="T16" fmla="*/ 13 w 20"/>
                    <a:gd name="T17" fmla="*/ 20 h 23"/>
                    <a:gd name="T18" fmla="*/ 18 w 20"/>
                    <a:gd name="T19" fmla="*/ 13 h 23"/>
                    <a:gd name="T20" fmla="*/ 18 w 20"/>
                    <a:gd name="T21" fmla="*/ 8 h 23"/>
                    <a:gd name="T22" fmla="*/ 19 w 20"/>
                    <a:gd name="T23" fmla="*/ 8 h 23"/>
                    <a:gd name="T24" fmla="*/ 19 w 20"/>
                    <a:gd name="T25" fmla="*/ 10 h 23"/>
                    <a:gd name="T26" fmla="*/ 20 w 20"/>
                    <a:gd name="T27" fmla="*/ 1 h 23"/>
                    <a:gd name="T28" fmla="*/ 17 w 20"/>
                    <a:gd name="T29" fmla="*/ 0 h 23"/>
                    <a:gd name="T30" fmla="*/ 6 w 20"/>
                    <a:gd name="T3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3">
                      <a:moveTo>
                        <a:pt x="6" y="0"/>
                      </a:moveTo>
                      <a:cubicBezTo>
                        <a:pt x="3"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15"/>
                        <a:pt x="5" y="23"/>
                      </a:cubicBezTo>
                      <a:cubicBezTo>
                        <a:pt x="8" y="22"/>
                        <a:pt x="11" y="21"/>
                        <a:pt x="13" y="20"/>
                      </a:cubicBezTo>
                      <a:cubicBezTo>
                        <a:pt x="15" y="18"/>
                        <a:pt x="16" y="16"/>
                        <a:pt x="18" y="13"/>
                      </a:cubicBezTo>
                      <a:cubicBezTo>
                        <a:pt x="18" y="10"/>
                        <a:pt x="18" y="8"/>
                        <a:pt x="18" y="8"/>
                      </a:cubicBezTo>
                      <a:cubicBezTo>
                        <a:pt x="18" y="8"/>
                        <a:pt x="18" y="8"/>
                        <a:pt x="19" y="8"/>
                      </a:cubicBezTo>
                      <a:cubicBezTo>
                        <a:pt x="19" y="8"/>
                        <a:pt x="19" y="8"/>
                        <a:pt x="19" y="10"/>
                      </a:cubicBezTo>
                      <a:cubicBezTo>
                        <a:pt x="19" y="7"/>
                        <a:pt x="20" y="4"/>
                        <a:pt x="20" y="1"/>
                      </a:cubicBezTo>
                      <a:cubicBezTo>
                        <a:pt x="19" y="0"/>
                        <a:pt x="18" y="0"/>
                        <a:pt x="17" y="0"/>
                      </a:cubicBezTo>
                      <a:cubicBezTo>
                        <a:pt x="15" y="0"/>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35" name="Freeform 447"/>
                <p:cNvSpPr>
                  <a:spLocks/>
                </p:cNvSpPr>
                <p:nvPr/>
              </p:nvSpPr>
              <p:spPr bwMode="auto">
                <a:xfrm>
                  <a:off x="14775" y="707"/>
                  <a:ext cx="64" cy="111"/>
                </a:xfrm>
                <a:custGeom>
                  <a:avLst/>
                  <a:gdLst>
                    <a:gd name="T0" fmla="*/ 23 w 27"/>
                    <a:gd name="T1" fmla="*/ 4 h 47"/>
                    <a:gd name="T2" fmla="*/ 17 w 27"/>
                    <a:gd name="T3" fmla="*/ 0 h 47"/>
                    <a:gd name="T4" fmla="*/ 10 w 27"/>
                    <a:gd name="T5" fmla="*/ 0 h 47"/>
                    <a:gd name="T6" fmla="*/ 4 w 27"/>
                    <a:gd name="T7" fmla="*/ 4 h 47"/>
                    <a:gd name="T8" fmla="*/ 0 w 27"/>
                    <a:gd name="T9" fmla="*/ 18 h 47"/>
                    <a:gd name="T10" fmla="*/ 1 w 27"/>
                    <a:gd name="T11" fmla="*/ 20 h 47"/>
                    <a:gd name="T12" fmla="*/ 4 w 27"/>
                    <a:gd name="T13" fmla="*/ 19 h 47"/>
                    <a:gd name="T14" fmla="*/ 7 w 27"/>
                    <a:gd name="T15" fmla="*/ 6 h 47"/>
                    <a:gd name="T16" fmla="*/ 9 w 27"/>
                    <a:gd name="T17" fmla="*/ 6 h 47"/>
                    <a:gd name="T18" fmla="*/ 2 w 27"/>
                    <a:gd name="T19" fmla="*/ 28 h 47"/>
                    <a:gd name="T20" fmla="*/ 8 w 27"/>
                    <a:gd name="T21" fmla="*/ 28 h 47"/>
                    <a:gd name="T22" fmla="*/ 8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5 w 27"/>
                    <a:gd name="T41" fmla="*/ 28 h 47"/>
                    <a:gd name="T42" fmla="*/ 18 w 27"/>
                    <a:gd name="T43" fmla="*/ 6 h 47"/>
                    <a:gd name="T44" fmla="*/ 19 w 27"/>
                    <a:gd name="T45" fmla="*/ 6 h 47"/>
                    <a:gd name="T46" fmla="*/ 23 w 27"/>
                    <a:gd name="T47" fmla="*/ 19 h 47"/>
                    <a:gd name="T48" fmla="*/ 25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19"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ubicBezTo>
                        <a:pt x="4" y="18"/>
                        <a:pt x="7" y="6"/>
                        <a:pt x="7" y="6"/>
                      </a:cubicBezTo>
                      <a:cubicBezTo>
                        <a:pt x="9" y="6"/>
                        <a:pt x="9" y="6"/>
                        <a:pt x="9" y="6"/>
                      </a:cubicBezTo>
                      <a:cubicBezTo>
                        <a:pt x="2" y="28"/>
                        <a:pt x="2" y="28"/>
                        <a:pt x="2" y="28"/>
                      </a:cubicBezTo>
                      <a:cubicBezTo>
                        <a:pt x="8" y="28"/>
                        <a:pt x="8" y="28"/>
                        <a:pt x="8" y="28"/>
                      </a:cubicBezTo>
                      <a:cubicBezTo>
                        <a:pt x="8" y="36"/>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6"/>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36" name="Freeform 448"/>
                <p:cNvSpPr>
                  <a:spLocks/>
                </p:cNvSpPr>
                <p:nvPr/>
              </p:nvSpPr>
              <p:spPr bwMode="auto">
                <a:xfrm>
                  <a:off x="15042" y="853"/>
                  <a:ext cx="52" cy="67"/>
                </a:xfrm>
                <a:custGeom>
                  <a:avLst/>
                  <a:gdLst>
                    <a:gd name="T0" fmla="*/ 18 w 22"/>
                    <a:gd name="T1" fmla="*/ 8 h 28"/>
                    <a:gd name="T2" fmla="*/ 18 w 22"/>
                    <a:gd name="T3" fmla="*/ 21 h 28"/>
                    <a:gd name="T4" fmla="*/ 20 w 22"/>
                    <a:gd name="T5" fmla="*/ 23 h 28"/>
                    <a:gd name="T6" fmla="*/ 22 w 22"/>
                    <a:gd name="T7" fmla="*/ 21 h 28"/>
                    <a:gd name="T8" fmla="*/ 22 w 22"/>
                    <a:gd name="T9" fmla="*/ 6 h 28"/>
                    <a:gd name="T10" fmla="*/ 16 w 22"/>
                    <a:gd name="T11" fmla="*/ 0 h 28"/>
                    <a:gd name="T12" fmla="*/ 6 w 22"/>
                    <a:gd name="T13" fmla="*/ 0 h 28"/>
                    <a:gd name="T14" fmla="*/ 0 w 22"/>
                    <a:gd name="T15" fmla="*/ 6 h 28"/>
                    <a:gd name="T16" fmla="*/ 0 w 22"/>
                    <a:gd name="T17" fmla="*/ 12 h 28"/>
                    <a:gd name="T18" fmla="*/ 4 w 22"/>
                    <a:gd name="T19" fmla="*/ 10 h 28"/>
                    <a:gd name="T20" fmla="*/ 4 w 22"/>
                    <a:gd name="T21" fmla="*/ 8 h 28"/>
                    <a:gd name="T22" fmla="*/ 5 w 22"/>
                    <a:gd name="T23" fmla="*/ 8 h 28"/>
                    <a:gd name="T24" fmla="*/ 5 w 22"/>
                    <a:gd name="T25" fmla="*/ 10 h 28"/>
                    <a:gd name="T26" fmla="*/ 6 w 22"/>
                    <a:gd name="T27" fmla="*/ 10 h 28"/>
                    <a:gd name="T28" fmla="*/ 11 w 22"/>
                    <a:gd name="T29" fmla="*/ 23 h 28"/>
                    <a:gd name="T30" fmla="*/ 12 w 22"/>
                    <a:gd name="T31" fmla="*/ 23 h 28"/>
                    <a:gd name="T32" fmla="*/ 12 w 22"/>
                    <a:gd name="T33" fmla="*/ 25 h 28"/>
                    <a:gd name="T34" fmla="*/ 17 w 22"/>
                    <a:gd name="T35" fmla="*/ 28 h 28"/>
                    <a:gd name="T36" fmla="*/ 17 w 22"/>
                    <a:gd name="T37" fmla="*/ 8 h 28"/>
                    <a:gd name="T38" fmla="*/ 18 w 22"/>
                    <a:gd name="T39"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28">
                      <a:moveTo>
                        <a:pt x="18" y="8"/>
                      </a:moveTo>
                      <a:cubicBezTo>
                        <a:pt x="18" y="8"/>
                        <a:pt x="18" y="20"/>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8" y="0"/>
                        <a:pt x="6" y="0"/>
                      </a:cubicBezTo>
                      <a:cubicBezTo>
                        <a:pt x="3" y="0"/>
                        <a:pt x="0" y="3"/>
                        <a:pt x="0" y="6"/>
                      </a:cubicBezTo>
                      <a:cubicBezTo>
                        <a:pt x="0" y="7"/>
                        <a:pt x="0" y="9"/>
                        <a:pt x="0" y="12"/>
                      </a:cubicBezTo>
                      <a:cubicBezTo>
                        <a:pt x="1" y="11"/>
                        <a:pt x="2" y="11"/>
                        <a:pt x="4" y="10"/>
                      </a:cubicBezTo>
                      <a:cubicBezTo>
                        <a:pt x="4" y="9"/>
                        <a:pt x="4" y="8"/>
                        <a:pt x="4" y="8"/>
                      </a:cubicBezTo>
                      <a:cubicBezTo>
                        <a:pt x="4" y="8"/>
                        <a:pt x="4" y="8"/>
                        <a:pt x="5" y="8"/>
                      </a:cubicBezTo>
                      <a:cubicBezTo>
                        <a:pt x="5" y="8"/>
                        <a:pt x="5" y="9"/>
                        <a:pt x="5" y="10"/>
                      </a:cubicBezTo>
                      <a:cubicBezTo>
                        <a:pt x="5" y="10"/>
                        <a:pt x="6" y="10"/>
                        <a:pt x="6" y="10"/>
                      </a:cubicBezTo>
                      <a:cubicBezTo>
                        <a:pt x="7" y="16"/>
                        <a:pt x="9" y="20"/>
                        <a:pt x="11" y="23"/>
                      </a:cubicBezTo>
                      <a:cubicBezTo>
                        <a:pt x="11" y="23"/>
                        <a:pt x="11" y="23"/>
                        <a:pt x="12" y="23"/>
                      </a:cubicBezTo>
                      <a:cubicBezTo>
                        <a:pt x="12" y="23"/>
                        <a:pt x="12" y="24"/>
                        <a:pt x="12" y="25"/>
                      </a:cubicBezTo>
                      <a:cubicBezTo>
                        <a:pt x="13" y="27"/>
                        <a:pt x="15" y="28"/>
                        <a:pt x="17" y="28"/>
                      </a:cubicBezTo>
                      <a:cubicBezTo>
                        <a:pt x="17" y="19"/>
                        <a:pt x="17" y="8"/>
                        <a:pt x="17" y="8"/>
                      </a:cubicBezTo>
                      <a:cubicBezTo>
                        <a:pt x="17" y="8"/>
                        <a:pt x="17"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37" name="Freeform 449"/>
                <p:cNvSpPr>
                  <a:spLocks/>
                </p:cNvSpPr>
                <p:nvPr/>
              </p:nvSpPr>
              <p:spPr bwMode="auto">
                <a:xfrm>
                  <a:off x="15101" y="853"/>
                  <a:ext cx="29" cy="50"/>
                </a:xfrm>
                <a:custGeom>
                  <a:avLst/>
                  <a:gdLst>
                    <a:gd name="T0" fmla="*/ 5 w 12"/>
                    <a:gd name="T1" fmla="*/ 5 h 21"/>
                    <a:gd name="T2" fmla="*/ 1 w 12"/>
                    <a:gd name="T3" fmla="*/ 19 h 21"/>
                    <a:gd name="T4" fmla="*/ 2 w 12"/>
                    <a:gd name="T5" fmla="*/ 21 h 21"/>
                    <a:gd name="T6" fmla="*/ 3 w 12"/>
                    <a:gd name="T7" fmla="*/ 21 h 21"/>
                    <a:gd name="T8" fmla="*/ 4 w 12"/>
                    <a:gd name="T9" fmla="*/ 18 h 21"/>
                    <a:gd name="T10" fmla="*/ 8 w 12"/>
                    <a:gd name="T11" fmla="*/ 7 h 21"/>
                    <a:gd name="T12" fmla="*/ 9 w 12"/>
                    <a:gd name="T13" fmla="*/ 7 h 21"/>
                    <a:gd name="T14" fmla="*/ 7 w 12"/>
                    <a:gd name="T15" fmla="*/ 14 h 21"/>
                    <a:gd name="T16" fmla="*/ 12 w 12"/>
                    <a:gd name="T17" fmla="*/ 0 h 21"/>
                    <a:gd name="T18" fmla="*/ 10 w 12"/>
                    <a:gd name="T19" fmla="*/ 0 h 21"/>
                    <a:gd name="T20" fmla="*/ 5 w 12"/>
                    <a:gd name="T21" fmla="*/ 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1">
                      <a:moveTo>
                        <a:pt x="5" y="5"/>
                      </a:moveTo>
                      <a:cubicBezTo>
                        <a:pt x="3" y="11"/>
                        <a:pt x="1" y="18"/>
                        <a:pt x="1" y="19"/>
                      </a:cubicBezTo>
                      <a:cubicBezTo>
                        <a:pt x="0" y="20"/>
                        <a:pt x="1" y="21"/>
                        <a:pt x="2" y="21"/>
                      </a:cubicBezTo>
                      <a:cubicBezTo>
                        <a:pt x="2" y="21"/>
                        <a:pt x="3" y="21"/>
                        <a:pt x="3" y="21"/>
                      </a:cubicBezTo>
                      <a:cubicBezTo>
                        <a:pt x="3" y="20"/>
                        <a:pt x="4" y="19"/>
                        <a:pt x="4" y="18"/>
                      </a:cubicBezTo>
                      <a:cubicBezTo>
                        <a:pt x="5" y="15"/>
                        <a:pt x="8" y="7"/>
                        <a:pt x="8" y="7"/>
                      </a:cubicBezTo>
                      <a:cubicBezTo>
                        <a:pt x="9" y="7"/>
                        <a:pt x="9" y="7"/>
                        <a:pt x="9" y="7"/>
                      </a:cubicBezTo>
                      <a:cubicBezTo>
                        <a:pt x="8" y="9"/>
                        <a:pt x="8" y="12"/>
                        <a:pt x="7" y="14"/>
                      </a:cubicBezTo>
                      <a:cubicBezTo>
                        <a:pt x="9" y="10"/>
                        <a:pt x="11" y="5"/>
                        <a:pt x="12" y="0"/>
                      </a:cubicBezTo>
                      <a:cubicBezTo>
                        <a:pt x="11" y="0"/>
                        <a:pt x="10" y="0"/>
                        <a:pt x="10" y="0"/>
                      </a:cubicBezTo>
                      <a:cubicBezTo>
                        <a:pt x="8" y="0"/>
                        <a:pt x="5" y="3"/>
                        <a:pt x="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38" name="Freeform 450"/>
                <p:cNvSpPr>
                  <a:spLocks/>
                </p:cNvSpPr>
                <p:nvPr/>
              </p:nvSpPr>
              <p:spPr bwMode="auto">
                <a:xfrm>
                  <a:off x="14846" y="707"/>
                  <a:ext cx="52" cy="109"/>
                </a:xfrm>
                <a:custGeom>
                  <a:avLst/>
                  <a:gdLst>
                    <a:gd name="T0" fmla="*/ 2 w 22"/>
                    <a:gd name="T1" fmla="*/ 23 h 46"/>
                    <a:gd name="T2" fmla="*/ 4 w 22"/>
                    <a:gd name="T3" fmla="*/ 20 h 46"/>
                    <a:gd name="T4" fmla="*/ 4 w 22"/>
                    <a:gd name="T5" fmla="*/ 7 h 46"/>
                    <a:gd name="T6" fmla="*/ 5 w 22"/>
                    <a:gd name="T7" fmla="*/ 7 h 46"/>
                    <a:gd name="T8" fmla="*/ 5 w 22"/>
                    <a:gd name="T9" fmla="*/ 44 h 46"/>
                    <a:gd name="T10" fmla="*/ 8 w 22"/>
                    <a:gd name="T11" fmla="*/ 46 h 46"/>
                    <a:gd name="T12" fmla="*/ 11 w 22"/>
                    <a:gd name="T13" fmla="*/ 44 h 46"/>
                    <a:gd name="T14" fmla="*/ 11 w 22"/>
                    <a:gd name="T15" fmla="*/ 23 h 46"/>
                    <a:gd name="T16" fmla="*/ 12 w 22"/>
                    <a:gd name="T17" fmla="*/ 23 h 46"/>
                    <a:gd name="T18" fmla="*/ 12 w 22"/>
                    <a:gd name="T19" fmla="*/ 44 h 46"/>
                    <a:gd name="T20" fmla="*/ 14 w 22"/>
                    <a:gd name="T21" fmla="*/ 46 h 46"/>
                    <a:gd name="T22" fmla="*/ 17 w 22"/>
                    <a:gd name="T23" fmla="*/ 44 h 46"/>
                    <a:gd name="T24" fmla="*/ 17 w 22"/>
                    <a:gd name="T25" fmla="*/ 7 h 46"/>
                    <a:gd name="T26" fmla="*/ 18 w 22"/>
                    <a:gd name="T27" fmla="*/ 7 h 46"/>
                    <a:gd name="T28" fmla="*/ 18 w 22"/>
                    <a:gd name="T29" fmla="*/ 20 h 46"/>
                    <a:gd name="T30" fmla="*/ 20 w 22"/>
                    <a:gd name="T31" fmla="*/ 23 h 46"/>
                    <a:gd name="T32" fmla="*/ 22 w 22"/>
                    <a:gd name="T33" fmla="*/ 20 h 46"/>
                    <a:gd name="T34" fmla="*/ 22 w 22"/>
                    <a:gd name="T35" fmla="*/ 6 h 46"/>
                    <a:gd name="T36" fmla="*/ 16 w 22"/>
                    <a:gd name="T37" fmla="*/ 0 h 46"/>
                    <a:gd name="T38" fmla="*/ 6 w 22"/>
                    <a:gd name="T39" fmla="*/ 0 h 46"/>
                    <a:gd name="T40" fmla="*/ 0 w 22"/>
                    <a:gd name="T41" fmla="*/ 6 h 46"/>
                    <a:gd name="T42" fmla="*/ 0 w 22"/>
                    <a:gd name="T43" fmla="*/ 20 h 46"/>
                    <a:gd name="T44" fmla="*/ 2 w 22"/>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 y="23"/>
                      </a:move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7"/>
                        <a:pt x="22" y="6"/>
                      </a:cubicBezTo>
                      <a:cubicBezTo>
                        <a:pt x="22" y="3"/>
                        <a:pt x="20" y="0"/>
                        <a:pt x="16" y="0"/>
                      </a:cubicBezTo>
                      <a:cubicBezTo>
                        <a:pt x="15" y="0"/>
                        <a:pt x="7" y="0"/>
                        <a:pt x="6" y="0"/>
                      </a:cubicBezTo>
                      <a:cubicBezTo>
                        <a:pt x="2" y="0"/>
                        <a:pt x="0" y="3"/>
                        <a:pt x="0" y="6"/>
                      </a:cubicBezTo>
                      <a:cubicBezTo>
                        <a:pt x="0" y="7"/>
                        <a:pt x="0" y="19"/>
                        <a:pt x="0" y="20"/>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39" name="Oval 451"/>
                <p:cNvSpPr>
                  <a:spLocks noChangeArrowheads="1"/>
                </p:cNvSpPr>
                <p:nvPr/>
              </p:nvSpPr>
              <p:spPr bwMode="auto">
                <a:xfrm>
                  <a:off x="14860" y="974"/>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40" name="Freeform 452"/>
                <p:cNvSpPr>
                  <a:spLocks/>
                </p:cNvSpPr>
                <p:nvPr/>
              </p:nvSpPr>
              <p:spPr bwMode="auto">
                <a:xfrm>
                  <a:off x="14192" y="1000"/>
                  <a:ext cx="55" cy="111"/>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7 w 23"/>
                    <a:gd name="T23" fmla="*/ 44 h 47"/>
                    <a:gd name="T24" fmla="*/ 17 w 23"/>
                    <a:gd name="T25" fmla="*/ 8 h 47"/>
                    <a:gd name="T26" fmla="*/ 18 w 23"/>
                    <a:gd name="T27" fmla="*/ 8 h 47"/>
                    <a:gd name="T28" fmla="*/ 18 w 23"/>
                    <a:gd name="T29" fmla="*/ 21 h 47"/>
                    <a:gd name="T30" fmla="*/ 21 w 23"/>
                    <a:gd name="T31" fmla="*/ 23 h 47"/>
                    <a:gd name="T32" fmla="*/ 23 w 23"/>
                    <a:gd name="T33" fmla="*/ 21 h 47"/>
                    <a:gd name="T34" fmla="*/ 23 w 23"/>
                    <a:gd name="T35" fmla="*/ 6 h 47"/>
                    <a:gd name="T36" fmla="*/ 16 w 23"/>
                    <a:gd name="T37" fmla="*/ 0 h 47"/>
                    <a:gd name="T38" fmla="*/ 6 w 23"/>
                    <a:gd name="T39" fmla="*/ 0 h 47"/>
                    <a:gd name="T40" fmla="*/ 0 w 23"/>
                    <a:gd name="T41" fmla="*/ 6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1" y="23"/>
                      </a:cubicBezTo>
                      <a:cubicBezTo>
                        <a:pt x="22" y="23"/>
                        <a:pt x="23" y="22"/>
                        <a:pt x="23" y="21"/>
                      </a:cubicBezTo>
                      <a:cubicBezTo>
                        <a:pt x="23" y="20"/>
                        <a:pt x="23" y="8"/>
                        <a:pt x="23" y="6"/>
                      </a:cubicBezTo>
                      <a:cubicBezTo>
                        <a:pt x="23" y="3"/>
                        <a:pt x="20" y="0"/>
                        <a:pt x="16" y="0"/>
                      </a:cubicBezTo>
                      <a:cubicBezTo>
                        <a:pt x="15" y="0"/>
                        <a:pt x="8" y="0"/>
                        <a:pt x="6" y="0"/>
                      </a:cubicBezTo>
                      <a:cubicBezTo>
                        <a:pt x="3"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41" name="Freeform 453"/>
                <p:cNvSpPr>
                  <a:spLocks/>
                </p:cNvSpPr>
                <p:nvPr/>
              </p:nvSpPr>
              <p:spPr bwMode="auto">
                <a:xfrm>
                  <a:off x="14252" y="1000"/>
                  <a:ext cx="64" cy="111"/>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4 w 27"/>
                    <a:gd name="T17" fmla="*/ 45 h 47"/>
                    <a:gd name="T18" fmla="*/ 14 w 27"/>
                    <a:gd name="T19" fmla="*/ 28 h 47"/>
                    <a:gd name="T20" fmla="*/ 15 w 27"/>
                    <a:gd name="T21" fmla="*/ 28 h 47"/>
                    <a:gd name="T22" fmla="*/ 15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4 w 27"/>
                    <a:gd name="T37" fmla="*/ 20 h 47"/>
                    <a:gd name="T38" fmla="*/ 26 w 27"/>
                    <a:gd name="T39" fmla="*/ 21 h 47"/>
                    <a:gd name="T40" fmla="*/ 27 w 27"/>
                    <a:gd name="T41" fmla="*/ 18 h 47"/>
                    <a:gd name="T42" fmla="*/ 23 w 27"/>
                    <a:gd name="T43" fmla="*/ 5 h 47"/>
                    <a:gd name="T44" fmla="*/ 18 w 27"/>
                    <a:gd name="T45" fmla="*/ 0 h 47"/>
                    <a:gd name="T46" fmla="*/ 10 w 27"/>
                    <a:gd name="T47" fmla="*/ 0 h 47"/>
                    <a:gd name="T48" fmla="*/ 5 w 27"/>
                    <a:gd name="T49" fmla="*/ 5 h 47"/>
                    <a:gd name="T50" fmla="*/ 1 w 27"/>
                    <a:gd name="T51" fmla="*/ 18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0"/>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0"/>
                        <a:pt x="25" y="21"/>
                        <a:pt x="26" y="21"/>
                      </a:cubicBezTo>
                      <a:cubicBezTo>
                        <a:pt x="27" y="20"/>
                        <a:pt x="27" y="19"/>
                        <a:pt x="27" y="18"/>
                      </a:cubicBezTo>
                      <a:cubicBezTo>
                        <a:pt x="27" y="18"/>
                        <a:pt x="25" y="10"/>
                        <a:pt x="23" y="5"/>
                      </a:cubicBezTo>
                      <a:cubicBezTo>
                        <a:pt x="22" y="2"/>
                        <a:pt x="20" y="0"/>
                        <a:pt x="18" y="0"/>
                      </a:cubicBezTo>
                      <a:cubicBezTo>
                        <a:pt x="17" y="0"/>
                        <a:pt x="11" y="0"/>
                        <a:pt x="10" y="0"/>
                      </a:cubicBezTo>
                      <a:cubicBezTo>
                        <a:pt x="8" y="0"/>
                        <a:pt x="5" y="2"/>
                        <a:pt x="5" y="5"/>
                      </a:cubicBezTo>
                      <a:cubicBezTo>
                        <a:pt x="3" y="10"/>
                        <a:pt x="1" y="18"/>
                        <a:pt x="1" y="18"/>
                      </a:cubicBezTo>
                      <a:cubicBezTo>
                        <a:pt x="0" y="19"/>
                        <a:pt x="1" y="20"/>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42" name="Oval 454"/>
                <p:cNvSpPr>
                  <a:spLocks noChangeArrowheads="1"/>
                </p:cNvSpPr>
                <p:nvPr/>
              </p:nvSpPr>
              <p:spPr bwMode="auto">
                <a:xfrm>
                  <a:off x="14273"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43" name="Oval 455"/>
                <p:cNvSpPr>
                  <a:spLocks noChangeArrowheads="1"/>
                </p:cNvSpPr>
                <p:nvPr/>
              </p:nvSpPr>
              <p:spPr bwMode="auto">
                <a:xfrm>
                  <a:off x="14209"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44" name="Freeform 456"/>
                <p:cNvSpPr>
                  <a:spLocks/>
                </p:cNvSpPr>
                <p:nvPr/>
              </p:nvSpPr>
              <p:spPr bwMode="auto">
                <a:xfrm>
                  <a:off x="14188" y="889"/>
                  <a:ext cx="12" cy="14"/>
                </a:xfrm>
                <a:custGeom>
                  <a:avLst/>
                  <a:gdLst>
                    <a:gd name="T0" fmla="*/ 1 w 5"/>
                    <a:gd name="T1" fmla="*/ 6 h 6"/>
                    <a:gd name="T2" fmla="*/ 4 w 5"/>
                    <a:gd name="T3" fmla="*/ 5 h 6"/>
                    <a:gd name="T4" fmla="*/ 5 w 5"/>
                    <a:gd name="T5" fmla="*/ 0 h 6"/>
                    <a:gd name="T6" fmla="*/ 1 w 5"/>
                    <a:gd name="T7" fmla="*/ 1 h 6"/>
                    <a:gd name="T8" fmla="*/ 0 w 5"/>
                    <a:gd name="T9" fmla="*/ 4 h 6"/>
                    <a:gd name="T10" fmla="*/ 1 w 5"/>
                    <a:gd name="T11" fmla="*/ 6 h 6"/>
                  </a:gdLst>
                  <a:ahLst/>
                  <a:cxnLst>
                    <a:cxn ang="0">
                      <a:pos x="T0" y="T1"/>
                    </a:cxn>
                    <a:cxn ang="0">
                      <a:pos x="T2" y="T3"/>
                    </a:cxn>
                    <a:cxn ang="0">
                      <a:pos x="T4" y="T5"/>
                    </a:cxn>
                    <a:cxn ang="0">
                      <a:pos x="T6" y="T7"/>
                    </a:cxn>
                    <a:cxn ang="0">
                      <a:pos x="T8" y="T9"/>
                    </a:cxn>
                    <a:cxn ang="0">
                      <a:pos x="T10" y="T11"/>
                    </a:cxn>
                  </a:cxnLst>
                  <a:rect l="0" t="0" r="r" b="b"/>
                  <a:pathLst>
                    <a:path w="5" h="6">
                      <a:moveTo>
                        <a:pt x="1" y="6"/>
                      </a:moveTo>
                      <a:cubicBezTo>
                        <a:pt x="2" y="6"/>
                        <a:pt x="3" y="6"/>
                        <a:pt x="4" y="5"/>
                      </a:cubicBezTo>
                      <a:cubicBezTo>
                        <a:pt x="4" y="4"/>
                        <a:pt x="4" y="2"/>
                        <a:pt x="5" y="0"/>
                      </a:cubicBezTo>
                      <a:cubicBezTo>
                        <a:pt x="4" y="0"/>
                        <a:pt x="2" y="1"/>
                        <a:pt x="1" y="1"/>
                      </a:cubicBezTo>
                      <a:cubicBezTo>
                        <a:pt x="0" y="2"/>
                        <a:pt x="0" y="3"/>
                        <a:pt x="0" y="4"/>
                      </a:cubicBezTo>
                      <a:cubicBezTo>
                        <a:pt x="0" y="5"/>
                        <a:pt x="0"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45" name="Freeform 457"/>
                <p:cNvSpPr>
                  <a:spLocks/>
                </p:cNvSpPr>
                <p:nvPr/>
              </p:nvSpPr>
              <p:spPr bwMode="auto">
                <a:xfrm>
                  <a:off x="14273" y="681"/>
                  <a:ext cx="24" cy="16"/>
                </a:xfrm>
                <a:custGeom>
                  <a:avLst/>
                  <a:gdLst>
                    <a:gd name="T0" fmla="*/ 5 w 10"/>
                    <a:gd name="T1" fmla="*/ 0 h 7"/>
                    <a:gd name="T2" fmla="*/ 0 w 10"/>
                    <a:gd name="T3" fmla="*/ 5 h 7"/>
                    <a:gd name="T4" fmla="*/ 1 w 10"/>
                    <a:gd name="T5" fmla="*/ 7 h 7"/>
                    <a:gd name="T6" fmla="*/ 9 w 10"/>
                    <a:gd name="T7" fmla="*/ 7 h 7"/>
                    <a:gd name="T8" fmla="*/ 10 w 10"/>
                    <a:gd name="T9" fmla="*/ 5 h 7"/>
                    <a:gd name="T10" fmla="*/ 5 w 10"/>
                    <a:gd name="T11" fmla="*/ 0 h 7"/>
                  </a:gdLst>
                  <a:ahLst/>
                  <a:cxnLst>
                    <a:cxn ang="0">
                      <a:pos x="T0" y="T1"/>
                    </a:cxn>
                    <a:cxn ang="0">
                      <a:pos x="T2" y="T3"/>
                    </a:cxn>
                    <a:cxn ang="0">
                      <a:pos x="T4" y="T5"/>
                    </a:cxn>
                    <a:cxn ang="0">
                      <a:pos x="T6" y="T7"/>
                    </a:cxn>
                    <a:cxn ang="0">
                      <a:pos x="T8" y="T9"/>
                    </a:cxn>
                    <a:cxn ang="0">
                      <a:pos x="T10" y="T11"/>
                    </a:cxn>
                  </a:cxnLst>
                  <a:rect l="0" t="0" r="r" b="b"/>
                  <a:pathLst>
                    <a:path w="10" h="7">
                      <a:moveTo>
                        <a:pt x="5" y="0"/>
                      </a:moveTo>
                      <a:cubicBezTo>
                        <a:pt x="2" y="0"/>
                        <a:pt x="0" y="2"/>
                        <a:pt x="0" y="5"/>
                      </a:cubicBezTo>
                      <a:cubicBezTo>
                        <a:pt x="0" y="6"/>
                        <a:pt x="0" y="6"/>
                        <a:pt x="1" y="7"/>
                      </a:cubicBezTo>
                      <a:cubicBezTo>
                        <a:pt x="3" y="7"/>
                        <a:pt x="6" y="7"/>
                        <a:pt x="9" y="7"/>
                      </a:cubicBezTo>
                      <a:cubicBezTo>
                        <a:pt x="10" y="6"/>
                        <a:pt x="10" y="6"/>
                        <a:pt x="10" y="5"/>
                      </a:cubicBezTo>
                      <a:cubicBezTo>
                        <a:pt x="10" y="2"/>
                        <a:pt x="8"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46" name="Freeform 458"/>
                <p:cNvSpPr>
                  <a:spLocks/>
                </p:cNvSpPr>
                <p:nvPr/>
              </p:nvSpPr>
              <p:spPr bwMode="auto">
                <a:xfrm>
                  <a:off x="14339" y="681"/>
                  <a:ext cx="22" cy="14"/>
                </a:xfrm>
                <a:custGeom>
                  <a:avLst/>
                  <a:gdLst>
                    <a:gd name="T0" fmla="*/ 5 w 9"/>
                    <a:gd name="T1" fmla="*/ 0 h 6"/>
                    <a:gd name="T2" fmla="*/ 0 w 9"/>
                    <a:gd name="T3" fmla="*/ 5 h 6"/>
                    <a:gd name="T4" fmla="*/ 0 w 9"/>
                    <a:gd name="T5" fmla="*/ 6 h 6"/>
                    <a:gd name="T6" fmla="*/ 9 w 9"/>
                    <a:gd name="T7" fmla="*/ 5 h 6"/>
                    <a:gd name="T8" fmla="*/ 9 w 9"/>
                    <a:gd name="T9" fmla="*/ 5 h 6"/>
                    <a:gd name="T10" fmla="*/ 5 w 9"/>
                    <a:gd name="T11" fmla="*/ 0 h 6"/>
                  </a:gdLst>
                  <a:ahLst/>
                  <a:cxnLst>
                    <a:cxn ang="0">
                      <a:pos x="T0" y="T1"/>
                    </a:cxn>
                    <a:cxn ang="0">
                      <a:pos x="T2" y="T3"/>
                    </a:cxn>
                    <a:cxn ang="0">
                      <a:pos x="T4" y="T5"/>
                    </a:cxn>
                    <a:cxn ang="0">
                      <a:pos x="T6" y="T7"/>
                    </a:cxn>
                    <a:cxn ang="0">
                      <a:pos x="T8" y="T9"/>
                    </a:cxn>
                    <a:cxn ang="0">
                      <a:pos x="T10" y="T11"/>
                    </a:cxn>
                  </a:cxnLst>
                  <a:rect l="0" t="0" r="r" b="b"/>
                  <a:pathLst>
                    <a:path w="9" h="6">
                      <a:moveTo>
                        <a:pt x="5" y="0"/>
                      </a:moveTo>
                      <a:cubicBezTo>
                        <a:pt x="2" y="0"/>
                        <a:pt x="0" y="2"/>
                        <a:pt x="0" y="5"/>
                      </a:cubicBezTo>
                      <a:cubicBezTo>
                        <a:pt x="0" y="5"/>
                        <a:pt x="0" y="5"/>
                        <a:pt x="0" y="6"/>
                      </a:cubicBezTo>
                      <a:cubicBezTo>
                        <a:pt x="3" y="6"/>
                        <a:pt x="6" y="5"/>
                        <a:pt x="9" y="5"/>
                      </a:cubicBezTo>
                      <a:cubicBezTo>
                        <a:pt x="9" y="5"/>
                        <a:pt x="9" y="5"/>
                        <a:pt x="9" y="5"/>
                      </a:cubicBezTo>
                      <a:cubicBezTo>
                        <a:pt x="9" y="2"/>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47" name="Freeform 459"/>
                <p:cNvSpPr>
                  <a:spLocks/>
                </p:cNvSpPr>
                <p:nvPr/>
              </p:nvSpPr>
              <p:spPr bwMode="auto">
                <a:xfrm>
                  <a:off x="14439" y="745"/>
                  <a:ext cx="9" cy="11"/>
                </a:xfrm>
                <a:custGeom>
                  <a:avLst/>
                  <a:gdLst>
                    <a:gd name="T0" fmla="*/ 2 w 4"/>
                    <a:gd name="T1" fmla="*/ 4 h 5"/>
                    <a:gd name="T2" fmla="*/ 4 w 4"/>
                    <a:gd name="T3" fmla="*/ 2 h 5"/>
                    <a:gd name="T4" fmla="*/ 3 w 4"/>
                    <a:gd name="T5" fmla="*/ 0 h 5"/>
                    <a:gd name="T6" fmla="*/ 0 w 4"/>
                    <a:gd name="T7" fmla="*/ 4 h 5"/>
                    <a:gd name="T8" fmla="*/ 2 w 4"/>
                    <a:gd name="T9" fmla="*/ 4 h 5"/>
                  </a:gdLst>
                  <a:ahLst/>
                  <a:cxnLst>
                    <a:cxn ang="0">
                      <a:pos x="T0" y="T1"/>
                    </a:cxn>
                    <a:cxn ang="0">
                      <a:pos x="T2" y="T3"/>
                    </a:cxn>
                    <a:cxn ang="0">
                      <a:pos x="T4" y="T5"/>
                    </a:cxn>
                    <a:cxn ang="0">
                      <a:pos x="T6" y="T7"/>
                    </a:cxn>
                    <a:cxn ang="0">
                      <a:pos x="T8" y="T9"/>
                    </a:cxn>
                  </a:cxnLst>
                  <a:rect l="0" t="0" r="r" b="b"/>
                  <a:pathLst>
                    <a:path w="4" h="5">
                      <a:moveTo>
                        <a:pt x="2" y="4"/>
                      </a:moveTo>
                      <a:cubicBezTo>
                        <a:pt x="3" y="4"/>
                        <a:pt x="4" y="3"/>
                        <a:pt x="4" y="2"/>
                      </a:cubicBezTo>
                      <a:cubicBezTo>
                        <a:pt x="3" y="2"/>
                        <a:pt x="3" y="1"/>
                        <a:pt x="3" y="0"/>
                      </a:cubicBezTo>
                      <a:cubicBezTo>
                        <a:pt x="2" y="1"/>
                        <a:pt x="2" y="3"/>
                        <a:pt x="0" y="4"/>
                      </a:cubicBezTo>
                      <a:cubicBezTo>
                        <a:pt x="1" y="4"/>
                        <a:pt x="2"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48" name="Freeform 460"/>
                <p:cNvSpPr>
                  <a:spLocks/>
                </p:cNvSpPr>
                <p:nvPr/>
              </p:nvSpPr>
              <p:spPr bwMode="auto">
                <a:xfrm>
                  <a:off x="14585" y="707"/>
                  <a:ext cx="55" cy="109"/>
                </a:xfrm>
                <a:custGeom>
                  <a:avLst/>
                  <a:gdLst>
                    <a:gd name="T0" fmla="*/ 21 w 23"/>
                    <a:gd name="T1" fmla="*/ 23 h 46"/>
                    <a:gd name="T2" fmla="*/ 23 w 23"/>
                    <a:gd name="T3" fmla="*/ 20 h 46"/>
                    <a:gd name="T4" fmla="*/ 23 w 23"/>
                    <a:gd name="T5" fmla="*/ 6 h 46"/>
                    <a:gd name="T6" fmla="*/ 17 w 23"/>
                    <a:gd name="T7" fmla="*/ 0 h 46"/>
                    <a:gd name="T8" fmla="*/ 6 w 23"/>
                    <a:gd name="T9" fmla="*/ 0 h 46"/>
                    <a:gd name="T10" fmla="*/ 0 w 23"/>
                    <a:gd name="T11" fmla="*/ 6 h 46"/>
                    <a:gd name="T12" fmla="*/ 0 w 23"/>
                    <a:gd name="T13" fmla="*/ 20 h 46"/>
                    <a:gd name="T14" fmla="*/ 2 w 23"/>
                    <a:gd name="T15" fmla="*/ 23 h 46"/>
                    <a:gd name="T16" fmla="*/ 4 w 23"/>
                    <a:gd name="T17" fmla="*/ 20 h 46"/>
                    <a:gd name="T18" fmla="*/ 4 w 23"/>
                    <a:gd name="T19" fmla="*/ 7 h 46"/>
                    <a:gd name="T20" fmla="*/ 5 w 23"/>
                    <a:gd name="T21" fmla="*/ 7 h 46"/>
                    <a:gd name="T22" fmla="*/ 5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7 w 23"/>
                    <a:gd name="T37" fmla="*/ 44 h 46"/>
                    <a:gd name="T38" fmla="*/ 17 w 23"/>
                    <a:gd name="T39" fmla="*/ 7 h 46"/>
                    <a:gd name="T40" fmla="*/ 19 w 23"/>
                    <a:gd name="T41" fmla="*/ 7 h 46"/>
                    <a:gd name="T42" fmla="*/ 19 w 23"/>
                    <a:gd name="T43" fmla="*/ 20 h 46"/>
                    <a:gd name="T44" fmla="*/ 21 w 23"/>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3"/>
                      </a:moveTo>
                      <a:cubicBezTo>
                        <a:pt x="22" y="23"/>
                        <a:pt x="23" y="22"/>
                        <a:pt x="23" y="20"/>
                      </a:cubicBezTo>
                      <a:cubicBezTo>
                        <a:pt x="23" y="19"/>
                        <a:pt x="23" y="7"/>
                        <a:pt x="23" y="6"/>
                      </a:cubicBezTo>
                      <a:cubicBezTo>
                        <a:pt x="23" y="3"/>
                        <a:pt x="20" y="0"/>
                        <a:pt x="17" y="0"/>
                      </a:cubicBezTo>
                      <a:cubicBezTo>
                        <a:pt x="15" y="0"/>
                        <a:pt x="8" y="0"/>
                        <a:pt x="6" y="0"/>
                      </a:cubicBezTo>
                      <a:cubicBezTo>
                        <a:pt x="3" y="0"/>
                        <a:pt x="0" y="3"/>
                        <a:pt x="0" y="6"/>
                      </a:cubicBez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49" name="Freeform 461"/>
                <p:cNvSpPr>
                  <a:spLocks/>
                </p:cNvSpPr>
                <p:nvPr/>
              </p:nvSpPr>
              <p:spPr bwMode="auto">
                <a:xfrm>
                  <a:off x="14405" y="681"/>
                  <a:ext cx="22" cy="19"/>
                </a:xfrm>
                <a:custGeom>
                  <a:avLst/>
                  <a:gdLst>
                    <a:gd name="T0" fmla="*/ 9 w 9"/>
                    <a:gd name="T1" fmla="*/ 5 h 8"/>
                    <a:gd name="T2" fmla="*/ 4 w 9"/>
                    <a:gd name="T3" fmla="*/ 0 h 8"/>
                    <a:gd name="T4" fmla="*/ 0 w 9"/>
                    <a:gd name="T5" fmla="*/ 5 h 8"/>
                    <a:gd name="T6" fmla="*/ 0 w 9"/>
                    <a:gd name="T7" fmla="*/ 6 h 8"/>
                    <a:gd name="T8" fmla="*/ 7 w 9"/>
                    <a:gd name="T9" fmla="*/ 8 h 8"/>
                    <a:gd name="T10" fmla="*/ 9 w 9"/>
                    <a:gd name="T11" fmla="*/ 5 h 8"/>
                  </a:gdLst>
                  <a:ahLst/>
                  <a:cxnLst>
                    <a:cxn ang="0">
                      <a:pos x="T0" y="T1"/>
                    </a:cxn>
                    <a:cxn ang="0">
                      <a:pos x="T2" y="T3"/>
                    </a:cxn>
                    <a:cxn ang="0">
                      <a:pos x="T4" y="T5"/>
                    </a:cxn>
                    <a:cxn ang="0">
                      <a:pos x="T6" y="T7"/>
                    </a:cxn>
                    <a:cxn ang="0">
                      <a:pos x="T8" y="T9"/>
                    </a:cxn>
                    <a:cxn ang="0">
                      <a:pos x="T10" y="T11"/>
                    </a:cxn>
                  </a:cxnLst>
                  <a:rect l="0" t="0" r="r" b="b"/>
                  <a:pathLst>
                    <a:path w="9" h="8">
                      <a:moveTo>
                        <a:pt x="9" y="5"/>
                      </a:moveTo>
                      <a:cubicBezTo>
                        <a:pt x="9" y="2"/>
                        <a:pt x="7" y="0"/>
                        <a:pt x="4" y="0"/>
                      </a:cubicBezTo>
                      <a:cubicBezTo>
                        <a:pt x="2" y="0"/>
                        <a:pt x="0" y="2"/>
                        <a:pt x="0" y="5"/>
                      </a:cubicBezTo>
                      <a:cubicBezTo>
                        <a:pt x="0" y="5"/>
                        <a:pt x="0" y="6"/>
                        <a:pt x="0" y="6"/>
                      </a:cubicBezTo>
                      <a:cubicBezTo>
                        <a:pt x="3" y="7"/>
                        <a:pt x="6" y="7"/>
                        <a:pt x="7" y="8"/>
                      </a:cubicBezTo>
                      <a:cubicBezTo>
                        <a:pt x="8" y="8"/>
                        <a:pt x="9" y="6"/>
                        <a:pt x="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50" name="Oval 462"/>
                <p:cNvSpPr>
                  <a:spLocks noChangeArrowheads="1"/>
                </p:cNvSpPr>
                <p:nvPr/>
              </p:nvSpPr>
              <p:spPr bwMode="auto">
                <a:xfrm>
                  <a:off x="14602" y="681"/>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51" name="Freeform 463"/>
                <p:cNvSpPr>
                  <a:spLocks/>
                </p:cNvSpPr>
                <p:nvPr/>
              </p:nvSpPr>
              <p:spPr bwMode="auto">
                <a:xfrm>
                  <a:off x="14644" y="707"/>
                  <a:ext cx="67" cy="111"/>
                </a:xfrm>
                <a:custGeom>
                  <a:avLst/>
                  <a:gdLst>
                    <a:gd name="T0" fmla="*/ 23 w 28"/>
                    <a:gd name="T1" fmla="*/ 4 h 47"/>
                    <a:gd name="T2" fmla="*/ 18 w 28"/>
                    <a:gd name="T3" fmla="*/ 0 h 47"/>
                    <a:gd name="T4" fmla="*/ 10 w 28"/>
                    <a:gd name="T5" fmla="*/ 0 h 47"/>
                    <a:gd name="T6" fmla="*/ 5 w 28"/>
                    <a:gd name="T7" fmla="*/ 4 h 47"/>
                    <a:gd name="T8" fmla="*/ 1 w 28"/>
                    <a:gd name="T9" fmla="*/ 18 h 47"/>
                    <a:gd name="T10" fmla="*/ 2 w 28"/>
                    <a:gd name="T11" fmla="*/ 20 h 47"/>
                    <a:gd name="T12" fmla="*/ 4 w 28"/>
                    <a:gd name="T13" fmla="*/ 19 h 47"/>
                    <a:gd name="T14" fmla="*/ 8 w 28"/>
                    <a:gd name="T15" fmla="*/ 6 h 47"/>
                    <a:gd name="T16" fmla="*/ 9 w 28"/>
                    <a:gd name="T17" fmla="*/ 6 h 47"/>
                    <a:gd name="T18" fmla="*/ 3 w 28"/>
                    <a:gd name="T19" fmla="*/ 28 h 47"/>
                    <a:gd name="T20" fmla="*/ 9 w 28"/>
                    <a:gd name="T21" fmla="*/ 28 h 47"/>
                    <a:gd name="T22" fmla="*/ 9 w 28"/>
                    <a:gd name="T23" fmla="*/ 44 h 47"/>
                    <a:gd name="T24" fmla="*/ 11 w 28"/>
                    <a:gd name="T25" fmla="*/ 47 h 47"/>
                    <a:gd name="T26" fmla="*/ 14 w 28"/>
                    <a:gd name="T27" fmla="*/ 44 h 47"/>
                    <a:gd name="T28" fmla="*/ 14 w 28"/>
                    <a:gd name="T29" fmla="*/ 28 h 47"/>
                    <a:gd name="T30" fmla="*/ 15 w 28"/>
                    <a:gd name="T31" fmla="*/ 28 h 47"/>
                    <a:gd name="T32" fmla="*/ 15 w 28"/>
                    <a:gd name="T33" fmla="*/ 44 h 47"/>
                    <a:gd name="T34" fmla="*/ 17 w 28"/>
                    <a:gd name="T35" fmla="*/ 47 h 47"/>
                    <a:gd name="T36" fmla="*/ 19 w 28"/>
                    <a:gd name="T37" fmla="*/ 44 h 47"/>
                    <a:gd name="T38" fmla="*/ 19 w 28"/>
                    <a:gd name="T39" fmla="*/ 28 h 47"/>
                    <a:gd name="T40" fmla="*/ 25 w 28"/>
                    <a:gd name="T41" fmla="*/ 28 h 47"/>
                    <a:gd name="T42" fmla="*/ 19 w 28"/>
                    <a:gd name="T43" fmla="*/ 6 h 47"/>
                    <a:gd name="T44" fmla="*/ 20 w 28"/>
                    <a:gd name="T45" fmla="*/ 6 h 47"/>
                    <a:gd name="T46" fmla="*/ 24 w 28"/>
                    <a:gd name="T47" fmla="*/ 19 h 47"/>
                    <a:gd name="T48" fmla="*/ 26 w 28"/>
                    <a:gd name="T49" fmla="*/ 20 h 47"/>
                    <a:gd name="T50" fmla="*/ 27 w 28"/>
                    <a:gd name="T51" fmla="*/ 18 h 47"/>
                    <a:gd name="T52" fmla="*/ 23 w 28"/>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4"/>
                      </a:moveTo>
                      <a:cubicBezTo>
                        <a:pt x="23" y="2"/>
                        <a:pt x="20" y="0"/>
                        <a:pt x="18" y="0"/>
                      </a:cubicBezTo>
                      <a:cubicBezTo>
                        <a:pt x="17" y="0"/>
                        <a:pt x="11" y="0"/>
                        <a:pt x="10" y="0"/>
                      </a:cubicBezTo>
                      <a:cubicBezTo>
                        <a:pt x="8" y="0"/>
                        <a:pt x="6"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6"/>
                        <a:pt x="9" y="43"/>
                        <a:pt x="9" y="44"/>
                      </a:cubicBezTo>
                      <a:cubicBezTo>
                        <a:pt x="9" y="46"/>
                        <a:pt x="10" y="47"/>
                        <a:pt x="11" y="47"/>
                      </a:cubicBezTo>
                      <a:cubicBezTo>
                        <a:pt x="13" y="47"/>
                        <a:pt x="14" y="46"/>
                        <a:pt x="14" y="44"/>
                      </a:cubicBezTo>
                      <a:cubicBezTo>
                        <a:pt x="14" y="43"/>
                        <a:pt x="14" y="28"/>
                        <a:pt x="14" y="28"/>
                      </a:cubicBezTo>
                      <a:cubicBezTo>
                        <a:pt x="15" y="28"/>
                        <a:pt x="15" y="28"/>
                        <a:pt x="15" y="28"/>
                      </a:cubicBezTo>
                      <a:cubicBezTo>
                        <a:pt x="15" y="28"/>
                        <a:pt x="15" y="43"/>
                        <a:pt x="15" y="44"/>
                      </a:cubicBezTo>
                      <a:cubicBezTo>
                        <a:pt x="15" y="46"/>
                        <a:pt x="16" y="47"/>
                        <a:pt x="17" y="47"/>
                      </a:cubicBezTo>
                      <a:cubicBezTo>
                        <a:pt x="18" y="47"/>
                        <a:pt x="19" y="46"/>
                        <a:pt x="19" y="44"/>
                      </a:cubicBezTo>
                      <a:cubicBezTo>
                        <a:pt x="19" y="43"/>
                        <a:pt x="19" y="36"/>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8"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52" name="Oval 464"/>
                <p:cNvSpPr>
                  <a:spLocks noChangeArrowheads="1"/>
                </p:cNvSpPr>
                <p:nvPr/>
              </p:nvSpPr>
              <p:spPr bwMode="auto">
                <a:xfrm>
                  <a:off x="14666" y="681"/>
                  <a:ext cx="23"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53" name="Oval 465"/>
                <p:cNvSpPr>
                  <a:spLocks noChangeArrowheads="1"/>
                </p:cNvSpPr>
                <p:nvPr/>
              </p:nvSpPr>
              <p:spPr bwMode="auto">
                <a:xfrm>
                  <a:off x="14602"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54" name="Freeform 466"/>
                <p:cNvSpPr>
                  <a:spLocks/>
                </p:cNvSpPr>
                <p:nvPr/>
              </p:nvSpPr>
              <p:spPr bwMode="auto">
                <a:xfrm>
                  <a:off x="14403" y="756"/>
                  <a:ext cx="38" cy="62"/>
                </a:xfrm>
                <a:custGeom>
                  <a:avLst/>
                  <a:gdLst>
                    <a:gd name="T0" fmla="*/ 3 w 16"/>
                    <a:gd name="T1" fmla="*/ 26 h 26"/>
                    <a:gd name="T2" fmla="*/ 5 w 16"/>
                    <a:gd name="T3" fmla="*/ 23 h 26"/>
                    <a:gd name="T4" fmla="*/ 5 w 16"/>
                    <a:gd name="T5" fmla="*/ 7 h 26"/>
                    <a:gd name="T6" fmla="*/ 6 w 16"/>
                    <a:gd name="T7" fmla="*/ 7 h 26"/>
                    <a:gd name="T8" fmla="*/ 6 w 16"/>
                    <a:gd name="T9" fmla="*/ 23 h 26"/>
                    <a:gd name="T10" fmla="*/ 8 w 16"/>
                    <a:gd name="T11" fmla="*/ 26 h 26"/>
                    <a:gd name="T12" fmla="*/ 10 w 16"/>
                    <a:gd name="T13" fmla="*/ 23 h 26"/>
                    <a:gd name="T14" fmla="*/ 10 w 16"/>
                    <a:gd name="T15" fmla="*/ 7 h 26"/>
                    <a:gd name="T16" fmla="*/ 16 w 16"/>
                    <a:gd name="T17" fmla="*/ 7 h 26"/>
                    <a:gd name="T18" fmla="*/ 14 w 16"/>
                    <a:gd name="T19" fmla="*/ 0 h 26"/>
                    <a:gd name="T20" fmla="*/ 0 w 16"/>
                    <a:gd name="T21" fmla="*/ 8 h 26"/>
                    <a:gd name="T22" fmla="*/ 0 w 16"/>
                    <a:gd name="T23" fmla="*/ 23 h 26"/>
                    <a:gd name="T24" fmla="*/ 3 w 16"/>
                    <a:gd name="T2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3" y="26"/>
                      </a:moveTo>
                      <a:cubicBezTo>
                        <a:pt x="4" y="26"/>
                        <a:pt x="5" y="25"/>
                        <a:pt x="5" y="23"/>
                      </a:cubicBezTo>
                      <a:cubicBezTo>
                        <a:pt x="5" y="22"/>
                        <a:pt x="5" y="7"/>
                        <a:pt x="5" y="7"/>
                      </a:cubicBezTo>
                      <a:cubicBezTo>
                        <a:pt x="6" y="7"/>
                        <a:pt x="6" y="7"/>
                        <a:pt x="6" y="7"/>
                      </a:cubicBezTo>
                      <a:cubicBezTo>
                        <a:pt x="6" y="7"/>
                        <a:pt x="6" y="22"/>
                        <a:pt x="6" y="23"/>
                      </a:cubicBezTo>
                      <a:cubicBezTo>
                        <a:pt x="6" y="25"/>
                        <a:pt x="7" y="26"/>
                        <a:pt x="8" y="26"/>
                      </a:cubicBezTo>
                      <a:cubicBezTo>
                        <a:pt x="9" y="26"/>
                        <a:pt x="10" y="25"/>
                        <a:pt x="10" y="23"/>
                      </a:cubicBezTo>
                      <a:cubicBezTo>
                        <a:pt x="10" y="22"/>
                        <a:pt x="10" y="15"/>
                        <a:pt x="10" y="7"/>
                      </a:cubicBezTo>
                      <a:cubicBezTo>
                        <a:pt x="16" y="7"/>
                        <a:pt x="16" y="7"/>
                        <a:pt x="16" y="7"/>
                      </a:cubicBezTo>
                      <a:cubicBezTo>
                        <a:pt x="16" y="4"/>
                        <a:pt x="15" y="2"/>
                        <a:pt x="14" y="0"/>
                      </a:cubicBezTo>
                      <a:cubicBezTo>
                        <a:pt x="11" y="3"/>
                        <a:pt x="6" y="6"/>
                        <a:pt x="0" y="8"/>
                      </a:cubicBezTo>
                      <a:cubicBezTo>
                        <a:pt x="0" y="15"/>
                        <a:pt x="0" y="23"/>
                        <a:pt x="0" y="23"/>
                      </a:cubicBezTo>
                      <a:cubicBezTo>
                        <a:pt x="0" y="25"/>
                        <a:pt x="1" y="26"/>
                        <a:pt x="3"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55" name="Freeform 467"/>
                <p:cNvSpPr>
                  <a:spLocks/>
                </p:cNvSpPr>
                <p:nvPr/>
              </p:nvSpPr>
              <p:spPr bwMode="auto">
                <a:xfrm>
                  <a:off x="14581" y="853"/>
                  <a:ext cx="63" cy="112"/>
                </a:xfrm>
                <a:custGeom>
                  <a:avLst/>
                  <a:gdLst>
                    <a:gd name="T0" fmla="*/ 1 w 27"/>
                    <a:gd name="T1" fmla="*/ 21 h 47"/>
                    <a:gd name="T2" fmla="*/ 4 w 27"/>
                    <a:gd name="T3" fmla="*/ 20 h 47"/>
                    <a:gd name="T4" fmla="*/ 8 w 27"/>
                    <a:gd name="T5" fmla="*/ 7 h 47"/>
                    <a:gd name="T6" fmla="*/ 9 w 27"/>
                    <a:gd name="T7" fmla="*/ 7 h 47"/>
                    <a:gd name="T8" fmla="*/ 2 w 27"/>
                    <a:gd name="T9" fmla="*/ 28 h 47"/>
                    <a:gd name="T10" fmla="*/ 8 w 27"/>
                    <a:gd name="T11" fmla="*/ 28 h 47"/>
                    <a:gd name="T12" fmla="*/ 8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5 w 27"/>
                    <a:gd name="T31" fmla="*/ 28 h 47"/>
                    <a:gd name="T32" fmla="*/ 18 w 27"/>
                    <a:gd name="T33" fmla="*/ 7 h 47"/>
                    <a:gd name="T34" fmla="*/ 19 w 27"/>
                    <a:gd name="T35" fmla="*/ 7 h 47"/>
                    <a:gd name="T36" fmla="*/ 23 w 27"/>
                    <a:gd name="T37" fmla="*/ 20 h 47"/>
                    <a:gd name="T38" fmla="*/ 25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8" y="7"/>
                        <a:pt x="8"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3"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56" name="Oval 468"/>
                <p:cNvSpPr>
                  <a:spLocks noChangeArrowheads="1"/>
                </p:cNvSpPr>
                <p:nvPr/>
              </p:nvSpPr>
              <p:spPr bwMode="auto">
                <a:xfrm>
                  <a:off x="14666" y="830"/>
                  <a:ext cx="23"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57" name="Freeform 469"/>
                <p:cNvSpPr>
                  <a:spLocks/>
                </p:cNvSpPr>
                <p:nvPr/>
              </p:nvSpPr>
              <p:spPr bwMode="auto">
                <a:xfrm>
                  <a:off x="14351" y="790"/>
                  <a:ext cx="14" cy="26"/>
                </a:xfrm>
                <a:custGeom>
                  <a:avLst/>
                  <a:gdLst>
                    <a:gd name="T0" fmla="*/ 0 w 6"/>
                    <a:gd name="T1" fmla="*/ 2 h 11"/>
                    <a:gd name="T2" fmla="*/ 0 w 6"/>
                    <a:gd name="T3" fmla="*/ 9 h 11"/>
                    <a:gd name="T4" fmla="*/ 3 w 6"/>
                    <a:gd name="T5" fmla="*/ 11 h 11"/>
                    <a:gd name="T6" fmla="*/ 6 w 6"/>
                    <a:gd name="T7" fmla="*/ 9 h 11"/>
                    <a:gd name="T8" fmla="*/ 6 w 6"/>
                    <a:gd name="T9" fmla="*/ 0 h 11"/>
                    <a:gd name="T10" fmla="*/ 2 w 6"/>
                    <a:gd name="T11" fmla="*/ 1 h 11"/>
                    <a:gd name="T12" fmla="*/ 0 w 6"/>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6" h="11">
                      <a:moveTo>
                        <a:pt x="0" y="2"/>
                      </a:moveTo>
                      <a:cubicBezTo>
                        <a:pt x="0" y="5"/>
                        <a:pt x="0" y="8"/>
                        <a:pt x="0" y="9"/>
                      </a:cubicBezTo>
                      <a:cubicBezTo>
                        <a:pt x="0" y="10"/>
                        <a:pt x="1" y="11"/>
                        <a:pt x="3" y="11"/>
                      </a:cubicBezTo>
                      <a:cubicBezTo>
                        <a:pt x="4" y="11"/>
                        <a:pt x="6" y="10"/>
                        <a:pt x="6" y="9"/>
                      </a:cubicBezTo>
                      <a:cubicBezTo>
                        <a:pt x="6" y="8"/>
                        <a:pt x="6" y="4"/>
                        <a:pt x="6" y="0"/>
                      </a:cubicBezTo>
                      <a:cubicBezTo>
                        <a:pt x="4" y="0"/>
                        <a:pt x="3" y="1"/>
                        <a:pt x="2" y="1"/>
                      </a:cubicBezTo>
                      <a:cubicBezTo>
                        <a:pt x="1" y="2"/>
                        <a:pt x="1"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58" name="Freeform 470"/>
                <p:cNvSpPr>
                  <a:spLocks/>
                </p:cNvSpPr>
                <p:nvPr/>
              </p:nvSpPr>
              <p:spPr bwMode="auto">
                <a:xfrm>
                  <a:off x="14652" y="853"/>
                  <a:ext cx="52" cy="112"/>
                </a:xfrm>
                <a:custGeom>
                  <a:avLst/>
                  <a:gdLst>
                    <a:gd name="T0" fmla="*/ 0 w 22"/>
                    <a:gd name="T1" fmla="*/ 6 h 47"/>
                    <a:gd name="T2" fmla="*/ 0 w 22"/>
                    <a:gd name="T3" fmla="*/ 21 h 47"/>
                    <a:gd name="T4" fmla="*/ 2 w 22"/>
                    <a:gd name="T5" fmla="*/ 23 h 47"/>
                    <a:gd name="T6" fmla="*/ 4 w 22"/>
                    <a:gd name="T7" fmla="*/ 21 h 47"/>
                    <a:gd name="T8" fmla="*/ 4 w 22"/>
                    <a:gd name="T9" fmla="*/ 8 h 47"/>
                    <a:gd name="T10" fmla="*/ 5 w 22"/>
                    <a:gd name="T11" fmla="*/ 8 h 47"/>
                    <a:gd name="T12" fmla="*/ 5 w 22"/>
                    <a:gd name="T13" fmla="*/ 44 h 47"/>
                    <a:gd name="T14" fmla="*/ 8 w 22"/>
                    <a:gd name="T15" fmla="*/ 47 h 47"/>
                    <a:gd name="T16" fmla="*/ 11 w 22"/>
                    <a:gd name="T17" fmla="*/ 44 h 47"/>
                    <a:gd name="T18" fmla="*/ 11 w 22"/>
                    <a:gd name="T19" fmla="*/ 23 h 47"/>
                    <a:gd name="T20" fmla="*/ 12 w 22"/>
                    <a:gd name="T21" fmla="*/ 23 h 47"/>
                    <a:gd name="T22" fmla="*/ 12 w 22"/>
                    <a:gd name="T23" fmla="*/ 44 h 47"/>
                    <a:gd name="T24" fmla="*/ 14 w 22"/>
                    <a:gd name="T25" fmla="*/ 47 h 47"/>
                    <a:gd name="T26" fmla="*/ 17 w 22"/>
                    <a:gd name="T27" fmla="*/ 44 h 47"/>
                    <a:gd name="T28" fmla="*/ 17 w 22"/>
                    <a:gd name="T29" fmla="*/ 8 h 47"/>
                    <a:gd name="T30" fmla="*/ 18 w 22"/>
                    <a:gd name="T31" fmla="*/ 8 h 47"/>
                    <a:gd name="T32" fmla="*/ 18 w 22"/>
                    <a:gd name="T33" fmla="*/ 21 h 47"/>
                    <a:gd name="T34" fmla="*/ 20 w 22"/>
                    <a:gd name="T35" fmla="*/ 23 h 47"/>
                    <a:gd name="T36" fmla="*/ 22 w 22"/>
                    <a:gd name="T37" fmla="*/ 21 h 47"/>
                    <a:gd name="T38" fmla="*/ 22 w 22"/>
                    <a:gd name="T39" fmla="*/ 6 h 47"/>
                    <a:gd name="T40" fmla="*/ 16 w 22"/>
                    <a:gd name="T41" fmla="*/ 0 h 47"/>
                    <a:gd name="T42" fmla="*/ 6 w 22"/>
                    <a:gd name="T43" fmla="*/ 0 h 47"/>
                    <a:gd name="T44" fmla="*/ 0 w 22"/>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6"/>
                      </a:move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2" y="23"/>
                        <a:pt x="22" y="22"/>
                        <a:pt x="22" y="21"/>
                      </a:cubicBezTo>
                      <a:cubicBezTo>
                        <a:pt x="22" y="20"/>
                        <a:pt x="22" y="8"/>
                        <a:pt x="22" y="6"/>
                      </a:cubicBezTo>
                      <a:cubicBezTo>
                        <a:pt x="22" y="3"/>
                        <a:pt x="20" y="0"/>
                        <a:pt x="16" y="0"/>
                      </a:cubicBezTo>
                      <a:cubicBezTo>
                        <a:pt x="15" y="0"/>
                        <a:pt x="7"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59" name="Freeform 471"/>
                <p:cNvSpPr>
                  <a:spLocks/>
                </p:cNvSpPr>
                <p:nvPr/>
              </p:nvSpPr>
              <p:spPr bwMode="auto">
                <a:xfrm>
                  <a:off x="14585" y="1000"/>
                  <a:ext cx="55"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7 w 23"/>
                    <a:gd name="T31" fmla="*/ 44 h 47"/>
                    <a:gd name="T32" fmla="*/ 17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60" name="Freeform 472"/>
                <p:cNvSpPr>
                  <a:spLocks/>
                </p:cNvSpPr>
                <p:nvPr/>
              </p:nvSpPr>
              <p:spPr bwMode="auto">
                <a:xfrm>
                  <a:off x="14192" y="877"/>
                  <a:ext cx="55" cy="88"/>
                </a:xfrm>
                <a:custGeom>
                  <a:avLst/>
                  <a:gdLst>
                    <a:gd name="T0" fmla="*/ 4 w 23"/>
                    <a:gd name="T1" fmla="*/ 5 h 37"/>
                    <a:gd name="T2" fmla="*/ 0 w 23"/>
                    <a:gd name="T3" fmla="*/ 18 h 37"/>
                    <a:gd name="T4" fmla="*/ 6 w 23"/>
                    <a:gd name="T5" fmla="*/ 18 h 37"/>
                    <a:gd name="T6" fmla="*/ 6 w 23"/>
                    <a:gd name="T7" fmla="*/ 35 h 37"/>
                    <a:gd name="T8" fmla="*/ 9 w 23"/>
                    <a:gd name="T9" fmla="*/ 37 h 37"/>
                    <a:gd name="T10" fmla="*/ 11 w 23"/>
                    <a:gd name="T11" fmla="*/ 35 h 37"/>
                    <a:gd name="T12" fmla="*/ 11 w 23"/>
                    <a:gd name="T13" fmla="*/ 18 h 37"/>
                    <a:gd name="T14" fmla="*/ 12 w 23"/>
                    <a:gd name="T15" fmla="*/ 18 h 37"/>
                    <a:gd name="T16" fmla="*/ 12 w 23"/>
                    <a:gd name="T17" fmla="*/ 35 h 37"/>
                    <a:gd name="T18" fmla="*/ 14 w 23"/>
                    <a:gd name="T19" fmla="*/ 37 h 37"/>
                    <a:gd name="T20" fmla="*/ 16 w 23"/>
                    <a:gd name="T21" fmla="*/ 35 h 37"/>
                    <a:gd name="T22" fmla="*/ 16 w 23"/>
                    <a:gd name="T23" fmla="*/ 18 h 37"/>
                    <a:gd name="T24" fmla="*/ 23 w 23"/>
                    <a:gd name="T25" fmla="*/ 18 h 37"/>
                    <a:gd name="T26" fmla="*/ 17 w 23"/>
                    <a:gd name="T27" fmla="*/ 0 h 37"/>
                    <a:gd name="T28" fmla="*/ 9 w 23"/>
                    <a:gd name="T29" fmla="*/ 3 h 37"/>
                    <a:gd name="T30" fmla="*/ 4 w 23"/>
                    <a:gd name="T31" fmla="*/ 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7">
                      <a:moveTo>
                        <a:pt x="4" y="5"/>
                      </a:moveTo>
                      <a:cubicBezTo>
                        <a:pt x="0" y="18"/>
                        <a:pt x="0" y="18"/>
                        <a:pt x="0" y="18"/>
                      </a:cubicBezTo>
                      <a:cubicBezTo>
                        <a:pt x="6" y="18"/>
                        <a:pt x="6" y="18"/>
                        <a:pt x="6" y="18"/>
                      </a:cubicBezTo>
                      <a:cubicBezTo>
                        <a:pt x="6" y="26"/>
                        <a:pt x="6" y="34"/>
                        <a:pt x="6" y="35"/>
                      </a:cubicBezTo>
                      <a:cubicBezTo>
                        <a:pt x="6" y="36"/>
                        <a:pt x="7" y="37"/>
                        <a:pt x="9" y="37"/>
                      </a:cubicBezTo>
                      <a:cubicBezTo>
                        <a:pt x="10" y="37"/>
                        <a:pt x="11" y="36"/>
                        <a:pt x="11" y="35"/>
                      </a:cubicBezTo>
                      <a:cubicBezTo>
                        <a:pt x="11" y="33"/>
                        <a:pt x="11" y="18"/>
                        <a:pt x="11" y="18"/>
                      </a:cubicBezTo>
                      <a:cubicBezTo>
                        <a:pt x="12" y="18"/>
                        <a:pt x="12" y="18"/>
                        <a:pt x="12" y="18"/>
                      </a:cubicBezTo>
                      <a:cubicBezTo>
                        <a:pt x="12" y="18"/>
                        <a:pt x="12" y="33"/>
                        <a:pt x="12" y="35"/>
                      </a:cubicBezTo>
                      <a:cubicBezTo>
                        <a:pt x="12" y="36"/>
                        <a:pt x="13" y="37"/>
                        <a:pt x="14" y="37"/>
                      </a:cubicBezTo>
                      <a:cubicBezTo>
                        <a:pt x="15" y="37"/>
                        <a:pt x="16" y="36"/>
                        <a:pt x="16" y="35"/>
                      </a:cubicBezTo>
                      <a:cubicBezTo>
                        <a:pt x="16" y="34"/>
                        <a:pt x="16" y="26"/>
                        <a:pt x="16" y="18"/>
                      </a:cubicBezTo>
                      <a:cubicBezTo>
                        <a:pt x="23" y="18"/>
                        <a:pt x="23" y="18"/>
                        <a:pt x="23" y="18"/>
                      </a:cubicBezTo>
                      <a:cubicBezTo>
                        <a:pt x="20" y="8"/>
                        <a:pt x="18" y="3"/>
                        <a:pt x="17" y="0"/>
                      </a:cubicBezTo>
                      <a:cubicBezTo>
                        <a:pt x="14" y="1"/>
                        <a:pt x="12" y="2"/>
                        <a:pt x="9" y="3"/>
                      </a:cubicBezTo>
                      <a:cubicBezTo>
                        <a:pt x="7" y="4"/>
                        <a:pt x="6" y="4"/>
                        <a:pt x="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61" name="Oval 473"/>
                <p:cNvSpPr>
                  <a:spLocks noChangeArrowheads="1"/>
                </p:cNvSpPr>
                <p:nvPr/>
              </p:nvSpPr>
              <p:spPr bwMode="auto">
                <a:xfrm>
                  <a:off x="14602"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62" name="Freeform 474"/>
                <p:cNvSpPr>
                  <a:spLocks/>
                </p:cNvSpPr>
                <p:nvPr/>
              </p:nvSpPr>
              <p:spPr bwMode="auto">
                <a:xfrm>
                  <a:off x="14644" y="1000"/>
                  <a:ext cx="67" cy="111"/>
                </a:xfrm>
                <a:custGeom>
                  <a:avLst/>
                  <a:gdLst>
                    <a:gd name="T0" fmla="*/ 23 w 28"/>
                    <a:gd name="T1" fmla="*/ 5 h 47"/>
                    <a:gd name="T2" fmla="*/ 18 w 28"/>
                    <a:gd name="T3" fmla="*/ 0 h 47"/>
                    <a:gd name="T4" fmla="*/ 10 w 28"/>
                    <a:gd name="T5" fmla="*/ 0 h 47"/>
                    <a:gd name="T6" fmla="*/ 5 w 28"/>
                    <a:gd name="T7" fmla="*/ 5 h 47"/>
                    <a:gd name="T8" fmla="*/ 1 w 28"/>
                    <a:gd name="T9" fmla="*/ 18 h 47"/>
                    <a:gd name="T10" fmla="*/ 2 w 28"/>
                    <a:gd name="T11" fmla="*/ 21 h 47"/>
                    <a:gd name="T12" fmla="*/ 4 w 28"/>
                    <a:gd name="T13" fmla="*/ 20 h 47"/>
                    <a:gd name="T14" fmla="*/ 8 w 28"/>
                    <a:gd name="T15" fmla="*/ 7 h 47"/>
                    <a:gd name="T16" fmla="*/ 9 w 28"/>
                    <a:gd name="T17" fmla="*/ 7 h 47"/>
                    <a:gd name="T18" fmla="*/ 3 w 28"/>
                    <a:gd name="T19" fmla="*/ 28 h 47"/>
                    <a:gd name="T20" fmla="*/ 9 w 28"/>
                    <a:gd name="T21" fmla="*/ 28 h 47"/>
                    <a:gd name="T22" fmla="*/ 9 w 28"/>
                    <a:gd name="T23" fmla="*/ 45 h 47"/>
                    <a:gd name="T24" fmla="*/ 11 w 28"/>
                    <a:gd name="T25" fmla="*/ 47 h 47"/>
                    <a:gd name="T26" fmla="*/ 14 w 28"/>
                    <a:gd name="T27" fmla="*/ 45 h 47"/>
                    <a:gd name="T28" fmla="*/ 14 w 28"/>
                    <a:gd name="T29" fmla="*/ 28 h 47"/>
                    <a:gd name="T30" fmla="*/ 15 w 28"/>
                    <a:gd name="T31" fmla="*/ 28 h 47"/>
                    <a:gd name="T32" fmla="*/ 15 w 28"/>
                    <a:gd name="T33" fmla="*/ 45 h 47"/>
                    <a:gd name="T34" fmla="*/ 17 w 28"/>
                    <a:gd name="T35" fmla="*/ 47 h 47"/>
                    <a:gd name="T36" fmla="*/ 19 w 28"/>
                    <a:gd name="T37" fmla="*/ 45 h 47"/>
                    <a:gd name="T38" fmla="*/ 19 w 28"/>
                    <a:gd name="T39" fmla="*/ 28 h 47"/>
                    <a:gd name="T40" fmla="*/ 25 w 28"/>
                    <a:gd name="T41" fmla="*/ 28 h 47"/>
                    <a:gd name="T42" fmla="*/ 19 w 28"/>
                    <a:gd name="T43" fmla="*/ 7 h 47"/>
                    <a:gd name="T44" fmla="*/ 20 w 28"/>
                    <a:gd name="T45" fmla="*/ 7 h 47"/>
                    <a:gd name="T46" fmla="*/ 24 w 28"/>
                    <a:gd name="T47" fmla="*/ 20 h 47"/>
                    <a:gd name="T48" fmla="*/ 26 w 28"/>
                    <a:gd name="T49" fmla="*/ 21 h 47"/>
                    <a:gd name="T50" fmla="*/ 27 w 28"/>
                    <a:gd name="T51" fmla="*/ 18 h 47"/>
                    <a:gd name="T52" fmla="*/ 23 w 28"/>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5"/>
                      </a:moveTo>
                      <a:cubicBezTo>
                        <a:pt x="23" y="2"/>
                        <a:pt x="20" y="0"/>
                        <a:pt x="18" y="0"/>
                      </a:cubicBezTo>
                      <a:cubicBezTo>
                        <a:pt x="17" y="0"/>
                        <a:pt x="11" y="0"/>
                        <a:pt x="10" y="0"/>
                      </a:cubicBezTo>
                      <a:cubicBezTo>
                        <a:pt x="8" y="0"/>
                        <a:pt x="6" y="2"/>
                        <a:pt x="5" y="5"/>
                      </a:cubicBezTo>
                      <a:cubicBezTo>
                        <a:pt x="3" y="10"/>
                        <a:pt x="1" y="18"/>
                        <a:pt x="1" y="18"/>
                      </a:cubicBezTo>
                      <a:cubicBezTo>
                        <a:pt x="0" y="19"/>
                        <a:pt x="1" y="20"/>
                        <a:pt x="2" y="21"/>
                      </a:cubicBezTo>
                      <a:cubicBezTo>
                        <a:pt x="3" y="21"/>
                        <a:pt x="4" y="20"/>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3"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0"/>
                        <a:pt x="25" y="21"/>
                        <a:pt x="26" y="21"/>
                      </a:cubicBezTo>
                      <a:cubicBezTo>
                        <a:pt x="27" y="20"/>
                        <a:pt x="28"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63" name="Freeform 475"/>
                <p:cNvSpPr>
                  <a:spLocks/>
                </p:cNvSpPr>
                <p:nvPr/>
              </p:nvSpPr>
              <p:spPr bwMode="auto">
                <a:xfrm>
                  <a:off x="14235" y="872"/>
                  <a:ext cx="17" cy="31"/>
                </a:xfrm>
                <a:custGeom>
                  <a:avLst/>
                  <a:gdLst>
                    <a:gd name="T0" fmla="*/ 3 w 7"/>
                    <a:gd name="T1" fmla="*/ 12 h 13"/>
                    <a:gd name="T2" fmla="*/ 5 w 7"/>
                    <a:gd name="T3" fmla="*/ 13 h 13"/>
                    <a:gd name="T4" fmla="*/ 6 w 7"/>
                    <a:gd name="T5" fmla="*/ 11 h 13"/>
                    <a:gd name="T6" fmla="*/ 3 w 7"/>
                    <a:gd name="T7" fmla="*/ 0 h 13"/>
                    <a:gd name="T8" fmla="*/ 0 w 7"/>
                    <a:gd name="T9" fmla="*/ 2 h 13"/>
                    <a:gd name="T10" fmla="*/ 3 w 7"/>
                    <a:gd name="T11" fmla="*/ 12 h 13"/>
                  </a:gdLst>
                  <a:ahLst/>
                  <a:cxnLst>
                    <a:cxn ang="0">
                      <a:pos x="T0" y="T1"/>
                    </a:cxn>
                    <a:cxn ang="0">
                      <a:pos x="T2" y="T3"/>
                    </a:cxn>
                    <a:cxn ang="0">
                      <a:pos x="T4" y="T5"/>
                    </a:cxn>
                    <a:cxn ang="0">
                      <a:pos x="T6" y="T7"/>
                    </a:cxn>
                    <a:cxn ang="0">
                      <a:pos x="T8" y="T9"/>
                    </a:cxn>
                    <a:cxn ang="0">
                      <a:pos x="T10" y="T11"/>
                    </a:cxn>
                  </a:cxnLst>
                  <a:rect l="0" t="0" r="r" b="b"/>
                  <a:pathLst>
                    <a:path w="7" h="13">
                      <a:moveTo>
                        <a:pt x="3" y="12"/>
                      </a:moveTo>
                      <a:cubicBezTo>
                        <a:pt x="3" y="13"/>
                        <a:pt x="4" y="13"/>
                        <a:pt x="5" y="13"/>
                      </a:cubicBezTo>
                      <a:cubicBezTo>
                        <a:pt x="6" y="13"/>
                        <a:pt x="7" y="12"/>
                        <a:pt x="6" y="11"/>
                      </a:cubicBezTo>
                      <a:cubicBezTo>
                        <a:pt x="6" y="10"/>
                        <a:pt x="5" y="5"/>
                        <a:pt x="3" y="0"/>
                      </a:cubicBezTo>
                      <a:cubicBezTo>
                        <a:pt x="2" y="0"/>
                        <a:pt x="1" y="1"/>
                        <a:pt x="0" y="2"/>
                      </a:cubicBezTo>
                      <a:cubicBezTo>
                        <a:pt x="1" y="5"/>
                        <a:pt x="3" y="11"/>
                        <a:pt x="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64" name="Freeform 476"/>
                <p:cNvSpPr>
                  <a:spLocks/>
                </p:cNvSpPr>
                <p:nvPr/>
              </p:nvSpPr>
              <p:spPr bwMode="auto">
                <a:xfrm>
                  <a:off x="14337" y="797"/>
                  <a:ext cx="12" cy="19"/>
                </a:xfrm>
                <a:custGeom>
                  <a:avLst/>
                  <a:gdLst>
                    <a:gd name="T0" fmla="*/ 2 w 5"/>
                    <a:gd name="T1" fmla="*/ 8 h 8"/>
                    <a:gd name="T2" fmla="*/ 5 w 5"/>
                    <a:gd name="T3" fmla="*/ 6 h 8"/>
                    <a:gd name="T4" fmla="*/ 5 w 5"/>
                    <a:gd name="T5" fmla="*/ 0 h 8"/>
                    <a:gd name="T6" fmla="*/ 0 w 5"/>
                    <a:gd name="T7" fmla="*/ 3 h 8"/>
                    <a:gd name="T8" fmla="*/ 0 w 5"/>
                    <a:gd name="T9" fmla="*/ 6 h 8"/>
                    <a:gd name="T10" fmla="*/ 2 w 5"/>
                    <a:gd name="T11" fmla="*/ 8 h 8"/>
                  </a:gdLst>
                  <a:ahLst/>
                  <a:cxnLst>
                    <a:cxn ang="0">
                      <a:pos x="T0" y="T1"/>
                    </a:cxn>
                    <a:cxn ang="0">
                      <a:pos x="T2" y="T3"/>
                    </a:cxn>
                    <a:cxn ang="0">
                      <a:pos x="T4" y="T5"/>
                    </a:cxn>
                    <a:cxn ang="0">
                      <a:pos x="T6" y="T7"/>
                    </a:cxn>
                    <a:cxn ang="0">
                      <a:pos x="T8" y="T9"/>
                    </a:cxn>
                    <a:cxn ang="0">
                      <a:pos x="T10" y="T11"/>
                    </a:cxn>
                  </a:cxnLst>
                  <a:rect l="0" t="0" r="r" b="b"/>
                  <a:pathLst>
                    <a:path w="5" h="8">
                      <a:moveTo>
                        <a:pt x="2" y="8"/>
                      </a:moveTo>
                      <a:cubicBezTo>
                        <a:pt x="4" y="8"/>
                        <a:pt x="5" y="7"/>
                        <a:pt x="5" y="6"/>
                      </a:cubicBezTo>
                      <a:cubicBezTo>
                        <a:pt x="5" y="5"/>
                        <a:pt x="5" y="3"/>
                        <a:pt x="5" y="0"/>
                      </a:cubicBezTo>
                      <a:cubicBezTo>
                        <a:pt x="3" y="1"/>
                        <a:pt x="1" y="2"/>
                        <a:pt x="0" y="3"/>
                      </a:cubicBezTo>
                      <a:cubicBezTo>
                        <a:pt x="0" y="5"/>
                        <a:pt x="0" y="5"/>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65" name="Freeform 477"/>
                <p:cNvSpPr>
                  <a:spLocks/>
                </p:cNvSpPr>
                <p:nvPr/>
              </p:nvSpPr>
              <p:spPr bwMode="auto">
                <a:xfrm>
                  <a:off x="14278" y="835"/>
                  <a:ext cx="19" cy="16"/>
                </a:xfrm>
                <a:custGeom>
                  <a:avLst/>
                  <a:gdLst>
                    <a:gd name="T0" fmla="*/ 8 w 8"/>
                    <a:gd name="T1" fmla="*/ 2 h 7"/>
                    <a:gd name="T2" fmla="*/ 7 w 8"/>
                    <a:gd name="T3" fmla="*/ 0 h 7"/>
                    <a:gd name="T4" fmla="*/ 0 w 8"/>
                    <a:gd name="T5" fmla="*/ 6 h 7"/>
                    <a:gd name="T6" fmla="*/ 3 w 8"/>
                    <a:gd name="T7" fmla="*/ 7 h 7"/>
                    <a:gd name="T8" fmla="*/ 8 w 8"/>
                    <a:gd name="T9" fmla="*/ 2 h 7"/>
                  </a:gdLst>
                  <a:ahLst/>
                  <a:cxnLst>
                    <a:cxn ang="0">
                      <a:pos x="T0" y="T1"/>
                    </a:cxn>
                    <a:cxn ang="0">
                      <a:pos x="T2" y="T3"/>
                    </a:cxn>
                    <a:cxn ang="0">
                      <a:pos x="T4" y="T5"/>
                    </a:cxn>
                    <a:cxn ang="0">
                      <a:pos x="T6" y="T7"/>
                    </a:cxn>
                    <a:cxn ang="0">
                      <a:pos x="T8" y="T9"/>
                    </a:cxn>
                  </a:cxnLst>
                  <a:rect l="0" t="0" r="r" b="b"/>
                  <a:pathLst>
                    <a:path w="8" h="7">
                      <a:moveTo>
                        <a:pt x="8" y="2"/>
                      </a:moveTo>
                      <a:cubicBezTo>
                        <a:pt x="8" y="2"/>
                        <a:pt x="8" y="1"/>
                        <a:pt x="7" y="0"/>
                      </a:cubicBezTo>
                      <a:cubicBezTo>
                        <a:pt x="5" y="2"/>
                        <a:pt x="2" y="4"/>
                        <a:pt x="0" y="6"/>
                      </a:cubicBezTo>
                      <a:cubicBezTo>
                        <a:pt x="1" y="7"/>
                        <a:pt x="2" y="7"/>
                        <a:pt x="3" y="7"/>
                      </a:cubicBezTo>
                      <a:cubicBezTo>
                        <a:pt x="6" y="7"/>
                        <a:pt x="8" y="5"/>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66" name="Freeform 478"/>
                <p:cNvSpPr>
                  <a:spLocks/>
                </p:cNvSpPr>
                <p:nvPr/>
              </p:nvSpPr>
              <p:spPr bwMode="auto">
                <a:xfrm>
                  <a:off x="14259" y="853"/>
                  <a:ext cx="52" cy="112"/>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8 w 22"/>
                    <a:gd name="T13" fmla="*/ 47 h 47"/>
                    <a:gd name="T14" fmla="*/ 10 w 22"/>
                    <a:gd name="T15" fmla="*/ 44 h 47"/>
                    <a:gd name="T16" fmla="*/ 10 w 22"/>
                    <a:gd name="T17" fmla="*/ 23 h 47"/>
                    <a:gd name="T18" fmla="*/ 12 w 22"/>
                    <a:gd name="T19" fmla="*/ 23 h 47"/>
                    <a:gd name="T20" fmla="*/ 12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6 h 47"/>
                    <a:gd name="T38" fmla="*/ 16 w 22"/>
                    <a:gd name="T39" fmla="*/ 0 h 47"/>
                    <a:gd name="T40" fmla="*/ 6 w 22"/>
                    <a:gd name="T41" fmla="*/ 0 h 47"/>
                    <a:gd name="T42" fmla="*/ 5 w 22"/>
                    <a:gd name="T43" fmla="*/ 0 h 47"/>
                    <a:gd name="T44" fmla="*/ 0 w 22"/>
                    <a:gd name="T45" fmla="*/ 4 h 47"/>
                    <a:gd name="T46" fmla="*/ 0 w 22"/>
                    <a:gd name="T47" fmla="*/ 6 h 47"/>
                    <a:gd name="T48" fmla="*/ 0 w 22"/>
                    <a:gd name="T49"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19" y="0"/>
                        <a:pt x="16" y="0"/>
                      </a:cubicBezTo>
                      <a:cubicBezTo>
                        <a:pt x="15" y="0"/>
                        <a:pt x="7" y="0"/>
                        <a:pt x="6" y="0"/>
                      </a:cubicBezTo>
                      <a:cubicBezTo>
                        <a:pt x="6" y="0"/>
                        <a:pt x="5" y="0"/>
                        <a:pt x="5" y="0"/>
                      </a:cubicBezTo>
                      <a:cubicBezTo>
                        <a:pt x="4" y="1"/>
                        <a:pt x="2" y="2"/>
                        <a:pt x="0" y="4"/>
                      </a:cubicBezTo>
                      <a:cubicBezTo>
                        <a:pt x="0" y="4"/>
                        <a:pt x="0" y="5"/>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67" name="Freeform 479"/>
                <p:cNvSpPr>
                  <a:spLocks/>
                </p:cNvSpPr>
                <p:nvPr/>
              </p:nvSpPr>
              <p:spPr bwMode="auto">
                <a:xfrm>
                  <a:off x="14384" y="1000"/>
                  <a:ext cx="64" cy="111"/>
                </a:xfrm>
                <a:custGeom>
                  <a:avLst/>
                  <a:gdLst>
                    <a:gd name="T0" fmla="*/ 1 w 27"/>
                    <a:gd name="T1" fmla="*/ 21 h 47"/>
                    <a:gd name="T2" fmla="*/ 4 w 27"/>
                    <a:gd name="T3" fmla="*/ 20 h 47"/>
                    <a:gd name="T4" fmla="*/ 7 w 27"/>
                    <a:gd name="T5" fmla="*/ 7 h 47"/>
                    <a:gd name="T6" fmla="*/ 9 w 27"/>
                    <a:gd name="T7" fmla="*/ 7 h 47"/>
                    <a:gd name="T8" fmla="*/ 2 w 27"/>
                    <a:gd name="T9" fmla="*/ 28 h 47"/>
                    <a:gd name="T10" fmla="*/ 8 w 27"/>
                    <a:gd name="T11" fmla="*/ 28 h 47"/>
                    <a:gd name="T12" fmla="*/ 8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7 w 27"/>
                    <a:gd name="T41" fmla="*/ 18 h 47"/>
                    <a:gd name="T42" fmla="*/ 22 w 27"/>
                    <a:gd name="T43" fmla="*/ 5 h 47"/>
                    <a:gd name="T44" fmla="*/ 17 w 27"/>
                    <a:gd name="T45" fmla="*/ 0 h 47"/>
                    <a:gd name="T46" fmla="*/ 10 w 27"/>
                    <a:gd name="T47" fmla="*/ 0 h 47"/>
                    <a:gd name="T48" fmla="*/ 4 w 27"/>
                    <a:gd name="T49" fmla="*/ 5 h 47"/>
                    <a:gd name="T50" fmla="*/ 0 w 27"/>
                    <a:gd name="T51" fmla="*/ 18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0"/>
                        <a:pt x="4" y="20"/>
                      </a:cubicBezTo>
                      <a:cubicBezTo>
                        <a:pt x="4" y="18"/>
                        <a:pt x="7" y="7"/>
                        <a:pt x="7"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3" y="18"/>
                        <a:pt x="23" y="20"/>
                      </a:cubicBezTo>
                      <a:cubicBezTo>
                        <a:pt x="23" y="20"/>
                        <a:pt x="24" y="21"/>
                        <a:pt x="25" y="21"/>
                      </a:cubicBezTo>
                      <a:cubicBezTo>
                        <a:pt x="26" y="20"/>
                        <a:pt x="27" y="19"/>
                        <a:pt x="27" y="18"/>
                      </a:cubicBezTo>
                      <a:cubicBezTo>
                        <a:pt x="26" y="18"/>
                        <a:pt x="24" y="10"/>
                        <a:pt x="22" y="5"/>
                      </a:cubicBezTo>
                      <a:cubicBezTo>
                        <a:pt x="22" y="2"/>
                        <a:pt x="19" y="0"/>
                        <a:pt x="17" y="0"/>
                      </a:cubicBezTo>
                      <a:cubicBezTo>
                        <a:pt x="16" y="0"/>
                        <a:pt x="11" y="0"/>
                        <a:pt x="10" y="0"/>
                      </a:cubicBezTo>
                      <a:cubicBezTo>
                        <a:pt x="7" y="0"/>
                        <a:pt x="5" y="2"/>
                        <a:pt x="4" y="5"/>
                      </a:cubicBezTo>
                      <a:cubicBezTo>
                        <a:pt x="2" y="10"/>
                        <a:pt x="0" y="18"/>
                        <a:pt x="0" y="18"/>
                      </a:cubicBezTo>
                      <a:cubicBezTo>
                        <a:pt x="0" y="19"/>
                        <a:pt x="0" y="20"/>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68" name="Oval 480"/>
                <p:cNvSpPr>
                  <a:spLocks noChangeArrowheads="1"/>
                </p:cNvSpPr>
                <p:nvPr/>
              </p:nvSpPr>
              <p:spPr bwMode="auto">
                <a:xfrm>
                  <a:off x="14405" y="974"/>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69" name="Oval 481"/>
                <p:cNvSpPr>
                  <a:spLocks noChangeArrowheads="1"/>
                </p:cNvSpPr>
                <p:nvPr/>
              </p:nvSpPr>
              <p:spPr bwMode="auto">
                <a:xfrm>
                  <a:off x="14469" y="83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70" name="Freeform 482"/>
                <p:cNvSpPr>
                  <a:spLocks/>
                </p:cNvSpPr>
                <p:nvPr/>
              </p:nvSpPr>
              <p:spPr bwMode="auto">
                <a:xfrm>
                  <a:off x="14389" y="853"/>
                  <a:ext cx="54" cy="112"/>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7 w 23"/>
                    <a:gd name="T23" fmla="*/ 44 h 47"/>
                    <a:gd name="T24" fmla="*/ 17 w 23"/>
                    <a:gd name="T25" fmla="*/ 8 h 47"/>
                    <a:gd name="T26" fmla="*/ 19 w 23"/>
                    <a:gd name="T27" fmla="*/ 8 h 47"/>
                    <a:gd name="T28" fmla="*/ 19 w 23"/>
                    <a:gd name="T29" fmla="*/ 21 h 47"/>
                    <a:gd name="T30" fmla="*/ 21 w 23"/>
                    <a:gd name="T31" fmla="*/ 23 h 47"/>
                    <a:gd name="T32" fmla="*/ 23 w 23"/>
                    <a:gd name="T33" fmla="*/ 21 h 47"/>
                    <a:gd name="T34" fmla="*/ 23 w 23"/>
                    <a:gd name="T35" fmla="*/ 6 h 47"/>
                    <a:gd name="T36" fmla="*/ 17 w 23"/>
                    <a:gd name="T37" fmla="*/ 0 h 47"/>
                    <a:gd name="T38" fmla="*/ 6 w 23"/>
                    <a:gd name="T39" fmla="*/ 0 h 47"/>
                    <a:gd name="T40" fmla="*/ 0 w 23"/>
                    <a:gd name="T41" fmla="*/ 6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9" y="8"/>
                      </a:cubicBezTo>
                      <a:cubicBezTo>
                        <a:pt x="19" y="8"/>
                        <a:pt x="19" y="20"/>
                        <a:pt x="19" y="21"/>
                      </a:cubicBezTo>
                      <a:cubicBezTo>
                        <a:pt x="19" y="22"/>
                        <a:pt x="19"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71" name="Freeform 483"/>
                <p:cNvSpPr>
                  <a:spLocks/>
                </p:cNvSpPr>
                <p:nvPr/>
              </p:nvSpPr>
              <p:spPr bwMode="auto">
                <a:xfrm>
                  <a:off x="14450" y="853"/>
                  <a:ext cx="64" cy="112"/>
                </a:xfrm>
                <a:custGeom>
                  <a:avLst/>
                  <a:gdLst>
                    <a:gd name="T0" fmla="*/ 1 w 27"/>
                    <a:gd name="T1" fmla="*/ 21 h 47"/>
                    <a:gd name="T2" fmla="*/ 3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9 h 47"/>
                    <a:gd name="T42" fmla="*/ 22 w 27"/>
                    <a:gd name="T43" fmla="*/ 5 h 47"/>
                    <a:gd name="T44" fmla="*/ 17 w 27"/>
                    <a:gd name="T45" fmla="*/ 0 h 47"/>
                    <a:gd name="T46" fmla="*/ 9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72" name="Oval 484"/>
                <p:cNvSpPr>
                  <a:spLocks noChangeArrowheads="1"/>
                </p:cNvSpPr>
                <p:nvPr/>
              </p:nvSpPr>
              <p:spPr bwMode="auto">
                <a:xfrm>
                  <a:off x="14469" y="681"/>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73" name="Oval 485"/>
                <p:cNvSpPr>
                  <a:spLocks noChangeArrowheads="1"/>
                </p:cNvSpPr>
                <p:nvPr/>
              </p:nvSpPr>
              <p:spPr bwMode="auto">
                <a:xfrm>
                  <a:off x="14405" y="830"/>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74" name="Oval 486"/>
                <p:cNvSpPr>
                  <a:spLocks noChangeArrowheads="1"/>
                </p:cNvSpPr>
                <p:nvPr/>
              </p:nvSpPr>
              <p:spPr bwMode="auto">
                <a:xfrm>
                  <a:off x="14666" y="974"/>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75" name="Freeform 487"/>
                <p:cNvSpPr>
                  <a:spLocks/>
                </p:cNvSpPr>
                <p:nvPr/>
              </p:nvSpPr>
              <p:spPr bwMode="auto">
                <a:xfrm>
                  <a:off x="14318" y="853"/>
                  <a:ext cx="64" cy="112"/>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8 w 27"/>
                    <a:gd name="T33" fmla="*/ 7 h 47"/>
                    <a:gd name="T34" fmla="*/ 20 w 27"/>
                    <a:gd name="T35" fmla="*/ 7 h 47"/>
                    <a:gd name="T36" fmla="*/ 23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4"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76" name="Freeform 488"/>
                <p:cNvSpPr>
                  <a:spLocks/>
                </p:cNvSpPr>
                <p:nvPr/>
              </p:nvSpPr>
              <p:spPr bwMode="auto">
                <a:xfrm>
                  <a:off x="14323" y="1000"/>
                  <a:ext cx="54" cy="111"/>
                </a:xfrm>
                <a:custGeom>
                  <a:avLst/>
                  <a:gdLst>
                    <a:gd name="T0" fmla="*/ 0 w 23"/>
                    <a:gd name="T1" fmla="*/ 6 h 47"/>
                    <a:gd name="T2" fmla="*/ 0 w 23"/>
                    <a:gd name="T3" fmla="*/ 21 h 47"/>
                    <a:gd name="T4" fmla="*/ 2 w 23"/>
                    <a:gd name="T5" fmla="*/ 23 h 47"/>
                    <a:gd name="T6" fmla="*/ 4 w 23"/>
                    <a:gd name="T7" fmla="*/ 21 h 47"/>
                    <a:gd name="T8" fmla="*/ 4 w 23"/>
                    <a:gd name="T9" fmla="*/ 8 h 47"/>
                    <a:gd name="T10" fmla="*/ 6 w 23"/>
                    <a:gd name="T11" fmla="*/ 8 h 47"/>
                    <a:gd name="T12" fmla="*/ 6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8 h 47"/>
                    <a:gd name="T30" fmla="*/ 19 w 23"/>
                    <a:gd name="T31" fmla="*/ 8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20"/>
                        <a:pt x="0" y="21"/>
                      </a:cubicBezTo>
                      <a:cubicBezTo>
                        <a:pt x="0" y="22"/>
                        <a:pt x="1" y="23"/>
                        <a:pt x="2" y="23"/>
                      </a:cubicBezTo>
                      <a:cubicBezTo>
                        <a:pt x="4" y="23"/>
                        <a:pt x="4" y="22"/>
                        <a:pt x="4" y="21"/>
                      </a:cubicBezTo>
                      <a:cubicBezTo>
                        <a:pt x="4" y="19"/>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77" name="Oval 489"/>
                <p:cNvSpPr>
                  <a:spLocks noChangeArrowheads="1"/>
                </p:cNvSpPr>
                <p:nvPr/>
              </p:nvSpPr>
              <p:spPr bwMode="auto">
                <a:xfrm>
                  <a:off x="14339" y="830"/>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78" name="Oval 490"/>
                <p:cNvSpPr>
                  <a:spLocks noChangeArrowheads="1"/>
                </p:cNvSpPr>
                <p:nvPr/>
              </p:nvSpPr>
              <p:spPr bwMode="auto">
                <a:xfrm>
                  <a:off x="14536"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79" name="Oval 491"/>
                <p:cNvSpPr>
                  <a:spLocks noChangeArrowheads="1"/>
                </p:cNvSpPr>
                <p:nvPr/>
              </p:nvSpPr>
              <p:spPr bwMode="auto">
                <a:xfrm>
                  <a:off x="14469"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80" name="Freeform 492"/>
                <p:cNvSpPr>
                  <a:spLocks/>
                </p:cNvSpPr>
                <p:nvPr/>
              </p:nvSpPr>
              <p:spPr bwMode="auto">
                <a:xfrm>
                  <a:off x="14514" y="1000"/>
                  <a:ext cx="64" cy="111"/>
                </a:xfrm>
                <a:custGeom>
                  <a:avLst/>
                  <a:gdLst>
                    <a:gd name="T0" fmla="*/ 23 w 27"/>
                    <a:gd name="T1" fmla="*/ 5 h 47"/>
                    <a:gd name="T2" fmla="*/ 17 w 27"/>
                    <a:gd name="T3" fmla="*/ 0 h 47"/>
                    <a:gd name="T4" fmla="*/ 10 w 27"/>
                    <a:gd name="T5" fmla="*/ 0 h 47"/>
                    <a:gd name="T6" fmla="*/ 5 w 27"/>
                    <a:gd name="T7" fmla="*/ 5 h 47"/>
                    <a:gd name="T8" fmla="*/ 0 w 27"/>
                    <a:gd name="T9" fmla="*/ 18 h 47"/>
                    <a:gd name="T10" fmla="*/ 2 w 27"/>
                    <a:gd name="T11" fmla="*/ 21 h 47"/>
                    <a:gd name="T12" fmla="*/ 4 w 27"/>
                    <a:gd name="T13" fmla="*/ 20 h 47"/>
                    <a:gd name="T14" fmla="*/ 8 w 27"/>
                    <a:gd name="T15" fmla="*/ 7 h 47"/>
                    <a:gd name="T16" fmla="*/ 9 w 27"/>
                    <a:gd name="T17" fmla="*/ 7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9 w 27"/>
                    <a:gd name="T37" fmla="*/ 45 h 47"/>
                    <a:gd name="T38" fmla="*/ 19 w 27"/>
                    <a:gd name="T39" fmla="*/ 28 h 47"/>
                    <a:gd name="T40" fmla="*/ 25 w 27"/>
                    <a:gd name="T41" fmla="*/ 28 h 47"/>
                    <a:gd name="T42" fmla="*/ 18 w 27"/>
                    <a:gd name="T43" fmla="*/ 7 h 47"/>
                    <a:gd name="T44" fmla="*/ 20 w 27"/>
                    <a:gd name="T45" fmla="*/ 7 h 47"/>
                    <a:gd name="T46" fmla="*/ 23 w 27"/>
                    <a:gd name="T47" fmla="*/ 20 h 47"/>
                    <a:gd name="T48" fmla="*/ 26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7" y="0"/>
                      </a:cubicBezTo>
                      <a:cubicBezTo>
                        <a:pt x="16" y="0"/>
                        <a:pt x="11" y="0"/>
                        <a:pt x="10" y="0"/>
                      </a:cubicBezTo>
                      <a:cubicBezTo>
                        <a:pt x="8" y="0"/>
                        <a:pt x="5" y="2"/>
                        <a:pt x="5" y="5"/>
                      </a:cubicBezTo>
                      <a:cubicBezTo>
                        <a:pt x="3" y="10"/>
                        <a:pt x="1" y="18"/>
                        <a:pt x="0" y="18"/>
                      </a:cubicBezTo>
                      <a:cubicBezTo>
                        <a:pt x="0" y="19"/>
                        <a:pt x="1" y="20"/>
                        <a:pt x="2" y="21"/>
                      </a:cubicBezTo>
                      <a:cubicBezTo>
                        <a:pt x="3" y="21"/>
                        <a:pt x="4" y="20"/>
                        <a:pt x="4" y="20"/>
                      </a:cubicBezTo>
                      <a:cubicBezTo>
                        <a:pt x="4"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20" y="7"/>
                        <a:pt x="20" y="7"/>
                        <a:pt x="20" y="7"/>
                      </a:cubicBezTo>
                      <a:cubicBezTo>
                        <a:pt x="20" y="7"/>
                        <a:pt x="23" y="18"/>
                        <a:pt x="23" y="20"/>
                      </a:cubicBezTo>
                      <a:cubicBezTo>
                        <a:pt x="24" y="20"/>
                        <a:pt x="25" y="21"/>
                        <a:pt x="26" y="21"/>
                      </a:cubicBezTo>
                      <a:cubicBezTo>
                        <a:pt x="27" y="20"/>
                        <a:pt x="27"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81" name="Freeform 493"/>
                <p:cNvSpPr>
                  <a:spLocks/>
                </p:cNvSpPr>
                <p:nvPr/>
              </p:nvSpPr>
              <p:spPr bwMode="auto">
                <a:xfrm>
                  <a:off x="14519" y="853"/>
                  <a:ext cx="54" cy="112"/>
                </a:xfrm>
                <a:custGeom>
                  <a:avLst/>
                  <a:gdLst>
                    <a:gd name="T0" fmla="*/ 0 w 23"/>
                    <a:gd name="T1" fmla="*/ 6 h 47"/>
                    <a:gd name="T2" fmla="*/ 0 w 23"/>
                    <a:gd name="T3" fmla="*/ 21 h 47"/>
                    <a:gd name="T4" fmla="*/ 2 w 23"/>
                    <a:gd name="T5" fmla="*/ 23 h 47"/>
                    <a:gd name="T6" fmla="*/ 4 w 23"/>
                    <a:gd name="T7" fmla="*/ 21 h 47"/>
                    <a:gd name="T8" fmla="*/ 4 w 23"/>
                    <a:gd name="T9" fmla="*/ 8 h 47"/>
                    <a:gd name="T10" fmla="*/ 6 w 23"/>
                    <a:gd name="T11" fmla="*/ 8 h 47"/>
                    <a:gd name="T12" fmla="*/ 6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8 h 47"/>
                    <a:gd name="T30" fmla="*/ 19 w 23"/>
                    <a:gd name="T31" fmla="*/ 8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20"/>
                        <a:pt x="0" y="21"/>
                      </a:cubicBezTo>
                      <a:cubicBezTo>
                        <a:pt x="0" y="22"/>
                        <a:pt x="1" y="23"/>
                        <a:pt x="2" y="23"/>
                      </a:cubicBezTo>
                      <a:cubicBezTo>
                        <a:pt x="4"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82" name="Oval 494"/>
                <p:cNvSpPr>
                  <a:spLocks noChangeArrowheads="1"/>
                </p:cNvSpPr>
                <p:nvPr/>
              </p:nvSpPr>
              <p:spPr bwMode="auto">
                <a:xfrm>
                  <a:off x="14339" y="974"/>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83" name="Freeform 495"/>
                <p:cNvSpPr>
                  <a:spLocks/>
                </p:cNvSpPr>
                <p:nvPr/>
              </p:nvSpPr>
              <p:spPr bwMode="auto">
                <a:xfrm>
                  <a:off x="14455" y="1000"/>
                  <a:ext cx="52" cy="111"/>
                </a:xfrm>
                <a:custGeom>
                  <a:avLst/>
                  <a:gdLst>
                    <a:gd name="T0" fmla="*/ 16 w 22"/>
                    <a:gd name="T1" fmla="*/ 0 h 47"/>
                    <a:gd name="T2" fmla="*/ 6 w 22"/>
                    <a:gd name="T3" fmla="*/ 0 h 47"/>
                    <a:gd name="T4" fmla="*/ 0 w 22"/>
                    <a:gd name="T5" fmla="*/ 6 h 47"/>
                    <a:gd name="T6" fmla="*/ 0 w 22"/>
                    <a:gd name="T7" fmla="*/ 21 h 47"/>
                    <a:gd name="T8" fmla="*/ 2 w 22"/>
                    <a:gd name="T9" fmla="*/ 23 h 47"/>
                    <a:gd name="T10" fmla="*/ 4 w 22"/>
                    <a:gd name="T11" fmla="*/ 21 h 47"/>
                    <a:gd name="T12" fmla="*/ 4 w 22"/>
                    <a:gd name="T13" fmla="*/ 8 h 47"/>
                    <a:gd name="T14" fmla="*/ 5 w 22"/>
                    <a:gd name="T15" fmla="*/ 8 h 47"/>
                    <a:gd name="T16" fmla="*/ 5 w 22"/>
                    <a:gd name="T17" fmla="*/ 44 h 47"/>
                    <a:gd name="T18" fmla="*/ 8 w 22"/>
                    <a:gd name="T19" fmla="*/ 47 h 47"/>
                    <a:gd name="T20" fmla="*/ 10 w 22"/>
                    <a:gd name="T21" fmla="*/ 44 h 47"/>
                    <a:gd name="T22" fmla="*/ 10 w 22"/>
                    <a:gd name="T23" fmla="*/ 23 h 47"/>
                    <a:gd name="T24" fmla="*/ 12 w 22"/>
                    <a:gd name="T25" fmla="*/ 23 h 47"/>
                    <a:gd name="T26" fmla="*/ 12 w 22"/>
                    <a:gd name="T27" fmla="*/ 44 h 47"/>
                    <a:gd name="T28" fmla="*/ 14 w 22"/>
                    <a:gd name="T29" fmla="*/ 47 h 47"/>
                    <a:gd name="T30" fmla="*/ 17 w 22"/>
                    <a:gd name="T31" fmla="*/ 44 h 47"/>
                    <a:gd name="T32" fmla="*/ 17 w 22"/>
                    <a:gd name="T33" fmla="*/ 8 h 47"/>
                    <a:gd name="T34" fmla="*/ 18 w 22"/>
                    <a:gd name="T35" fmla="*/ 8 h 47"/>
                    <a:gd name="T36" fmla="*/ 18 w 22"/>
                    <a:gd name="T37" fmla="*/ 21 h 47"/>
                    <a:gd name="T38" fmla="*/ 20 w 22"/>
                    <a:gd name="T39" fmla="*/ 23 h 47"/>
                    <a:gd name="T40" fmla="*/ 22 w 22"/>
                    <a:gd name="T41" fmla="*/ 21 h 47"/>
                    <a:gd name="T42" fmla="*/ 22 w 22"/>
                    <a:gd name="T43" fmla="*/ 6 h 47"/>
                    <a:gd name="T44" fmla="*/ 16 w 22"/>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16" y="0"/>
                      </a:moveTo>
                      <a:cubicBezTo>
                        <a:pt x="14" y="0"/>
                        <a:pt x="7" y="0"/>
                        <a:pt x="6" y="0"/>
                      </a:cubicBezTo>
                      <a:cubicBezTo>
                        <a:pt x="2"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84" name="Oval 496"/>
                <p:cNvSpPr>
                  <a:spLocks noChangeArrowheads="1"/>
                </p:cNvSpPr>
                <p:nvPr/>
              </p:nvSpPr>
              <p:spPr bwMode="auto">
                <a:xfrm>
                  <a:off x="14536"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85" name="Oval 497"/>
                <p:cNvSpPr>
                  <a:spLocks noChangeArrowheads="1"/>
                </p:cNvSpPr>
                <p:nvPr/>
              </p:nvSpPr>
              <p:spPr bwMode="auto">
                <a:xfrm>
                  <a:off x="14536" y="681"/>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86" name="Freeform 498"/>
                <p:cNvSpPr>
                  <a:spLocks/>
                </p:cNvSpPr>
                <p:nvPr/>
              </p:nvSpPr>
              <p:spPr bwMode="auto">
                <a:xfrm>
                  <a:off x="14514" y="707"/>
                  <a:ext cx="64" cy="111"/>
                </a:xfrm>
                <a:custGeom>
                  <a:avLst/>
                  <a:gdLst>
                    <a:gd name="T0" fmla="*/ 23 w 27"/>
                    <a:gd name="T1" fmla="*/ 4 h 47"/>
                    <a:gd name="T2" fmla="*/ 17 w 27"/>
                    <a:gd name="T3" fmla="*/ 0 h 47"/>
                    <a:gd name="T4" fmla="*/ 10 w 27"/>
                    <a:gd name="T5" fmla="*/ 0 h 47"/>
                    <a:gd name="T6" fmla="*/ 5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9 w 27"/>
                    <a:gd name="T37" fmla="*/ 44 h 47"/>
                    <a:gd name="T38" fmla="*/ 19 w 27"/>
                    <a:gd name="T39" fmla="*/ 28 h 47"/>
                    <a:gd name="T40" fmla="*/ 25 w 27"/>
                    <a:gd name="T41" fmla="*/ 28 h 47"/>
                    <a:gd name="T42" fmla="*/ 18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7"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6"/>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6"/>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87" name="Freeform 499"/>
                <p:cNvSpPr>
                  <a:spLocks/>
                </p:cNvSpPr>
                <p:nvPr/>
              </p:nvSpPr>
              <p:spPr bwMode="auto">
                <a:xfrm>
                  <a:off x="14455" y="707"/>
                  <a:ext cx="52" cy="109"/>
                </a:xfrm>
                <a:custGeom>
                  <a:avLst/>
                  <a:gdLst>
                    <a:gd name="T0" fmla="*/ 20 w 22"/>
                    <a:gd name="T1" fmla="*/ 23 h 46"/>
                    <a:gd name="T2" fmla="*/ 22 w 22"/>
                    <a:gd name="T3" fmla="*/ 20 h 46"/>
                    <a:gd name="T4" fmla="*/ 22 w 22"/>
                    <a:gd name="T5" fmla="*/ 6 h 46"/>
                    <a:gd name="T6" fmla="*/ 16 w 22"/>
                    <a:gd name="T7" fmla="*/ 0 h 46"/>
                    <a:gd name="T8" fmla="*/ 6 w 22"/>
                    <a:gd name="T9" fmla="*/ 0 h 46"/>
                    <a:gd name="T10" fmla="*/ 0 w 22"/>
                    <a:gd name="T11" fmla="*/ 6 h 46"/>
                    <a:gd name="T12" fmla="*/ 0 w 22"/>
                    <a:gd name="T13" fmla="*/ 20 h 46"/>
                    <a:gd name="T14" fmla="*/ 2 w 22"/>
                    <a:gd name="T15" fmla="*/ 23 h 46"/>
                    <a:gd name="T16" fmla="*/ 4 w 22"/>
                    <a:gd name="T17" fmla="*/ 20 h 46"/>
                    <a:gd name="T18" fmla="*/ 4 w 22"/>
                    <a:gd name="T19" fmla="*/ 7 h 46"/>
                    <a:gd name="T20" fmla="*/ 5 w 22"/>
                    <a:gd name="T21" fmla="*/ 7 h 46"/>
                    <a:gd name="T22" fmla="*/ 5 w 22"/>
                    <a:gd name="T23" fmla="*/ 44 h 46"/>
                    <a:gd name="T24" fmla="*/ 8 w 22"/>
                    <a:gd name="T25" fmla="*/ 46 h 46"/>
                    <a:gd name="T26" fmla="*/ 10 w 22"/>
                    <a:gd name="T27" fmla="*/ 44 h 46"/>
                    <a:gd name="T28" fmla="*/ 10 w 22"/>
                    <a:gd name="T29" fmla="*/ 23 h 46"/>
                    <a:gd name="T30" fmla="*/ 12 w 22"/>
                    <a:gd name="T31" fmla="*/ 23 h 46"/>
                    <a:gd name="T32" fmla="*/ 12 w 22"/>
                    <a:gd name="T33" fmla="*/ 44 h 46"/>
                    <a:gd name="T34" fmla="*/ 14 w 22"/>
                    <a:gd name="T35" fmla="*/ 46 h 46"/>
                    <a:gd name="T36" fmla="*/ 17 w 22"/>
                    <a:gd name="T37" fmla="*/ 44 h 46"/>
                    <a:gd name="T38" fmla="*/ 17 w 22"/>
                    <a:gd name="T39" fmla="*/ 7 h 46"/>
                    <a:gd name="T40" fmla="*/ 18 w 22"/>
                    <a:gd name="T41" fmla="*/ 7 h 46"/>
                    <a:gd name="T42" fmla="*/ 18 w 22"/>
                    <a:gd name="T43" fmla="*/ 20 h 46"/>
                    <a:gd name="T44" fmla="*/ 20 w 22"/>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0" y="23"/>
                      </a:moveTo>
                      <a:cubicBezTo>
                        <a:pt x="21" y="23"/>
                        <a:pt x="22" y="22"/>
                        <a:pt x="22" y="20"/>
                      </a:cubicBezTo>
                      <a:cubicBezTo>
                        <a:pt x="22" y="19"/>
                        <a:pt x="22" y="7"/>
                        <a:pt x="22" y="6"/>
                      </a:cubicBezTo>
                      <a:cubicBezTo>
                        <a:pt x="22" y="3"/>
                        <a:pt x="20" y="0"/>
                        <a:pt x="16" y="0"/>
                      </a:cubicBezTo>
                      <a:cubicBezTo>
                        <a:pt x="14" y="0"/>
                        <a:pt x="7" y="0"/>
                        <a:pt x="6" y="0"/>
                      </a:cubicBezTo>
                      <a:cubicBezTo>
                        <a:pt x="2" y="0"/>
                        <a:pt x="0" y="3"/>
                        <a:pt x="0" y="6"/>
                      </a:cubicBez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88" name="Freeform 500"/>
                <p:cNvSpPr>
                  <a:spLocks/>
                </p:cNvSpPr>
                <p:nvPr/>
              </p:nvSpPr>
              <p:spPr bwMode="auto">
                <a:xfrm>
                  <a:off x="13830" y="1066"/>
                  <a:ext cx="12" cy="45"/>
                </a:xfrm>
                <a:custGeom>
                  <a:avLst/>
                  <a:gdLst>
                    <a:gd name="T0" fmla="*/ 0 w 5"/>
                    <a:gd name="T1" fmla="*/ 16 h 19"/>
                    <a:gd name="T2" fmla="*/ 3 w 5"/>
                    <a:gd name="T3" fmla="*/ 19 h 19"/>
                    <a:gd name="T4" fmla="*/ 5 w 5"/>
                    <a:gd name="T5" fmla="*/ 16 h 19"/>
                    <a:gd name="T6" fmla="*/ 5 w 5"/>
                    <a:gd name="T7" fmla="*/ 0 h 19"/>
                    <a:gd name="T8" fmla="*/ 0 w 5"/>
                    <a:gd name="T9" fmla="*/ 2 h 19"/>
                    <a:gd name="T10" fmla="*/ 0 w 5"/>
                    <a:gd name="T11" fmla="*/ 16 h 19"/>
                  </a:gdLst>
                  <a:ahLst/>
                  <a:cxnLst>
                    <a:cxn ang="0">
                      <a:pos x="T0" y="T1"/>
                    </a:cxn>
                    <a:cxn ang="0">
                      <a:pos x="T2" y="T3"/>
                    </a:cxn>
                    <a:cxn ang="0">
                      <a:pos x="T4" y="T5"/>
                    </a:cxn>
                    <a:cxn ang="0">
                      <a:pos x="T6" y="T7"/>
                    </a:cxn>
                    <a:cxn ang="0">
                      <a:pos x="T8" y="T9"/>
                    </a:cxn>
                    <a:cxn ang="0">
                      <a:pos x="T10" y="T11"/>
                    </a:cxn>
                  </a:cxnLst>
                  <a:rect l="0" t="0" r="r" b="b"/>
                  <a:pathLst>
                    <a:path w="5" h="19">
                      <a:moveTo>
                        <a:pt x="0" y="16"/>
                      </a:moveTo>
                      <a:cubicBezTo>
                        <a:pt x="0" y="18"/>
                        <a:pt x="1" y="19"/>
                        <a:pt x="3" y="19"/>
                      </a:cubicBezTo>
                      <a:cubicBezTo>
                        <a:pt x="4" y="19"/>
                        <a:pt x="5" y="18"/>
                        <a:pt x="5" y="16"/>
                      </a:cubicBezTo>
                      <a:cubicBezTo>
                        <a:pt x="5" y="15"/>
                        <a:pt x="5" y="8"/>
                        <a:pt x="5" y="0"/>
                      </a:cubicBezTo>
                      <a:cubicBezTo>
                        <a:pt x="3" y="1"/>
                        <a:pt x="2" y="1"/>
                        <a:pt x="0" y="2"/>
                      </a:cubicBezTo>
                      <a:cubicBezTo>
                        <a:pt x="0" y="7"/>
                        <a:pt x="0" y="15"/>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89" name="Freeform 501"/>
                <p:cNvSpPr>
                  <a:spLocks/>
                </p:cNvSpPr>
                <p:nvPr/>
              </p:nvSpPr>
              <p:spPr bwMode="auto">
                <a:xfrm>
                  <a:off x="13814" y="1071"/>
                  <a:ext cx="14" cy="40"/>
                </a:xfrm>
                <a:custGeom>
                  <a:avLst/>
                  <a:gdLst>
                    <a:gd name="T0" fmla="*/ 3 w 6"/>
                    <a:gd name="T1" fmla="*/ 17 h 17"/>
                    <a:gd name="T2" fmla="*/ 6 w 6"/>
                    <a:gd name="T3" fmla="*/ 14 h 17"/>
                    <a:gd name="T4" fmla="*/ 6 w 6"/>
                    <a:gd name="T5" fmla="*/ 0 h 17"/>
                    <a:gd name="T6" fmla="*/ 0 w 6"/>
                    <a:gd name="T7" fmla="*/ 1 h 17"/>
                    <a:gd name="T8" fmla="*/ 0 w 6"/>
                    <a:gd name="T9" fmla="*/ 14 h 17"/>
                    <a:gd name="T10" fmla="*/ 3 w 6"/>
                    <a:gd name="T11" fmla="*/ 17 h 17"/>
                  </a:gdLst>
                  <a:ahLst/>
                  <a:cxnLst>
                    <a:cxn ang="0">
                      <a:pos x="T0" y="T1"/>
                    </a:cxn>
                    <a:cxn ang="0">
                      <a:pos x="T2" y="T3"/>
                    </a:cxn>
                    <a:cxn ang="0">
                      <a:pos x="T4" y="T5"/>
                    </a:cxn>
                    <a:cxn ang="0">
                      <a:pos x="T6" y="T7"/>
                    </a:cxn>
                    <a:cxn ang="0">
                      <a:pos x="T8" y="T9"/>
                    </a:cxn>
                    <a:cxn ang="0">
                      <a:pos x="T10" y="T11"/>
                    </a:cxn>
                  </a:cxnLst>
                  <a:rect l="0" t="0" r="r" b="b"/>
                  <a:pathLst>
                    <a:path w="6" h="17">
                      <a:moveTo>
                        <a:pt x="3" y="17"/>
                      </a:moveTo>
                      <a:cubicBezTo>
                        <a:pt x="4" y="17"/>
                        <a:pt x="6" y="16"/>
                        <a:pt x="6" y="14"/>
                      </a:cubicBezTo>
                      <a:cubicBezTo>
                        <a:pt x="6" y="13"/>
                        <a:pt x="6" y="5"/>
                        <a:pt x="6" y="0"/>
                      </a:cubicBezTo>
                      <a:cubicBezTo>
                        <a:pt x="4" y="0"/>
                        <a:pt x="2" y="1"/>
                        <a:pt x="0" y="1"/>
                      </a:cubicBezTo>
                      <a:cubicBezTo>
                        <a:pt x="0" y="8"/>
                        <a:pt x="0" y="13"/>
                        <a:pt x="0" y="14"/>
                      </a:cubicBezTo>
                      <a:cubicBezTo>
                        <a:pt x="0" y="16"/>
                        <a:pt x="1" y="17"/>
                        <a:pt x="3"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90" name="Freeform 502"/>
                <p:cNvSpPr>
                  <a:spLocks/>
                </p:cNvSpPr>
                <p:nvPr/>
              </p:nvSpPr>
              <p:spPr bwMode="auto">
                <a:xfrm>
                  <a:off x="13764" y="1081"/>
                  <a:ext cx="12" cy="30"/>
                </a:xfrm>
                <a:custGeom>
                  <a:avLst/>
                  <a:gdLst>
                    <a:gd name="T0" fmla="*/ 0 w 5"/>
                    <a:gd name="T1" fmla="*/ 11 h 13"/>
                    <a:gd name="T2" fmla="*/ 2 w 5"/>
                    <a:gd name="T3" fmla="*/ 13 h 13"/>
                    <a:gd name="T4" fmla="*/ 5 w 5"/>
                    <a:gd name="T5" fmla="*/ 11 h 13"/>
                    <a:gd name="T6" fmla="*/ 5 w 5"/>
                    <a:gd name="T7" fmla="*/ 0 h 13"/>
                    <a:gd name="T8" fmla="*/ 0 w 5"/>
                    <a:gd name="T9" fmla="*/ 0 h 13"/>
                    <a:gd name="T10" fmla="*/ 0 w 5"/>
                    <a:gd name="T11" fmla="*/ 11 h 13"/>
                  </a:gdLst>
                  <a:ahLst/>
                  <a:cxnLst>
                    <a:cxn ang="0">
                      <a:pos x="T0" y="T1"/>
                    </a:cxn>
                    <a:cxn ang="0">
                      <a:pos x="T2" y="T3"/>
                    </a:cxn>
                    <a:cxn ang="0">
                      <a:pos x="T4" y="T5"/>
                    </a:cxn>
                    <a:cxn ang="0">
                      <a:pos x="T6" y="T7"/>
                    </a:cxn>
                    <a:cxn ang="0">
                      <a:pos x="T8" y="T9"/>
                    </a:cxn>
                    <a:cxn ang="0">
                      <a:pos x="T10" y="T11"/>
                    </a:cxn>
                  </a:cxnLst>
                  <a:rect l="0" t="0" r="r" b="b"/>
                  <a:pathLst>
                    <a:path w="5" h="13">
                      <a:moveTo>
                        <a:pt x="0" y="11"/>
                      </a:moveTo>
                      <a:cubicBezTo>
                        <a:pt x="0" y="12"/>
                        <a:pt x="1" y="13"/>
                        <a:pt x="2" y="13"/>
                      </a:cubicBezTo>
                      <a:cubicBezTo>
                        <a:pt x="4" y="13"/>
                        <a:pt x="5" y="12"/>
                        <a:pt x="5" y="11"/>
                      </a:cubicBezTo>
                      <a:cubicBezTo>
                        <a:pt x="5" y="10"/>
                        <a:pt x="5" y="5"/>
                        <a:pt x="5" y="0"/>
                      </a:cubicBezTo>
                      <a:cubicBezTo>
                        <a:pt x="3" y="0"/>
                        <a:pt x="2" y="0"/>
                        <a:pt x="0" y="0"/>
                      </a:cubicBezTo>
                      <a:cubicBezTo>
                        <a:pt x="0" y="4"/>
                        <a:pt x="0" y="10"/>
                        <a:pt x="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91" name="Freeform 503"/>
                <p:cNvSpPr>
                  <a:spLocks/>
                </p:cNvSpPr>
                <p:nvPr/>
              </p:nvSpPr>
              <p:spPr bwMode="auto">
                <a:xfrm>
                  <a:off x="13868" y="1050"/>
                  <a:ext cx="52" cy="61"/>
                </a:xfrm>
                <a:custGeom>
                  <a:avLst/>
                  <a:gdLst>
                    <a:gd name="T0" fmla="*/ 6 w 22"/>
                    <a:gd name="T1" fmla="*/ 7 h 26"/>
                    <a:gd name="T2" fmla="*/ 6 w 22"/>
                    <a:gd name="T3" fmla="*/ 24 h 26"/>
                    <a:gd name="T4" fmla="*/ 8 w 22"/>
                    <a:gd name="T5" fmla="*/ 26 h 26"/>
                    <a:gd name="T6" fmla="*/ 10 w 22"/>
                    <a:gd name="T7" fmla="*/ 24 h 26"/>
                    <a:gd name="T8" fmla="*/ 10 w 22"/>
                    <a:gd name="T9" fmla="*/ 7 h 26"/>
                    <a:gd name="T10" fmla="*/ 11 w 22"/>
                    <a:gd name="T11" fmla="*/ 7 h 26"/>
                    <a:gd name="T12" fmla="*/ 11 w 22"/>
                    <a:gd name="T13" fmla="*/ 24 h 26"/>
                    <a:gd name="T14" fmla="*/ 14 w 22"/>
                    <a:gd name="T15" fmla="*/ 26 h 26"/>
                    <a:gd name="T16" fmla="*/ 16 w 22"/>
                    <a:gd name="T17" fmla="*/ 24 h 26"/>
                    <a:gd name="T18" fmla="*/ 16 w 22"/>
                    <a:gd name="T19" fmla="*/ 7 h 26"/>
                    <a:gd name="T20" fmla="*/ 22 w 22"/>
                    <a:gd name="T21" fmla="*/ 7 h 26"/>
                    <a:gd name="T22" fmla="*/ 20 w 22"/>
                    <a:gd name="T23" fmla="*/ 0 h 26"/>
                    <a:gd name="T24" fmla="*/ 15 w 22"/>
                    <a:gd name="T25" fmla="*/ 1 h 26"/>
                    <a:gd name="T26" fmla="*/ 1 w 22"/>
                    <a:gd name="T27" fmla="*/ 4 h 26"/>
                    <a:gd name="T28" fmla="*/ 0 w 22"/>
                    <a:gd name="T29" fmla="*/ 7 h 26"/>
                    <a:gd name="T30" fmla="*/ 6 w 22"/>
                    <a:gd name="T31"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6">
                      <a:moveTo>
                        <a:pt x="6" y="7"/>
                      </a:moveTo>
                      <a:cubicBezTo>
                        <a:pt x="6" y="15"/>
                        <a:pt x="6" y="23"/>
                        <a:pt x="6" y="24"/>
                      </a:cubicBezTo>
                      <a:cubicBezTo>
                        <a:pt x="6" y="25"/>
                        <a:pt x="7" y="26"/>
                        <a:pt x="8" y="26"/>
                      </a:cubicBezTo>
                      <a:cubicBezTo>
                        <a:pt x="9" y="26"/>
                        <a:pt x="10" y="25"/>
                        <a:pt x="10" y="24"/>
                      </a:cubicBezTo>
                      <a:cubicBezTo>
                        <a:pt x="10" y="22"/>
                        <a:pt x="10" y="7"/>
                        <a:pt x="10" y="7"/>
                      </a:cubicBezTo>
                      <a:cubicBezTo>
                        <a:pt x="11" y="7"/>
                        <a:pt x="11" y="7"/>
                        <a:pt x="11" y="7"/>
                      </a:cubicBezTo>
                      <a:cubicBezTo>
                        <a:pt x="11" y="7"/>
                        <a:pt x="11" y="22"/>
                        <a:pt x="11" y="24"/>
                      </a:cubicBezTo>
                      <a:cubicBezTo>
                        <a:pt x="11" y="25"/>
                        <a:pt x="12" y="26"/>
                        <a:pt x="14" y="26"/>
                      </a:cubicBezTo>
                      <a:cubicBezTo>
                        <a:pt x="15" y="26"/>
                        <a:pt x="16" y="25"/>
                        <a:pt x="16" y="24"/>
                      </a:cubicBezTo>
                      <a:cubicBezTo>
                        <a:pt x="16" y="23"/>
                        <a:pt x="16" y="15"/>
                        <a:pt x="16" y="7"/>
                      </a:cubicBezTo>
                      <a:cubicBezTo>
                        <a:pt x="22" y="7"/>
                        <a:pt x="22" y="7"/>
                        <a:pt x="22" y="7"/>
                      </a:cubicBezTo>
                      <a:cubicBezTo>
                        <a:pt x="21" y="4"/>
                        <a:pt x="21" y="2"/>
                        <a:pt x="20" y="0"/>
                      </a:cubicBezTo>
                      <a:cubicBezTo>
                        <a:pt x="18" y="0"/>
                        <a:pt x="17" y="0"/>
                        <a:pt x="15" y="1"/>
                      </a:cubicBezTo>
                      <a:cubicBezTo>
                        <a:pt x="10" y="2"/>
                        <a:pt x="5" y="3"/>
                        <a:pt x="1" y="4"/>
                      </a:cubicBezTo>
                      <a:cubicBezTo>
                        <a:pt x="0" y="7"/>
                        <a:pt x="0" y="7"/>
                        <a:pt x="0" y="7"/>
                      </a:cubicBezTo>
                      <a:cubicBezTo>
                        <a:pt x="6" y="7"/>
                        <a:pt x="6" y="7"/>
                        <a:pt x="6"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92" name="Freeform 504"/>
                <p:cNvSpPr>
                  <a:spLocks/>
                </p:cNvSpPr>
                <p:nvPr/>
              </p:nvSpPr>
              <p:spPr bwMode="auto">
                <a:xfrm>
                  <a:off x="13918" y="1048"/>
                  <a:ext cx="7" cy="2"/>
                </a:xfrm>
                <a:custGeom>
                  <a:avLst/>
                  <a:gdLst>
                    <a:gd name="T0" fmla="*/ 2 w 3"/>
                    <a:gd name="T1" fmla="*/ 1 h 1"/>
                    <a:gd name="T2" fmla="*/ 3 w 3"/>
                    <a:gd name="T3" fmla="*/ 0 h 1"/>
                    <a:gd name="T4" fmla="*/ 0 w 3"/>
                    <a:gd name="T5" fmla="*/ 1 h 1"/>
                    <a:gd name="T6" fmla="*/ 2 w 3"/>
                    <a:gd name="T7" fmla="*/ 1 h 1"/>
                  </a:gdLst>
                  <a:ahLst/>
                  <a:cxnLst>
                    <a:cxn ang="0">
                      <a:pos x="T0" y="T1"/>
                    </a:cxn>
                    <a:cxn ang="0">
                      <a:pos x="T2" y="T3"/>
                    </a:cxn>
                    <a:cxn ang="0">
                      <a:pos x="T4" y="T5"/>
                    </a:cxn>
                    <a:cxn ang="0">
                      <a:pos x="T6" y="T7"/>
                    </a:cxn>
                  </a:cxnLst>
                  <a:rect l="0" t="0" r="r" b="b"/>
                  <a:pathLst>
                    <a:path w="3" h="1">
                      <a:moveTo>
                        <a:pt x="2" y="1"/>
                      </a:moveTo>
                      <a:cubicBezTo>
                        <a:pt x="2" y="1"/>
                        <a:pt x="3" y="0"/>
                        <a:pt x="3" y="0"/>
                      </a:cubicBezTo>
                      <a:cubicBezTo>
                        <a:pt x="2" y="0"/>
                        <a:pt x="1" y="0"/>
                        <a:pt x="0" y="1"/>
                      </a:cubicBezTo>
                      <a:cubicBezTo>
                        <a:pt x="1" y="1"/>
                        <a:pt x="1"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93" name="Freeform 505"/>
                <p:cNvSpPr>
                  <a:spLocks/>
                </p:cNvSpPr>
                <p:nvPr/>
              </p:nvSpPr>
              <p:spPr bwMode="auto">
                <a:xfrm>
                  <a:off x="13684" y="1076"/>
                  <a:ext cx="12" cy="35"/>
                </a:xfrm>
                <a:custGeom>
                  <a:avLst/>
                  <a:gdLst>
                    <a:gd name="T0" fmla="*/ 2 w 5"/>
                    <a:gd name="T1" fmla="*/ 15 h 15"/>
                    <a:gd name="T2" fmla="*/ 5 w 5"/>
                    <a:gd name="T3" fmla="*/ 12 h 15"/>
                    <a:gd name="T4" fmla="*/ 5 w 5"/>
                    <a:gd name="T5" fmla="*/ 1 h 15"/>
                    <a:gd name="T6" fmla="*/ 0 w 5"/>
                    <a:gd name="T7" fmla="*/ 0 h 15"/>
                    <a:gd name="T8" fmla="*/ 0 w 5"/>
                    <a:gd name="T9" fmla="*/ 12 h 15"/>
                    <a:gd name="T10" fmla="*/ 2 w 5"/>
                    <a:gd name="T11" fmla="*/ 15 h 15"/>
                  </a:gdLst>
                  <a:ahLst/>
                  <a:cxnLst>
                    <a:cxn ang="0">
                      <a:pos x="T0" y="T1"/>
                    </a:cxn>
                    <a:cxn ang="0">
                      <a:pos x="T2" y="T3"/>
                    </a:cxn>
                    <a:cxn ang="0">
                      <a:pos x="T4" y="T5"/>
                    </a:cxn>
                    <a:cxn ang="0">
                      <a:pos x="T6" y="T7"/>
                    </a:cxn>
                    <a:cxn ang="0">
                      <a:pos x="T8" y="T9"/>
                    </a:cxn>
                    <a:cxn ang="0">
                      <a:pos x="T10" y="T11"/>
                    </a:cxn>
                  </a:cxnLst>
                  <a:rect l="0" t="0" r="r" b="b"/>
                  <a:pathLst>
                    <a:path w="5" h="15">
                      <a:moveTo>
                        <a:pt x="2" y="15"/>
                      </a:moveTo>
                      <a:cubicBezTo>
                        <a:pt x="4" y="15"/>
                        <a:pt x="5" y="14"/>
                        <a:pt x="5" y="12"/>
                      </a:cubicBezTo>
                      <a:cubicBezTo>
                        <a:pt x="5" y="11"/>
                        <a:pt x="5" y="6"/>
                        <a:pt x="5" y="1"/>
                      </a:cubicBezTo>
                      <a:cubicBezTo>
                        <a:pt x="3" y="1"/>
                        <a:pt x="2" y="1"/>
                        <a:pt x="0" y="0"/>
                      </a:cubicBezTo>
                      <a:cubicBezTo>
                        <a:pt x="0" y="6"/>
                        <a:pt x="0" y="11"/>
                        <a:pt x="0" y="12"/>
                      </a:cubicBezTo>
                      <a:cubicBezTo>
                        <a:pt x="0" y="14"/>
                        <a:pt x="1" y="15"/>
                        <a:pt x="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94" name="Freeform 506"/>
                <p:cNvSpPr>
                  <a:spLocks/>
                </p:cNvSpPr>
                <p:nvPr/>
              </p:nvSpPr>
              <p:spPr bwMode="auto">
                <a:xfrm>
                  <a:off x="13752" y="1081"/>
                  <a:ext cx="10" cy="30"/>
                </a:xfrm>
                <a:custGeom>
                  <a:avLst/>
                  <a:gdLst>
                    <a:gd name="T0" fmla="*/ 2 w 4"/>
                    <a:gd name="T1" fmla="*/ 13 h 13"/>
                    <a:gd name="T2" fmla="*/ 4 w 4"/>
                    <a:gd name="T3" fmla="*/ 11 h 13"/>
                    <a:gd name="T4" fmla="*/ 4 w 4"/>
                    <a:gd name="T5" fmla="*/ 0 h 13"/>
                    <a:gd name="T6" fmla="*/ 0 w 4"/>
                    <a:gd name="T7" fmla="*/ 1 h 13"/>
                    <a:gd name="T8" fmla="*/ 0 w 4"/>
                    <a:gd name="T9" fmla="*/ 11 h 13"/>
                    <a:gd name="T10" fmla="*/ 2 w 4"/>
                    <a:gd name="T11" fmla="*/ 13 h 13"/>
                  </a:gdLst>
                  <a:ahLst/>
                  <a:cxnLst>
                    <a:cxn ang="0">
                      <a:pos x="T0" y="T1"/>
                    </a:cxn>
                    <a:cxn ang="0">
                      <a:pos x="T2" y="T3"/>
                    </a:cxn>
                    <a:cxn ang="0">
                      <a:pos x="T4" y="T5"/>
                    </a:cxn>
                    <a:cxn ang="0">
                      <a:pos x="T6" y="T7"/>
                    </a:cxn>
                    <a:cxn ang="0">
                      <a:pos x="T8" y="T9"/>
                    </a:cxn>
                    <a:cxn ang="0">
                      <a:pos x="T10" y="T11"/>
                    </a:cxn>
                  </a:cxnLst>
                  <a:rect l="0" t="0" r="r" b="b"/>
                  <a:pathLst>
                    <a:path w="4" h="13">
                      <a:moveTo>
                        <a:pt x="2" y="13"/>
                      </a:moveTo>
                      <a:cubicBezTo>
                        <a:pt x="3" y="13"/>
                        <a:pt x="4" y="12"/>
                        <a:pt x="4" y="11"/>
                      </a:cubicBezTo>
                      <a:cubicBezTo>
                        <a:pt x="4" y="10"/>
                        <a:pt x="4" y="5"/>
                        <a:pt x="4" y="0"/>
                      </a:cubicBezTo>
                      <a:cubicBezTo>
                        <a:pt x="3" y="0"/>
                        <a:pt x="1" y="0"/>
                        <a:pt x="0" y="1"/>
                      </a:cubicBezTo>
                      <a:cubicBezTo>
                        <a:pt x="0" y="6"/>
                        <a:pt x="0" y="10"/>
                        <a:pt x="0" y="11"/>
                      </a:cubicBezTo>
                      <a:cubicBezTo>
                        <a:pt x="0" y="12"/>
                        <a:pt x="1" y="13"/>
                        <a:pt x="2"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95" name="Freeform 507"/>
                <p:cNvSpPr>
                  <a:spLocks/>
                </p:cNvSpPr>
                <p:nvPr/>
              </p:nvSpPr>
              <p:spPr bwMode="auto">
                <a:xfrm>
                  <a:off x="13698" y="1078"/>
                  <a:ext cx="14" cy="33"/>
                </a:xfrm>
                <a:custGeom>
                  <a:avLst/>
                  <a:gdLst>
                    <a:gd name="T0" fmla="*/ 0 w 6"/>
                    <a:gd name="T1" fmla="*/ 0 h 14"/>
                    <a:gd name="T2" fmla="*/ 0 w 6"/>
                    <a:gd name="T3" fmla="*/ 11 h 14"/>
                    <a:gd name="T4" fmla="*/ 3 w 6"/>
                    <a:gd name="T5" fmla="*/ 14 h 14"/>
                    <a:gd name="T6" fmla="*/ 6 w 6"/>
                    <a:gd name="T7" fmla="*/ 11 h 14"/>
                    <a:gd name="T8" fmla="*/ 6 w 6"/>
                    <a:gd name="T9" fmla="*/ 1 h 14"/>
                    <a:gd name="T10" fmla="*/ 0 w 6"/>
                    <a:gd name="T11" fmla="*/ 0 h 14"/>
                    <a:gd name="T12" fmla="*/ 0 w 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6" h="14">
                      <a:moveTo>
                        <a:pt x="0" y="0"/>
                      </a:moveTo>
                      <a:cubicBezTo>
                        <a:pt x="0" y="5"/>
                        <a:pt x="0" y="10"/>
                        <a:pt x="0" y="11"/>
                      </a:cubicBezTo>
                      <a:cubicBezTo>
                        <a:pt x="0" y="13"/>
                        <a:pt x="2" y="14"/>
                        <a:pt x="3" y="14"/>
                      </a:cubicBezTo>
                      <a:cubicBezTo>
                        <a:pt x="5" y="14"/>
                        <a:pt x="6" y="13"/>
                        <a:pt x="6" y="11"/>
                      </a:cubicBezTo>
                      <a:cubicBezTo>
                        <a:pt x="6" y="10"/>
                        <a:pt x="6" y="6"/>
                        <a:pt x="6" y="1"/>
                      </a:cubicBezTo>
                      <a:cubicBezTo>
                        <a:pt x="4" y="1"/>
                        <a:pt x="2"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96" name="Freeform 508"/>
                <p:cNvSpPr>
                  <a:spLocks/>
                </p:cNvSpPr>
                <p:nvPr/>
              </p:nvSpPr>
              <p:spPr bwMode="auto">
                <a:xfrm>
                  <a:off x="14079" y="906"/>
                  <a:ext cx="38" cy="59"/>
                </a:xfrm>
                <a:custGeom>
                  <a:avLst/>
                  <a:gdLst>
                    <a:gd name="T0" fmla="*/ 2 w 16"/>
                    <a:gd name="T1" fmla="*/ 25 h 25"/>
                    <a:gd name="T2" fmla="*/ 5 w 16"/>
                    <a:gd name="T3" fmla="*/ 23 h 25"/>
                    <a:gd name="T4" fmla="*/ 5 w 16"/>
                    <a:gd name="T5" fmla="*/ 6 h 25"/>
                    <a:gd name="T6" fmla="*/ 6 w 16"/>
                    <a:gd name="T7" fmla="*/ 6 h 25"/>
                    <a:gd name="T8" fmla="*/ 6 w 16"/>
                    <a:gd name="T9" fmla="*/ 23 h 25"/>
                    <a:gd name="T10" fmla="*/ 8 w 16"/>
                    <a:gd name="T11" fmla="*/ 25 h 25"/>
                    <a:gd name="T12" fmla="*/ 10 w 16"/>
                    <a:gd name="T13" fmla="*/ 23 h 25"/>
                    <a:gd name="T14" fmla="*/ 10 w 16"/>
                    <a:gd name="T15" fmla="*/ 6 h 25"/>
                    <a:gd name="T16" fmla="*/ 16 w 16"/>
                    <a:gd name="T17" fmla="*/ 6 h 25"/>
                    <a:gd name="T18" fmla="*/ 14 w 16"/>
                    <a:gd name="T19" fmla="*/ 0 h 25"/>
                    <a:gd name="T20" fmla="*/ 0 w 16"/>
                    <a:gd name="T21" fmla="*/ 7 h 25"/>
                    <a:gd name="T22" fmla="*/ 0 w 16"/>
                    <a:gd name="T23" fmla="*/ 23 h 25"/>
                    <a:gd name="T24" fmla="*/ 2 w 16"/>
                    <a:gd name="T2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5">
                      <a:moveTo>
                        <a:pt x="2" y="25"/>
                      </a:moveTo>
                      <a:cubicBezTo>
                        <a:pt x="4" y="25"/>
                        <a:pt x="5" y="24"/>
                        <a:pt x="5" y="23"/>
                      </a:cubicBezTo>
                      <a:cubicBezTo>
                        <a:pt x="5" y="21"/>
                        <a:pt x="5" y="6"/>
                        <a:pt x="5" y="6"/>
                      </a:cubicBezTo>
                      <a:cubicBezTo>
                        <a:pt x="6" y="6"/>
                        <a:pt x="6" y="6"/>
                        <a:pt x="6" y="6"/>
                      </a:cubicBezTo>
                      <a:cubicBezTo>
                        <a:pt x="6" y="6"/>
                        <a:pt x="6" y="21"/>
                        <a:pt x="6" y="23"/>
                      </a:cubicBezTo>
                      <a:cubicBezTo>
                        <a:pt x="6" y="24"/>
                        <a:pt x="7" y="25"/>
                        <a:pt x="8" y="25"/>
                      </a:cubicBezTo>
                      <a:cubicBezTo>
                        <a:pt x="9" y="25"/>
                        <a:pt x="10" y="24"/>
                        <a:pt x="10" y="23"/>
                      </a:cubicBezTo>
                      <a:cubicBezTo>
                        <a:pt x="10" y="22"/>
                        <a:pt x="10" y="14"/>
                        <a:pt x="10" y="6"/>
                      </a:cubicBezTo>
                      <a:cubicBezTo>
                        <a:pt x="16" y="6"/>
                        <a:pt x="16" y="6"/>
                        <a:pt x="16" y="6"/>
                      </a:cubicBezTo>
                      <a:cubicBezTo>
                        <a:pt x="16" y="4"/>
                        <a:pt x="15" y="2"/>
                        <a:pt x="14" y="0"/>
                      </a:cubicBezTo>
                      <a:cubicBezTo>
                        <a:pt x="9" y="1"/>
                        <a:pt x="4" y="4"/>
                        <a:pt x="0" y="7"/>
                      </a:cubicBezTo>
                      <a:cubicBezTo>
                        <a:pt x="0" y="14"/>
                        <a:pt x="0" y="22"/>
                        <a:pt x="0" y="23"/>
                      </a:cubicBezTo>
                      <a:cubicBezTo>
                        <a:pt x="0" y="24"/>
                        <a:pt x="1" y="25"/>
                        <a:pt x="2"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97" name="Freeform 509"/>
                <p:cNvSpPr>
                  <a:spLocks/>
                </p:cNvSpPr>
                <p:nvPr/>
              </p:nvSpPr>
              <p:spPr bwMode="auto">
                <a:xfrm>
                  <a:off x="14174" y="891"/>
                  <a:ext cx="9" cy="17"/>
                </a:xfrm>
                <a:custGeom>
                  <a:avLst/>
                  <a:gdLst>
                    <a:gd name="T0" fmla="*/ 0 w 4"/>
                    <a:gd name="T1" fmla="*/ 5 h 7"/>
                    <a:gd name="T2" fmla="*/ 2 w 4"/>
                    <a:gd name="T3" fmla="*/ 7 h 7"/>
                    <a:gd name="T4" fmla="*/ 4 w 4"/>
                    <a:gd name="T5" fmla="*/ 5 h 7"/>
                    <a:gd name="T6" fmla="*/ 4 w 4"/>
                    <a:gd name="T7" fmla="*/ 0 h 7"/>
                    <a:gd name="T8" fmla="*/ 0 w 4"/>
                    <a:gd name="T9" fmla="*/ 1 h 7"/>
                    <a:gd name="T10" fmla="*/ 0 w 4"/>
                    <a:gd name="T11" fmla="*/ 5 h 7"/>
                  </a:gdLst>
                  <a:ahLst/>
                  <a:cxnLst>
                    <a:cxn ang="0">
                      <a:pos x="T0" y="T1"/>
                    </a:cxn>
                    <a:cxn ang="0">
                      <a:pos x="T2" y="T3"/>
                    </a:cxn>
                    <a:cxn ang="0">
                      <a:pos x="T4" y="T5"/>
                    </a:cxn>
                    <a:cxn ang="0">
                      <a:pos x="T6" y="T7"/>
                    </a:cxn>
                    <a:cxn ang="0">
                      <a:pos x="T8" y="T9"/>
                    </a:cxn>
                    <a:cxn ang="0">
                      <a:pos x="T10" y="T11"/>
                    </a:cxn>
                  </a:cxnLst>
                  <a:rect l="0" t="0" r="r" b="b"/>
                  <a:pathLst>
                    <a:path w="4" h="7">
                      <a:moveTo>
                        <a:pt x="0" y="5"/>
                      </a:moveTo>
                      <a:cubicBezTo>
                        <a:pt x="0" y="6"/>
                        <a:pt x="1" y="7"/>
                        <a:pt x="2" y="7"/>
                      </a:cubicBezTo>
                      <a:cubicBezTo>
                        <a:pt x="3" y="7"/>
                        <a:pt x="4" y="6"/>
                        <a:pt x="4" y="5"/>
                      </a:cubicBezTo>
                      <a:cubicBezTo>
                        <a:pt x="4" y="5"/>
                        <a:pt x="4" y="3"/>
                        <a:pt x="4" y="0"/>
                      </a:cubicBezTo>
                      <a:cubicBezTo>
                        <a:pt x="3" y="1"/>
                        <a:pt x="1" y="1"/>
                        <a:pt x="0" y="1"/>
                      </a:cubicBezTo>
                      <a:cubicBezTo>
                        <a:pt x="0" y="3"/>
                        <a:pt x="0" y="5"/>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98" name="Freeform 510"/>
                <p:cNvSpPr>
                  <a:spLocks/>
                </p:cNvSpPr>
                <p:nvPr/>
              </p:nvSpPr>
              <p:spPr bwMode="auto">
                <a:xfrm>
                  <a:off x="13998" y="1000"/>
                  <a:ext cx="60" cy="111"/>
                </a:xfrm>
                <a:custGeom>
                  <a:avLst/>
                  <a:gdLst>
                    <a:gd name="T0" fmla="*/ 6 w 25"/>
                    <a:gd name="T1" fmla="*/ 10 h 47"/>
                    <a:gd name="T2" fmla="*/ 0 w 25"/>
                    <a:gd name="T3" fmla="*/ 28 h 47"/>
                    <a:gd name="T4" fmla="*/ 6 w 25"/>
                    <a:gd name="T5" fmla="*/ 28 h 47"/>
                    <a:gd name="T6" fmla="*/ 6 w 25"/>
                    <a:gd name="T7" fmla="*/ 45 h 47"/>
                    <a:gd name="T8" fmla="*/ 9 w 25"/>
                    <a:gd name="T9" fmla="*/ 47 h 47"/>
                    <a:gd name="T10" fmla="*/ 11 w 25"/>
                    <a:gd name="T11" fmla="*/ 45 h 47"/>
                    <a:gd name="T12" fmla="*/ 11 w 25"/>
                    <a:gd name="T13" fmla="*/ 28 h 47"/>
                    <a:gd name="T14" fmla="*/ 12 w 25"/>
                    <a:gd name="T15" fmla="*/ 28 h 47"/>
                    <a:gd name="T16" fmla="*/ 12 w 25"/>
                    <a:gd name="T17" fmla="*/ 45 h 47"/>
                    <a:gd name="T18" fmla="*/ 14 w 25"/>
                    <a:gd name="T19" fmla="*/ 47 h 47"/>
                    <a:gd name="T20" fmla="*/ 16 w 25"/>
                    <a:gd name="T21" fmla="*/ 45 h 47"/>
                    <a:gd name="T22" fmla="*/ 16 w 25"/>
                    <a:gd name="T23" fmla="*/ 28 h 47"/>
                    <a:gd name="T24" fmla="*/ 23 w 25"/>
                    <a:gd name="T25" fmla="*/ 28 h 47"/>
                    <a:gd name="T26" fmla="*/ 16 w 25"/>
                    <a:gd name="T27" fmla="*/ 7 h 47"/>
                    <a:gd name="T28" fmla="*/ 17 w 25"/>
                    <a:gd name="T29" fmla="*/ 7 h 47"/>
                    <a:gd name="T30" fmla="*/ 21 w 25"/>
                    <a:gd name="T31" fmla="*/ 20 h 47"/>
                    <a:gd name="T32" fmla="*/ 23 w 25"/>
                    <a:gd name="T33" fmla="*/ 21 h 47"/>
                    <a:gd name="T34" fmla="*/ 24 w 25"/>
                    <a:gd name="T35" fmla="*/ 18 h 47"/>
                    <a:gd name="T36" fmla="*/ 20 w 25"/>
                    <a:gd name="T37" fmla="*/ 5 h 47"/>
                    <a:gd name="T38" fmla="*/ 15 w 25"/>
                    <a:gd name="T39" fmla="*/ 0 h 47"/>
                    <a:gd name="T40" fmla="*/ 6 w 25"/>
                    <a:gd name="T41"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47">
                      <a:moveTo>
                        <a:pt x="6" y="10"/>
                      </a:moveTo>
                      <a:cubicBezTo>
                        <a:pt x="0" y="28"/>
                        <a:pt x="0" y="28"/>
                        <a:pt x="0" y="28"/>
                      </a:cubicBezTo>
                      <a:cubicBezTo>
                        <a:pt x="6" y="28"/>
                        <a:pt x="6" y="28"/>
                        <a:pt x="6" y="28"/>
                      </a:cubicBezTo>
                      <a:cubicBezTo>
                        <a:pt x="6" y="36"/>
                        <a:pt x="6" y="44"/>
                        <a:pt x="6" y="45"/>
                      </a:cubicBezTo>
                      <a:cubicBezTo>
                        <a:pt x="6" y="46"/>
                        <a:pt x="7" y="47"/>
                        <a:pt x="9" y="47"/>
                      </a:cubicBezTo>
                      <a:cubicBezTo>
                        <a:pt x="10" y="47"/>
                        <a:pt x="11" y="46"/>
                        <a:pt x="11" y="45"/>
                      </a:cubicBezTo>
                      <a:cubicBezTo>
                        <a:pt x="11" y="43"/>
                        <a:pt x="11" y="28"/>
                        <a:pt x="11" y="28"/>
                      </a:cubicBezTo>
                      <a:cubicBezTo>
                        <a:pt x="12" y="28"/>
                        <a:pt x="12" y="28"/>
                        <a:pt x="12" y="28"/>
                      </a:cubicBezTo>
                      <a:cubicBezTo>
                        <a:pt x="12" y="28"/>
                        <a:pt x="12" y="43"/>
                        <a:pt x="12" y="45"/>
                      </a:cubicBezTo>
                      <a:cubicBezTo>
                        <a:pt x="12" y="46"/>
                        <a:pt x="13" y="47"/>
                        <a:pt x="14" y="47"/>
                      </a:cubicBezTo>
                      <a:cubicBezTo>
                        <a:pt x="15" y="47"/>
                        <a:pt x="16" y="46"/>
                        <a:pt x="16" y="45"/>
                      </a:cubicBezTo>
                      <a:cubicBezTo>
                        <a:pt x="16" y="44"/>
                        <a:pt x="16" y="36"/>
                        <a:pt x="16" y="28"/>
                      </a:cubicBezTo>
                      <a:cubicBezTo>
                        <a:pt x="23" y="28"/>
                        <a:pt x="23" y="28"/>
                        <a:pt x="23" y="28"/>
                      </a:cubicBezTo>
                      <a:cubicBezTo>
                        <a:pt x="16" y="7"/>
                        <a:pt x="16" y="7"/>
                        <a:pt x="16" y="7"/>
                      </a:cubicBezTo>
                      <a:cubicBezTo>
                        <a:pt x="17" y="7"/>
                        <a:pt x="17" y="7"/>
                        <a:pt x="17" y="7"/>
                      </a:cubicBezTo>
                      <a:cubicBezTo>
                        <a:pt x="17" y="7"/>
                        <a:pt x="21" y="18"/>
                        <a:pt x="21" y="20"/>
                      </a:cubicBezTo>
                      <a:cubicBezTo>
                        <a:pt x="21" y="20"/>
                        <a:pt x="22" y="21"/>
                        <a:pt x="23" y="21"/>
                      </a:cubicBezTo>
                      <a:cubicBezTo>
                        <a:pt x="24" y="20"/>
                        <a:pt x="25" y="19"/>
                        <a:pt x="24" y="18"/>
                      </a:cubicBezTo>
                      <a:cubicBezTo>
                        <a:pt x="24" y="18"/>
                        <a:pt x="22" y="10"/>
                        <a:pt x="20" y="5"/>
                      </a:cubicBezTo>
                      <a:cubicBezTo>
                        <a:pt x="20" y="2"/>
                        <a:pt x="18" y="0"/>
                        <a:pt x="15" y="0"/>
                      </a:cubicBezTo>
                      <a:cubicBezTo>
                        <a:pt x="13" y="3"/>
                        <a:pt x="11" y="7"/>
                        <a:pt x="6"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799" name="Freeform 511"/>
                <p:cNvSpPr>
                  <a:spLocks/>
                </p:cNvSpPr>
                <p:nvPr/>
              </p:nvSpPr>
              <p:spPr bwMode="auto">
                <a:xfrm>
                  <a:off x="14129" y="898"/>
                  <a:ext cx="11" cy="10"/>
                </a:xfrm>
                <a:custGeom>
                  <a:avLst/>
                  <a:gdLst>
                    <a:gd name="T0" fmla="*/ 3 w 5"/>
                    <a:gd name="T1" fmla="*/ 4 h 4"/>
                    <a:gd name="T2" fmla="*/ 5 w 5"/>
                    <a:gd name="T3" fmla="*/ 2 h 4"/>
                    <a:gd name="T4" fmla="*/ 5 w 5"/>
                    <a:gd name="T5" fmla="*/ 0 h 4"/>
                    <a:gd name="T6" fmla="*/ 0 w 5"/>
                    <a:gd name="T7" fmla="*/ 1 h 4"/>
                    <a:gd name="T8" fmla="*/ 0 w 5"/>
                    <a:gd name="T9" fmla="*/ 2 h 4"/>
                    <a:gd name="T10" fmla="*/ 3 w 5"/>
                    <a:gd name="T11" fmla="*/ 4 h 4"/>
                  </a:gdLst>
                  <a:ahLst/>
                  <a:cxnLst>
                    <a:cxn ang="0">
                      <a:pos x="T0" y="T1"/>
                    </a:cxn>
                    <a:cxn ang="0">
                      <a:pos x="T2" y="T3"/>
                    </a:cxn>
                    <a:cxn ang="0">
                      <a:pos x="T4" y="T5"/>
                    </a:cxn>
                    <a:cxn ang="0">
                      <a:pos x="T6" y="T7"/>
                    </a:cxn>
                    <a:cxn ang="0">
                      <a:pos x="T8" y="T9"/>
                    </a:cxn>
                    <a:cxn ang="0">
                      <a:pos x="T10" y="T11"/>
                    </a:cxn>
                  </a:cxnLst>
                  <a:rect l="0" t="0" r="r" b="b"/>
                  <a:pathLst>
                    <a:path w="5" h="4">
                      <a:moveTo>
                        <a:pt x="3" y="4"/>
                      </a:moveTo>
                      <a:cubicBezTo>
                        <a:pt x="4" y="4"/>
                        <a:pt x="5" y="3"/>
                        <a:pt x="5" y="2"/>
                      </a:cubicBezTo>
                      <a:cubicBezTo>
                        <a:pt x="5" y="2"/>
                        <a:pt x="5" y="1"/>
                        <a:pt x="5" y="0"/>
                      </a:cubicBezTo>
                      <a:cubicBezTo>
                        <a:pt x="3" y="1"/>
                        <a:pt x="2" y="1"/>
                        <a:pt x="0" y="1"/>
                      </a:cubicBezTo>
                      <a:cubicBezTo>
                        <a:pt x="0" y="2"/>
                        <a:pt x="0" y="2"/>
                        <a:pt x="0" y="2"/>
                      </a:cubicBezTo>
                      <a:cubicBezTo>
                        <a:pt x="0" y="3"/>
                        <a:pt x="1" y="4"/>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00" name="Freeform 512"/>
                <p:cNvSpPr>
                  <a:spLocks/>
                </p:cNvSpPr>
                <p:nvPr/>
              </p:nvSpPr>
              <p:spPr bwMode="auto">
                <a:xfrm>
                  <a:off x="13932" y="1045"/>
                  <a:ext cx="10" cy="10"/>
                </a:xfrm>
                <a:custGeom>
                  <a:avLst/>
                  <a:gdLst>
                    <a:gd name="T0" fmla="*/ 2 w 4"/>
                    <a:gd name="T1" fmla="*/ 4 h 4"/>
                    <a:gd name="T2" fmla="*/ 4 w 4"/>
                    <a:gd name="T3" fmla="*/ 2 h 4"/>
                    <a:gd name="T4" fmla="*/ 4 w 4"/>
                    <a:gd name="T5" fmla="*/ 0 h 4"/>
                    <a:gd name="T6" fmla="*/ 0 w 4"/>
                    <a:gd name="T7" fmla="*/ 1 h 4"/>
                    <a:gd name="T8" fmla="*/ 0 w 4"/>
                    <a:gd name="T9" fmla="*/ 2 h 4"/>
                    <a:gd name="T10" fmla="*/ 2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2" y="4"/>
                      </a:moveTo>
                      <a:cubicBezTo>
                        <a:pt x="3" y="4"/>
                        <a:pt x="4" y="3"/>
                        <a:pt x="4" y="2"/>
                      </a:cubicBezTo>
                      <a:cubicBezTo>
                        <a:pt x="4" y="2"/>
                        <a:pt x="4" y="1"/>
                        <a:pt x="4" y="0"/>
                      </a:cubicBezTo>
                      <a:cubicBezTo>
                        <a:pt x="3" y="0"/>
                        <a:pt x="2" y="0"/>
                        <a:pt x="0" y="1"/>
                      </a:cubicBezTo>
                      <a:cubicBezTo>
                        <a:pt x="0" y="1"/>
                        <a:pt x="0" y="2"/>
                        <a:pt x="0" y="2"/>
                      </a:cubicBezTo>
                      <a:cubicBezTo>
                        <a:pt x="0" y="3"/>
                        <a:pt x="1" y="4"/>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01" name="Oval 513"/>
                <p:cNvSpPr>
                  <a:spLocks noChangeArrowheads="1"/>
                </p:cNvSpPr>
                <p:nvPr/>
              </p:nvSpPr>
              <p:spPr bwMode="auto">
                <a:xfrm>
                  <a:off x="14079"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02" name="Freeform 514"/>
                <p:cNvSpPr>
                  <a:spLocks/>
                </p:cNvSpPr>
                <p:nvPr/>
              </p:nvSpPr>
              <p:spPr bwMode="auto">
                <a:xfrm>
                  <a:off x="14065" y="1000"/>
                  <a:ext cx="52" cy="111"/>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8 w 22"/>
                    <a:gd name="T11" fmla="*/ 47 h 47"/>
                    <a:gd name="T12" fmla="*/ 10 w 22"/>
                    <a:gd name="T13" fmla="*/ 44 h 47"/>
                    <a:gd name="T14" fmla="*/ 10 w 22"/>
                    <a:gd name="T15" fmla="*/ 23 h 47"/>
                    <a:gd name="T16" fmla="*/ 12 w 22"/>
                    <a:gd name="T17" fmla="*/ 23 h 47"/>
                    <a:gd name="T18" fmla="*/ 12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6 h 47"/>
                    <a:gd name="T36" fmla="*/ 16 w 22"/>
                    <a:gd name="T37" fmla="*/ 0 h 47"/>
                    <a:gd name="T38" fmla="*/ 6 w 22"/>
                    <a:gd name="T39" fmla="*/ 0 h 47"/>
                    <a:gd name="T40" fmla="*/ 0 w 22"/>
                    <a:gd name="T41" fmla="*/ 6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20" y="0"/>
                        <a:pt x="16" y="0"/>
                      </a:cubicBezTo>
                      <a:cubicBezTo>
                        <a:pt x="14" y="0"/>
                        <a:pt x="7" y="0"/>
                        <a:pt x="6" y="0"/>
                      </a:cubicBezTo>
                      <a:cubicBezTo>
                        <a:pt x="2"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03" name="Freeform 515"/>
                <p:cNvSpPr>
                  <a:spLocks/>
                </p:cNvSpPr>
                <p:nvPr/>
              </p:nvSpPr>
              <p:spPr bwMode="auto">
                <a:xfrm>
                  <a:off x="14143" y="894"/>
                  <a:ext cx="28" cy="71"/>
                </a:xfrm>
                <a:custGeom>
                  <a:avLst/>
                  <a:gdLst>
                    <a:gd name="T0" fmla="*/ 0 w 12"/>
                    <a:gd name="T1" fmla="*/ 27 h 30"/>
                    <a:gd name="T2" fmla="*/ 2 w 12"/>
                    <a:gd name="T3" fmla="*/ 30 h 30"/>
                    <a:gd name="T4" fmla="*/ 5 w 12"/>
                    <a:gd name="T5" fmla="*/ 27 h 30"/>
                    <a:gd name="T6" fmla="*/ 5 w 12"/>
                    <a:gd name="T7" fmla="*/ 6 h 30"/>
                    <a:gd name="T8" fmla="*/ 6 w 12"/>
                    <a:gd name="T9" fmla="*/ 6 h 30"/>
                    <a:gd name="T10" fmla="*/ 6 w 12"/>
                    <a:gd name="T11" fmla="*/ 27 h 30"/>
                    <a:gd name="T12" fmla="*/ 9 w 12"/>
                    <a:gd name="T13" fmla="*/ 30 h 30"/>
                    <a:gd name="T14" fmla="*/ 12 w 12"/>
                    <a:gd name="T15" fmla="*/ 27 h 30"/>
                    <a:gd name="T16" fmla="*/ 12 w 12"/>
                    <a:gd name="T17" fmla="*/ 0 h 30"/>
                    <a:gd name="T18" fmla="*/ 0 w 12"/>
                    <a:gd name="T19" fmla="*/ 2 h 30"/>
                    <a:gd name="T20" fmla="*/ 0 w 12"/>
                    <a:gd name="T2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30">
                      <a:moveTo>
                        <a:pt x="0" y="27"/>
                      </a:moveTo>
                      <a:cubicBezTo>
                        <a:pt x="0" y="29"/>
                        <a:pt x="1" y="30"/>
                        <a:pt x="2" y="30"/>
                      </a:cubicBezTo>
                      <a:cubicBezTo>
                        <a:pt x="4" y="30"/>
                        <a:pt x="5" y="29"/>
                        <a:pt x="5" y="27"/>
                      </a:cubicBezTo>
                      <a:cubicBezTo>
                        <a:pt x="5" y="25"/>
                        <a:pt x="5" y="6"/>
                        <a:pt x="5" y="6"/>
                      </a:cubicBezTo>
                      <a:cubicBezTo>
                        <a:pt x="5" y="6"/>
                        <a:pt x="5" y="6"/>
                        <a:pt x="6" y="6"/>
                      </a:cubicBezTo>
                      <a:cubicBezTo>
                        <a:pt x="6" y="6"/>
                        <a:pt x="6" y="25"/>
                        <a:pt x="6" y="27"/>
                      </a:cubicBezTo>
                      <a:cubicBezTo>
                        <a:pt x="6" y="29"/>
                        <a:pt x="8" y="30"/>
                        <a:pt x="9" y="30"/>
                      </a:cubicBezTo>
                      <a:cubicBezTo>
                        <a:pt x="11" y="30"/>
                        <a:pt x="12" y="29"/>
                        <a:pt x="12" y="27"/>
                      </a:cubicBezTo>
                      <a:cubicBezTo>
                        <a:pt x="12" y="26"/>
                        <a:pt x="12" y="11"/>
                        <a:pt x="12" y="0"/>
                      </a:cubicBezTo>
                      <a:cubicBezTo>
                        <a:pt x="8" y="1"/>
                        <a:pt x="3" y="2"/>
                        <a:pt x="0" y="2"/>
                      </a:cubicBezTo>
                      <a:cubicBezTo>
                        <a:pt x="0" y="12"/>
                        <a:pt x="0" y="26"/>
                        <a:pt x="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04" name="Freeform 516"/>
                <p:cNvSpPr>
                  <a:spLocks/>
                </p:cNvSpPr>
                <p:nvPr/>
              </p:nvSpPr>
              <p:spPr bwMode="auto">
                <a:xfrm>
                  <a:off x="13994" y="1026"/>
                  <a:ext cx="14" cy="24"/>
                </a:xfrm>
                <a:custGeom>
                  <a:avLst/>
                  <a:gdLst>
                    <a:gd name="T0" fmla="*/ 1 w 6"/>
                    <a:gd name="T1" fmla="*/ 10 h 10"/>
                    <a:gd name="T2" fmla="*/ 4 w 6"/>
                    <a:gd name="T3" fmla="*/ 9 h 10"/>
                    <a:gd name="T4" fmla="*/ 6 w 6"/>
                    <a:gd name="T5" fmla="*/ 0 h 10"/>
                    <a:gd name="T6" fmla="*/ 5 w 6"/>
                    <a:gd name="T7" fmla="*/ 1 h 10"/>
                    <a:gd name="T8" fmla="*/ 1 w 6"/>
                    <a:gd name="T9" fmla="*/ 2 h 10"/>
                    <a:gd name="T10" fmla="*/ 0 w 6"/>
                    <a:gd name="T11" fmla="*/ 7 h 10"/>
                    <a:gd name="T12" fmla="*/ 1 w 6"/>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1" y="10"/>
                      </a:moveTo>
                      <a:cubicBezTo>
                        <a:pt x="2" y="10"/>
                        <a:pt x="3" y="9"/>
                        <a:pt x="4" y="9"/>
                      </a:cubicBezTo>
                      <a:cubicBezTo>
                        <a:pt x="4" y="8"/>
                        <a:pt x="5" y="3"/>
                        <a:pt x="6" y="0"/>
                      </a:cubicBezTo>
                      <a:cubicBezTo>
                        <a:pt x="6" y="0"/>
                        <a:pt x="5" y="0"/>
                        <a:pt x="5" y="1"/>
                      </a:cubicBezTo>
                      <a:cubicBezTo>
                        <a:pt x="4" y="1"/>
                        <a:pt x="3" y="2"/>
                        <a:pt x="1" y="2"/>
                      </a:cubicBezTo>
                      <a:cubicBezTo>
                        <a:pt x="1" y="5"/>
                        <a:pt x="0" y="7"/>
                        <a:pt x="0" y="7"/>
                      </a:cubicBezTo>
                      <a:cubicBezTo>
                        <a:pt x="0" y="8"/>
                        <a:pt x="0" y="9"/>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05" name="Freeform 517"/>
                <p:cNvSpPr>
                  <a:spLocks/>
                </p:cNvSpPr>
                <p:nvPr/>
              </p:nvSpPr>
              <p:spPr bwMode="auto">
                <a:xfrm>
                  <a:off x="13977" y="1036"/>
                  <a:ext cx="10" cy="19"/>
                </a:xfrm>
                <a:custGeom>
                  <a:avLst/>
                  <a:gdLst>
                    <a:gd name="T0" fmla="*/ 0 w 4"/>
                    <a:gd name="T1" fmla="*/ 6 h 8"/>
                    <a:gd name="T2" fmla="*/ 2 w 4"/>
                    <a:gd name="T3" fmla="*/ 8 h 8"/>
                    <a:gd name="T4" fmla="*/ 4 w 4"/>
                    <a:gd name="T5" fmla="*/ 6 h 8"/>
                    <a:gd name="T6" fmla="*/ 4 w 4"/>
                    <a:gd name="T7" fmla="*/ 0 h 8"/>
                    <a:gd name="T8" fmla="*/ 0 w 4"/>
                    <a:gd name="T9" fmla="*/ 1 h 8"/>
                    <a:gd name="T10" fmla="*/ 0 w 4"/>
                    <a:gd name="T11" fmla="*/ 6 h 8"/>
                  </a:gdLst>
                  <a:ahLst/>
                  <a:cxnLst>
                    <a:cxn ang="0">
                      <a:pos x="T0" y="T1"/>
                    </a:cxn>
                    <a:cxn ang="0">
                      <a:pos x="T2" y="T3"/>
                    </a:cxn>
                    <a:cxn ang="0">
                      <a:pos x="T4" y="T5"/>
                    </a:cxn>
                    <a:cxn ang="0">
                      <a:pos x="T6" y="T7"/>
                    </a:cxn>
                    <a:cxn ang="0">
                      <a:pos x="T8" y="T9"/>
                    </a:cxn>
                    <a:cxn ang="0">
                      <a:pos x="T10" y="T11"/>
                    </a:cxn>
                  </a:cxnLst>
                  <a:rect l="0" t="0" r="r" b="b"/>
                  <a:pathLst>
                    <a:path w="4" h="8">
                      <a:moveTo>
                        <a:pt x="0" y="6"/>
                      </a:moveTo>
                      <a:cubicBezTo>
                        <a:pt x="0" y="7"/>
                        <a:pt x="1" y="8"/>
                        <a:pt x="2" y="8"/>
                      </a:cubicBezTo>
                      <a:cubicBezTo>
                        <a:pt x="3" y="8"/>
                        <a:pt x="4" y="7"/>
                        <a:pt x="4" y="6"/>
                      </a:cubicBezTo>
                      <a:cubicBezTo>
                        <a:pt x="4" y="5"/>
                        <a:pt x="4" y="3"/>
                        <a:pt x="4" y="0"/>
                      </a:cubicBezTo>
                      <a:cubicBezTo>
                        <a:pt x="3" y="1"/>
                        <a:pt x="1" y="1"/>
                        <a:pt x="0" y="1"/>
                      </a:cubicBezTo>
                      <a:cubicBezTo>
                        <a:pt x="0" y="4"/>
                        <a:pt x="0" y="5"/>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06" name="Oval 518"/>
                <p:cNvSpPr>
                  <a:spLocks noChangeArrowheads="1"/>
                </p:cNvSpPr>
                <p:nvPr/>
              </p:nvSpPr>
              <p:spPr bwMode="auto">
                <a:xfrm>
                  <a:off x="14145"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07" name="Freeform 519"/>
                <p:cNvSpPr>
                  <a:spLocks/>
                </p:cNvSpPr>
                <p:nvPr/>
              </p:nvSpPr>
              <p:spPr bwMode="auto">
                <a:xfrm>
                  <a:off x="14124" y="1000"/>
                  <a:ext cx="64" cy="111"/>
                </a:xfrm>
                <a:custGeom>
                  <a:avLst/>
                  <a:gdLst>
                    <a:gd name="T0" fmla="*/ 2 w 27"/>
                    <a:gd name="T1" fmla="*/ 21 h 47"/>
                    <a:gd name="T2" fmla="*/ 4 w 27"/>
                    <a:gd name="T3" fmla="*/ 20 h 47"/>
                    <a:gd name="T4" fmla="*/ 8 w 27"/>
                    <a:gd name="T5" fmla="*/ 7 h 47"/>
                    <a:gd name="T6" fmla="*/ 9 w 27"/>
                    <a:gd name="T7" fmla="*/ 7 h 47"/>
                    <a:gd name="T8" fmla="*/ 2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9 w 27"/>
                    <a:gd name="T27" fmla="*/ 45 h 47"/>
                    <a:gd name="T28" fmla="*/ 19 w 27"/>
                    <a:gd name="T29" fmla="*/ 28 h 47"/>
                    <a:gd name="T30" fmla="*/ 25 w 27"/>
                    <a:gd name="T31" fmla="*/ 28 h 47"/>
                    <a:gd name="T32" fmla="*/ 18 w 27"/>
                    <a:gd name="T33" fmla="*/ 7 h 47"/>
                    <a:gd name="T34" fmla="*/ 20 w 27"/>
                    <a:gd name="T35" fmla="*/ 7 h 47"/>
                    <a:gd name="T36" fmla="*/ 23 w 27"/>
                    <a:gd name="T37" fmla="*/ 20 h 47"/>
                    <a:gd name="T38" fmla="*/ 26 w 27"/>
                    <a:gd name="T39" fmla="*/ 21 h 47"/>
                    <a:gd name="T40" fmla="*/ 27 w 27"/>
                    <a:gd name="T41" fmla="*/ 18 h 47"/>
                    <a:gd name="T42" fmla="*/ 23 w 27"/>
                    <a:gd name="T43" fmla="*/ 5 h 47"/>
                    <a:gd name="T44" fmla="*/ 17 w 27"/>
                    <a:gd name="T45" fmla="*/ 0 h 47"/>
                    <a:gd name="T46" fmla="*/ 10 w 27"/>
                    <a:gd name="T47" fmla="*/ 0 h 47"/>
                    <a:gd name="T48" fmla="*/ 5 w 27"/>
                    <a:gd name="T49" fmla="*/ 5 h 47"/>
                    <a:gd name="T50" fmla="*/ 0 w 27"/>
                    <a:gd name="T51" fmla="*/ 18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0"/>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20" y="7"/>
                        <a:pt x="20" y="7"/>
                        <a:pt x="20" y="7"/>
                      </a:cubicBezTo>
                      <a:cubicBezTo>
                        <a:pt x="20" y="7"/>
                        <a:pt x="23" y="18"/>
                        <a:pt x="23" y="20"/>
                      </a:cubicBezTo>
                      <a:cubicBezTo>
                        <a:pt x="24" y="20"/>
                        <a:pt x="25" y="21"/>
                        <a:pt x="26" y="21"/>
                      </a:cubicBezTo>
                      <a:cubicBezTo>
                        <a:pt x="27" y="20"/>
                        <a:pt x="27" y="19"/>
                        <a:pt x="27" y="18"/>
                      </a:cubicBezTo>
                      <a:cubicBezTo>
                        <a:pt x="27" y="18"/>
                        <a:pt x="25" y="10"/>
                        <a:pt x="23" y="5"/>
                      </a:cubicBezTo>
                      <a:cubicBezTo>
                        <a:pt x="22" y="2"/>
                        <a:pt x="20" y="0"/>
                        <a:pt x="17" y="0"/>
                      </a:cubicBezTo>
                      <a:cubicBezTo>
                        <a:pt x="16" y="0"/>
                        <a:pt x="11" y="0"/>
                        <a:pt x="10" y="0"/>
                      </a:cubicBezTo>
                      <a:cubicBezTo>
                        <a:pt x="8" y="0"/>
                        <a:pt x="5" y="2"/>
                        <a:pt x="5" y="5"/>
                      </a:cubicBezTo>
                      <a:cubicBezTo>
                        <a:pt x="3" y="10"/>
                        <a:pt x="1" y="18"/>
                        <a:pt x="0" y="18"/>
                      </a:cubicBezTo>
                      <a:cubicBezTo>
                        <a:pt x="0" y="19"/>
                        <a:pt x="1" y="20"/>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08" name="Freeform 520"/>
                <p:cNvSpPr>
                  <a:spLocks/>
                </p:cNvSpPr>
                <p:nvPr/>
              </p:nvSpPr>
              <p:spPr bwMode="auto">
                <a:xfrm>
                  <a:off x="13944" y="1040"/>
                  <a:ext cx="31" cy="71"/>
                </a:xfrm>
                <a:custGeom>
                  <a:avLst/>
                  <a:gdLst>
                    <a:gd name="T0" fmla="*/ 0 w 13"/>
                    <a:gd name="T1" fmla="*/ 27 h 30"/>
                    <a:gd name="T2" fmla="*/ 3 w 13"/>
                    <a:gd name="T3" fmla="*/ 30 h 30"/>
                    <a:gd name="T4" fmla="*/ 6 w 13"/>
                    <a:gd name="T5" fmla="*/ 27 h 30"/>
                    <a:gd name="T6" fmla="*/ 6 w 13"/>
                    <a:gd name="T7" fmla="*/ 6 h 30"/>
                    <a:gd name="T8" fmla="*/ 7 w 13"/>
                    <a:gd name="T9" fmla="*/ 6 h 30"/>
                    <a:gd name="T10" fmla="*/ 7 w 13"/>
                    <a:gd name="T11" fmla="*/ 27 h 30"/>
                    <a:gd name="T12" fmla="*/ 10 w 13"/>
                    <a:gd name="T13" fmla="*/ 30 h 30"/>
                    <a:gd name="T14" fmla="*/ 13 w 13"/>
                    <a:gd name="T15" fmla="*/ 27 h 30"/>
                    <a:gd name="T16" fmla="*/ 13 w 13"/>
                    <a:gd name="T17" fmla="*/ 0 h 30"/>
                    <a:gd name="T18" fmla="*/ 0 w 13"/>
                    <a:gd name="T19" fmla="*/ 2 h 30"/>
                    <a:gd name="T20" fmla="*/ 0 w 13"/>
                    <a:gd name="T2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30">
                      <a:moveTo>
                        <a:pt x="0" y="27"/>
                      </a:moveTo>
                      <a:cubicBezTo>
                        <a:pt x="0" y="29"/>
                        <a:pt x="2" y="30"/>
                        <a:pt x="3" y="30"/>
                      </a:cubicBezTo>
                      <a:cubicBezTo>
                        <a:pt x="5" y="30"/>
                        <a:pt x="6" y="29"/>
                        <a:pt x="6" y="27"/>
                      </a:cubicBezTo>
                      <a:cubicBezTo>
                        <a:pt x="6" y="25"/>
                        <a:pt x="6" y="6"/>
                        <a:pt x="6" y="6"/>
                      </a:cubicBezTo>
                      <a:cubicBezTo>
                        <a:pt x="6" y="6"/>
                        <a:pt x="6" y="6"/>
                        <a:pt x="7" y="6"/>
                      </a:cubicBezTo>
                      <a:cubicBezTo>
                        <a:pt x="7" y="6"/>
                        <a:pt x="7" y="25"/>
                        <a:pt x="7" y="27"/>
                      </a:cubicBezTo>
                      <a:cubicBezTo>
                        <a:pt x="7" y="29"/>
                        <a:pt x="8" y="30"/>
                        <a:pt x="10" y="30"/>
                      </a:cubicBezTo>
                      <a:cubicBezTo>
                        <a:pt x="11" y="30"/>
                        <a:pt x="13" y="29"/>
                        <a:pt x="13" y="27"/>
                      </a:cubicBezTo>
                      <a:cubicBezTo>
                        <a:pt x="13" y="26"/>
                        <a:pt x="13" y="10"/>
                        <a:pt x="13" y="0"/>
                      </a:cubicBezTo>
                      <a:cubicBezTo>
                        <a:pt x="9" y="1"/>
                        <a:pt x="5" y="1"/>
                        <a:pt x="0" y="2"/>
                      </a:cubicBezTo>
                      <a:cubicBezTo>
                        <a:pt x="0" y="12"/>
                        <a:pt x="0" y="26"/>
                        <a:pt x="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09" name="Freeform 521"/>
                <p:cNvSpPr>
                  <a:spLocks/>
                </p:cNvSpPr>
                <p:nvPr/>
              </p:nvSpPr>
              <p:spPr bwMode="auto">
                <a:xfrm>
                  <a:off x="13227" y="917"/>
                  <a:ext cx="14" cy="48"/>
                </a:xfrm>
                <a:custGeom>
                  <a:avLst/>
                  <a:gdLst>
                    <a:gd name="T0" fmla="*/ 3 w 6"/>
                    <a:gd name="T1" fmla="*/ 20 h 20"/>
                    <a:gd name="T2" fmla="*/ 6 w 6"/>
                    <a:gd name="T3" fmla="*/ 17 h 20"/>
                    <a:gd name="T4" fmla="*/ 6 w 6"/>
                    <a:gd name="T5" fmla="*/ 5 h 20"/>
                    <a:gd name="T6" fmla="*/ 4 w 6"/>
                    <a:gd name="T7" fmla="*/ 3 h 20"/>
                    <a:gd name="T8" fmla="*/ 0 w 6"/>
                    <a:gd name="T9" fmla="*/ 0 h 20"/>
                    <a:gd name="T10" fmla="*/ 0 w 6"/>
                    <a:gd name="T11" fmla="*/ 17 h 20"/>
                    <a:gd name="T12" fmla="*/ 3 w 6"/>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6" h="20">
                      <a:moveTo>
                        <a:pt x="3" y="20"/>
                      </a:moveTo>
                      <a:cubicBezTo>
                        <a:pt x="4" y="20"/>
                        <a:pt x="6" y="19"/>
                        <a:pt x="6" y="17"/>
                      </a:cubicBezTo>
                      <a:cubicBezTo>
                        <a:pt x="6" y="16"/>
                        <a:pt x="6" y="10"/>
                        <a:pt x="6" y="5"/>
                      </a:cubicBezTo>
                      <a:cubicBezTo>
                        <a:pt x="5" y="4"/>
                        <a:pt x="4" y="4"/>
                        <a:pt x="4" y="3"/>
                      </a:cubicBezTo>
                      <a:cubicBezTo>
                        <a:pt x="3" y="2"/>
                        <a:pt x="1" y="1"/>
                        <a:pt x="0" y="0"/>
                      </a:cubicBezTo>
                      <a:cubicBezTo>
                        <a:pt x="0" y="8"/>
                        <a:pt x="0" y="16"/>
                        <a:pt x="0" y="17"/>
                      </a:cubicBezTo>
                      <a:cubicBezTo>
                        <a:pt x="0" y="19"/>
                        <a:pt x="1" y="20"/>
                        <a:pt x="3"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10" name="Freeform 522"/>
                <p:cNvSpPr>
                  <a:spLocks/>
                </p:cNvSpPr>
                <p:nvPr/>
              </p:nvSpPr>
              <p:spPr bwMode="auto">
                <a:xfrm>
                  <a:off x="13149" y="887"/>
                  <a:ext cx="54" cy="78"/>
                </a:xfrm>
                <a:custGeom>
                  <a:avLst/>
                  <a:gdLst>
                    <a:gd name="T0" fmla="*/ 0 w 23"/>
                    <a:gd name="T1" fmla="*/ 14 h 33"/>
                    <a:gd name="T2" fmla="*/ 6 w 23"/>
                    <a:gd name="T3" fmla="*/ 14 h 33"/>
                    <a:gd name="T4" fmla="*/ 6 w 23"/>
                    <a:gd name="T5" fmla="*/ 31 h 33"/>
                    <a:gd name="T6" fmla="*/ 9 w 23"/>
                    <a:gd name="T7" fmla="*/ 33 h 33"/>
                    <a:gd name="T8" fmla="*/ 11 w 23"/>
                    <a:gd name="T9" fmla="*/ 31 h 33"/>
                    <a:gd name="T10" fmla="*/ 11 w 23"/>
                    <a:gd name="T11" fmla="*/ 14 h 33"/>
                    <a:gd name="T12" fmla="*/ 12 w 23"/>
                    <a:gd name="T13" fmla="*/ 14 h 33"/>
                    <a:gd name="T14" fmla="*/ 12 w 23"/>
                    <a:gd name="T15" fmla="*/ 31 h 33"/>
                    <a:gd name="T16" fmla="*/ 14 w 23"/>
                    <a:gd name="T17" fmla="*/ 33 h 33"/>
                    <a:gd name="T18" fmla="*/ 17 w 23"/>
                    <a:gd name="T19" fmla="*/ 31 h 33"/>
                    <a:gd name="T20" fmla="*/ 17 w 23"/>
                    <a:gd name="T21" fmla="*/ 14 h 33"/>
                    <a:gd name="T22" fmla="*/ 23 w 23"/>
                    <a:gd name="T23" fmla="*/ 14 h 33"/>
                    <a:gd name="T24" fmla="*/ 20 w 23"/>
                    <a:gd name="T25" fmla="*/ 6 h 33"/>
                    <a:gd name="T26" fmla="*/ 4 w 23"/>
                    <a:gd name="T27" fmla="*/ 0 h 33"/>
                    <a:gd name="T28" fmla="*/ 0 w 23"/>
                    <a:gd name="T29"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3">
                      <a:moveTo>
                        <a:pt x="0" y="14"/>
                      </a:moveTo>
                      <a:cubicBezTo>
                        <a:pt x="6" y="14"/>
                        <a:pt x="6" y="14"/>
                        <a:pt x="6" y="14"/>
                      </a:cubicBezTo>
                      <a:cubicBezTo>
                        <a:pt x="6" y="22"/>
                        <a:pt x="6" y="30"/>
                        <a:pt x="6" y="31"/>
                      </a:cubicBezTo>
                      <a:cubicBezTo>
                        <a:pt x="6" y="32"/>
                        <a:pt x="7" y="33"/>
                        <a:pt x="9" y="33"/>
                      </a:cubicBezTo>
                      <a:cubicBezTo>
                        <a:pt x="10" y="33"/>
                        <a:pt x="11" y="32"/>
                        <a:pt x="11" y="31"/>
                      </a:cubicBezTo>
                      <a:cubicBezTo>
                        <a:pt x="11" y="29"/>
                        <a:pt x="11" y="14"/>
                        <a:pt x="11" y="14"/>
                      </a:cubicBezTo>
                      <a:cubicBezTo>
                        <a:pt x="12" y="14"/>
                        <a:pt x="12" y="14"/>
                        <a:pt x="12" y="14"/>
                      </a:cubicBezTo>
                      <a:cubicBezTo>
                        <a:pt x="12" y="14"/>
                        <a:pt x="12" y="29"/>
                        <a:pt x="12" y="31"/>
                      </a:cubicBezTo>
                      <a:cubicBezTo>
                        <a:pt x="12" y="32"/>
                        <a:pt x="13" y="33"/>
                        <a:pt x="14" y="33"/>
                      </a:cubicBezTo>
                      <a:cubicBezTo>
                        <a:pt x="16" y="33"/>
                        <a:pt x="17" y="32"/>
                        <a:pt x="17" y="31"/>
                      </a:cubicBezTo>
                      <a:cubicBezTo>
                        <a:pt x="17" y="30"/>
                        <a:pt x="17" y="22"/>
                        <a:pt x="17" y="14"/>
                      </a:cubicBezTo>
                      <a:cubicBezTo>
                        <a:pt x="23" y="14"/>
                        <a:pt x="23" y="14"/>
                        <a:pt x="23" y="14"/>
                      </a:cubicBezTo>
                      <a:cubicBezTo>
                        <a:pt x="22" y="11"/>
                        <a:pt x="21" y="9"/>
                        <a:pt x="20" y="6"/>
                      </a:cubicBezTo>
                      <a:cubicBezTo>
                        <a:pt x="15" y="4"/>
                        <a:pt x="10" y="2"/>
                        <a:pt x="4" y="0"/>
                      </a:cubicBezTo>
                      <a:cubicBezTo>
                        <a:pt x="0" y="14"/>
                        <a:pt x="0" y="14"/>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11" name="Freeform 523"/>
                <p:cNvSpPr>
                  <a:spLocks/>
                </p:cNvSpPr>
                <p:nvPr/>
              </p:nvSpPr>
              <p:spPr bwMode="auto">
                <a:xfrm>
                  <a:off x="13345" y="1036"/>
                  <a:ext cx="55" cy="75"/>
                </a:xfrm>
                <a:custGeom>
                  <a:avLst/>
                  <a:gdLst>
                    <a:gd name="T0" fmla="*/ 0 w 23"/>
                    <a:gd name="T1" fmla="*/ 13 h 32"/>
                    <a:gd name="T2" fmla="*/ 7 w 23"/>
                    <a:gd name="T3" fmla="*/ 13 h 32"/>
                    <a:gd name="T4" fmla="*/ 7 w 23"/>
                    <a:gd name="T5" fmla="*/ 30 h 32"/>
                    <a:gd name="T6" fmla="*/ 9 w 23"/>
                    <a:gd name="T7" fmla="*/ 32 h 32"/>
                    <a:gd name="T8" fmla="*/ 11 w 23"/>
                    <a:gd name="T9" fmla="*/ 30 h 32"/>
                    <a:gd name="T10" fmla="*/ 11 w 23"/>
                    <a:gd name="T11" fmla="*/ 13 h 32"/>
                    <a:gd name="T12" fmla="*/ 12 w 23"/>
                    <a:gd name="T13" fmla="*/ 13 h 32"/>
                    <a:gd name="T14" fmla="*/ 12 w 23"/>
                    <a:gd name="T15" fmla="*/ 30 h 32"/>
                    <a:gd name="T16" fmla="*/ 14 w 23"/>
                    <a:gd name="T17" fmla="*/ 32 h 32"/>
                    <a:gd name="T18" fmla="*/ 17 w 23"/>
                    <a:gd name="T19" fmla="*/ 30 h 32"/>
                    <a:gd name="T20" fmla="*/ 17 w 23"/>
                    <a:gd name="T21" fmla="*/ 13 h 32"/>
                    <a:gd name="T22" fmla="*/ 23 w 23"/>
                    <a:gd name="T23" fmla="*/ 13 h 32"/>
                    <a:gd name="T24" fmla="*/ 19 w 23"/>
                    <a:gd name="T25" fmla="*/ 1 h 32"/>
                    <a:gd name="T26" fmla="*/ 4 w 23"/>
                    <a:gd name="T27" fmla="*/ 0 h 32"/>
                    <a:gd name="T28" fmla="*/ 0 w 23"/>
                    <a:gd name="T29"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2">
                      <a:moveTo>
                        <a:pt x="0" y="13"/>
                      </a:moveTo>
                      <a:cubicBezTo>
                        <a:pt x="7" y="13"/>
                        <a:pt x="7" y="13"/>
                        <a:pt x="7" y="13"/>
                      </a:cubicBezTo>
                      <a:cubicBezTo>
                        <a:pt x="7" y="21"/>
                        <a:pt x="7" y="29"/>
                        <a:pt x="7" y="30"/>
                      </a:cubicBezTo>
                      <a:cubicBezTo>
                        <a:pt x="7" y="31"/>
                        <a:pt x="8" y="32"/>
                        <a:pt x="9" y="32"/>
                      </a:cubicBezTo>
                      <a:cubicBezTo>
                        <a:pt x="10" y="32"/>
                        <a:pt x="11" y="31"/>
                        <a:pt x="11" y="30"/>
                      </a:cubicBezTo>
                      <a:cubicBezTo>
                        <a:pt x="11" y="28"/>
                        <a:pt x="11" y="13"/>
                        <a:pt x="11" y="13"/>
                      </a:cubicBezTo>
                      <a:cubicBezTo>
                        <a:pt x="12" y="13"/>
                        <a:pt x="12" y="13"/>
                        <a:pt x="12" y="13"/>
                      </a:cubicBezTo>
                      <a:cubicBezTo>
                        <a:pt x="12" y="13"/>
                        <a:pt x="12" y="28"/>
                        <a:pt x="12" y="30"/>
                      </a:cubicBezTo>
                      <a:cubicBezTo>
                        <a:pt x="12" y="31"/>
                        <a:pt x="13" y="32"/>
                        <a:pt x="14" y="32"/>
                      </a:cubicBezTo>
                      <a:cubicBezTo>
                        <a:pt x="16" y="32"/>
                        <a:pt x="17" y="31"/>
                        <a:pt x="17" y="30"/>
                      </a:cubicBezTo>
                      <a:cubicBezTo>
                        <a:pt x="17" y="29"/>
                        <a:pt x="17" y="21"/>
                        <a:pt x="17" y="13"/>
                      </a:cubicBezTo>
                      <a:cubicBezTo>
                        <a:pt x="23" y="13"/>
                        <a:pt x="23" y="13"/>
                        <a:pt x="23" y="13"/>
                      </a:cubicBezTo>
                      <a:cubicBezTo>
                        <a:pt x="21" y="8"/>
                        <a:pt x="20" y="4"/>
                        <a:pt x="19" y="1"/>
                      </a:cubicBezTo>
                      <a:cubicBezTo>
                        <a:pt x="14" y="1"/>
                        <a:pt x="9" y="1"/>
                        <a:pt x="4" y="0"/>
                      </a:cubicBezTo>
                      <a:cubicBezTo>
                        <a:pt x="0" y="13"/>
                        <a:pt x="0" y="13"/>
                        <a:pt x="0"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12" name="Freeform 524"/>
                <p:cNvSpPr>
                  <a:spLocks/>
                </p:cNvSpPr>
                <p:nvPr/>
              </p:nvSpPr>
              <p:spPr bwMode="auto">
                <a:xfrm>
                  <a:off x="13144" y="884"/>
                  <a:ext cx="12" cy="19"/>
                </a:xfrm>
                <a:custGeom>
                  <a:avLst/>
                  <a:gdLst>
                    <a:gd name="T0" fmla="*/ 1 w 5"/>
                    <a:gd name="T1" fmla="*/ 8 h 8"/>
                    <a:gd name="T2" fmla="*/ 4 w 5"/>
                    <a:gd name="T3" fmla="*/ 7 h 8"/>
                    <a:gd name="T4" fmla="*/ 5 w 5"/>
                    <a:gd name="T5" fmla="*/ 1 h 8"/>
                    <a:gd name="T6" fmla="*/ 2 w 5"/>
                    <a:gd name="T7" fmla="*/ 0 h 8"/>
                    <a:gd name="T8" fmla="*/ 0 w 5"/>
                    <a:gd name="T9" fmla="*/ 6 h 8"/>
                    <a:gd name="T10" fmla="*/ 1 w 5"/>
                    <a:gd name="T11" fmla="*/ 8 h 8"/>
                  </a:gdLst>
                  <a:ahLst/>
                  <a:cxnLst>
                    <a:cxn ang="0">
                      <a:pos x="T0" y="T1"/>
                    </a:cxn>
                    <a:cxn ang="0">
                      <a:pos x="T2" y="T3"/>
                    </a:cxn>
                    <a:cxn ang="0">
                      <a:pos x="T4" y="T5"/>
                    </a:cxn>
                    <a:cxn ang="0">
                      <a:pos x="T6" y="T7"/>
                    </a:cxn>
                    <a:cxn ang="0">
                      <a:pos x="T8" y="T9"/>
                    </a:cxn>
                    <a:cxn ang="0">
                      <a:pos x="T10" y="T11"/>
                    </a:cxn>
                  </a:cxnLst>
                  <a:rect l="0" t="0" r="r" b="b"/>
                  <a:pathLst>
                    <a:path w="5" h="8">
                      <a:moveTo>
                        <a:pt x="1" y="8"/>
                      </a:moveTo>
                      <a:cubicBezTo>
                        <a:pt x="2" y="8"/>
                        <a:pt x="3" y="8"/>
                        <a:pt x="4" y="7"/>
                      </a:cubicBezTo>
                      <a:cubicBezTo>
                        <a:pt x="4" y="6"/>
                        <a:pt x="5" y="4"/>
                        <a:pt x="5" y="1"/>
                      </a:cubicBezTo>
                      <a:cubicBezTo>
                        <a:pt x="4" y="1"/>
                        <a:pt x="3" y="0"/>
                        <a:pt x="2" y="0"/>
                      </a:cubicBezTo>
                      <a:cubicBezTo>
                        <a:pt x="1" y="3"/>
                        <a:pt x="0" y="5"/>
                        <a:pt x="0" y="6"/>
                      </a:cubicBezTo>
                      <a:cubicBezTo>
                        <a:pt x="0" y="7"/>
                        <a:pt x="0" y="8"/>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13" name="Freeform 525"/>
                <p:cNvSpPr>
                  <a:spLocks/>
                </p:cNvSpPr>
                <p:nvPr/>
              </p:nvSpPr>
              <p:spPr bwMode="auto">
                <a:xfrm>
                  <a:off x="13244" y="932"/>
                  <a:ext cx="11" cy="33"/>
                </a:xfrm>
                <a:custGeom>
                  <a:avLst/>
                  <a:gdLst>
                    <a:gd name="T0" fmla="*/ 0 w 5"/>
                    <a:gd name="T1" fmla="*/ 11 h 14"/>
                    <a:gd name="T2" fmla="*/ 3 w 5"/>
                    <a:gd name="T3" fmla="*/ 14 h 14"/>
                    <a:gd name="T4" fmla="*/ 5 w 5"/>
                    <a:gd name="T5" fmla="*/ 11 h 14"/>
                    <a:gd name="T6" fmla="*/ 5 w 5"/>
                    <a:gd name="T7" fmla="*/ 8 h 14"/>
                    <a:gd name="T8" fmla="*/ 0 w 5"/>
                    <a:gd name="T9" fmla="*/ 0 h 14"/>
                    <a:gd name="T10" fmla="*/ 0 w 5"/>
                    <a:gd name="T11" fmla="*/ 11 h 14"/>
                  </a:gdLst>
                  <a:ahLst/>
                  <a:cxnLst>
                    <a:cxn ang="0">
                      <a:pos x="T0" y="T1"/>
                    </a:cxn>
                    <a:cxn ang="0">
                      <a:pos x="T2" y="T3"/>
                    </a:cxn>
                    <a:cxn ang="0">
                      <a:pos x="T4" y="T5"/>
                    </a:cxn>
                    <a:cxn ang="0">
                      <a:pos x="T6" y="T7"/>
                    </a:cxn>
                    <a:cxn ang="0">
                      <a:pos x="T8" y="T9"/>
                    </a:cxn>
                    <a:cxn ang="0">
                      <a:pos x="T10" y="T11"/>
                    </a:cxn>
                  </a:cxnLst>
                  <a:rect l="0" t="0" r="r" b="b"/>
                  <a:pathLst>
                    <a:path w="5" h="14">
                      <a:moveTo>
                        <a:pt x="0" y="11"/>
                      </a:moveTo>
                      <a:cubicBezTo>
                        <a:pt x="0" y="13"/>
                        <a:pt x="1" y="14"/>
                        <a:pt x="3" y="14"/>
                      </a:cubicBezTo>
                      <a:cubicBezTo>
                        <a:pt x="4" y="14"/>
                        <a:pt x="5" y="13"/>
                        <a:pt x="5" y="11"/>
                      </a:cubicBezTo>
                      <a:cubicBezTo>
                        <a:pt x="5" y="11"/>
                        <a:pt x="5" y="10"/>
                        <a:pt x="5" y="8"/>
                      </a:cubicBezTo>
                      <a:cubicBezTo>
                        <a:pt x="4" y="6"/>
                        <a:pt x="2" y="3"/>
                        <a:pt x="0" y="0"/>
                      </a:cubicBezTo>
                      <a:cubicBezTo>
                        <a:pt x="0" y="5"/>
                        <a:pt x="0" y="10"/>
                        <a:pt x="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14" name="Freeform 526"/>
                <p:cNvSpPr>
                  <a:spLocks/>
                </p:cNvSpPr>
                <p:nvPr/>
              </p:nvSpPr>
              <p:spPr bwMode="auto">
                <a:xfrm>
                  <a:off x="13279" y="1003"/>
                  <a:ext cx="43" cy="108"/>
                </a:xfrm>
                <a:custGeom>
                  <a:avLst/>
                  <a:gdLst>
                    <a:gd name="T0" fmla="*/ 0 w 18"/>
                    <a:gd name="T1" fmla="*/ 5 h 46"/>
                    <a:gd name="T2" fmla="*/ 0 w 18"/>
                    <a:gd name="T3" fmla="*/ 20 h 46"/>
                    <a:gd name="T4" fmla="*/ 3 w 18"/>
                    <a:gd name="T5" fmla="*/ 22 h 46"/>
                    <a:gd name="T6" fmla="*/ 5 w 18"/>
                    <a:gd name="T7" fmla="*/ 20 h 46"/>
                    <a:gd name="T8" fmla="*/ 5 w 18"/>
                    <a:gd name="T9" fmla="*/ 7 h 46"/>
                    <a:gd name="T10" fmla="*/ 6 w 18"/>
                    <a:gd name="T11" fmla="*/ 7 h 46"/>
                    <a:gd name="T12" fmla="*/ 6 w 18"/>
                    <a:gd name="T13" fmla="*/ 43 h 46"/>
                    <a:gd name="T14" fmla="*/ 8 w 18"/>
                    <a:gd name="T15" fmla="*/ 46 h 46"/>
                    <a:gd name="T16" fmla="*/ 11 w 18"/>
                    <a:gd name="T17" fmla="*/ 43 h 46"/>
                    <a:gd name="T18" fmla="*/ 11 w 18"/>
                    <a:gd name="T19" fmla="*/ 22 h 46"/>
                    <a:gd name="T20" fmla="*/ 12 w 18"/>
                    <a:gd name="T21" fmla="*/ 22 h 46"/>
                    <a:gd name="T22" fmla="*/ 12 w 18"/>
                    <a:gd name="T23" fmla="*/ 43 h 46"/>
                    <a:gd name="T24" fmla="*/ 15 w 18"/>
                    <a:gd name="T25" fmla="*/ 46 h 46"/>
                    <a:gd name="T26" fmla="*/ 18 w 18"/>
                    <a:gd name="T27" fmla="*/ 43 h 46"/>
                    <a:gd name="T28" fmla="*/ 18 w 18"/>
                    <a:gd name="T29" fmla="*/ 10 h 46"/>
                    <a:gd name="T30" fmla="*/ 6 w 18"/>
                    <a:gd name="T31" fmla="*/ 2 h 46"/>
                    <a:gd name="T32" fmla="*/ 3 w 18"/>
                    <a:gd name="T33" fmla="*/ 0 h 46"/>
                    <a:gd name="T34" fmla="*/ 0 w 18"/>
                    <a:gd name="T35"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6">
                      <a:moveTo>
                        <a:pt x="0" y="5"/>
                      </a:moveTo>
                      <a:cubicBezTo>
                        <a:pt x="0" y="7"/>
                        <a:pt x="0" y="19"/>
                        <a:pt x="0" y="20"/>
                      </a:cubicBezTo>
                      <a:cubicBezTo>
                        <a:pt x="0" y="21"/>
                        <a:pt x="1" y="22"/>
                        <a:pt x="3" y="22"/>
                      </a:cubicBezTo>
                      <a:cubicBezTo>
                        <a:pt x="4" y="22"/>
                        <a:pt x="5" y="21"/>
                        <a:pt x="5" y="20"/>
                      </a:cubicBezTo>
                      <a:cubicBezTo>
                        <a:pt x="5" y="18"/>
                        <a:pt x="5" y="7"/>
                        <a:pt x="5" y="7"/>
                      </a:cubicBezTo>
                      <a:cubicBezTo>
                        <a:pt x="5" y="7"/>
                        <a:pt x="5" y="7"/>
                        <a:pt x="6" y="7"/>
                      </a:cubicBezTo>
                      <a:cubicBezTo>
                        <a:pt x="6" y="7"/>
                        <a:pt x="6" y="41"/>
                        <a:pt x="6" y="43"/>
                      </a:cubicBezTo>
                      <a:cubicBezTo>
                        <a:pt x="6" y="45"/>
                        <a:pt x="7" y="46"/>
                        <a:pt x="8" y="46"/>
                      </a:cubicBezTo>
                      <a:cubicBezTo>
                        <a:pt x="10" y="46"/>
                        <a:pt x="11" y="45"/>
                        <a:pt x="11" y="43"/>
                      </a:cubicBezTo>
                      <a:cubicBezTo>
                        <a:pt x="11" y="41"/>
                        <a:pt x="11" y="22"/>
                        <a:pt x="11" y="22"/>
                      </a:cubicBezTo>
                      <a:cubicBezTo>
                        <a:pt x="11" y="22"/>
                        <a:pt x="11" y="22"/>
                        <a:pt x="12" y="22"/>
                      </a:cubicBezTo>
                      <a:cubicBezTo>
                        <a:pt x="12" y="22"/>
                        <a:pt x="12" y="41"/>
                        <a:pt x="12" y="43"/>
                      </a:cubicBezTo>
                      <a:cubicBezTo>
                        <a:pt x="12" y="45"/>
                        <a:pt x="14" y="46"/>
                        <a:pt x="15" y="46"/>
                      </a:cubicBezTo>
                      <a:cubicBezTo>
                        <a:pt x="17" y="46"/>
                        <a:pt x="18" y="45"/>
                        <a:pt x="18" y="43"/>
                      </a:cubicBezTo>
                      <a:cubicBezTo>
                        <a:pt x="18" y="41"/>
                        <a:pt x="18" y="19"/>
                        <a:pt x="18" y="10"/>
                      </a:cubicBezTo>
                      <a:cubicBezTo>
                        <a:pt x="14" y="8"/>
                        <a:pt x="10" y="6"/>
                        <a:pt x="6" y="2"/>
                      </a:cubicBezTo>
                      <a:cubicBezTo>
                        <a:pt x="5" y="1"/>
                        <a:pt x="4" y="1"/>
                        <a:pt x="3" y="0"/>
                      </a:cubicBezTo>
                      <a:cubicBezTo>
                        <a:pt x="2" y="1"/>
                        <a:pt x="0" y="3"/>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15" name="Freeform 527"/>
                <p:cNvSpPr>
                  <a:spLocks/>
                </p:cNvSpPr>
                <p:nvPr/>
              </p:nvSpPr>
              <p:spPr bwMode="auto">
                <a:xfrm>
                  <a:off x="13324" y="1029"/>
                  <a:ext cx="9" cy="26"/>
                </a:xfrm>
                <a:custGeom>
                  <a:avLst/>
                  <a:gdLst>
                    <a:gd name="T0" fmla="*/ 0 w 4"/>
                    <a:gd name="T1" fmla="*/ 9 h 11"/>
                    <a:gd name="T2" fmla="*/ 2 w 4"/>
                    <a:gd name="T3" fmla="*/ 11 h 11"/>
                    <a:gd name="T4" fmla="*/ 4 w 4"/>
                    <a:gd name="T5" fmla="*/ 9 h 11"/>
                    <a:gd name="T6" fmla="*/ 4 w 4"/>
                    <a:gd name="T7" fmla="*/ 1 h 11"/>
                    <a:gd name="T8" fmla="*/ 0 w 4"/>
                    <a:gd name="T9" fmla="*/ 0 h 11"/>
                    <a:gd name="T10" fmla="*/ 0 w 4"/>
                    <a:gd name="T11" fmla="*/ 9 h 11"/>
                  </a:gdLst>
                  <a:ahLst/>
                  <a:cxnLst>
                    <a:cxn ang="0">
                      <a:pos x="T0" y="T1"/>
                    </a:cxn>
                    <a:cxn ang="0">
                      <a:pos x="T2" y="T3"/>
                    </a:cxn>
                    <a:cxn ang="0">
                      <a:pos x="T4" y="T5"/>
                    </a:cxn>
                    <a:cxn ang="0">
                      <a:pos x="T6" y="T7"/>
                    </a:cxn>
                    <a:cxn ang="0">
                      <a:pos x="T8" y="T9"/>
                    </a:cxn>
                    <a:cxn ang="0">
                      <a:pos x="T10" y="T11"/>
                    </a:cxn>
                  </a:cxnLst>
                  <a:rect l="0" t="0" r="r" b="b"/>
                  <a:pathLst>
                    <a:path w="4" h="11">
                      <a:moveTo>
                        <a:pt x="0" y="9"/>
                      </a:moveTo>
                      <a:cubicBezTo>
                        <a:pt x="0" y="10"/>
                        <a:pt x="1" y="11"/>
                        <a:pt x="2" y="11"/>
                      </a:cubicBezTo>
                      <a:cubicBezTo>
                        <a:pt x="3" y="11"/>
                        <a:pt x="4" y="10"/>
                        <a:pt x="4" y="9"/>
                      </a:cubicBezTo>
                      <a:cubicBezTo>
                        <a:pt x="4" y="8"/>
                        <a:pt x="4" y="5"/>
                        <a:pt x="4" y="1"/>
                      </a:cubicBezTo>
                      <a:cubicBezTo>
                        <a:pt x="3" y="1"/>
                        <a:pt x="1" y="0"/>
                        <a:pt x="0" y="0"/>
                      </a:cubicBezTo>
                      <a:cubicBezTo>
                        <a:pt x="0" y="3"/>
                        <a:pt x="0" y="8"/>
                        <a:pt x="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16" name="Freeform 528"/>
                <p:cNvSpPr>
                  <a:spLocks/>
                </p:cNvSpPr>
                <p:nvPr/>
              </p:nvSpPr>
              <p:spPr bwMode="auto">
                <a:xfrm>
                  <a:off x="13341" y="1033"/>
                  <a:ext cx="11" cy="17"/>
                </a:xfrm>
                <a:custGeom>
                  <a:avLst/>
                  <a:gdLst>
                    <a:gd name="T0" fmla="*/ 1 w 5"/>
                    <a:gd name="T1" fmla="*/ 7 h 7"/>
                    <a:gd name="T2" fmla="*/ 4 w 5"/>
                    <a:gd name="T3" fmla="*/ 6 h 7"/>
                    <a:gd name="T4" fmla="*/ 5 w 5"/>
                    <a:gd name="T5" fmla="*/ 1 h 7"/>
                    <a:gd name="T6" fmla="*/ 1 w 5"/>
                    <a:gd name="T7" fmla="*/ 0 h 7"/>
                    <a:gd name="T8" fmla="*/ 0 w 5"/>
                    <a:gd name="T9" fmla="*/ 4 h 7"/>
                    <a:gd name="T10" fmla="*/ 1 w 5"/>
                    <a:gd name="T11" fmla="*/ 7 h 7"/>
                  </a:gdLst>
                  <a:ahLst/>
                  <a:cxnLst>
                    <a:cxn ang="0">
                      <a:pos x="T0" y="T1"/>
                    </a:cxn>
                    <a:cxn ang="0">
                      <a:pos x="T2" y="T3"/>
                    </a:cxn>
                    <a:cxn ang="0">
                      <a:pos x="T4" y="T5"/>
                    </a:cxn>
                    <a:cxn ang="0">
                      <a:pos x="T6" y="T7"/>
                    </a:cxn>
                    <a:cxn ang="0">
                      <a:pos x="T8" y="T9"/>
                    </a:cxn>
                    <a:cxn ang="0">
                      <a:pos x="T10" y="T11"/>
                    </a:cxn>
                  </a:cxnLst>
                  <a:rect l="0" t="0" r="r" b="b"/>
                  <a:pathLst>
                    <a:path w="5" h="7">
                      <a:moveTo>
                        <a:pt x="1" y="7"/>
                      </a:moveTo>
                      <a:cubicBezTo>
                        <a:pt x="2" y="7"/>
                        <a:pt x="4" y="6"/>
                        <a:pt x="4" y="6"/>
                      </a:cubicBezTo>
                      <a:cubicBezTo>
                        <a:pt x="4" y="5"/>
                        <a:pt x="5" y="3"/>
                        <a:pt x="5" y="1"/>
                      </a:cubicBezTo>
                      <a:cubicBezTo>
                        <a:pt x="4" y="1"/>
                        <a:pt x="3" y="1"/>
                        <a:pt x="1" y="0"/>
                      </a:cubicBezTo>
                      <a:cubicBezTo>
                        <a:pt x="1" y="2"/>
                        <a:pt x="0" y="4"/>
                        <a:pt x="0" y="4"/>
                      </a:cubicBezTo>
                      <a:cubicBezTo>
                        <a:pt x="0" y="5"/>
                        <a:pt x="1" y="6"/>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17" name="Freeform 529"/>
                <p:cNvSpPr>
                  <a:spLocks/>
                </p:cNvSpPr>
                <p:nvPr/>
              </p:nvSpPr>
              <p:spPr bwMode="auto">
                <a:xfrm>
                  <a:off x="13393" y="1038"/>
                  <a:ext cx="11" cy="12"/>
                </a:xfrm>
                <a:custGeom>
                  <a:avLst/>
                  <a:gdLst>
                    <a:gd name="T0" fmla="*/ 1 w 5"/>
                    <a:gd name="T1" fmla="*/ 4 h 5"/>
                    <a:gd name="T2" fmla="*/ 4 w 5"/>
                    <a:gd name="T3" fmla="*/ 5 h 5"/>
                    <a:gd name="T4" fmla="*/ 5 w 5"/>
                    <a:gd name="T5" fmla="*/ 2 h 5"/>
                    <a:gd name="T6" fmla="*/ 4 w 5"/>
                    <a:gd name="T7" fmla="*/ 0 h 5"/>
                    <a:gd name="T8" fmla="*/ 0 w 5"/>
                    <a:gd name="T9" fmla="*/ 0 h 5"/>
                    <a:gd name="T10" fmla="*/ 1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1" y="4"/>
                      </a:moveTo>
                      <a:cubicBezTo>
                        <a:pt x="1" y="4"/>
                        <a:pt x="3" y="5"/>
                        <a:pt x="4" y="5"/>
                      </a:cubicBezTo>
                      <a:cubicBezTo>
                        <a:pt x="4" y="4"/>
                        <a:pt x="5" y="3"/>
                        <a:pt x="5" y="2"/>
                      </a:cubicBezTo>
                      <a:cubicBezTo>
                        <a:pt x="5" y="2"/>
                        <a:pt x="4" y="1"/>
                        <a:pt x="4" y="0"/>
                      </a:cubicBezTo>
                      <a:cubicBezTo>
                        <a:pt x="3" y="0"/>
                        <a:pt x="2" y="0"/>
                        <a:pt x="0" y="0"/>
                      </a:cubicBezTo>
                      <a:cubicBezTo>
                        <a:pt x="1" y="2"/>
                        <a:pt x="1" y="3"/>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18" name="Freeform 530"/>
                <p:cNvSpPr>
                  <a:spLocks/>
                </p:cNvSpPr>
                <p:nvPr/>
              </p:nvSpPr>
              <p:spPr bwMode="auto">
                <a:xfrm>
                  <a:off x="13608" y="1059"/>
                  <a:ext cx="38" cy="52"/>
                </a:xfrm>
                <a:custGeom>
                  <a:avLst/>
                  <a:gdLst>
                    <a:gd name="T0" fmla="*/ 6 w 16"/>
                    <a:gd name="T1" fmla="*/ 3 h 22"/>
                    <a:gd name="T2" fmla="*/ 6 w 16"/>
                    <a:gd name="T3" fmla="*/ 20 h 22"/>
                    <a:gd name="T4" fmla="*/ 9 w 16"/>
                    <a:gd name="T5" fmla="*/ 22 h 22"/>
                    <a:gd name="T6" fmla="*/ 11 w 16"/>
                    <a:gd name="T7" fmla="*/ 20 h 22"/>
                    <a:gd name="T8" fmla="*/ 11 w 16"/>
                    <a:gd name="T9" fmla="*/ 3 h 22"/>
                    <a:gd name="T10" fmla="*/ 12 w 16"/>
                    <a:gd name="T11" fmla="*/ 3 h 22"/>
                    <a:gd name="T12" fmla="*/ 12 w 16"/>
                    <a:gd name="T13" fmla="*/ 20 h 22"/>
                    <a:gd name="T14" fmla="*/ 14 w 16"/>
                    <a:gd name="T15" fmla="*/ 22 h 22"/>
                    <a:gd name="T16" fmla="*/ 16 w 16"/>
                    <a:gd name="T17" fmla="*/ 20 h 22"/>
                    <a:gd name="T18" fmla="*/ 16 w 16"/>
                    <a:gd name="T19" fmla="*/ 4 h 22"/>
                    <a:gd name="T20" fmla="*/ 1 w 16"/>
                    <a:gd name="T21" fmla="*/ 0 h 22"/>
                    <a:gd name="T22" fmla="*/ 0 w 16"/>
                    <a:gd name="T23" fmla="*/ 3 h 22"/>
                    <a:gd name="T24" fmla="*/ 6 w 16"/>
                    <a:gd name="T25"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2">
                      <a:moveTo>
                        <a:pt x="6" y="3"/>
                      </a:moveTo>
                      <a:cubicBezTo>
                        <a:pt x="6" y="11"/>
                        <a:pt x="6" y="19"/>
                        <a:pt x="6" y="20"/>
                      </a:cubicBezTo>
                      <a:cubicBezTo>
                        <a:pt x="6" y="21"/>
                        <a:pt x="7" y="22"/>
                        <a:pt x="9" y="22"/>
                      </a:cubicBezTo>
                      <a:cubicBezTo>
                        <a:pt x="10" y="22"/>
                        <a:pt x="11" y="21"/>
                        <a:pt x="11" y="20"/>
                      </a:cubicBezTo>
                      <a:cubicBezTo>
                        <a:pt x="11" y="18"/>
                        <a:pt x="11" y="3"/>
                        <a:pt x="11" y="3"/>
                      </a:cubicBezTo>
                      <a:cubicBezTo>
                        <a:pt x="12" y="3"/>
                        <a:pt x="12" y="3"/>
                        <a:pt x="12" y="3"/>
                      </a:cubicBezTo>
                      <a:cubicBezTo>
                        <a:pt x="12" y="3"/>
                        <a:pt x="12" y="18"/>
                        <a:pt x="12" y="20"/>
                      </a:cubicBezTo>
                      <a:cubicBezTo>
                        <a:pt x="12" y="21"/>
                        <a:pt x="13" y="22"/>
                        <a:pt x="14" y="22"/>
                      </a:cubicBezTo>
                      <a:cubicBezTo>
                        <a:pt x="15" y="22"/>
                        <a:pt x="16" y="21"/>
                        <a:pt x="16" y="20"/>
                      </a:cubicBezTo>
                      <a:cubicBezTo>
                        <a:pt x="16" y="19"/>
                        <a:pt x="16" y="11"/>
                        <a:pt x="16" y="4"/>
                      </a:cubicBezTo>
                      <a:cubicBezTo>
                        <a:pt x="11" y="3"/>
                        <a:pt x="6" y="1"/>
                        <a:pt x="1" y="0"/>
                      </a:cubicBezTo>
                      <a:cubicBezTo>
                        <a:pt x="0" y="3"/>
                        <a:pt x="0" y="3"/>
                        <a:pt x="0" y="3"/>
                      </a:cubicBezTo>
                      <a:cubicBezTo>
                        <a:pt x="6" y="3"/>
                        <a:pt x="6" y="3"/>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19" name="Freeform 531"/>
                <p:cNvSpPr>
                  <a:spLocks/>
                </p:cNvSpPr>
                <p:nvPr/>
              </p:nvSpPr>
              <p:spPr bwMode="auto">
                <a:xfrm>
                  <a:off x="13589" y="1055"/>
                  <a:ext cx="2"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1" y="0"/>
                        <a:pt x="0" y="0"/>
                        <a:pt x="0" y="0"/>
                      </a:cubicBezTo>
                      <a:cubicBezTo>
                        <a:pt x="0"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20" name="Oval 532"/>
                <p:cNvSpPr>
                  <a:spLocks noChangeArrowheads="1"/>
                </p:cNvSpPr>
                <p:nvPr/>
              </p:nvSpPr>
              <p:spPr bwMode="auto">
                <a:xfrm>
                  <a:off x="13229"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21" name="Oval 533"/>
                <p:cNvSpPr>
                  <a:spLocks noChangeArrowheads="1"/>
                </p:cNvSpPr>
                <p:nvPr/>
              </p:nvSpPr>
              <p:spPr bwMode="auto">
                <a:xfrm>
                  <a:off x="13165" y="974"/>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22" name="Freeform 534"/>
                <p:cNvSpPr>
                  <a:spLocks/>
                </p:cNvSpPr>
                <p:nvPr/>
              </p:nvSpPr>
              <p:spPr bwMode="auto">
                <a:xfrm>
                  <a:off x="13210" y="1000"/>
                  <a:ext cx="64" cy="111"/>
                </a:xfrm>
                <a:custGeom>
                  <a:avLst/>
                  <a:gdLst>
                    <a:gd name="T0" fmla="*/ 1 w 27"/>
                    <a:gd name="T1" fmla="*/ 21 h 47"/>
                    <a:gd name="T2" fmla="*/ 3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8 h 47"/>
                    <a:gd name="T42" fmla="*/ 22 w 27"/>
                    <a:gd name="T43" fmla="*/ 5 h 47"/>
                    <a:gd name="T44" fmla="*/ 17 w 27"/>
                    <a:gd name="T45" fmla="*/ 0 h 47"/>
                    <a:gd name="T46" fmla="*/ 9 w 27"/>
                    <a:gd name="T47" fmla="*/ 0 h 47"/>
                    <a:gd name="T48" fmla="*/ 4 w 27"/>
                    <a:gd name="T49" fmla="*/ 5 h 47"/>
                    <a:gd name="T50" fmla="*/ 0 w 27"/>
                    <a:gd name="T51" fmla="*/ 18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0"/>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0"/>
                        <a:pt x="24" y="21"/>
                        <a:pt x="25" y="21"/>
                      </a:cubicBezTo>
                      <a:cubicBezTo>
                        <a:pt x="26" y="20"/>
                        <a:pt x="27" y="19"/>
                        <a:pt x="26" y="18"/>
                      </a:cubicBezTo>
                      <a:cubicBezTo>
                        <a:pt x="26" y="18"/>
                        <a:pt x="24" y="10"/>
                        <a:pt x="22" y="5"/>
                      </a:cubicBezTo>
                      <a:cubicBezTo>
                        <a:pt x="22" y="2"/>
                        <a:pt x="19" y="0"/>
                        <a:pt x="17" y="0"/>
                      </a:cubicBezTo>
                      <a:cubicBezTo>
                        <a:pt x="16" y="0"/>
                        <a:pt x="10" y="0"/>
                        <a:pt x="9" y="0"/>
                      </a:cubicBezTo>
                      <a:cubicBezTo>
                        <a:pt x="7" y="0"/>
                        <a:pt x="5" y="2"/>
                        <a:pt x="4" y="5"/>
                      </a:cubicBezTo>
                      <a:cubicBezTo>
                        <a:pt x="2" y="10"/>
                        <a:pt x="0" y="18"/>
                        <a:pt x="0" y="18"/>
                      </a:cubicBezTo>
                      <a:cubicBezTo>
                        <a:pt x="0" y="19"/>
                        <a:pt x="0" y="20"/>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23" name="Freeform 535"/>
                <p:cNvSpPr>
                  <a:spLocks/>
                </p:cNvSpPr>
                <p:nvPr/>
              </p:nvSpPr>
              <p:spPr bwMode="auto">
                <a:xfrm>
                  <a:off x="13412" y="1038"/>
                  <a:ext cx="9" cy="17"/>
                </a:xfrm>
                <a:custGeom>
                  <a:avLst/>
                  <a:gdLst>
                    <a:gd name="T0" fmla="*/ 2 w 4"/>
                    <a:gd name="T1" fmla="*/ 7 h 7"/>
                    <a:gd name="T2" fmla="*/ 4 w 4"/>
                    <a:gd name="T3" fmla="*/ 5 h 7"/>
                    <a:gd name="T4" fmla="*/ 4 w 4"/>
                    <a:gd name="T5" fmla="*/ 0 h 7"/>
                    <a:gd name="T6" fmla="*/ 0 w 4"/>
                    <a:gd name="T7" fmla="*/ 0 h 7"/>
                    <a:gd name="T8" fmla="*/ 0 w 4"/>
                    <a:gd name="T9" fmla="*/ 5 h 7"/>
                    <a:gd name="T10" fmla="*/ 2 w 4"/>
                    <a:gd name="T11" fmla="*/ 7 h 7"/>
                  </a:gdLst>
                  <a:ahLst/>
                  <a:cxnLst>
                    <a:cxn ang="0">
                      <a:pos x="T0" y="T1"/>
                    </a:cxn>
                    <a:cxn ang="0">
                      <a:pos x="T2" y="T3"/>
                    </a:cxn>
                    <a:cxn ang="0">
                      <a:pos x="T4" y="T5"/>
                    </a:cxn>
                    <a:cxn ang="0">
                      <a:pos x="T6" y="T7"/>
                    </a:cxn>
                    <a:cxn ang="0">
                      <a:pos x="T8" y="T9"/>
                    </a:cxn>
                    <a:cxn ang="0">
                      <a:pos x="T10" y="T11"/>
                    </a:cxn>
                  </a:cxnLst>
                  <a:rect l="0" t="0" r="r" b="b"/>
                  <a:pathLst>
                    <a:path w="4" h="7">
                      <a:moveTo>
                        <a:pt x="2" y="7"/>
                      </a:moveTo>
                      <a:cubicBezTo>
                        <a:pt x="3" y="7"/>
                        <a:pt x="4" y="6"/>
                        <a:pt x="4" y="5"/>
                      </a:cubicBezTo>
                      <a:cubicBezTo>
                        <a:pt x="4" y="4"/>
                        <a:pt x="4" y="2"/>
                        <a:pt x="4" y="0"/>
                      </a:cubicBezTo>
                      <a:cubicBezTo>
                        <a:pt x="3" y="0"/>
                        <a:pt x="1" y="0"/>
                        <a:pt x="0" y="0"/>
                      </a:cubicBezTo>
                      <a:cubicBezTo>
                        <a:pt x="0" y="2"/>
                        <a:pt x="0" y="4"/>
                        <a:pt x="0" y="5"/>
                      </a:cubicBezTo>
                      <a:cubicBezTo>
                        <a:pt x="0" y="6"/>
                        <a:pt x="1" y="7"/>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24" name="Freeform 536"/>
                <p:cNvSpPr>
                  <a:spLocks/>
                </p:cNvSpPr>
                <p:nvPr/>
              </p:nvSpPr>
              <p:spPr bwMode="auto">
                <a:xfrm>
                  <a:off x="13554" y="1045"/>
                  <a:ext cx="30" cy="66"/>
                </a:xfrm>
                <a:custGeom>
                  <a:avLst/>
                  <a:gdLst>
                    <a:gd name="T0" fmla="*/ 0 w 13"/>
                    <a:gd name="T1" fmla="*/ 25 h 28"/>
                    <a:gd name="T2" fmla="*/ 3 w 13"/>
                    <a:gd name="T3" fmla="*/ 28 h 28"/>
                    <a:gd name="T4" fmla="*/ 6 w 13"/>
                    <a:gd name="T5" fmla="*/ 25 h 28"/>
                    <a:gd name="T6" fmla="*/ 6 w 13"/>
                    <a:gd name="T7" fmla="*/ 4 h 28"/>
                    <a:gd name="T8" fmla="*/ 7 w 13"/>
                    <a:gd name="T9" fmla="*/ 4 h 28"/>
                    <a:gd name="T10" fmla="*/ 7 w 13"/>
                    <a:gd name="T11" fmla="*/ 25 h 28"/>
                    <a:gd name="T12" fmla="*/ 10 w 13"/>
                    <a:gd name="T13" fmla="*/ 28 h 28"/>
                    <a:gd name="T14" fmla="*/ 13 w 13"/>
                    <a:gd name="T15" fmla="*/ 25 h 28"/>
                    <a:gd name="T16" fmla="*/ 13 w 13"/>
                    <a:gd name="T17" fmla="*/ 3 h 28"/>
                    <a:gd name="T18" fmla="*/ 0 w 13"/>
                    <a:gd name="T19" fmla="*/ 0 h 28"/>
                    <a:gd name="T20" fmla="*/ 0 w 13"/>
                    <a:gd name="T21"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28">
                      <a:moveTo>
                        <a:pt x="0" y="25"/>
                      </a:moveTo>
                      <a:cubicBezTo>
                        <a:pt x="0" y="27"/>
                        <a:pt x="2" y="28"/>
                        <a:pt x="3" y="28"/>
                      </a:cubicBezTo>
                      <a:cubicBezTo>
                        <a:pt x="5" y="28"/>
                        <a:pt x="6" y="27"/>
                        <a:pt x="6" y="25"/>
                      </a:cubicBezTo>
                      <a:cubicBezTo>
                        <a:pt x="6" y="23"/>
                        <a:pt x="6" y="4"/>
                        <a:pt x="6" y="4"/>
                      </a:cubicBezTo>
                      <a:cubicBezTo>
                        <a:pt x="6" y="4"/>
                        <a:pt x="6" y="4"/>
                        <a:pt x="7" y="4"/>
                      </a:cubicBezTo>
                      <a:cubicBezTo>
                        <a:pt x="7" y="4"/>
                        <a:pt x="7" y="23"/>
                        <a:pt x="7" y="25"/>
                      </a:cubicBezTo>
                      <a:cubicBezTo>
                        <a:pt x="7" y="27"/>
                        <a:pt x="8" y="28"/>
                        <a:pt x="10" y="28"/>
                      </a:cubicBezTo>
                      <a:cubicBezTo>
                        <a:pt x="11" y="28"/>
                        <a:pt x="13" y="27"/>
                        <a:pt x="13" y="25"/>
                      </a:cubicBezTo>
                      <a:cubicBezTo>
                        <a:pt x="13" y="24"/>
                        <a:pt x="13" y="13"/>
                        <a:pt x="13" y="3"/>
                      </a:cubicBezTo>
                      <a:cubicBezTo>
                        <a:pt x="9" y="2"/>
                        <a:pt x="5" y="1"/>
                        <a:pt x="0" y="0"/>
                      </a:cubicBezTo>
                      <a:cubicBezTo>
                        <a:pt x="0" y="10"/>
                        <a:pt x="0" y="24"/>
                        <a:pt x="0"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25" name="Freeform 537"/>
                <p:cNvSpPr>
                  <a:spLocks/>
                </p:cNvSpPr>
                <p:nvPr/>
              </p:nvSpPr>
              <p:spPr bwMode="auto">
                <a:xfrm>
                  <a:off x="13149" y="1000"/>
                  <a:ext cx="54" cy="111"/>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8 h 47"/>
                    <a:gd name="T26" fmla="*/ 19 w 23"/>
                    <a:gd name="T27" fmla="*/ 8 h 47"/>
                    <a:gd name="T28" fmla="*/ 19 w 23"/>
                    <a:gd name="T29" fmla="*/ 21 h 47"/>
                    <a:gd name="T30" fmla="*/ 21 w 23"/>
                    <a:gd name="T31" fmla="*/ 23 h 47"/>
                    <a:gd name="T32" fmla="*/ 23 w 23"/>
                    <a:gd name="T33" fmla="*/ 21 h 47"/>
                    <a:gd name="T34" fmla="*/ 23 w 23"/>
                    <a:gd name="T35" fmla="*/ 6 h 47"/>
                    <a:gd name="T36" fmla="*/ 17 w 23"/>
                    <a:gd name="T37" fmla="*/ 0 h 47"/>
                    <a:gd name="T38" fmla="*/ 6 w 23"/>
                    <a:gd name="T39" fmla="*/ 0 h 47"/>
                    <a:gd name="T40" fmla="*/ 0 w 23"/>
                    <a:gd name="T41" fmla="*/ 6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19"/>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26" name="Freeform 538"/>
                <p:cNvSpPr>
                  <a:spLocks/>
                </p:cNvSpPr>
                <p:nvPr/>
              </p:nvSpPr>
              <p:spPr bwMode="auto">
                <a:xfrm>
                  <a:off x="13454" y="1036"/>
                  <a:ext cx="10" cy="19"/>
                </a:xfrm>
                <a:custGeom>
                  <a:avLst/>
                  <a:gdLst>
                    <a:gd name="T0" fmla="*/ 0 w 4"/>
                    <a:gd name="T1" fmla="*/ 6 h 8"/>
                    <a:gd name="T2" fmla="*/ 2 w 4"/>
                    <a:gd name="T3" fmla="*/ 8 h 8"/>
                    <a:gd name="T4" fmla="*/ 4 w 4"/>
                    <a:gd name="T5" fmla="*/ 6 h 8"/>
                    <a:gd name="T6" fmla="*/ 4 w 4"/>
                    <a:gd name="T7" fmla="*/ 0 h 8"/>
                    <a:gd name="T8" fmla="*/ 0 w 4"/>
                    <a:gd name="T9" fmla="*/ 0 h 8"/>
                    <a:gd name="T10" fmla="*/ 0 w 4"/>
                    <a:gd name="T11" fmla="*/ 6 h 8"/>
                  </a:gdLst>
                  <a:ahLst/>
                  <a:cxnLst>
                    <a:cxn ang="0">
                      <a:pos x="T0" y="T1"/>
                    </a:cxn>
                    <a:cxn ang="0">
                      <a:pos x="T2" y="T3"/>
                    </a:cxn>
                    <a:cxn ang="0">
                      <a:pos x="T4" y="T5"/>
                    </a:cxn>
                    <a:cxn ang="0">
                      <a:pos x="T6" y="T7"/>
                    </a:cxn>
                    <a:cxn ang="0">
                      <a:pos x="T8" y="T9"/>
                    </a:cxn>
                    <a:cxn ang="0">
                      <a:pos x="T10" y="T11"/>
                    </a:cxn>
                  </a:cxnLst>
                  <a:rect l="0" t="0" r="r" b="b"/>
                  <a:pathLst>
                    <a:path w="4" h="8">
                      <a:moveTo>
                        <a:pt x="0" y="6"/>
                      </a:moveTo>
                      <a:cubicBezTo>
                        <a:pt x="0" y="7"/>
                        <a:pt x="1" y="8"/>
                        <a:pt x="2" y="8"/>
                      </a:cubicBezTo>
                      <a:cubicBezTo>
                        <a:pt x="4" y="8"/>
                        <a:pt x="4" y="7"/>
                        <a:pt x="4" y="6"/>
                      </a:cubicBezTo>
                      <a:cubicBezTo>
                        <a:pt x="4" y="5"/>
                        <a:pt x="4" y="3"/>
                        <a:pt x="4" y="0"/>
                      </a:cubicBezTo>
                      <a:cubicBezTo>
                        <a:pt x="3" y="0"/>
                        <a:pt x="2" y="0"/>
                        <a:pt x="0" y="0"/>
                      </a:cubicBezTo>
                      <a:cubicBezTo>
                        <a:pt x="0" y="3"/>
                        <a:pt x="0" y="5"/>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27" name="Freeform 539"/>
                <p:cNvSpPr>
                  <a:spLocks/>
                </p:cNvSpPr>
                <p:nvPr/>
              </p:nvSpPr>
              <p:spPr bwMode="auto">
                <a:xfrm>
                  <a:off x="13423" y="1036"/>
                  <a:ext cx="29" cy="75"/>
                </a:xfrm>
                <a:custGeom>
                  <a:avLst/>
                  <a:gdLst>
                    <a:gd name="T0" fmla="*/ 0 w 12"/>
                    <a:gd name="T1" fmla="*/ 29 h 32"/>
                    <a:gd name="T2" fmla="*/ 3 w 12"/>
                    <a:gd name="T3" fmla="*/ 32 h 32"/>
                    <a:gd name="T4" fmla="*/ 6 w 12"/>
                    <a:gd name="T5" fmla="*/ 29 h 32"/>
                    <a:gd name="T6" fmla="*/ 6 w 12"/>
                    <a:gd name="T7" fmla="*/ 8 h 32"/>
                    <a:gd name="T8" fmla="*/ 7 w 12"/>
                    <a:gd name="T9" fmla="*/ 8 h 32"/>
                    <a:gd name="T10" fmla="*/ 7 w 12"/>
                    <a:gd name="T11" fmla="*/ 29 h 32"/>
                    <a:gd name="T12" fmla="*/ 9 w 12"/>
                    <a:gd name="T13" fmla="*/ 32 h 32"/>
                    <a:gd name="T14" fmla="*/ 12 w 12"/>
                    <a:gd name="T15" fmla="*/ 29 h 32"/>
                    <a:gd name="T16" fmla="*/ 12 w 12"/>
                    <a:gd name="T17" fmla="*/ 0 h 32"/>
                    <a:gd name="T18" fmla="*/ 0 w 12"/>
                    <a:gd name="T19" fmla="*/ 1 h 32"/>
                    <a:gd name="T20" fmla="*/ 0 w 12"/>
                    <a:gd name="T21" fmla="*/ 2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32">
                      <a:moveTo>
                        <a:pt x="0" y="29"/>
                      </a:moveTo>
                      <a:cubicBezTo>
                        <a:pt x="0" y="31"/>
                        <a:pt x="1" y="32"/>
                        <a:pt x="3" y="32"/>
                      </a:cubicBezTo>
                      <a:cubicBezTo>
                        <a:pt x="4" y="32"/>
                        <a:pt x="6" y="31"/>
                        <a:pt x="6" y="29"/>
                      </a:cubicBezTo>
                      <a:cubicBezTo>
                        <a:pt x="6" y="27"/>
                        <a:pt x="6" y="8"/>
                        <a:pt x="6" y="8"/>
                      </a:cubicBezTo>
                      <a:cubicBezTo>
                        <a:pt x="6" y="8"/>
                        <a:pt x="6" y="8"/>
                        <a:pt x="7" y="8"/>
                      </a:cubicBezTo>
                      <a:cubicBezTo>
                        <a:pt x="7" y="8"/>
                        <a:pt x="7" y="27"/>
                        <a:pt x="7" y="29"/>
                      </a:cubicBezTo>
                      <a:cubicBezTo>
                        <a:pt x="7" y="31"/>
                        <a:pt x="8" y="32"/>
                        <a:pt x="9" y="32"/>
                      </a:cubicBezTo>
                      <a:cubicBezTo>
                        <a:pt x="11" y="32"/>
                        <a:pt x="12" y="31"/>
                        <a:pt x="12" y="29"/>
                      </a:cubicBezTo>
                      <a:cubicBezTo>
                        <a:pt x="12" y="27"/>
                        <a:pt x="12" y="10"/>
                        <a:pt x="12" y="0"/>
                      </a:cubicBezTo>
                      <a:cubicBezTo>
                        <a:pt x="8" y="0"/>
                        <a:pt x="4" y="1"/>
                        <a:pt x="0" y="1"/>
                      </a:cubicBezTo>
                      <a:cubicBezTo>
                        <a:pt x="0" y="11"/>
                        <a:pt x="0" y="27"/>
                        <a:pt x="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28" name="Freeform 540"/>
                <p:cNvSpPr>
                  <a:spLocks/>
                </p:cNvSpPr>
                <p:nvPr/>
              </p:nvSpPr>
              <p:spPr bwMode="auto">
                <a:xfrm>
                  <a:off x="13471" y="1036"/>
                  <a:ext cx="12" cy="14"/>
                </a:xfrm>
                <a:custGeom>
                  <a:avLst/>
                  <a:gdLst>
                    <a:gd name="T0" fmla="*/ 2 w 5"/>
                    <a:gd name="T1" fmla="*/ 6 h 6"/>
                    <a:gd name="T2" fmla="*/ 4 w 5"/>
                    <a:gd name="T3" fmla="*/ 5 h 6"/>
                    <a:gd name="T4" fmla="*/ 5 w 5"/>
                    <a:gd name="T5" fmla="*/ 0 h 6"/>
                    <a:gd name="T6" fmla="*/ 2 w 5"/>
                    <a:gd name="T7" fmla="*/ 0 h 6"/>
                    <a:gd name="T8" fmla="*/ 1 w 5"/>
                    <a:gd name="T9" fmla="*/ 3 h 6"/>
                    <a:gd name="T10" fmla="*/ 2 w 5"/>
                    <a:gd name="T11" fmla="*/ 6 h 6"/>
                  </a:gdLst>
                  <a:ahLst/>
                  <a:cxnLst>
                    <a:cxn ang="0">
                      <a:pos x="T0" y="T1"/>
                    </a:cxn>
                    <a:cxn ang="0">
                      <a:pos x="T2" y="T3"/>
                    </a:cxn>
                    <a:cxn ang="0">
                      <a:pos x="T4" y="T5"/>
                    </a:cxn>
                    <a:cxn ang="0">
                      <a:pos x="T6" y="T7"/>
                    </a:cxn>
                    <a:cxn ang="0">
                      <a:pos x="T8" y="T9"/>
                    </a:cxn>
                    <a:cxn ang="0">
                      <a:pos x="T10" y="T11"/>
                    </a:cxn>
                  </a:cxnLst>
                  <a:rect l="0" t="0" r="r" b="b"/>
                  <a:pathLst>
                    <a:path w="5" h="6">
                      <a:moveTo>
                        <a:pt x="2" y="6"/>
                      </a:moveTo>
                      <a:cubicBezTo>
                        <a:pt x="3" y="6"/>
                        <a:pt x="4" y="5"/>
                        <a:pt x="4" y="5"/>
                      </a:cubicBezTo>
                      <a:cubicBezTo>
                        <a:pt x="4" y="4"/>
                        <a:pt x="5" y="2"/>
                        <a:pt x="5" y="0"/>
                      </a:cubicBezTo>
                      <a:cubicBezTo>
                        <a:pt x="4" y="0"/>
                        <a:pt x="3" y="0"/>
                        <a:pt x="2" y="0"/>
                      </a:cubicBezTo>
                      <a:cubicBezTo>
                        <a:pt x="1" y="2"/>
                        <a:pt x="1" y="3"/>
                        <a:pt x="1" y="3"/>
                      </a:cubicBezTo>
                      <a:cubicBezTo>
                        <a:pt x="0" y="4"/>
                        <a:pt x="1" y="5"/>
                        <a:pt x="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29" name="Freeform 541"/>
                <p:cNvSpPr>
                  <a:spLocks/>
                </p:cNvSpPr>
                <p:nvPr/>
              </p:nvSpPr>
              <p:spPr bwMode="auto">
                <a:xfrm>
                  <a:off x="13478" y="1036"/>
                  <a:ext cx="52" cy="75"/>
                </a:xfrm>
                <a:custGeom>
                  <a:avLst/>
                  <a:gdLst>
                    <a:gd name="T0" fmla="*/ 4 w 22"/>
                    <a:gd name="T1" fmla="*/ 0 h 32"/>
                    <a:gd name="T2" fmla="*/ 0 w 22"/>
                    <a:gd name="T3" fmla="*/ 13 h 32"/>
                    <a:gd name="T4" fmla="*/ 6 w 22"/>
                    <a:gd name="T5" fmla="*/ 13 h 32"/>
                    <a:gd name="T6" fmla="*/ 6 w 22"/>
                    <a:gd name="T7" fmla="*/ 30 h 32"/>
                    <a:gd name="T8" fmla="*/ 8 w 22"/>
                    <a:gd name="T9" fmla="*/ 32 h 32"/>
                    <a:gd name="T10" fmla="*/ 10 w 22"/>
                    <a:gd name="T11" fmla="*/ 30 h 32"/>
                    <a:gd name="T12" fmla="*/ 10 w 22"/>
                    <a:gd name="T13" fmla="*/ 13 h 32"/>
                    <a:gd name="T14" fmla="*/ 11 w 22"/>
                    <a:gd name="T15" fmla="*/ 13 h 32"/>
                    <a:gd name="T16" fmla="*/ 11 w 22"/>
                    <a:gd name="T17" fmla="*/ 30 h 32"/>
                    <a:gd name="T18" fmla="*/ 14 w 22"/>
                    <a:gd name="T19" fmla="*/ 32 h 32"/>
                    <a:gd name="T20" fmla="*/ 16 w 22"/>
                    <a:gd name="T21" fmla="*/ 30 h 32"/>
                    <a:gd name="T22" fmla="*/ 16 w 22"/>
                    <a:gd name="T23" fmla="*/ 13 h 32"/>
                    <a:gd name="T24" fmla="*/ 22 w 22"/>
                    <a:gd name="T25" fmla="*/ 13 h 32"/>
                    <a:gd name="T26" fmla="*/ 19 w 22"/>
                    <a:gd name="T27" fmla="*/ 2 h 32"/>
                    <a:gd name="T28" fmla="*/ 10 w 22"/>
                    <a:gd name="T29" fmla="*/ 0 h 32"/>
                    <a:gd name="T30" fmla="*/ 4 w 22"/>
                    <a:gd name="T3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32">
                      <a:moveTo>
                        <a:pt x="4" y="0"/>
                      </a:moveTo>
                      <a:cubicBezTo>
                        <a:pt x="0" y="13"/>
                        <a:pt x="0" y="13"/>
                        <a:pt x="0" y="13"/>
                      </a:cubicBezTo>
                      <a:cubicBezTo>
                        <a:pt x="6" y="13"/>
                        <a:pt x="6" y="13"/>
                        <a:pt x="6" y="13"/>
                      </a:cubicBezTo>
                      <a:cubicBezTo>
                        <a:pt x="6" y="21"/>
                        <a:pt x="6" y="29"/>
                        <a:pt x="6" y="30"/>
                      </a:cubicBezTo>
                      <a:cubicBezTo>
                        <a:pt x="6" y="31"/>
                        <a:pt x="7" y="32"/>
                        <a:pt x="8" y="32"/>
                      </a:cubicBezTo>
                      <a:cubicBezTo>
                        <a:pt x="9" y="32"/>
                        <a:pt x="10" y="31"/>
                        <a:pt x="10" y="30"/>
                      </a:cubicBezTo>
                      <a:cubicBezTo>
                        <a:pt x="10" y="28"/>
                        <a:pt x="10" y="13"/>
                        <a:pt x="10" y="13"/>
                      </a:cubicBezTo>
                      <a:cubicBezTo>
                        <a:pt x="11" y="13"/>
                        <a:pt x="11" y="13"/>
                        <a:pt x="11" y="13"/>
                      </a:cubicBezTo>
                      <a:cubicBezTo>
                        <a:pt x="11" y="13"/>
                        <a:pt x="11" y="28"/>
                        <a:pt x="11" y="30"/>
                      </a:cubicBezTo>
                      <a:cubicBezTo>
                        <a:pt x="11" y="31"/>
                        <a:pt x="12" y="32"/>
                        <a:pt x="14" y="32"/>
                      </a:cubicBezTo>
                      <a:cubicBezTo>
                        <a:pt x="15" y="32"/>
                        <a:pt x="16" y="31"/>
                        <a:pt x="16" y="30"/>
                      </a:cubicBezTo>
                      <a:cubicBezTo>
                        <a:pt x="16" y="29"/>
                        <a:pt x="16" y="21"/>
                        <a:pt x="16" y="13"/>
                      </a:cubicBezTo>
                      <a:cubicBezTo>
                        <a:pt x="22" y="13"/>
                        <a:pt x="22" y="13"/>
                        <a:pt x="22" y="13"/>
                      </a:cubicBezTo>
                      <a:cubicBezTo>
                        <a:pt x="21" y="8"/>
                        <a:pt x="20" y="4"/>
                        <a:pt x="19" y="2"/>
                      </a:cubicBezTo>
                      <a:cubicBezTo>
                        <a:pt x="16" y="1"/>
                        <a:pt x="13" y="1"/>
                        <a:pt x="10" y="0"/>
                      </a:cubicBezTo>
                      <a:cubicBezTo>
                        <a:pt x="8" y="0"/>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30" name="Freeform 542"/>
                <p:cNvSpPr>
                  <a:spLocks/>
                </p:cNvSpPr>
                <p:nvPr/>
              </p:nvSpPr>
              <p:spPr bwMode="auto">
                <a:xfrm>
                  <a:off x="13525" y="1040"/>
                  <a:ext cx="10" cy="10"/>
                </a:xfrm>
                <a:custGeom>
                  <a:avLst/>
                  <a:gdLst>
                    <a:gd name="T0" fmla="*/ 1 w 4"/>
                    <a:gd name="T1" fmla="*/ 3 h 4"/>
                    <a:gd name="T2" fmla="*/ 3 w 4"/>
                    <a:gd name="T3" fmla="*/ 4 h 4"/>
                    <a:gd name="T4" fmla="*/ 4 w 4"/>
                    <a:gd name="T5" fmla="*/ 1 h 4"/>
                    <a:gd name="T6" fmla="*/ 4 w 4"/>
                    <a:gd name="T7" fmla="*/ 0 h 4"/>
                    <a:gd name="T8" fmla="*/ 0 w 4"/>
                    <a:gd name="T9" fmla="*/ 0 h 4"/>
                    <a:gd name="T10" fmla="*/ 1 w 4"/>
                    <a:gd name="T11" fmla="*/ 3 h 4"/>
                  </a:gdLst>
                  <a:ahLst/>
                  <a:cxnLst>
                    <a:cxn ang="0">
                      <a:pos x="T0" y="T1"/>
                    </a:cxn>
                    <a:cxn ang="0">
                      <a:pos x="T2" y="T3"/>
                    </a:cxn>
                    <a:cxn ang="0">
                      <a:pos x="T4" y="T5"/>
                    </a:cxn>
                    <a:cxn ang="0">
                      <a:pos x="T6" y="T7"/>
                    </a:cxn>
                    <a:cxn ang="0">
                      <a:pos x="T8" y="T9"/>
                    </a:cxn>
                    <a:cxn ang="0">
                      <a:pos x="T10" y="T11"/>
                    </a:cxn>
                  </a:cxnLst>
                  <a:rect l="0" t="0" r="r" b="b"/>
                  <a:pathLst>
                    <a:path w="4" h="4">
                      <a:moveTo>
                        <a:pt x="1" y="3"/>
                      </a:moveTo>
                      <a:cubicBezTo>
                        <a:pt x="1" y="3"/>
                        <a:pt x="2" y="4"/>
                        <a:pt x="3" y="4"/>
                      </a:cubicBezTo>
                      <a:cubicBezTo>
                        <a:pt x="4" y="3"/>
                        <a:pt x="4" y="2"/>
                        <a:pt x="4" y="1"/>
                      </a:cubicBezTo>
                      <a:cubicBezTo>
                        <a:pt x="4" y="1"/>
                        <a:pt x="4" y="1"/>
                        <a:pt x="4" y="0"/>
                      </a:cubicBezTo>
                      <a:cubicBezTo>
                        <a:pt x="2" y="0"/>
                        <a:pt x="1" y="0"/>
                        <a:pt x="0" y="0"/>
                      </a:cubicBezTo>
                      <a:cubicBezTo>
                        <a:pt x="0" y="1"/>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31" name="Freeform 543"/>
                <p:cNvSpPr>
                  <a:spLocks/>
                </p:cNvSpPr>
                <p:nvPr/>
              </p:nvSpPr>
              <p:spPr bwMode="auto">
                <a:xfrm>
                  <a:off x="13542" y="1043"/>
                  <a:ext cx="9" cy="12"/>
                </a:xfrm>
                <a:custGeom>
                  <a:avLst/>
                  <a:gdLst>
                    <a:gd name="T0" fmla="*/ 2 w 4"/>
                    <a:gd name="T1" fmla="*/ 5 h 5"/>
                    <a:gd name="T2" fmla="*/ 4 w 4"/>
                    <a:gd name="T3" fmla="*/ 3 h 5"/>
                    <a:gd name="T4" fmla="*/ 4 w 4"/>
                    <a:gd name="T5" fmla="*/ 1 h 5"/>
                    <a:gd name="T6" fmla="*/ 0 w 4"/>
                    <a:gd name="T7" fmla="*/ 0 h 5"/>
                    <a:gd name="T8" fmla="*/ 0 w 4"/>
                    <a:gd name="T9" fmla="*/ 3 h 5"/>
                    <a:gd name="T10" fmla="*/ 2 w 4"/>
                    <a:gd name="T11" fmla="*/ 5 h 5"/>
                  </a:gdLst>
                  <a:ahLst/>
                  <a:cxnLst>
                    <a:cxn ang="0">
                      <a:pos x="T0" y="T1"/>
                    </a:cxn>
                    <a:cxn ang="0">
                      <a:pos x="T2" y="T3"/>
                    </a:cxn>
                    <a:cxn ang="0">
                      <a:pos x="T4" y="T5"/>
                    </a:cxn>
                    <a:cxn ang="0">
                      <a:pos x="T6" y="T7"/>
                    </a:cxn>
                    <a:cxn ang="0">
                      <a:pos x="T8" y="T9"/>
                    </a:cxn>
                    <a:cxn ang="0">
                      <a:pos x="T10" y="T11"/>
                    </a:cxn>
                  </a:cxnLst>
                  <a:rect l="0" t="0" r="r" b="b"/>
                  <a:pathLst>
                    <a:path w="4" h="5">
                      <a:moveTo>
                        <a:pt x="2" y="5"/>
                      </a:moveTo>
                      <a:cubicBezTo>
                        <a:pt x="3" y="5"/>
                        <a:pt x="4" y="4"/>
                        <a:pt x="4" y="3"/>
                      </a:cubicBezTo>
                      <a:cubicBezTo>
                        <a:pt x="4" y="3"/>
                        <a:pt x="4" y="2"/>
                        <a:pt x="4" y="1"/>
                      </a:cubicBezTo>
                      <a:cubicBezTo>
                        <a:pt x="3" y="0"/>
                        <a:pt x="2" y="0"/>
                        <a:pt x="0" y="0"/>
                      </a:cubicBezTo>
                      <a:cubicBezTo>
                        <a:pt x="0" y="1"/>
                        <a:pt x="0" y="2"/>
                        <a:pt x="0" y="3"/>
                      </a:cubicBezTo>
                      <a:cubicBezTo>
                        <a:pt x="0" y="4"/>
                        <a:pt x="1" y="5"/>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32" name="Freeform 544"/>
                <p:cNvSpPr>
                  <a:spLocks/>
                </p:cNvSpPr>
                <p:nvPr/>
              </p:nvSpPr>
              <p:spPr bwMode="auto">
                <a:xfrm>
                  <a:off x="13130" y="877"/>
                  <a:ext cx="9" cy="31"/>
                </a:xfrm>
                <a:custGeom>
                  <a:avLst/>
                  <a:gdLst>
                    <a:gd name="T0" fmla="*/ 0 w 4"/>
                    <a:gd name="T1" fmla="*/ 11 h 13"/>
                    <a:gd name="T2" fmla="*/ 2 w 4"/>
                    <a:gd name="T3" fmla="*/ 13 h 13"/>
                    <a:gd name="T4" fmla="*/ 4 w 4"/>
                    <a:gd name="T5" fmla="*/ 11 h 13"/>
                    <a:gd name="T6" fmla="*/ 4 w 4"/>
                    <a:gd name="T7" fmla="*/ 1 h 13"/>
                    <a:gd name="T8" fmla="*/ 0 w 4"/>
                    <a:gd name="T9" fmla="*/ 0 h 13"/>
                    <a:gd name="T10" fmla="*/ 0 w 4"/>
                    <a:gd name="T11" fmla="*/ 11 h 13"/>
                  </a:gdLst>
                  <a:ahLst/>
                  <a:cxnLst>
                    <a:cxn ang="0">
                      <a:pos x="T0" y="T1"/>
                    </a:cxn>
                    <a:cxn ang="0">
                      <a:pos x="T2" y="T3"/>
                    </a:cxn>
                    <a:cxn ang="0">
                      <a:pos x="T4" y="T5"/>
                    </a:cxn>
                    <a:cxn ang="0">
                      <a:pos x="T6" y="T7"/>
                    </a:cxn>
                    <a:cxn ang="0">
                      <a:pos x="T8" y="T9"/>
                    </a:cxn>
                    <a:cxn ang="0">
                      <a:pos x="T10" y="T11"/>
                    </a:cxn>
                  </a:cxnLst>
                  <a:rect l="0" t="0" r="r" b="b"/>
                  <a:pathLst>
                    <a:path w="4" h="13">
                      <a:moveTo>
                        <a:pt x="0" y="11"/>
                      </a:moveTo>
                      <a:cubicBezTo>
                        <a:pt x="0" y="12"/>
                        <a:pt x="1" y="13"/>
                        <a:pt x="2" y="13"/>
                      </a:cubicBezTo>
                      <a:cubicBezTo>
                        <a:pt x="3" y="13"/>
                        <a:pt x="4" y="12"/>
                        <a:pt x="4" y="11"/>
                      </a:cubicBezTo>
                      <a:cubicBezTo>
                        <a:pt x="4" y="10"/>
                        <a:pt x="4" y="5"/>
                        <a:pt x="4" y="1"/>
                      </a:cubicBezTo>
                      <a:cubicBezTo>
                        <a:pt x="3" y="0"/>
                        <a:pt x="1" y="0"/>
                        <a:pt x="0" y="0"/>
                      </a:cubicBezTo>
                      <a:cubicBezTo>
                        <a:pt x="0" y="3"/>
                        <a:pt x="0" y="10"/>
                        <a:pt x="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33" name="Freeform 545"/>
                <p:cNvSpPr>
                  <a:spLocks/>
                </p:cNvSpPr>
                <p:nvPr/>
              </p:nvSpPr>
              <p:spPr bwMode="auto">
                <a:xfrm>
                  <a:off x="13016" y="853"/>
                  <a:ext cx="64" cy="112"/>
                </a:xfrm>
                <a:custGeom>
                  <a:avLst/>
                  <a:gdLst>
                    <a:gd name="T0" fmla="*/ 1 w 27"/>
                    <a:gd name="T1" fmla="*/ 21 h 47"/>
                    <a:gd name="T2" fmla="*/ 4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9 h 47"/>
                    <a:gd name="T42" fmla="*/ 22 w 27"/>
                    <a:gd name="T43" fmla="*/ 5 h 47"/>
                    <a:gd name="T44" fmla="*/ 17 w 27"/>
                    <a:gd name="T45" fmla="*/ 0 h 47"/>
                    <a:gd name="T46" fmla="*/ 9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34" name="Oval 546"/>
                <p:cNvSpPr>
                  <a:spLocks noChangeArrowheads="1"/>
                </p:cNvSpPr>
                <p:nvPr/>
              </p:nvSpPr>
              <p:spPr bwMode="auto">
                <a:xfrm>
                  <a:off x="13035"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35" name="Freeform 547"/>
                <p:cNvSpPr>
                  <a:spLocks/>
                </p:cNvSpPr>
                <p:nvPr/>
              </p:nvSpPr>
              <p:spPr bwMode="auto">
                <a:xfrm>
                  <a:off x="13021" y="1000"/>
                  <a:ext cx="52" cy="111"/>
                </a:xfrm>
                <a:custGeom>
                  <a:avLst/>
                  <a:gdLst>
                    <a:gd name="T0" fmla="*/ 0 w 22"/>
                    <a:gd name="T1" fmla="*/ 6 h 47"/>
                    <a:gd name="T2" fmla="*/ 0 w 22"/>
                    <a:gd name="T3" fmla="*/ 21 h 47"/>
                    <a:gd name="T4" fmla="*/ 2 w 22"/>
                    <a:gd name="T5" fmla="*/ 23 h 47"/>
                    <a:gd name="T6" fmla="*/ 4 w 22"/>
                    <a:gd name="T7" fmla="*/ 21 h 47"/>
                    <a:gd name="T8" fmla="*/ 4 w 22"/>
                    <a:gd name="T9" fmla="*/ 8 h 47"/>
                    <a:gd name="T10" fmla="*/ 5 w 22"/>
                    <a:gd name="T11" fmla="*/ 8 h 47"/>
                    <a:gd name="T12" fmla="*/ 5 w 22"/>
                    <a:gd name="T13" fmla="*/ 44 h 47"/>
                    <a:gd name="T14" fmla="*/ 8 w 22"/>
                    <a:gd name="T15" fmla="*/ 47 h 47"/>
                    <a:gd name="T16" fmla="*/ 11 w 22"/>
                    <a:gd name="T17" fmla="*/ 44 h 47"/>
                    <a:gd name="T18" fmla="*/ 11 w 22"/>
                    <a:gd name="T19" fmla="*/ 23 h 47"/>
                    <a:gd name="T20" fmla="*/ 12 w 22"/>
                    <a:gd name="T21" fmla="*/ 23 h 47"/>
                    <a:gd name="T22" fmla="*/ 12 w 22"/>
                    <a:gd name="T23" fmla="*/ 44 h 47"/>
                    <a:gd name="T24" fmla="*/ 14 w 22"/>
                    <a:gd name="T25" fmla="*/ 47 h 47"/>
                    <a:gd name="T26" fmla="*/ 17 w 22"/>
                    <a:gd name="T27" fmla="*/ 44 h 47"/>
                    <a:gd name="T28" fmla="*/ 17 w 22"/>
                    <a:gd name="T29" fmla="*/ 8 h 47"/>
                    <a:gd name="T30" fmla="*/ 18 w 22"/>
                    <a:gd name="T31" fmla="*/ 8 h 47"/>
                    <a:gd name="T32" fmla="*/ 18 w 22"/>
                    <a:gd name="T33" fmla="*/ 21 h 47"/>
                    <a:gd name="T34" fmla="*/ 20 w 22"/>
                    <a:gd name="T35" fmla="*/ 23 h 47"/>
                    <a:gd name="T36" fmla="*/ 22 w 22"/>
                    <a:gd name="T37" fmla="*/ 21 h 47"/>
                    <a:gd name="T38" fmla="*/ 22 w 22"/>
                    <a:gd name="T39" fmla="*/ 6 h 47"/>
                    <a:gd name="T40" fmla="*/ 16 w 22"/>
                    <a:gd name="T41" fmla="*/ 0 h 47"/>
                    <a:gd name="T42" fmla="*/ 6 w 22"/>
                    <a:gd name="T43" fmla="*/ 0 h 47"/>
                    <a:gd name="T44" fmla="*/ 0 w 22"/>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6"/>
                      </a:move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2" y="23"/>
                        <a:pt x="22" y="22"/>
                        <a:pt x="22" y="21"/>
                      </a:cubicBezTo>
                      <a:cubicBezTo>
                        <a:pt x="22" y="20"/>
                        <a:pt x="22" y="8"/>
                        <a:pt x="22" y="6"/>
                      </a:cubicBezTo>
                      <a:cubicBezTo>
                        <a:pt x="22" y="3"/>
                        <a:pt x="20" y="0"/>
                        <a:pt x="16"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36" name="Oval 548"/>
                <p:cNvSpPr>
                  <a:spLocks noChangeArrowheads="1"/>
                </p:cNvSpPr>
                <p:nvPr/>
              </p:nvSpPr>
              <p:spPr bwMode="auto">
                <a:xfrm>
                  <a:off x="13038"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37" name="Freeform 549"/>
                <p:cNvSpPr>
                  <a:spLocks/>
                </p:cNvSpPr>
                <p:nvPr/>
              </p:nvSpPr>
              <p:spPr bwMode="auto">
                <a:xfrm>
                  <a:off x="13080" y="1000"/>
                  <a:ext cx="64" cy="111"/>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4 w 27"/>
                    <a:gd name="T37" fmla="*/ 20 h 47"/>
                    <a:gd name="T38" fmla="*/ 26 w 27"/>
                    <a:gd name="T39" fmla="*/ 21 h 47"/>
                    <a:gd name="T40" fmla="*/ 27 w 27"/>
                    <a:gd name="T41" fmla="*/ 18 h 47"/>
                    <a:gd name="T42" fmla="*/ 23 w 27"/>
                    <a:gd name="T43" fmla="*/ 5 h 47"/>
                    <a:gd name="T44" fmla="*/ 18 w 27"/>
                    <a:gd name="T45" fmla="*/ 0 h 47"/>
                    <a:gd name="T46" fmla="*/ 10 w 27"/>
                    <a:gd name="T47" fmla="*/ 0 h 47"/>
                    <a:gd name="T48" fmla="*/ 5 w 27"/>
                    <a:gd name="T49" fmla="*/ 5 h 47"/>
                    <a:gd name="T50" fmla="*/ 1 w 27"/>
                    <a:gd name="T51" fmla="*/ 18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0"/>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0"/>
                        <a:pt x="25" y="21"/>
                        <a:pt x="26" y="21"/>
                      </a:cubicBezTo>
                      <a:cubicBezTo>
                        <a:pt x="27" y="20"/>
                        <a:pt x="27" y="19"/>
                        <a:pt x="27" y="18"/>
                      </a:cubicBezTo>
                      <a:cubicBezTo>
                        <a:pt x="27" y="18"/>
                        <a:pt x="25" y="10"/>
                        <a:pt x="23" y="5"/>
                      </a:cubicBezTo>
                      <a:cubicBezTo>
                        <a:pt x="22" y="2"/>
                        <a:pt x="20" y="0"/>
                        <a:pt x="18" y="0"/>
                      </a:cubicBezTo>
                      <a:cubicBezTo>
                        <a:pt x="17" y="0"/>
                        <a:pt x="11" y="0"/>
                        <a:pt x="10" y="0"/>
                      </a:cubicBezTo>
                      <a:cubicBezTo>
                        <a:pt x="8" y="0"/>
                        <a:pt x="5" y="2"/>
                        <a:pt x="5" y="5"/>
                      </a:cubicBezTo>
                      <a:cubicBezTo>
                        <a:pt x="3" y="10"/>
                        <a:pt x="1" y="18"/>
                        <a:pt x="1" y="18"/>
                      </a:cubicBezTo>
                      <a:cubicBezTo>
                        <a:pt x="0" y="19"/>
                        <a:pt x="1" y="20"/>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38" name="Oval 550"/>
                <p:cNvSpPr>
                  <a:spLocks noChangeArrowheads="1"/>
                </p:cNvSpPr>
                <p:nvPr/>
              </p:nvSpPr>
              <p:spPr bwMode="auto">
                <a:xfrm>
                  <a:off x="12971" y="974"/>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39" name="Oval 551"/>
                <p:cNvSpPr>
                  <a:spLocks noChangeArrowheads="1"/>
                </p:cNvSpPr>
                <p:nvPr/>
              </p:nvSpPr>
              <p:spPr bwMode="auto">
                <a:xfrm>
                  <a:off x="13102" y="974"/>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40" name="Oval 552"/>
                <p:cNvSpPr>
                  <a:spLocks noChangeArrowheads="1"/>
                </p:cNvSpPr>
                <p:nvPr/>
              </p:nvSpPr>
              <p:spPr bwMode="auto">
                <a:xfrm>
                  <a:off x="12971" y="681"/>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41" name="Oval 553"/>
                <p:cNvSpPr>
                  <a:spLocks noChangeArrowheads="1"/>
                </p:cNvSpPr>
                <p:nvPr/>
              </p:nvSpPr>
              <p:spPr bwMode="auto">
                <a:xfrm>
                  <a:off x="12971" y="830"/>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42" name="Freeform 554"/>
                <p:cNvSpPr>
                  <a:spLocks/>
                </p:cNvSpPr>
                <p:nvPr/>
              </p:nvSpPr>
              <p:spPr bwMode="auto">
                <a:xfrm>
                  <a:off x="12950" y="707"/>
                  <a:ext cx="64" cy="111"/>
                </a:xfrm>
                <a:custGeom>
                  <a:avLst/>
                  <a:gdLst>
                    <a:gd name="T0" fmla="*/ 1 w 27"/>
                    <a:gd name="T1" fmla="*/ 20 h 47"/>
                    <a:gd name="T2" fmla="*/ 4 w 27"/>
                    <a:gd name="T3" fmla="*/ 19 h 47"/>
                    <a:gd name="T4" fmla="*/ 8 w 27"/>
                    <a:gd name="T5" fmla="*/ 6 h 47"/>
                    <a:gd name="T6" fmla="*/ 9 w 27"/>
                    <a:gd name="T7" fmla="*/ 6 h 47"/>
                    <a:gd name="T8" fmla="*/ 2 w 27"/>
                    <a:gd name="T9" fmla="*/ 28 h 47"/>
                    <a:gd name="T10" fmla="*/ 8 w 27"/>
                    <a:gd name="T11" fmla="*/ 28 h 47"/>
                    <a:gd name="T12" fmla="*/ 8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6 w 27"/>
                    <a:gd name="T25" fmla="*/ 47 h 47"/>
                    <a:gd name="T26" fmla="*/ 19 w 27"/>
                    <a:gd name="T27" fmla="*/ 44 h 47"/>
                    <a:gd name="T28" fmla="*/ 19 w 27"/>
                    <a:gd name="T29" fmla="*/ 28 h 47"/>
                    <a:gd name="T30" fmla="*/ 25 w 27"/>
                    <a:gd name="T31" fmla="*/ 28 h 47"/>
                    <a:gd name="T32" fmla="*/ 18 w 27"/>
                    <a:gd name="T33" fmla="*/ 6 h 47"/>
                    <a:gd name="T34" fmla="*/ 19 w 27"/>
                    <a:gd name="T35" fmla="*/ 6 h 47"/>
                    <a:gd name="T36" fmla="*/ 23 w 27"/>
                    <a:gd name="T37" fmla="*/ 19 h 47"/>
                    <a:gd name="T38" fmla="*/ 26 w 27"/>
                    <a:gd name="T39" fmla="*/ 20 h 47"/>
                    <a:gd name="T40" fmla="*/ 27 w 27"/>
                    <a:gd name="T41" fmla="*/ 18 h 47"/>
                    <a:gd name="T42" fmla="*/ 23 w 27"/>
                    <a:gd name="T43" fmla="*/ 4 h 47"/>
                    <a:gd name="T44" fmla="*/ 17 w 27"/>
                    <a:gd name="T45" fmla="*/ 0 h 47"/>
                    <a:gd name="T46" fmla="*/ 10 w 27"/>
                    <a:gd name="T47" fmla="*/ 0 h 47"/>
                    <a:gd name="T48" fmla="*/ 4 w 27"/>
                    <a:gd name="T49" fmla="*/ 4 h 47"/>
                    <a:gd name="T50" fmla="*/ 0 w 27"/>
                    <a:gd name="T51" fmla="*/ 18 h 47"/>
                    <a:gd name="T52" fmla="*/ 1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0"/>
                      </a:moveTo>
                      <a:cubicBezTo>
                        <a:pt x="2" y="21"/>
                        <a:pt x="4" y="20"/>
                        <a:pt x="4" y="19"/>
                      </a:cubicBezTo>
                      <a:cubicBezTo>
                        <a:pt x="4" y="18"/>
                        <a:pt x="8" y="6"/>
                        <a:pt x="8" y="6"/>
                      </a:cubicBezTo>
                      <a:cubicBezTo>
                        <a:pt x="9" y="6"/>
                        <a:pt x="9" y="6"/>
                        <a:pt x="9" y="6"/>
                      </a:cubicBezTo>
                      <a:cubicBezTo>
                        <a:pt x="2" y="28"/>
                        <a:pt x="2" y="28"/>
                        <a:pt x="2" y="28"/>
                      </a:cubicBezTo>
                      <a:cubicBezTo>
                        <a:pt x="8" y="28"/>
                        <a:pt x="8" y="28"/>
                        <a:pt x="8" y="28"/>
                      </a:cubicBezTo>
                      <a:cubicBezTo>
                        <a:pt x="8" y="36"/>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6"/>
                        <a:pt x="19" y="28"/>
                      </a:cubicBezTo>
                      <a:cubicBezTo>
                        <a:pt x="25" y="28"/>
                        <a:pt x="25" y="28"/>
                        <a:pt x="25" y="28"/>
                      </a:cubicBezTo>
                      <a:cubicBezTo>
                        <a:pt x="18" y="6"/>
                        <a:pt x="18" y="6"/>
                        <a:pt x="18" y="6"/>
                      </a:cubicBezTo>
                      <a:cubicBezTo>
                        <a:pt x="19" y="6"/>
                        <a:pt x="19" y="6"/>
                        <a:pt x="19" y="6"/>
                      </a:cubicBezTo>
                      <a:cubicBezTo>
                        <a:pt x="19" y="6"/>
                        <a:pt x="23" y="18"/>
                        <a:pt x="23" y="19"/>
                      </a:cubicBezTo>
                      <a:cubicBezTo>
                        <a:pt x="24" y="20"/>
                        <a:pt x="25" y="21"/>
                        <a:pt x="26" y="20"/>
                      </a:cubicBezTo>
                      <a:cubicBezTo>
                        <a:pt x="26" y="20"/>
                        <a:pt x="27" y="19"/>
                        <a:pt x="27" y="18"/>
                      </a:cubicBezTo>
                      <a:cubicBezTo>
                        <a:pt x="26" y="17"/>
                        <a:pt x="24" y="10"/>
                        <a:pt x="23" y="4"/>
                      </a:cubicBezTo>
                      <a:cubicBezTo>
                        <a:pt x="22" y="2"/>
                        <a:pt x="20" y="0"/>
                        <a:pt x="17" y="0"/>
                      </a:cubicBezTo>
                      <a:cubicBezTo>
                        <a:pt x="16" y="0"/>
                        <a:pt x="11" y="0"/>
                        <a:pt x="10" y="0"/>
                      </a:cubicBezTo>
                      <a:cubicBezTo>
                        <a:pt x="7" y="0"/>
                        <a:pt x="5" y="2"/>
                        <a:pt x="4" y="4"/>
                      </a:cubicBezTo>
                      <a:cubicBezTo>
                        <a:pt x="3" y="10"/>
                        <a:pt x="0" y="17"/>
                        <a:pt x="0" y="18"/>
                      </a:cubicBezTo>
                      <a:cubicBezTo>
                        <a:pt x="0" y="19"/>
                        <a:pt x="0"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43" name="Freeform 555"/>
                <p:cNvSpPr>
                  <a:spLocks/>
                </p:cNvSpPr>
                <p:nvPr/>
              </p:nvSpPr>
              <p:spPr bwMode="auto">
                <a:xfrm>
                  <a:off x="12955" y="853"/>
                  <a:ext cx="54" cy="112"/>
                </a:xfrm>
                <a:custGeom>
                  <a:avLst/>
                  <a:gdLst>
                    <a:gd name="T0" fmla="*/ 21 w 23"/>
                    <a:gd name="T1" fmla="*/ 23 h 47"/>
                    <a:gd name="T2" fmla="*/ 23 w 23"/>
                    <a:gd name="T3" fmla="*/ 21 h 47"/>
                    <a:gd name="T4" fmla="*/ 23 w 23"/>
                    <a:gd name="T5" fmla="*/ 6 h 47"/>
                    <a:gd name="T6" fmla="*/ 17 w 23"/>
                    <a:gd name="T7" fmla="*/ 0 h 47"/>
                    <a:gd name="T8" fmla="*/ 6 w 23"/>
                    <a:gd name="T9" fmla="*/ 0 h 47"/>
                    <a:gd name="T10" fmla="*/ 0 w 23"/>
                    <a:gd name="T11" fmla="*/ 6 h 47"/>
                    <a:gd name="T12" fmla="*/ 0 w 23"/>
                    <a:gd name="T13" fmla="*/ 21 h 47"/>
                    <a:gd name="T14" fmla="*/ 2 w 23"/>
                    <a:gd name="T15" fmla="*/ 23 h 47"/>
                    <a:gd name="T16" fmla="*/ 4 w 23"/>
                    <a:gd name="T17" fmla="*/ 21 h 47"/>
                    <a:gd name="T18" fmla="*/ 4 w 23"/>
                    <a:gd name="T19" fmla="*/ 8 h 47"/>
                    <a:gd name="T20" fmla="*/ 5 w 23"/>
                    <a:gd name="T21" fmla="*/ 8 h 47"/>
                    <a:gd name="T22" fmla="*/ 5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8 w 23"/>
                    <a:gd name="T37" fmla="*/ 44 h 47"/>
                    <a:gd name="T38" fmla="*/ 18 w 23"/>
                    <a:gd name="T39" fmla="*/ 8 h 47"/>
                    <a:gd name="T40" fmla="*/ 19 w 23"/>
                    <a:gd name="T41" fmla="*/ 8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44" name="Freeform 556"/>
                <p:cNvSpPr>
                  <a:spLocks/>
                </p:cNvSpPr>
                <p:nvPr/>
              </p:nvSpPr>
              <p:spPr bwMode="auto">
                <a:xfrm>
                  <a:off x="12664" y="837"/>
                  <a:ext cx="2" cy="7"/>
                </a:xfrm>
                <a:custGeom>
                  <a:avLst/>
                  <a:gdLst>
                    <a:gd name="T0" fmla="*/ 1 w 1"/>
                    <a:gd name="T1" fmla="*/ 0 h 3"/>
                    <a:gd name="T2" fmla="*/ 0 w 1"/>
                    <a:gd name="T3" fmla="*/ 3 h 3"/>
                    <a:gd name="T4" fmla="*/ 1 w 1"/>
                    <a:gd name="T5" fmla="*/ 1 h 3"/>
                    <a:gd name="T6" fmla="*/ 1 w 1"/>
                    <a:gd name="T7" fmla="*/ 0 h 3"/>
                  </a:gdLst>
                  <a:ahLst/>
                  <a:cxnLst>
                    <a:cxn ang="0">
                      <a:pos x="T0" y="T1"/>
                    </a:cxn>
                    <a:cxn ang="0">
                      <a:pos x="T2" y="T3"/>
                    </a:cxn>
                    <a:cxn ang="0">
                      <a:pos x="T4" y="T5"/>
                    </a:cxn>
                    <a:cxn ang="0">
                      <a:pos x="T6" y="T7"/>
                    </a:cxn>
                  </a:cxnLst>
                  <a:rect l="0" t="0" r="r" b="b"/>
                  <a:pathLst>
                    <a:path w="1" h="3">
                      <a:moveTo>
                        <a:pt x="1" y="0"/>
                      </a:moveTo>
                      <a:cubicBezTo>
                        <a:pt x="1" y="1"/>
                        <a:pt x="1" y="2"/>
                        <a:pt x="0" y="3"/>
                      </a:cubicBezTo>
                      <a:cubicBezTo>
                        <a:pt x="1" y="3"/>
                        <a:pt x="1" y="2"/>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45" name="Freeform 557"/>
                <p:cNvSpPr>
                  <a:spLocks/>
                </p:cNvSpPr>
                <p:nvPr/>
              </p:nvSpPr>
              <p:spPr bwMode="auto">
                <a:xfrm>
                  <a:off x="12770" y="756"/>
                  <a:ext cx="14" cy="62"/>
                </a:xfrm>
                <a:custGeom>
                  <a:avLst/>
                  <a:gdLst>
                    <a:gd name="T0" fmla="*/ 0 w 6"/>
                    <a:gd name="T1" fmla="*/ 23 h 26"/>
                    <a:gd name="T2" fmla="*/ 3 w 6"/>
                    <a:gd name="T3" fmla="*/ 26 h 26"/>
                    <a:gd name="T4" fmla="*/ 6 w 6"/>
                    <a:gd name="T5" fmla="*/ 23 h 26"/>
                    <a:gd name="T6" fmla="*/ 6 w 6"/>
                    <a:gd name="T7" fmla="*/ 3 h 26"/>
                    <a:gd name="T8" fmla="*/ 0 w 6"/>
                    <a:gd name="T9" fmla="*/ 0 h 26"/>
                    <a:gd name="T10" fmla="*/ 0 w 6"/>
                    <a:gd name="T11" fmla="*/ 23 h 26"/>
                  </a:gdLst>
                  <a:ahLst/>
                  <a:cxnLst>
                    <a:cxn ang="0">
                      <a:pos x="T0" y="T1"/>
                    </a:cxn>
                    <a:cxn ang="0">
                      <a:pos x="T2" y="T3"/>
                    </a:cxn>
                    <a:cxn ang="0">
                      <a:pos x="T4" y="T5"/>
                    </a:cxn>
                    <a:cxn ang="0">
                      <a:pos x="T6" y="T7"/>
                    </a:cxn>
                    <a:cxn ang="0">
                      <a:pos x="T8" y="T9"/>
                    </a:cxn>
                    <a:cxn ang="0">
                      <a:pos x="T10" y="T11"/>
                    </a:cxn>
                  </a:cxnLst>
                  <a:rect l="0" t="0" r="r" b="b"/>
                  <a:pathLst>
                    <a:path w="6" h="26">
                      <a:moveTo>
                        <a:pt x="0" y="23"/>
                      </a:moveTo>
                      <a:cubicBezTo>
                        <a:pt x="0" y="24"/>
                        <a:pt x="2" y="26"/>
                        <a:pt x="3" y="26"/>
                      </a:cubicBezTo>
                      <a:cubicBezTo>
                        <a:pt x="5" y="26"/>
                        <a:pt x="6" y="24"/>
                        <a:pt x="6" y="23"/>
                      </a:cubicBezTo>
                      <a:cubicBezTo>
                        <a:pt x="6" y="21"/>
                        <a:pt x="6" y="8"/>
                        <a:pt x="6" y="3"/>
                      </a:cubicBezTo>
                      <a:cubicBezTo>
                        <a:pt x="4" y="3"/>
                        <a:pt x="2" y="1"/>
                        <a:pt x="0" y="0"/>
                      </a:cubicBezTo>
                      <a:cubicBezTo>
                        <a:pt x="0" y="10"/>
                        <a:pt x="0" y="21"/>
                        <a:pt x="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46" name="Freeform 558"/>
                <p:cNvSpPr>
                  <a:spLocks/>
                </p:cNvSpPr>
                <p:nvPr/>
              </p:nvSpPr>
              <p:spPr bwMode="auto">
                <a:xfrm>
                  <a:off x="12787" y="766"/>
                  <a:ext cx="14" cy="52"/>
                </a:xfrm>
                <a:custGeom>
                  <a:avLst/>
                  <a:gdLst>
                    <a:gd name="T0" fmla="*/ 0 w 6"/>
                    <a:gd name="T1" fmla="*/ 0 h 22"/>
                    <a:gd name="T2" fmla="*/ 0 w 6"/>
                    <a:gd name="T3" fmla="*/ 19 h 22"/>
                    <a:gd name="T4" fmla="*/ 3 w 6"/>
                    <a:gd name="T5" fmla="*/ 22 h 22"/>
                    <a:gd name="T6" fmla="*/ 6 w 6"/>
                    <a:gd name="T7" fmla="*/ 19 h 22"/>
                    <a:gd name="T8" fmla="*/ 6 w 6"/>
                    <a:gd name="T9" fmla="*/ 0 h 22"/>
                    <a:gd name="T10" fmla="*/ 0 w 6"/>
                    <a:gd name="T11" fmla="*/ 0 h 22"/>
                  </a:gdLst>
                  <a:ahLst/>
                  <a:cxnLst>
                    <a:cxn ang="0">
                      <a:pos x="T0" y="T1"/>
                    </a:cxn>
                    <a:cxn ang="0">
                      <a:pos x="T2" y="T3"/>
                    </a:cxn>
                    <a:cxn ang="0">
                      <a:pos x="T4" y="T5"/>
                    </a:cxn>
                    <a:cxn ang="0">
                      <a:pos x="T6" y="T7"/>
                    </a:cxn>
                    <a:cxn ang="0">
                      <a:pos x="T8" y="T9"/>
                    </a:cxn>
                    <a:cxn ang="0">
                      <a:pos x="T10" y="T11"/>
                    </a:cxn>
                  </a:cxnLst>
                  <a:rect l="0" t="0" r="r" b="b"/>
                  <a:pathLst>
                    <a:path w="6" h="22">
                      <a:moveTo>
                        <a:pt x="0" y="0"/>
                      </a:moveTo>
                      <a:cubicBezTo>
                        <a:pt x="0" y="5"/>
                        <a:pt x="0" y="17"/>
                        <a:pt x="0" y="19"/>
                      </a:cubicBezTo>
                      <a:cubicBezTo>
                        <a:pt x="0" y="20"/>
                        <a:pt x="1" y="22"/>
                        <a:pt x="3" y="22"/>
                      </a:cubicBezTo>
                      <a:cubicBezTo>
                        <a:pt x="4" y="22"/>
                        <a:pt x="6" y="20"/>
                        <a:pt x="6" y="19"/>
                      </a:cubicBezTo>
                      <a:cubicBezTo>
                        <a:pt x="6" y="18"/>
                        <a:pt x="6" y="9"/>
                        <a:pt x="6" y="0"/>
                      </a:cubicBezTo>
                      <a:cubicBezTo>
                        <a:pt x="3"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47" name="Freeform 559"/>
                <p:cNvSpPr>
                  <a:spLocks/>
                </p:cNvSpPr>
                <p:nvPr/>
              </p:nvSpPr>
              <p:spPr bwMode="auto">
                <a:xfrm>
                  <a:off x="13021" y="707"/>
                  <a:ext cx="40" cy="111"/>
                </a:xfrm>
                <a:custGeom>
                  <a:avLst/>
                  <a:gdLst>
                    <a:gd name="T0" fmla="*/ 0 w 17"/>
                    <a:gd name="T1" fmla="*/ 6 h 47"/>
                    <a:gd name="T2" fmla="*/ 0 w 17"/>
                    <a:gd name="T3" fmla="*/ 20 h 47"/>
                    <a:gd name="T4" fmla="*/ 2 w 17"/>
                    <a:gd name="T5" fmla="*/ 23 h 47"/>
                    <a:gd name="T6" fmla="*/ 4 w 17"/>
                    <a:gd name="T7" fmla="*/ 20 h 47"/>
                    <a:gd name="T8" fmla="*/ 4 w 17"/>
                    <a:gd name="T9" fmla="*/ 7 h 47"/>
                    <a:gd name="T10" fmla="*/ 5 w 17"/>
                    <a:gd name="T11" fmla="*/ 7 h 47"/>
                    <a:gd name="T12" fmla="*/ 5 w 17"/>
                    <a:gd name="T13" fmla="*/ 44 h 47"/>
                    <a:gd name="T14" fmla="*/ 8 w 17"/>
                    <a:gd name="T15" fmla="*/ 47 h 47"/>
                    <a:gd name="T16" fmla="*/ 11 w 17"/>
                    <a:gd name="T17" fmla="*/ 44 h 47"/>
                    <a:gd name="T18" fmla="*/ 11 w 17"/>
                    <a:gd name="T19" fmla="*/ 23 h 47"/>
                    <a:gd name="T20" fmla="*/ 12 w 17"/>
                    <a:gd name="T21" fmla="*/ 23 h 47"/>
                    <a:gd name="T22" fmla="*/ 12 w 17"/>
                    <a:gd name="T23" fmla="*/ 44 h 47"/>
                    <a:gd name="T24" fmla="*/ 14 w 17"/>
                    <a:gd name="T25" fmla="*/ 47 h 47"/>
                    <a:gd name="T26" fmla="*/ 17 w 17"/>
                    <a:gd name="T27" fmla="*/ 44 h 47"/>
                    <a:gd name="T28" fmla="*/ 17 w 17"/>
                    <a:gd name="T29" fmla="*/ 12 h 47"/>
                    <a:gd name="T30" fmla="*/ 5 w 17"/>
                    <a:gd name="T31" fmla="*/ 0 h 47"/>
                    <a:gd name="T32" fmla="*/ 0 w 17"/>
                    <a:gd name="T33"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47">
                      <a:moveTo>
                        <a:pt x="0" y="6"/>
                      </a:move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7"/>
                        <a:pt x="8" y="47"/>
                      </a:cubicBezTo>
                      <a:cubicBezTo>
                        <a:pt x="9" y="47"/>
                        <a:pt x="11" y="45"/>
                        <a:pt x="11" y="44"/>
                      </a:cubicBezTo>
                      <a:cubicBezTo>
                        <a:pt x="11" y="41"/>
                        <a:pt x="11" y="23"/>
                        <a:pt x="11" y="23"/>
                      </a:cubicBezTo>
                      <a:cubicBezTo>
                        <a:pt x="11" y="23"/>
                        <a:pt x="11" y="23"/>
                        <a:pt x="12" y="23"/>
                      </a:cubicBezTo>
                      <a:cubicBezTo>
                        <a:pt x="12" y="23"/>
                        <a:pt x="12" y="41"/>
                        <a:pt x="12" y="44"/>
                      </a:cubicBezTo>
                      <a:cubicBezTo>
                        <a:pt x="12" y="45"/>
                        <a:pt x="13" y="47"/>
                        <a:pt x="14" y="47"/>
                      </a:cubicBezTo>
                      <a:cubicBezTo>
                        <a:pt x="16" y="47"/>
                        <a:pt x="17" y="45"/>
                        <a:pt x="17" y="44"/>
                      </a:cubicBezTo>
                      <a:cubicBezTo>
                        <a:pt x="17" y="42"/>
                        <a:pt x="17" y="22"/>
                        <a:pt x="17" y="12"/>
                      </a:cubicBezTo>
                      <a:cubicBezTo>
                        <a:pt x="15" y="9"/>
                        <a:pt x="11" y="5"/>
                        <a:pt x="5" y="0"/>
                      </a:cubicBezTo>
                      <a:cubicBezTo>
                        <a:pt x="2"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48" name="Freeform 560"/>
                <p:cNvSpPr>
                  <a:spLocks/>
                </p:cNvSpPr>
                <p:nvPr/>
              </p:nvSpPr>
              <p:spPr bwMode="auto">
                <a:xfrm>
                  <a:off x="12758" y="740"/>
                  <a:ext cx="10" cy="21"/>
                </a:xfrm>
                <a:custGeom>
                  <a:avLst/>
                  <a:gdLst>
                    <a:gd name="T0" fmla="*/ 2 w 4"/>
                    <a:gd name="T1" fmla="*/ 9 h 9"/>
                    <a:gd name="T2" fmla="*/ 4 w 4"/>
                    <a:gd name="T3" fmla="*/ 6 h 9"/>
                    <a:gd name="T4" fmla="*/ 4 w 4"/>
                    <a:gd name="T5" fmla="*/ 6 h 9"/>
                    <a:gd name="T6" fmla="*/ 0 w 4"/>
                    <a:gd name="T7" fmla="*/ 0 h 9"/>
                    <a:gd name="T8" fmla="*/ 0 w 4"/>
                    <a:gd name="T9" fmla="*/ 6 h 9"/>
                    <a:gd name="T10" fmla="*/ 2 w 4"/>
                    <a:gd name="T11" fmla="*/ 9 h 9"/>
                  </a:gdLst>
                  <a:ahLst/>
                  <a:cxnLst>
                    <a:cxn ang="0">
                      <a:pos x="T0" y="T1"/>
                    </a:cxn>
                    <a:cxn ang="0">
                      <a:pos x="T2" y="T3"/>
                    </a:cxn>
                    <a:cxn ang="0">
                      <a:pos x="T4" y="T5"/>
                    </a:cxn>
                    <a:cxn ang="0">
                      <a:pos x="T6" y="T7"/>
                    </a:cxn>
                    <a:cxn ang="0">
                      <a:pos x="T8" y="T9"/>
                    </a:cxn>
                    <a:cxn ang="0">
                      <a:pos x="T10" y="T11"/>
                    </a:cxn>
                  </a:cxnLst>
                  <a:rect l="0" t="0" r="r" b="b"/>
                  <a:pathLst>
                    <a:path w="4" h="9">
                      <a:moveTo>
                        <a:pt x="2" y="9"/>
                      </a:moveTo>
                      <a:cubicBezTo>
                        <a:pt x="3" y="9"/>
                        <a:pt x="4" y="8"/>
                        <a:pt x="4" y="6"/>
                      </a:cubicBezTo>
                      <a:cubicBezTo>
                        <a:pt x="4" y="6"/>
                        <a:pt x="4" y="6"/>
                        <a:pt x="4" y="6"/>
                      </a:cubicBezTo>
                      <a:cubicBezTo>
                        <a:pt x="3" y="4"/>
                        <a:pt x="1" y="2"/>
                        <a:pt x="0" y="0"/>
                      </a:cubicBezTo>
                      <a:cubicBezTo>
                        <a:pt x="0" y="3"/>
                        <a:pt x="0" y="6"/>
                        <a:pt x="0" y="6"/>
                      </a:cubicBezTo>
                      <a:cubicBezTo>
                        <a:pt x="0" y="8"/>
                        <a:pt x="1" y="9"/>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49" name="Freeform 561"/>
                <p:cNvSpPr>
                  <a:spLocks/>
                </p:cNvSpPr>
                <p:nvPr/>
              </p:nvSpPr>
              <p:spPr bwMode="auto">
                <a:xfrm>
                  <a:off x="13087" y="856"/>
                  <a:ext cx="41" cy="109"/>
                </a:xfrm>
                <a:custGeom>
                  <a:avLst/>
                  <a:gdLst>
                    <a:gd name="T0" fmla="*/ 0 w 17"/>
                    <a:gd name="T1" fmla="*/ 5 h 46"/>
                    <a:gd name="T2" fmla="*/ 0 w 17"/>
                    <a:gd name="T3" fmla="*/ 20 h 46"/>
                    <a:gd name="T4" fmla="*/ 2 w 17"/>
                    <a:gd name="T5" fmla="*/ 22 h 46"/>
                    <a:gd name="T6" fmla="*/ 4 w 17"/>
                    <a:gd name="T7" fmla="*/ 20 h 46"/>
                    <a:gd name="T8" fmla="*/ 4 w 17"/>
                    <a:gd name="T9" fmla="*/ 7 h 46"/>
                    <a:gd name="T10" fmla="*/ 5 w 17"/>
                    <a:gd name="T11" fmla="*/ 7 h 46"/>
                    <a:gd name="T12" fmla="*/ 5 w 17"/>
                    <a:gd name="T13" fmla="*/ 43 h 46"/>
                    <a:gd name="T14" fmla="*/ 8 w 17"/>
                    <a:gd name="T15" fmla="*/ 46 h 46"/>
                    <a:gd name="T16" fmla="*/ 10 w 17"/>
                    <a:gd name="T17" fmla="*/ 43 h 46"/>
                    <a:gd name="T18" fmla="*/ 10 w 17"/>
                    <a:gd name="T19" fmla="*/ 22 h 46"/>
                    <a:gd name="T20" fmla="*/ 11 w 17"/>
                    <a:gd name="T21" fmla="*/ 22 h 46"/>
                    <a:gd name="T22" fmla="*/ 11 w 17"/>
                    <a:gd name="T23" fmla="*/ 43 h 46"/>
                    <a:gd name="T24" fmla="*/ 14 w 17"/>
                    <a:gd name="T25" fmla="*/ 46 h 46"/>
                    <a:gd name="T26" fmla="*/ 17 w 17"/>
                    <a:gd name="T27" fmla="*/ 43 h 46"/>
                    <a:gd name="T28" fmla="*/ 17 w 17"/>
                    <a:gd name="T29" fmla="*/ 8 h 46"/>
                    <a:gd name="T30" fmla="*/ 4 w 17"/>
                    <a:gd name="T31" fmla="*/ 0 h 46"/>
                    <a:gd name="T32" fmla="*/ 0 w 17"/>
                    <a:gd name="T3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46">
                      <a:moveTo>
                        <a:pt x="0" y="5"/>
                      </a:moveTo>
                      <a:cubicBezTo>
                        <a:pt x="0" y="7"/>
                        <a:pt x="0" y="19"/>
                        <a:pt x="0" y="20"/>
                      </a:cubicBezTo>
                      <a:cubicBezTo>
                        <a:pt x="0" y="21"/>
                        <a:pt x="0" y="22"/>
                        <a:pt x="2" y="22"/>
                      </a:cubicBezTo>
                      <a:cubicBezTo>
                        <a:pt x="3" y="22"/>
                        <a:pt x="4" y="21"/>
                        <a:pt x="4" y="20"/>
                      </a:cubicBezTo>
                      <a:cubicBezTo>
                        <a:pt x="4" y="19"/>
                        <a:pt x="4" y="7"/>
                        <a:pt x="4" y="7"/>
                      </a:cubicBezTo>
                      <a:cubicBezTo>
                        <a:pt x="4" y="7"/>
                        <a:pt x="4" y="7"/>
                        <a:pt x="5" y="7"/>
                      </a:cubicBezTo>
                      <a:cubicBezTo>
                        <a:pt x="5" y="7"/>
                        <a:pt x="5" y="41"/>
                        <a:pt x="5" y="43"/>
                      </a:cubicBezTo>
                      <a:cubicBezTo>
                        <a:pt x="5" y="45"/>
                        <a:pt x="6" y="46"/>
                        <a:pt x="8" y="46"/>
                      </a:cubicBezTo>
                      <a:cubicBezTo>
                        <a:pt x="9" y="46"/>
                        <a:pt x="10" y="45"/>
                        <a:pt x="10" y="43"/>
                      </a:cubicBezTo>
                      <a:cubicBezTo>
                        <a:pt x="10" y="41"/>
                        <a:pt x="10" y="22"/>
                        <a:pt x="10" y="22"/>
                      </a:cubicBezTo>
                      <a:cubicBezTo>
                        <a:pt x="10" y="22"/>
                        <a:pt x="10" y="22"/>
                        <a:pt x="11" y="22"/>
                      </a:cubicBezTo>
                      <a:cubicBezTo>
                        <a:pt x="11" y="22"/>
                        <a:pt x="11" y="41"/>
                        <a:pt x="11" y="43"/>
                      </a:cubicBezTo>
                      <a:cubicBezTo>
                        <a:pt x="11" y="45"/>
                        <a:pt x="13" y="46"/>
                        <a:pt x="14" y="46"/>
                      </a:cubicBezTo>
                      <a:cubicBezTo>
                        <a:pt x="16" y="46"/>
                        <a:pt x="17" y="45"/>
                        <a:pt x="17" y="43"/>
                      </a:cubicBezTo>
                      <a:cubicBezTo>
                        <a:pt x="17" y="41"/>
                        <a:pt x="17" y="15"/>
                        <a:pt x="17" y="8"/>
                      </a:cubicBezTo>
                      <a:cubicBezTo>
                        <a:pt x="8" y="6"/>
                        <a:pt x="8" y="10"/>
                        <a:pt x="4" y="0"/>
                      </a:cubicBezTo>
                      <a:cubicBezTo>
                        <a:pt x="1" y="1"/>
                        <a:pt x="0" y="3"/>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50" name="Freeform 562"/>
                <p:cNvSpPr>
                  <a:spLocks/>
                </p:cNvSpPr>
                <p:nvPr/>
              </p:nvSpPr>
              <p:spPr bwMode="auto">
                <a:xfrm>
                  <a:off x="12687" y="721"/>
                  <a:ext cx="19" cy="35"/>
                </a:xfrm>
                <a:custGeom>
                  <a:avLst/>
                  <a:gdLst>
                    <a:gd name="T0" fmla="*/ 2 w 8"/>
                    <a:gd name="T1" fmla="*/ 14 h 15"/>
                    <a:gd name="T2" fmla="*/ 4 w 8"/>
                    <a:gd name="T3" fmla="*/ 13 h 15"/>
                    <a:gd name="T4" fmla="*/ 8 w 8"/>
                    <a:gd name="T5" fmla="*/ 0 h 15"/>
                    <a:gd name="T6" fmla="*/ 2 w 8"/>
                    <a:gd name="T7" fmla="*/ 6 h 15"/>
                    <a:gd name="T8" fmla="*/ 0 w 8"/>
                    <a:gd name="T9" fmla="*/ 12 h 15"/>
                    <a:gd name="T10" fmla="*/ 2 w 8"/>
                    <a:gd name="T11" fmla="*/ 14 h 15"/>
                  </a:gdLst>
                  <a:ahLst/>
                  <a:cxnLst>
                    <a:cxn ang="0">
                      <a:pos x="T0" y="T1"/>
                    </a:cxn>
                    <a:cxn ang="0">
                      <a:pos x="T2" y="T3"/>
                    </a:cxn>
                    <a:cxn ang="0">
                      <a:pos x="T4" y="T5"/>
                    </a:cxn>
                    <a:cxn ang="0">
                      <a:pos x="T6" y="T7"/>
                    </a:cxn>
                    <a:cxn ang="0">
                      <a:pos x="T8" y="T9"/>
                    </a:cxn>
                    <a:cxn ang="0">
                      <a:pos x="T10" y="T11"/>
                    </a:cxn>
                  </a:cxnLst>
                  <a:rect l="0" t="0" r="r" b="b"/>
                  <a:pathLst>
                    <a:path w="8" h="15">
                      <a:moveTo>
                        <a:pt x="2" y="14"/>
                      </a:moveTo>
                      <a:cubicBezTo>
                        <a:pt x="3" y="15"/>
                        <a:pt x="4" y="14"/>
                        <a:pt x="4" y="13"/>
                      </a:cubicBezTo>
                      <a:cubicBezTo>
                        <a:pt x="4" y="12"/>
                        <a:pt x="7" y="2"/>
                        <a:pt x="8" y="0"/>
                      </a:cubicBezTo>
                      <a:cubicBezTo>
                        <a:pt x="6" y="2"/>
                        <a:pt x="4" y="3"/>
                        <a:pt x="2" y="6"/>
                      </a:cubicBezTo>
                      <a:cubicBezTo>
                        <a:pt x="1" y="9"/>
                        <a:pt x="1" y="12"/>
                        <a:pt x="0" y="12"/>
                      </a:cubicBezTo>
                      <a:cubicBezTo>
                        <a:pt x="0" y="13"/>
                        <a:pt x="1" y="14"/>
                        <a:pt x="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51" name="Freeform 563"/>
                <p:cNvSpPr>
                  <a:spLocks/>
                </p:cNvSpPr>
                <p:nvPr/>
              </p:nvSpPr>
              <p:spPr bwMode="auto">
                <a:xfrm>
                  <a:off x="12694" y="711"/>
                  <a:ext cx="57" cy="107"/>
                </a:xfrm>
                <a:custGeom>
                  <a:avLst/>
                  <a:gdLst>
                    <a:gd name="T0" fmla="*/ 5 w 24"/>
                    <a:gd name="T1" fmla="*/ 4 h 45"/>
                    <a:gd name="T2" fmla="*/ 5 w 24"/>
                    <a:gd name="T3" fmla="*/ 4 h 45"/>
                    <a:gd name="T4" fmla="*/ 6 w 24"/>
                    <a:gd name="T5" fmla="*/ 4 h 45"/>
                    <a:gd name="T6" fmla="*/ 0 w 24"/>
                    <a:gd name="T7" fmla="*/ 26 h 45"/>
                    <a:gd name="T8" fmla="*/ 6 w 24"/>
                    <a:gd name="T9" fmla="*/ 26 h 45"/>
                    <a:gd name="T10" fmla="*/ 6 w 24"/>
                    <a:gd name="T11" fmla="*/ 42 h 45"/>
                    <a:gd name="T12" fmla="*/ 8 w 24"/>
                    <a:gd name="T13" fmla="*/ 45 h 45"/>
                    <a:gd name="T14" fmla="*/ 10 w 24"/>
                    <a:gd name="T15" fmla="*/ 42 h 45"/>
                    <a:gd name="T16" fmla="*/ 10 w 24"/>
                    <a:gd name="T17" fmla="*/ 26 h 45"/>
                    <a:gd name="T18" fmla="*/ 11 w 24"/>
                    <a:gd name="T19" fmla="*/ 26 h 45"/>
                    <a:gd name="T20" fmla="*/ 11 w 24"/>
                    <a:gd name="T21" fmla="*/ 42 h 45"/>
                    <a:gd name="T22" fmla="*/ 14 w 24"/>
                    <a:gd name="T23" fmla="*/ 45 h 45"/>
                    <a:gd name="T24" fmla="*/ 16 w 24"/>
                    <a:gd name="T25" fmla="*/ 42 h 45"/>
                    <a:gd name="T26" fmla="*/ 16 w 24"/>
                    <a:gd name="T27" fmla="*/ 26 h 45"/>
                    <a:gd name="T28" fmla="*/ 22 w 24"/>
                    <a:gd name="T29" fmla="*/ 26 h 45"/>
                    <a:gd name="T30" fmla="*/ 16 w 24"/>
                    <a:gd name="T31" fmla="*/ 4 h 45"/>
                    <a:gd name="T32" fmla="*/ 17 w 24"/>
                    <a:gd name="T33" fmla="*/ 4 h 45"/>
                    <a:gd name="T34" fmla="*/ 20 w 24"/>
                    <a:gd name="T35" fmla="*/ 17 h 45"/>
                    <a:gd name="T36" fmla="*/ 23 w 24"/>
                    <a:gd name="T37" fmla="*/ 18 h 45"/>
                    <a:gd name="T38" fmla="*/ 24 w 24"/>
                    <a:gd name="T39" fmla="*/ 16 h 45"/>
                    <a:gd name="T40" fmla="*/ 20 w 24"/>
                    <a:gd name="T41" fmla="*/ 3 h 45"/>
                    <a:gd name="T42" fmla="*/ 5 w 24"/>
                    <a:gd name="T43" fmla="*/ 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45">
                      <a:moveTo>
                        <a:pt x="5" y="4"/>
                      </a:moveTo>
                      <a:cubicBezTo>
                        <a:pt x="5" y="4"/>
                        <a:pt x="5" y="4"/>
                        <a:pt x="5" y="4"/>
                      </a:cubicBezTo>
                      <a:cubicBezTo>
                        <a:pt x="6" y="4"/>
                        <a:pt x="6" y="4"/>
                        <a:pt x="6" y="4"/>
                      </a:cubicBezTo>
                      <a:cubicBezTo>
                        <a:pt x="0" y="26"/>
                        <a:pt x="0" y="26"/>
                        <a:pt x="0" y="26"/>
                      </a:cubicBezTo>
                      <a:cubicBezTo>
                        <a:pt x="6" y="26"/>
                        <a:pt x="6" y="26"/>
                        <a:pt x="6" y="26"/>
                      </a:cubicBezTo>
                      <a:cubicBezTo>
                        <a:pt x="6" y="34"/>
                        <a:pt x="6" y="41"/>
                        <a:pt x="6" y="42"/>
                      </a:cubicBezTo>
                      <a:cubicBezTo>
                        <a:pt x="6" y="44"/>
                        <a:pt x="7" y="45"/>
                        <a:pt x="8" y="45"/>
                      </a:cubicBezTo>
                      <a:cubicBezTo>
                        <a:pt x="9" y="45"/>
                        <a:pt x="10" y="44"/>
                        <a:pt x="10" y="42"/>
                      </a:cubicBezTo>
                      <a:cubicBezTo>
                        <a:pt x="10" y="41"/>
                        <a:pt x="10" y="26"/>
                        <a:pt x="10" y="26"/>
                      </a:cubicBezTo>
                      <a:cubicBezTo>
                        <a:pt x="11" y="26"/>
                        <a:pt x="11" y="26"/>
                        <a:pt x="11" y="26"/>
                      </a:cubicBezTo>
                      <a:cubicBezTo>
                        <a:pt x="11" y="26"/>
                        <a:pt x="11" y="41"/>
                        <a:pt x="11" y="42"/>
                      </a:cubicBezTo>
                      <a:cubicBezTo>
                        <a:pt x="11" y="44"/>
                        <a:pt x="12" y="45"/>
                        <a:pt x="14" y="45"/>
                      </a:cubicBezTo>
                      <a:cubicBezTo>
                        <a:pt x="15" y="45"/>
                        <a:pt x="16" y="44"/>
                        <a:pt x="16" y="42"/>
                      </a:cubicBezTo>
                      <a:cubicBezTo>
                        <a:pt x="16" y="41"/>
                        <a:pt x="16" y="34"/>
                        <a:pt x="16" y="26"/>
                      </a:cubicBezTo>
                      <a:cubicBezTo>
                        <a:pt x="22" y="26"/>
                        <a:pt x="22" y="26"/>
                        <a:pt x="22" y="26"/>
                      </a:cubicBezTo>
                      <a:cubicBezTo>
                        <a:pt x="16" y="4"/>
                        <a:pt x="16" y="4"/>
                        <a:pt x="16" y="4"/>
                      </a:cubicBezTo>
                      <a:cubicBezTo>
                        <a:pt x="17" y="4"/>
                        <a:pt x="17" y="4"/>
                        <a:pt x="17" y="4"/>
                      </a:cubicBezTo>
                      <a:cubicBezTo>
                        <a:pt x="17" y="4"/>
                        <a:pt x="20" y="16"/>
                        <a:pt x="20" y="17"/>
                      </a:cubicBezTo>
                      <a:cubicBezTo>
                        <a:pt x="21" y="18"/>
                        <a:pt x="22" y="19"/>
                        <a:pt x="23" y="18"/>
                      </a:cubicBezTo>
                      <a:cubicBezTo>
                        <a:pt x="24" y="18"/>
                        <a:pt x="24" y="17"/>
                        <a:pt x="24" y="16"/>
                      </a:cubicBezTo>
                      <a:cubicBezTo>
                        <a:pt x="24" y="16"/>
                        <a:pt x="22" y="9"/>
                        <a:pt x="20" y="3"/>
                      </a:cubicBezTo>
                      <a:cubicBezTo>
                        <a:pt x="17" y="0"/>
                        <a:pt x="13" y="0"/>
                        <a:pt x="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52" name="Freeform 564"/>
                <p:cNvSpPr>
                  <a:spLocks/>
                </p:cNvSpPr>
                <p:nvPr/>
              </p:nvSpPr>
              <p:spPr bwMode="auto">
                <a:xfrm>
                  <a:off x="12668" y="808"/>
                  <a:ext cx="0" cy="5"/>
                </a:xfrm>
                <a:custGeom>
                  <a:avLst/>
                  <a:gdLst>
                    <a:gd name="T0" fmla="*/ 0 h 2"/>
                    <a:gd name="T1" fmla="*/ 2 h 2"/>
                    <a:gd name="T2" fmla="*/ 1 h 2"/>
                    <a:gd name="T3" fmla="*/ 0 h 2"/>
                  </a:gdLst>
                  <a:ahLst/>
                  <a:cxnLst>
                    <a:cxn ang="0">
                      <a:pos x="0" y="T0"/>
                    </a:cxn>
                    <a:cxn ang="0">
                      <a:pos x="0" y="T1"/>
                    </a:cxn>
                    <a:cxn ang="0">
                      <a:pos x="0" y="T2"/>
                    </a:cxn>
                    <a:cxn ang="0">
                      <a:pos x="0" y="T3"/>
                    </a:cxn>
                  </a:cxnLst>
                  <a:rect l="0" t="0" r="r" b="b"/>
                  <a:pathLst>
                    <a:path h="2">
                      <a:moveTo>
                        <a:pt x="0" y="0"/>
                      </a:moveTo>
                      <a:cubicBezTo>
                        <a:pt x="0" y="1"/>
                        <a:pt x="0" y="1"/>
                        <a:pt x="0" y="2"/>
                      </a:cubicBezTo>
                      <a:cubicBezTo>
                        <a:pt x="0" y="1"/>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53" name="Freeform 565"/>
                <p:cNvSpPr>
                  <a:spLocks/>
                </p:cNvSpPr>
                <p:nvPr/>
              </p:nvSpPr>
              <p:spPr bwMode="auto">
                <a:xfrm>
                  <a:off x="12950" y="1000"/>
                  <a:ext cx="64" cy="111"/>
                </a:xfrm>
                <a:custGeom>
                  <a:avLst/>
                  <a:gdLst>
                    <a:gd name="T0" fmla="*/ 1 w 27"/>
                    <a:gd name="T1" fmla="*/ 21 h 47"/>
                    <a:gd name="T2" fmla="*/ 4 w 27"/>
                    <a:gd name="T3" fmla="*/ 20 h 47"/>
                    <a:gd name="T4" fmla="*/ 8 w 27"/>
                    <a:gd name="T5" fmla="*/ 7 h 47"/>
                    <a:gd name="T6" fmla="*/ 9 w 27"/>
                    <a:gd name="T7" fmla="*/ 7 h 47"/>
                    <a:gd name="T8" fmla="*/ 2 w 27"/>
                    <a:gd name="T9" fmla="*/ 28 h 47"/>
                    <a:gd name="T10" fmla="*/ 8 w 27"/>
                    <a:gd name="T11" fmla="*/ 28 h 47"/>
                    <a:gd name="T12" fmla="*/ 8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9 w 27"/>
                    <a:gd name="T27" fmla="*/ 45 h 47"/>
                    <a:gd name="T28" fmla="*/ 19 w 27"/>
                    <a:gd name="T29" fmla="*/ 28 h 47"/>
                    <a:gd name="T30" fmla="*/ 25 w 27"/>
                    <a:gd name="T31" fmla="*/ 28 h 47"/>
                    <a:gd name="T32" fmla="*/ 18 w 27"/>
                    <a:gd name="T33" fmla="*/ 7 h 47"/>
                    <a:gd name="T34" fmla="*/ 19 w 27"/>
                    <a:gd name="T35" fmla="*/ 7 h 47"/>
                    <a:gd name="T36" fmla="*/ 23 w 27"/>
                    <a:gd name="T37" fmla="*/ 20 h 47"/>
                    <a:gd name="T38" fmla="*/ 26 w 27"/>
                    <a:gd name="T39" fmla="*/ 21 h 47"/>
                    <a:gd name="T40" fmla="*/ 27 w 27"/>
                    <a:gd name="T41" fmla="*/ 18 h 47"/>
                    <a:gd name="T42" fmla="*/ 23 w 27"/>
                    <a:gd name="T43" fmla="*/ 5 h 47"/>
                    <a:gd name="T44" fmla="*/ 17 w 27"/>
                    <a:gd name="T45" fmla="*/ 0 h 47"/>
                    <a:gd name="T46" fmla="*/ 10 w 27"/>
                    <a:gd name="T47" fmla="*/ 0 h 47"/>
                    <a:gd name="T48" fmla="*/ 4 w 27"/>
                    <a:gd name="T49" fmla="*/ 5 h 47"/>
                    <a:gd name="T50" fmla="*/ 0 w 27"/>
                    <a:gd name="T51" fmla="*/ 18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4" y="20"/>
                        <a:pt x="4" y="20"/>
                      </a:cubicBezTo>
                      <a:cubicBezTo>
                        <a:pt x="4" y="18"/>
                        <a:pt x="8" y="7"/>
                        <a:pt x="8"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19" y="7"/>
                        <a:pt x="19" y="7"/>
                        <a:pt x="19" y="7"/>
                      </a:cubicBezTo>
                      <a:cubicBezTo>
                        <a:pt x="19" y="7"/>
                        <a:pt x="23" y="18"/>
                        <a:pt x="23" y="20"/>
                      </a:cubicBezTo>
                      <a:cubicBezTo>
                        <a:pt x="24" y="20"/>
                        <a:pt x="25" y="21"/>
                        <a:pt x="26" y="21"/>
                      </a:cubicBezTo>
                      <a:cubicBezTo>
                        <a:pt x="26" y="20"/>
                        <a:pt x="27" y="19"/>
                        <a:pt x="27" y="18"/>
                      </a:cubicBezTo>
                      <a:cubicBezTo>
                        <a:pt x="26" y="18"/>
                        <a:pt x="24" y="10"/>
                        <a:pt x="23" y="5"/>
                      </a:cubicBezTo>
                      <a:cubicBezTo>
                        <a:pt x="22" y="2"/>
                        <a:pt x="20" y="0"/>
                        <a:pt x="17" y="0"/>
                      </a:cubicBezTo>
                      <a:cubicBezTo>
                        <a:pt x="16" y="0"/>
                        <a:pt x="11" y="0"/>
                        <a:pt x="10" y="0"/>
                      </a:cubicBezTo>
                      <a:cubicBezTo>
                        <a:pt x="7" y="0"/>
                        <a:pt x="5" y="2"/>
                        <a:pt x="4" y="5"/>
                      </a:cubicBezTo>
                      <a:cubicBezTo>
                        <a:pt x="3" y="10"/>
                        <a:pt x="0" y="18"/>
                        <a:pt x="0" y="18"/>
                      </a:cubicBezTo>
                      <a:cubicBezTo>
                        <a:pt x="0" y="19"/>
                        <a:pt x="0" y="20"/>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54" name="Freeform 566"/>
                <p:cNvSpPr>
                  <a:spLocks/>
                </p:cNvSpPr>
                <p:nvPr/>
              </p:nvSpPr>
              <p:spPr bwMode="auto">
                <a:xfrm>
                  <a:off x="12623" y="853"/>
                  <a:ext cx="64" cy="112"/>
                </a:xfrm>
                <a:custGeom>
                  <a:avLst/>
                  <a:gdLst>
                    <a:gd name="T0" fmla="*/ 0 w 27"/>
                    <a:gd name="T1" fmla="*/ 19 h 47"/>
                    <a:gd name="T2" fmla="*/ 1 w 27"/>
                    <a:gd name="T3" fmla="*/ 21 h 47"/>
                    <a:gd name="T4" fmla="*/ 3 w 27"/>
                    <a:gd name="T5" fmla="*/ 20 h 47"/>
                    <a:gd name="T6" fmla="*/ 7 w 27"/>
                    <a:gd name="T7" fmla="*/ 7 h 47"/>
                    <a:gd name="T8" fmla="*/ 8 w 27"/>
                    <a:gd name="T9" fmla="*/ 7 h 47"/>
                    <a:gd name="T10" fmla="*/ 2 w 27"/>
                    <a:gd name="T11" fmla="*/ 28 h 47"/>
                    <a:gd name="T12" fmla="*/ 8 w 27"/>
                    <a:gd name="T13" fmla="*/ 28 h 47"/>
                    <a:gd name="T14" fmla="*/ 8 w 27"/>
                    <a:gd name="T15" fmla="*/ 45 h 47"/>
                    <a:gd name="T16" fmla="*/ 10 w 27"/>
                    <a:gd name="T17" fmla="*/ 47 h 47"/>
                    <a:gd name="T18" fmla="*/ 13 w 27"/>
                    <a:gd name="T19" fmla="*/ 45 h 47"/>
                    <a:gd name="T20" fmla="*/ 13 w 27"/>
                    <a:gd name="T21" fmla="*/ 28 h 47"/>
                    <a:gd name="T22" fmla="*/ 14 w 27"/>
                    <a:gd name="T23" fmla="*/ 28 h 47"/>
                    <a:gd name="T24" fmla="*/ 14 w 27"/>
                    <a:gd name="T25" fmla="*/ 45 h 47"/>
                    <a:gd name="T26" fmla="*/ 16 w 27"/>
                    <a:gd name="T27" fmla="*/ 47 h 47"/>
                    <a:gd name="T28" fmla="*/ 18 w 27"/>
                    <a:gd name="T29" fmla="*/ 45 h 47"/>
                    <a:gd name="T30" fmla="*/ 18 w 27"/>
                    <a:gd name="T31" fmla="*/ 28 h 47"/>
                    <a:gd name="T32" fmla="*/ 24 w 27"/>
                    <a:gd name="T33" fmla="*/ 28 h 47"/>
                    <a:gd name="T34" fmla="*/ 18 w 27"/>
                    <a:gd name="T35" fmla="*/ 7 h 47"/>
                    <a:gd name="T36" fmla="*/ 19 w 27"/>
                    <a:gd name="T37" fmla="*/ 7 h 47"/>
                    <a:gd name="T38" fmla="*/ 23 w 27"/>
                    <a:gd name="T39" fmla="*/ 20 h 47"/>
                    <a:gd name="T40" fmla="*/ 25 w 27"/>
                    <a:gd name="T41" fmla="*/ 21 h 47"/>
                    <a:gd name="T42" fmla="*/ 26 w 27"/>
                    <a:gd name="T43" fmla="*/ 19 h 47"/>
                    <a:gd name="T44" fmla="*/ 22 w 27"/>
                    <a:gd name="T45" fmla="*/ 5 h 47"/>
                    <a:gd name="T46" fmla="*/ 17 w 27"/>
                    <a:gd name="T47" fmla="*/ 0 h 47"/>
                    <a:gd name="T48" fmla="*/ 17 w 27"/>
                    <a:gd name="T49" fmla="*/ 9 h 47"/>
                    <a:gd name="T50" fmla="*/ 10 w 27"/>
                    <a:gd name="T51" fmla="*/ 3 h 47"/>
                    <a:gd name="T52" fmla="*/ 5 w 27"/>
                    <a:gd name="T53" fmla="*/ 3 h 47"/>
                    <a:gd name="T54" fmla="*/ 4 w 27"/>
                    <a:gd name="T55" fmla="*/ 5 h 47"/>
                    <a:gd name="T56" fmla="*/ 0 w 27"/>
                    <a:gd name="T57"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 h="47">
                      <a:moveTo>
                        <a:pt x="0" y="19"/>
                      </a:moveTo>
                      <a:cubicBezTo>
                        <a:pt x="0" y="20"/>
                        <a:pt x="0" y="21"/>
                        <a:pt x="1" y="21"/>
                      </a:cubicBez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3"/>
                        <a:pt x="19" y="1"/>
                        <a:pt x="17" y="0"/>
                      </a:cubicBezTo>
                      <a:cubicBezTo>
                        <a:pt x="17" y="4"/>
                        <a:pt x="17" y="7"/>
                        <a:pt x="17" y="9"/>
                      </a:cubicBezTo>
                      <a:cubicBezTo>
                        <a:pt x="10" y="3"/>
                        <a:pt x="10" y="3"/>
                        <a:pt x="10" y="3"/>
                      </a:cubicBezTo>
                      <a:cubicBezTo>
                        <a:pt x="8" y="3"/>
                        <a:pt x="6" y="3"/>
                        <a:pt x="5" y="3"/>
                      </a:cubicBezTo>
                      <a:cubicBezTo>
                        <a:pt x="4" y="4"/>
                        <a:pt x="4" y="4"/>
                        <a:pt x="4" y="5"/>
                      </a:cubicBezTo>
                      <a:cubicBezTo>
                        <a:pt x="2" y="11"/>
                        <a:pt x="0" y="18"/>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55" name="Freeform 567"/>
                <p:cNvSpPr>
                  <a:spLocks/>
                </p:cNvSpPr>
                <p:nvPr/>
              </p:nvSpPr>
              <p:spPr bwMode="auto">
                <a:xfrm>
                  <a:off x="13064" y="740"/>
                  <a:ext cx="9" cy="21"/>
                </a:xfrm>
                <a:custGeom>
                  <a:avLst/>
                  <a:gdLst>
                    <a:gd name="T0" fmla="*/ 0 w 4"/>
                    <a:gd name="T1" fmla="*/ 0 h 9"/>
                    <a:gd name="T2" fmla="*/ 0 w 4"/>
                    <a:gd name="T3" fmla="*/ 6 h 9"/>
                    <a:gd name="T4" fmla="*/ 2 w 4"/>
                    <a:gd name="T5" fmla="*/ 9 h 9"/>
                    <a:gd name="T6" fmla="*/ 4 w 4"/>
                    <a:gd name="T7" fmla="*/ 7 h 9"/>
                    <a:gd name="T8" fmla="*/ 0 w 4"/>
                    <a:gd name="T9" fmla="*/ 0 h 9"/>
                    <a:gd name="T10" fmla="*/ 0 w 4"/>
                    <a:gd name="T11" fmla="*/ 0 h 9"/>
                  </a:gdLst>
                  <a:ahLst/>
                  <a:cxnLst>
                    <a:cxn ang="0">
                      <a:pos x="T0" y="T1"/>
                    </a:cxn>
                    <a:cxn ang="0">
                      <a:pos x="T2" y="T3"/>
                    </a:cxn>
                    <a:cxn ang="0">
                      <a:pos x="T4" y="T5"/>
                    </a:cxn>
                    <a:cxn ang="0">
                      <a:pos x="T6" y="T7"/>
                    </a:cxn>
                    <a:cxn ang="0">
                      <a:pos x="T8" y="T9"/>
                    </a:cxn>
                    <a:cxn ang="0">
                      <a:pos x="T10" y="T11"/>
                    </a:cxn>
                  </a:cxnLst>
                  <a:rect l="0" t="0" r="r" b="b"/>
                  <a:pathLst>
                    <a:path w="4" h="9">
                      <a:moveTo>
                        <a:pt x="0" y="0"/>
                      </a:moveTo>
                      <a:cubicBezTo>
                        <a:pt x="0" y="3"/>
                        <a:pt x="0" y="6"/>
                        <a:pt x="0" y="6"/>
                      </a:cubicBezTo>
                      <a:cubicBezTo>
                        <a:pt x="0" y="8"/>
                        <a:pt x="1" y="9"/>
                        <a:pt x="2" y="9"/>
                      </a:cubicBezTo>
                      <a:cubicBezTo>
                        <a:pt x="3" y="9"/>
                        <a:pt x="4" y="8"/>
                        <a:pt x="4" y="7"/>
                      </a:cubicBezTo>
                      <a:cubicBezTo>
                        <a:pt x="3" y="5"/>
                        <a:pt x="2" y="2"/>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56" name="Oval 568"/>
                <p:cNvSpPr>
                  <a:spLocks noChangeArrowheads="1"/>
                </p:cNvSpPr>
                <p:nvPr/>
              </p:nvSpPr>
              <p:spPr bwMode="auto">
                <a:xfrm>
                  <a:off x="12775"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57" name="Oval 569"/>
                <p:cNvSpPr>
                  <a:spLocks noChangeArrowheads="1"/>
                </p:cNvSpPr>
                <p:nvPr/>
              </p:nvSpPr>
              <p:spPr bwMode="auto">
                <a:xfrm>
                  <a:off x="12709" y="830"/>
                  <a:ext cx="23"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58" name="Freeform 570"/>
                <p:cNvSpPr>
                  <a:spLocks/>
                </p:cNvSpPr>
                <p:nvPr/>
              </p:nvSpPr>
              <p:spPr bwMode="auto">
                <a:xfrm>
                  <a:off x="12692" y="853"/>
                  <a:ext cx="55" cy="112"/>
                </a:xfrm>
                <a:custGeom>
                  <a:avLst/>
                  <a:gdLst>
                    <a:gd name="T0" fmla="*/ 2 w 23"/>
                    <a:gd name="T1" fmla="*/ 23 h 47"/>
                    <a:gd name="T2" fmla="*/ 5 w 23"/>
                    <a:gd name="T3" fmla="*/ 21 h 47"/>
                    <a:gd name="T4" fmla="*/ 5 w 23"/>
                    <a:gd name="T5" fmla="*/ 8 h 47"/>
                    <a:gd name="T6" fmla="*/ 6 w 23"/>
                    <a:gd name="T7" fmla="*/ 8 h 47"/>
                    <a:gd name="T8" fmla="*/ 6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8 h 47"/>
                    <a:gd name="T26" fmla="*/ 19 w 23"/>
                    <a:gd name="T27" fmla="*/ 8 h 47"/>
                    <a:gd name="T28" fmla="*/ 19 w 23"/>
                    <a:gd name="T29" fmla="*/ 21 h 47"/>
                    <a:gd name="T30" fmla="*/ 21 w 23"/>
                    <a:gd name="T31" fmla="*/ 23 h 47"/>
                    <a:gd name="T32" fmla="*/ 23 w 23"/>
                    <a:gd name="T33" fmla="*/ 21 h 47"/>
                    <a:gd name="T34" fmla="*/ 23 w 23"/>
                    <a:gd name="T35" fmla="*/ 6 h 47"/>
                    <a:gd name="T36" fmla="*/ 17 w 23"/>
                    <a:gd name="T37" fmla="*/ 0 h 47"/>
                    <a:gd name="T38" fmla="*/ 7 w 23"/>
                    <a:gd name="T39" fmla="*/ 0 h 47"/>
                    <a:gd name="T40" fmla="*/ 0 w 23"/>
                    <a:gd name="T41" fmla="*/ 6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7" y="0"/>
                      </a:cubicBezTo>
                      <a:cubicBezTo>
                        <a:pt x="3"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59" name="Freeform 571"/>
                <p:cNvSpPr>
                  <a:spLocks/>
                </p:cNvSpPr>
                <p:nvPr/>
              </p:nvSpPr>
              <p:spPr bwMode="auto">
                <a:xfrm>
                  <a:off x="12754" y="853"/>
                  <a:ext cx="64" cy="112"/>
                </a:xfrm>
                <a:custGeom>
                  <a:avLst/>
                  <a:gdLst>
                    <a:gd name="T0" fmla="*/ 1 w 27"/>
                    <a:gd name="T1" fmla="*/ 21 h 47"/>
                    <a:gd name="T2" fmla="*/ 4 w 27"/>
                    <a:gd name="T3" fmla="*/ 20 h 47"/>
                    <a:gd name="T4" fmla="*/ 8 w 27"/>
                    <a:gd name="T5" fmla="*/ 7 h 47"/>
                    <a:gd name="T6" fmla="*/ 9 w 27"/>
                    <a:gd name="T7" fmla="*/ 7 h 47"/>
                    <a:gd name="T8" fmla="*/ 2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9 w 27"/>
                    <a:gd name="T27" fmla="*/ 45 h 47"/>
                    <a:gd name="T28" fmla="*/ 19 w 27"/>
                    <a:gd name="T29" fmla="*/ 28 h 47"/>
                    <a:gd name="T30" fmla="*/ 25 w 27"/>
                    <a:gd name="T31" fmla="*/ 28 h 47"/>
                    <a:gd name="T32" fmla="*/ 18 w 27"/>
                    <a:gd name="T33" fmla="*/ 7 h 47"/>
                    <a:gd name="T34" fmla="*/ 19 w 27"/>
                    <a:gd name="T35" fmla="*/ 7 h 47"/>
                    <a:gd name="T36" fmla="*/ 23 w 27"/>
                    <a:gd name="T37" fmla="*/ 20 h 47"/>
                    <a:gd name="T38" fmla="*/ 25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3"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60" name="Freeform 572"/>
                <p:cNvSpPr>
                  <a:spLocks/>
                </p:cNvSpPr>
                <p:nvPr/>
              </p:nvSpPr>
              <p:spPr bwMode="auto">
                <a:xfrm>
                  <a:off x="12758" y="1000"/>
                  <a:ext cx="55" cy="111"/>
                </a:xfrm>
                <a:custGeom>
                  <a:avLst/>
                  <a:gdLst>
                    <a:gd name="T0" fmla="*/ 0 w 23"/>
                    <a:gd name="T1" fmla="*/ 6 h 47"/>
                    <a:gd name="T2" fmla="*/ 0 w 23"/>
                    <a:gd name="T3" fmla="*/ 21 h 47"/>
                    <a:gd name="T4" fmla="*/ 2 w 23"/>
                    <a:gd name="T5" fmla="*/ 23 h 47"/>
                    <a:gd name="T6" fmla="*/ 4 w 23"/>
                    <a:gd name="T7" fmla="*/ 21 h 47"/>
                    <a:gd name="T8" fmla="*/ 4 w 23"/>
                    <a:gd name="T9" fmla="*/ 8 h 47"/>
                    <a:gd name="T10" fmla="*/ 5 w 23"/>
                    <a:gd name="T11" fmla="*/ 8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8 h 47"/>
                    <a:gd name="T30" fmla="*/ 19 w 23"/>
                    <a:gd name="T31" fmla="*/ 8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61" name="Freeform 573"/>
                <p:cNvSpPr>
                  <a:spLocks/>
                </p:cNvSpPr>
                <p:nvPr/>
              </p:nvSpPr>
              <p:spPr bwMode="auto">
                <a:xfrm>
                  <a:off x="12687" y="1000"/>
                  <a:ext cx="64" cy="111"/>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3 w 27"/>
                    <a:gd name="T37" fmla="*/ 20 h 47"/>
                    <a:gd name="T38" fmla="*/ 26 w 27"/>
                    <a:gd name="T39" fmla="*/ 21 h 47"/>
                    <a:gd name="T40" fmla="*/ 27 w 27"/>
                    <a:gd name="T41" fmla="*/ 18 h 47"/>
                    <a:gd name="T42" fmla="*/ 23 w 27"/>
                    <a:gd name="T43" fmla="*/ 5 h 47"/>
                    <a:gd name="T44" fmla="*/ 18 w 27"/>
                    <a:gd name="T45" fmla="*/ 0 h 47"/>
                    <a:gd name="T46" fmla="*/ 10 w 27"/>
                    <a:gd name="T47" fmla="*/ 0 h 47"/>
                    <a:gd name="T48" fmla="*/ 5 w 27"/>
                    <a:gd name="T49" fmla="*/ 5 h 47"/>
                    <a:gd name="T50" fmla="*/ 0 w 27"/>
                    <a:gd name="T51" fmla="*/ 18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0"/>
                        <a:pt x="4" y="20"/>
                      </a:cubicBezTo>
                      <a:cubicBezTo>
                        <a:pt x="4"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3" y="20"/>
                      </a:cubicBezTo>
                      <a:cubicBezTo>
                        <a:pt x="24" y="20"/>
                        <a:pt x="25" y="21"/>
                        <a:pt x="26" y="21"/>
                      </a:cubicBezTo>
                      <a:cubicBezTo>
                        <a:pt x="27" y="20"/>
                        <a:pt x="27" y="19"/>
                        <a:pt x="27" y="18"/>
                      </a:cubicBezTo>
                      <a:cubicBezTo>
                        <a:pt x="27" y="18"/>
                        <a:pt x="25" y="10"/>
                        <a:pt x="23" y="5"/>
                      </a:cubicBezTo>
                      <a:cubicBezTo>
                        <a:pt x="22" y="2"/>
                        <a:pt x="20" y="0"/>
                        <a:pt x="18" y="0"/>
                      </a:cubicBezTo>
                      <a:cubicBezTo>
                        <a:pt x="16" y="0"/>
                        <a:pt x="11" y="0"/>
                        <a:pt x="10" y="0"/>
                      </a:cubicBezTo>
                      <a:cubicBezTo>
                        <a:pt x="8" y="0"/>
                        <a:pt x="5" y="2"/>
                        <a:pt x="5" y="5"/>
                      </a:cubicBezTo>
                      <a:cubicBezTo>
                        <a:pt x="3" y="10"/>
                        <a:pt x="1" y="18"/>
                        <a:pt x="0" y="18"/>
                      </a:cubicBezTo>
                      <a:cubicBezTo>
                        <a:pt x="0" y="19"/>
                        <a:pt x="1" y="20"/>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62" name="Oval 574"/>
                <p:cNvSpPr>
                  <a:spLocks noChangeArrowheads="1"/>
                </p:cNvSpPr>
                <p:nvPr/>
              </p:nvSpPr>
              <p:spPr bwMode="auto">
                <a:xfrm>
                  <a:off x="12642"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63" name="Freeform 575"/>
                <p:cNvSpPr>
                  <a:spLocks/>
                </p:cNvSpPr>
                <p:nvPr/>
              </p:nvSpPr>
              <p:spPr bwMode="auto">
                <a:xfrm>
                  <a:off x="12628" y="1000"/>
                  <a:ext cx="52" cy="111"/>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8 w 22"/>
                    <a:gd name="T11" fmla="*/ 47 h 47"/>
                    <a:gd name="T12" fmla="*/ 10 w 22"/>
                    <a:gd name="T13" fmla="*/ 44 h 47"/>
                    <a:gd name="T14" fmla="*/ 10 w 22"/>
                    <a:gd name="T15" fmla="*/ 23 h 47"/>
                    <a:gd name="T16" fmla="*/ 11 w 22"/>
                    <a:gd name="T17" fmla="*/ 23 h 47"/>
                    <a:gd name="T18" fmla="*/ 11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6 h 47"/>
                    <a:gd name="T36" fmla="*/ 16 w 22"/>
                    <a:gd name="T37" fmla="*/ 0 h 47"/>
                    <a:gd name="T38" fmla="*/ 6 w 22"/>
                    <a:gd name="T39" fmla="*/ 0 h 47"/>
                    <a:gd name="T40" fmla="*/ 0 w 22"/>
                    <a:gd name="T41" fmla="*/ 6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64" name="Freeform 576"/>
                <p:cNvSpPr>
                  <a:spLocks/>
                </p:cNvSpPr>
                <p:nvPr/>
              </p:nvSpPr>
              <p:spPr bwMode="auto">
                <a:xfrm>
                  <a:off x="12820" y="1000"/>
                  <a:ext cx="64" cy="111"/>
                </a:xfrm>
                <a:custGeom>
                  <a:avLst/>
                  <a:gdLst>
                    <a:gd name="T0" fmla="*/ 1 w 27"/>
                    <a:gd name="T1" fmla="*/ 21 h 47"/>
                    <a:gd name="T2" fmla="*/ 3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8 h 47"/>
                    <a:gd name="T42" fmla="*/ 22 w 27"/>
                    <a:gd name="T43" fmla="*/ 5 h 47"/>
                    <a:gd name="T44" fmla="*/ 17 w 27"/>
                    <a:gd name="T45" fmla="*/ 0 h 47"/>
                    <a:gd name="T46" fmla="*/ 9 w 27"/>
                    <a:gd name="T47" fmla="*/ 0 h 47"/>
                    <a:gd name="T48" fmla="*/ 4 w 27"/>
                    <a:gd name="T49" fmla="*/ 5 h 47"/>
                    <a:gd name="T50" fmla="*/ 0 w 27"/>
                    <a:gd name="T51" fmla="*/ 18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0"/>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0"/>
                        <a:pt x="24" y="21"/>
                        <a:pt x="25" y="21"/>
                      </a:cubicBezTo>
                      <a:cubicBezTo>
                        <a:pt x="26" y="20"/>
                        <a:pt x="27" y="19"/>
                        <a:pt x="26" y="18"/>
                      </a:cubicBezTo>
                      <a:cubicBezTo>
                        <a:pt x="26" y="18"/>
                        <a:pt x="24" y="10"/>
                        <a:pt x="22" y="5"/>
                      </a:cubicBezTo>
                      <a:cubicBezTo>
                        <a:pt x="22" y="2"/>
                        <a:pt x="19" y="0"/>
                        <a:pt x="17" y="0"/>
                      </a:cubicBezTo>
                      <a:cubicBezTo>
                        <a:pt x="16" y="0"/>
                        <a:pt x="10" y="0"/>
                        <a:pt x="9" y="0"/>
                      </a:cubicBezTo>
                      <a:cubicBezTo>
                        <a:pt x="7" y="0"/>
                        <a:pt x="5" y="2"/>
                        <a:pt x="4" y="5"/>
                      </a:cubicBezTo>
                      <a:cubicBezTo>
                        <a:pt x="2" y="10"/>
                        <a:pt x="0" y="18"/>
                        <a:pt x="0" y="18"/>
                      </a:cubicBezTo>
                      <a:cubicBezTo>
                        <a:pt x="0" y="19"/>
                        <a:pt x="0" y="20"/>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65" name="Oval 577"/>
                <p:cNvSpPr>
                  <a:spLocks noChangeArrowheads="1"/>
                </p:cNvSpPr>
                <p:nvPr/>
              </p:nvSpPr>
              <p:spPr bwMode="auto">
                <a:xfrm>
                  <a:off x="12709"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66" name="Freeform 578"/>
                <p:cNvSpPr>
                  <a:spLocks/>
                </p:cNvSpPr>
                <p:nvPr/>
              </p:nvSpPr>
              <p:spPr bwMode="auto">
                <a:xfrm>
                  <a:off x="12884" y="853"/>
                  <a:ext cx="64" cy="112"/>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1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1"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67" name="Freeform 579"/>
                <p:cNvSpPr>
                  <a:spLocks/>
                </p:cNvSpPr>
                <p:nvPr/>
              </p:nvSpPr>
              <p:spPr bwMode="auto">
                <a:xfrm>
                  <a:off x="12889" y="1000"/>
                  <a:ext cx="54" cy="111"/>
                </a:xfrm>
                <a:custGeom>
                  <a:avLst/>
                  <a:gdLst>
                    <a:gd name="T0" fmla="*/ 0 w 23"/>
                    <a:gd name="T1" fmla="*/ 6 h 47"/>
                    <a:gd name="T2" fmla="*/ 0 w 23"/>
                    <a:gd name="T3" fmla="*/ 21 h 47"/>
                    <a:gd name="T4" fmla="*/ 3 w 23"/>
                    <a:gd name="T5" fmla="*/ 23 h 47"/>
                    <a:gd name="T6" fmla="*/ 5 w 23"/>
                    <a:gd name="T7" fmla="*/ 21 h 47"/>
                    <a:gd name="T8" fmla="*/ 5 w 23"/>
                    <a:gd name="T9" fmla="*/ 8 h 47"/>
                    <a:gd name="T10" fmla="*/ 6 w 23"/>
                    <a:gd name="T11" fmla="*/ 8 h 47"/>
                    <a:gd name="T12" fmla="*/ 6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8 h 47"/>
                    <a:gd name="T30" fmla="*/ 19 w 23"/>
                    <a:gd name="T31" fmla="*/ 8 h 47"/>
                    <a:gd name="T32" fmla="*/ 19 w 23"/>
                    <a:gd name="T33" fmla="*/ 21 h 47"/>
                    <a:gd name="T34" fmla="*/ 21 w 23"/>
                    <a:gd name="T35" fmla="*/ 23 h 47"/>
                    <a:gd name="T36" fmla="*/ 23 w 23"/>
                    <a:gd name="T37" fmla="*/ 21 h 47"/>
                    <a:gd name="T38" fmla="*/ 23 w 23"/>
                    <a:gd name="T39" fmla="*/ 6 h 47"/>
                    <a:gd name="T40" fmla="*/ 17 w 23"/>
                    <a:gd name="T41" fmla="*/ 0 h 47"/>
                    <a:gd name="T42" fmla="*/ 7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20"/>
                        <a:pt x="0" y="21"/>
                      </a:cubicBezTo>
                      <a:cubicBezTo>
                        <a:pt x="0" y="22"/>
                        <a:pt x="1" y="23"/>
                        <a:pt x="3" y="23"/>
                      </a:cubicBezTo>
                      <a:cubicBezTo>
                        <a:pt x="4" y="23"/>
                        <a:pt x="5" y="22"/>
                        <a:pt x="5" y="21"/>
                      </a:cubicBezTo>
                      <a:cubicBezTo>
                        <a:pt x="5" y="19"/>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7"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68" name="Oval 580"/>
                <p:cNvSpPr>
                  <a:spLocks noChangeArrowheads="1"/>
                </p:cNvSpPr>
                <p:nvPr/>
              </p:nvSpPr>
              <p:spPr bwMode="auto">
                <a:xfrm>
                  <a:off x="12905" y="681"/>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69" name="Oval 581"/>
                <p:cNvSpPr>
                  <a:spLocks noChangeArrowheads="1"/>
                </p:cNvSpPr>
                <p:nvPr/>
              </p:nvSpPr>
              <p:spPr bwMode="auto">
                <a:xfrm>
                  <a:off x="12839" y="83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70" name="Freeform 582"/>
                <p:cNvSpPr>
                  <a:spLocks/>
                </p:cNvSpPr>
                <p:nvPr/>
              </p:nvSpPr>
              <p:spPr bwMode="auto">
                <a:xfrm>
                  <a:off x="12889" y="707"/>
                  <a:ext cx="54" cy="111"/>
                </a:xfrm>
                <a:custGeom>
                  <a:avLst/>
                  <a:gdLst>
                    <a:gd name="T0" fmla="*/ 3 w 23"/>
                    <a:gd name="T1" fmla="*/ 23 h 47"/>
                    <a:gd name="T2" fmla="*/ 5 w 23"/>
                    <a:gd name="T3" fmla="*/ 20 h 47"/>
                    <a:gd name="T4" fmla="*/ 5 w 23"/>
                    <a:gd name="T5" fmla="*/ 7 h 47"/>
                    <a:gd name="T6" fmla="*/ 6 w 23"/>
                    <a:gd name="T7" fmla="*/ 7 h 47"/>
                    <a:gd name="T8" fmla="*/ 6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7 h 47"/>
                    <a:gd name="T26" fmla="*/ 19 w 23"/>
                    <a:gd name="T27" fmla="*/ 7 h 47"/>
                    <a:gd name="T28" fmla="*/ 19 w 23"/>
                    <a:gd name="T29" fmla="*/ 20 h 47"/>
                    <a:gd name="T30" fmla="*/ 21 w 23"/>
                    <a:gd name="T31" fmla="*/ 23 h 47"/>
                    <a:gd name="T32" fmla="*/ 23 w 23"/>
                    <a:gd name="T33" fmla="*/ 20 h 47"/>
                    <a:gd name="T34" fmla="*/ 23 w 23"/>
                    <a:gd name="T35" fmla="*/ 6 h 47"/>
                    <a:gd name="T36" fmla="*/ 17 w 23"/>
                    <a:gd name="T37" fmla="*/ 0 h 47"/>
                    <a:gd name="T38" fmla="*/ 7 w 23"/>
                    <a:gd name="T39" fmla="*/ 0 h 47"/>
                    <a:gd name="T40" fmla="*/ 0 w 23"/>
                    <a:gd name="T41" fmla="*/ 6 h 47"/>
                    <a:gd name="T42" fmla="*/ 0 w 23"/>
                    <a:gd name="T43" fmla="*/ 20 h 47"/>
                    <a:gd name="T44" fmla="*/ 3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3" y="23"/>
                      </a:moveTo>
                      <a:cubicBezTo>
                        <a:pt x="4" y="23"/>
                        <a:pt x="5" y="22"/>
                        <a:pt x="5" y="20"/>
                      </a:cubicBezTo>
                      <a:cubicBezTo>
                        <a:pt x="5" y="19"/>
                        <a:pt x="5" y="7"/>
                        <a:pt x="5" y="7"/>
                      </a:cubicBezTo>
                      <a:cubicBezTo>
                        <a:pt x="5" y="7"/>
                        <a:pt x="5" y="7"/>
                        <a:pt x="6" y="7"/>
                      </a:cubicBezTo>
                      <a:cubicBezTo>
                        <a:pt x="6" y="7"/>
                        <a:pt x="6" y="41"/>
                        <a:pt x="6" y="44"/>
                      </a:cubicBezTo>
                      <a:cubicBezTo>
                        <a:pt x="6" y="45"/>
                        <a:pt x="7" y="47"/>
                        <a:pt x="8" y="47"/>
                      </a:cubicBezTo>
                      <a:cubicBezTo>
                        <a:pt x="10" y="47"/>
                        <a:pt x="11" y="45"/>
                        <a:pt x="11" y="44"/>
                      </a:cubicBezTo>
                      <a:cubicBezTo>
                        <a:pt x="11" y="41"/>
                        <a:pt x="11" y="23"/>
                        <a:pt x="11" y="23"/>
                      </a:cubicBezTo>
                      <a:cubicBezTo>
                        <a:pt x="11" y="23"/>
                        <a:pt x="11" y="23"/>
                        <a:pt x="12" y="23"/>
                      </a:cubicBezTo>
                      <a:cubicBezTo>
                        <a:pt x="12" y="23"/>
                        <a:pt x="12" y="41"/>
                        <a:pt x="12" y="44"/>
                      </a:cubicBezTo>
                      <a:cubicBezTo>
                        <a:pt x="12" y="45"/>
                        <a:pt x="14" y="47"/>
                        <a:pt x="15" y="47"/>
                      </a:cubicBezTo>
                      <a:cubicBezTo>
                        <a:pt x="17" y="47"/>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7"/>
                        <a:pt x="23" y="6"/>
                      </a:cubicBezTo>
                      <a:cubicBezTo>
                        <a:pt x="23" y="3"/>
                        <a:pt x="20" y="0"/>
                        <a:pt x="17" y="0"/>
                      </a:cubicBezTo>
                      <a:cubicBezTo>
                        <a:pt x="15" y="0"/>
                        <a:pt x="8" y="0"/>
                        <a:pt x="7" y="0"/>
                      </a:cubicBezTo>
                      <a:cubicBezTo>
                        <a:pt x="3" y="0"/>
                        <a:pt x="0" y="3"/>
                        <a:pt x="0" y="6"/>
                      </a:cubicBezTo>
                      <a:cubicBezTo>
                        <a:pt x="0" y="7"/>
                        <a:pt x="0" y="19"/>
                        <a:pt x="0" y="20"/>
                      </a:cubicBezTo>
                      <a:cubicBezTo>
                        <a:pt x="0" y="22"/>
                        <a:pt x="1" y="23"/>
                        <a:pt x="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71" name="Oval 583"/>
                <p:cNvSpPr>
                  <a:spLocks noChangeArrowheads="1"/>
                </p:cNvSpPr>
                <p:nvPr/>
              </p:nvSpPr>
              <p:spPr bwMode="auto">
                <a:xfrm>
                  <a:off x="12905" y="83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72" name="Oval 584"/>
                <p:cNvSpPr>
                  <a:spLocks noChangeArrowheads="1"/>
                </p:cNvSpPr>
                <p:nvPr/>
              </p:nvSpPr>
              <p:spPr bwMode="auto">
                <a:xfrm>
                  <a:off x="12905"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73" name="Oval 585"/>
                <p:cNvSpPr>
                  <a:spLocks noChangeArrowheads="1"/>
                </p:cNvSpPr>
                <p:nvPr/>
              </p:nvSpPr>
              <p:spPr bwMode="auto">
                <a:xfrm>
                  <a:off x="12839"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74" name="Freeform 586"/>
                <p:cNvSpPr>
                  <a:spLocks/>
                </p:cNvSpPr>
                <p:nvPr/>
              </p:nvSpPr>
              <p:spPr bwMode="auto">
                <a:xfrm>
                  <a:off x="12825" y="853"/>
                  <a:ext cx="52" cy="112"/>
                </a:xfrm>
                <a:custGeom>
                  <a:avLst/>
                  <a:gdLst>
                    <a:gd name="T0" fmla="*/ 20 w 22"/>
                    <a:gd name="T1" fmla="*/ 23 h 47"/>
                    <a:gd name="T2" fmla="*/ 22 w 22"/>
                    <a:gd name="T3" fmla="*/ 21 h 47"/>
                    <a:gd name="T4" fmla="*/ 22 w 22"/>
                    <a:gd name="T5" fmla="*/ 6 h 47"/>
                    <a:gd name="T6" fmla="*/ 16 w 22"/>
                    <a:gd name="T7" fmla="*/ 0 h 47"/>
                    <a:gd name="T8" fmla="*/ 6 w 22"/>
                    <a:gd name="T9" fmla="*/ 0 h 47"/>
                    <a:gd name="T10" fmla="*/ 0 w 22"/>
                    <a:gd name="T11" fmla="*/ 6 h 47"/>
                    <a:gd name="T12" fmla="*/ 0 w 22"/>
                    <a:gd name="T13" fmla="*/ 21 h 47"/>
                    <a:gd name="T14" fmla="*/ 2 w 22"/>
                    <a:gd name="T15" fmla="*/ 23 h 47"/>
                    <a:gd name="T16" fmla="*/ 4 w 22"/>
                    <a:gd name="T17" fmla="*/ 21 h 47"/>
                    <a:gd name="T18" fmla="*/ 4 w 22"/>
                    <a:gd name="T19" fmla="*/ 8 h 47"/>
                    <a:gd name="T20" fmla="*/ 5 w 22"/>
                    <a:gd name="T21" fmla="*/ 8 h 47"/>
                    <a:gd name="T22" fmla="*/ 5 w 22"/>
                    <a:gd name="T23" fmla="*/ 44 h 47"/>
                    <a:gd name="T24" fmla="*/ 8 w 22"/>
                    <a:gd name="T25" fmla="*/ 47 h 47"/>
                    <a:gd name="T26" fmla="*/ 11 w 22"/>
                    <a:gd name="T27" fmla="*/ 44 h 47"/>
                    <a:gd name="T28" fmla="*/ 11 w 22"/>
                    <a:gd name="T29" fmla="*/ 23 h 47"/>
                    <a:gd name="T30" fmla="*/ 12 w 22"/>
                    <a:gd name="T31" fmla="*/ 23 h 47"/>
                    <a:gd name="T32" fmla="*/ 12 w 22"/>
                    <a:gd name="T33" fmla="*/ 44 h 47"/>
                    <a:gd name="T34" fmla="*/ 14 w 22"/>
                    <a:gd name="T35" fmla="*/ 47 h 47"/>
                    <a:gd name="T36" fmla="*/ 17 w 22"/>
                    <a:gd name="T37" fmla="*/ 44 h 47"/>
                    <a:gd name="T38" fmla="*/ 17 w 22"/>
                    <a:gd name="T39" fmla="*/ 8 h 47"/>
                    <a:gd name="T40" fmla="*/ 18 w 22"/>
                    <a:gd name="T41" fmla="*/ 8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20"/>
                        <a:pt x="22" y="8"/>
                        <a:pt x="22" y="6"/>
                      </a:cubicBezTo>
                      <a:cubicBezTo>
                        <a:pt x="22" y="3"/>
                        <a:pt x="20" y="0"/>
                        <a:pt x="16" y="0"/>
                      </a:cubicBez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75" name="Oval 587"/>
                <p:cNvSpPr>
                  <a:spLocks noChangeArrowheads="1"/>
                </p:cNvSpPr>
                <p:nvPr/>
              </p:nvSpPr>
              <p:spPr bwMode="auto">
                <a:xfrm>
                  <a:off x="12839" y="681"/>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76" name="Freeform 588"/>
                <p:cNvSpPr>
                  <a:spLocks/>
                </p:cNvSpPr>
                <p:nvPr/>
              </p:nvSpPr>
              <p:spPr bwMode="auto">
                <a:xfrm>
                  <a:off x="12820" y="707"/>
                  <a:ext cx="64" cy="111"/>
                </a:xfrm>
                <a:custGeom>
                  <a:avLst/>
                  <a:gdLst>
                    <a:gd name="T0" fmla="*/ 1 w 27"/>
                    <a:gd name="T1" fmla="*/ 20 h 47"/>
                    <a:gd name="T2" fmla="*/ 3 w 27"/>
                    <a:gd name="T3" fmla="*/ 19 h 47"/>
                    <a:gd name="T4" fmla="*/ 7 w 27"/>
                    <a:gd name="T5" fmla="*/ 6 h 47"/>
                    <a:gd name="T6" fmla="*/ 8 w 27"/>
                    <a:gd name="T7" fmla="*/ 6 h 47"/>
                    <a:gd name="T8" fmla="*/ 2 w 27"/>
                    <a:gd name="T9" fmla="*/ 28 h 47"/>
                    <a:gd name="T10" fmla="*/ 8 w 27"/>
                    <a:gd name="T11" fmla="*/ 28 h 47"/>
                    <a:gd name="T12" fmla="*/ 8 w 27"/>
                    <a:gd name="T13" fmla="*/ 44 h 47"/>
                    <a:gd name="T14" fmla="*/ 10 w 27"/>
                    <a:gd name="T15" fmla="*/ 47 h 47"/>
                    <a:gd name="T16" fmla="*/ 13 w 27"/>
                    <a:gd name="T17" fmla="*/ 44 h 47"/>
                    <a:gd name="T18" fmla="*/ 13 w 27"/>
                    <a:gd name="T19" fmla="*/ 28 h 47"/>
                    <a:gd name="T20" fmla="*/ 14 w 27"/>
                    <a:gd name="T21" fmla="*/ 28 h 47"/>
                    <a:gd name="T22" fmla="*/ 14 w 27"/>
                    <a:gd name="T23" fmla="*/ 44 h 47"/>
                    <a:gd name="T24" fmla="*/ 16 w 27"/>
                    <a:gd name="T25" fmla="*/ 47 h 47"/>
                    <a:gd name="T26" fmla="*/ 18 w 27"/>
                    <a:gd name="T27" fmla="*/ 44 h 47"/>
                    <a:gd name="T28" fmla="*/ 18 w 27"/>
                    <a:gd name="T29" fmla="*/ 28 h 47"/>
                    <a:gd name="T30" fmla="*/ 24 w 27"/>
                    <a:gd name="T31" fmla="*/ 28 h 47"/>
                    <a:gd name="T32" fmla="*/ 18 w 27"/>
                    <a:gd name="T33" fmla="*/ 6 h 47"/>
                    <a:gd name="T34" fmla="*/ 19 w 27"/>
                    <a:gd name="T35" fmla="*/ 6 h 47"/>
                    <a:gd name="T36" fmla="*/ 23 w 27"/>
                    <a:gd name="T37" fmla="*/ 19 h 47"/>
                    <a:gd name="T38" fmla="*/ 25 w 27"/>
                    <a:gd name="T39" fmla="*/ 20 h 47"/>
                    <a:gd name="T40" fmla="*/ 26 w 27"/>
                    <a:gd name="T41" fmla="*/ 18 h 47"/>
                    <a:gd name="T42" fmla="*/ 22 w 27"/>
                    <a:gd name="T43" fmla="*/ 4 h 47"/>
                    <a:gd name="T44" fmla="*/ 17 w 27"/>
                    <a:gd name="T45" fmla="*/ 0 h 47"/>
                    <a:gd name="T46" fmla="*/ 9 w 27"/>
                    <a:gd name="T47" fmla="*/ 0 h 47"/>
                    <a:gd name="T48" fmla="*/ 4 w 27"/>
                    <a:gd name="T49" fmla="*/ 4 h 47"/>
                    <a:gd name="T50" fmla="*/ 0 w 27"/>
                    <a:gd name="T51" fmla="*/ 18 h 47"/>
                    <a:gd name="T52" fmla="*/ 1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0"/>
                      </a:move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6"/>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6"/>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77" name="Oval 589"/>
                <p:cNvSpPr>
                  <a:spLocks noChangeArrowheads="1"/>
                </p:cNvSpPr>
                <p:nvPr/>
              </p:nvSpPr>
              <p:spPr bwMode="auto">
                <a:xfrm>
                  <a:off x="12775"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78" name="Oval 590"/>
                <p:cNvSpPr>
                  <a:spLocks noChangeArrowheads="1"/>
                </p:cNvSpPr>
                <p:nvPr/>
              </p:nvSpPr>
              <p:spPr bwMode="auto">
                <a:xfrm>
                  <a:off x="12581"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79" name="Freeform 591"/>
                <p:cNvSpPr>
                  <a:spLocks/>
                </p:cNvSpPr>
                <p:nvPr/>
              </p:nvSpPr>
              <p:spPr bwMode="auto">
                <a:xfrm>
                  <a:off x="12564" y="1000"/>
                  <a:ext cx="59" cy="111"/>
                </a:xfrm>
                <a:custGeom>
                  <a:avLst/>
                  <a:gdLst>
                    <a:gd name="T0" fmla="*/ 7 w 25"/>
                    <a:gd name="T1" fmla="*/ 7 h 47"/>
                    <a:gd name="T2" fmla="*/ 0 w 25"/>
                    <a:gd name="T3" fmla="*/ 28 h 47"/>
                    <a:gd name="T4" fmla="*/ 6 w 25"/>
                    <a:gd name="T5" fmla="*/ 28 h 47"/>
                    <a:gd name="T6" fmla="*/ 6 w 25"/>
                    <a:gd name="T7" fmla="*/ 45 h 47"/>
                    <a:gd name="T8" fmla="*/ 9 w 25"/>
                    <a:gd name="T9" fmla="*/ 47 h 47"/>
                    <a:gd name="T10" fmla="*/ 11 w 25"/>
                    <a:gd name="T11" fmla="*/ 45 h 47"/>
                    <a:gd name="T12" fmla="*/ 11 w 25"/>
                    <a:gd name="T13" fmla="*/ 28 h 47"/>
                    <a:gd name="T14" fmla="*/ 12 w 25"/>
                    <a:gd name="T15" fmla="*/ 28 h 47"/>
                    <a:gd name="T16" fmla="*/ 12 w 25"/>
                    <a:gd name="T17" fmla="*/ 45 h 47"/>
                    <a:gd name="T18" fmla="*/ 14 w 25"/>
                    <a:gd name="T19" fmla="*/ 47 h 47"/>
                    <a:gd name="T20" fmla="*/ 17 w 25"/>
                    <a:gd name="T21" fmla="*/ 45 h 47"/>
                    <a:gd name="T22" fmla="*/ 17 w 25"/>
                    <a:gd name="T23" fmla="*/ 28 h 47"/>
                    <a:gd name="T24" fmla="*/ 23 w 25"/>
                    <a:gd name="T25" fmla="*/ 28 h 47"/>
                    <a:gd name="T26" fmla="*/ 16 w 25"/>
                    <a:gd name="T27" fmla="*/ 7 h 47"/>
                    <a:gd name="T28" fmla="*/ 17 w 25"/>
                    <a:gd name="T29" fmla="*/ 7 h 47"/>
                    <a:gd name="T30" fmla="*/ 21 w 25"/>
                    <a:gd name="T31" fmla="*/ 20 h 47"/>
                    <a:gd name="T32" fmla="*/ 23 w 25"/>
                    <a:gd name="T33" fmla="*/ 21 h 47"/>
                    <a:gd name="T34" fmla="*/ 25 w 25"/>
                    <a:gd name="T35" fmla="*/ 18 h 47"/>
                    <a:gd name="T36" fmla="*/ 21 w 25"/>
                    <a:gd name="T37" fmla="*/ 5 h 47"/>
                    <a:gd name="T38" fmla="*/ 15 w 25"/>
                    <a:gd name="T39" fmla="*/ 0 h 47"/>
                    <a:gd name="T40" fmla="*/ 8 w 25"/>
                    <a:gd name="T41" fmla="*/ 0 h 47"/>
                    <a:gd name="T42" fmla="*/ 6 w 25"/>
                    <a:gd name="T43" fmla="*/ 1 h 47"/>
                    <a:gd name="T44" fmla="*/ 5 w 25"/>
                    <a:gd name="T45" fmla="*/ 8 h 47"/>
                    <a:gd name="T46" fmla="*/ 6 w 25"/>
                    <a:gd name="T47" fmla="*/ 7 h 47"/>
                    <a:gd name="T48" fmla="*/ 7 w 25"/>
                    <a:gd name="T49" fmla="*/ 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47">
                      <a:moveTo>
                        <a:pt x="7" y="7"/>
                      </a:moveTo>
                      <a:cubicBezTo>
                        <a:pt x="0" y="28"/>
                        <a:pt x="0" y="28"/>
                        <a:pt x="0" y="28"/>
                      </a:cubicBezTo>
                      <a:cubicBezTo>
                        <a:pt x="6" y="28"/>
                        <a:pt x="6" y="28"/>
                        <a:pt x="6" y="28"/>
                      </a:cubicBezTo>
                      <a:cubicBezTo>
                        <a:pt x="6" y="36"/>
                        <a:pt x="6" y="44"/>
                        <a:pt x="6" y="45"/>
                      </a:cubicBezTo>
                      <a:cubicBezTo>
                        <a:pt x="6" y="46"/>
                        <a:pt x="7" y="47"/>
                        <a:pt x="9" y="47"/>
                      </a:cubicBezTo>
                      <a:cubicBezTo>
                        <a:pt x="10" y="47"/>
                        <a:pt x="11" y="46"/>
                        <a:pt x="11" y="45"/>
                      </a:cubicBezTo>
                      <a:cubicBezTo>
                        <a:pt x="11" y="43"/>
                        <a:pt x="11" y="28"/>
                        <a:pt x="11" y="28"/>
                      </a:cubicBezTo>
                      <a:cubicBezTo>
                        <a:pt x="12" y="28"/>
                        <a:pt x="12" y="28"/>
                        <a:pt x="12" y="28"/>
                      </a:cubicBezTo>
                      <a:cubicBezTo>
                        <a:pt x="12" y="28"/>
                        <a:pt x="12" y="43"/>
                        <a:pt x="12" y="45"/>
                      </a:cubicBezTo>
                      <a:cubicBezTo>
                        <a:pt x="12" y="46"/>
                        <a:pt x="13" y="47"/>
                        <a:pt x="14" y="47"/>
                      </a:cubicBezTo>
                      <a:cubicBezTo>
                        <a:pt x="16" y="47"/>
                        <a:pt x="17" y="46"/>
                        <a:pt x="17" y="45"/>
                      </a:cubicBezTo>
                      <a:cubicBezTo>
                        <a:pt x="17" y="44"/>
                        <a:pt x="17" y="36"/>
                        <a:pt x="17" y="28"/>
                      </a:cubicBezTo>
                      <a:cubicBezTo>
                        <a:pt x="23" y="28"/>
                        <a:pt x="23" y="28"/>
                        <a:pt x="23" y="28"/>
                      </a:cubicBezTo>
                      <a:cubicBezTo>
                        <a:pt x="16" y="7"/>
                        <a:pt x="16" y="7"/>
                        <a:pt x="16" y="7"/>
                      </a:cubicBezTo>
                      <a:cubicBezTo>
                        <a:pt x="17" y="7"/>
                        <a:pt x="17" y="7"/>
                        <a:pt x="17" y="7"/>
                      </a:cubicBezTo>
                      <a:cubicBezTo>
                        <a:pt x="17" y="7"/>
                        <a:pt x="21" y="18"/>
                        <a:pt x="21" y="20"/>
                      </a:cubicBezTo>
                      <a:cubicBezTo>
                        <a:pt x="21" y="20"/>
                        <a:pt x="22" y="21"/>
                        <a:pt x="23" y="21"/>
                      </a:cubicBezTo>
                      <a:cubicBezTo>
                        <a:pt x="25" y="20"/>
                        <a:pt x="25" y="19"/>
                        <a:pt x="25" y="18"/>
                      </a:cubicBezTo>
                      <a:cubicBezTo>
                        <a:pt x="24" y="18"/>
                        <a:pt x="22" y="10"/>
                        <a:pt x="21" y="5"/>
                      </a:cubicBezTo>
                      <a:cubicBezTo>
                        <a:pt x="20" y="2"/>
                        <a:pt x="18" y="0"/>
                        <a:pt x="15" y="0"/>
                      </a:cubicBezTo>
                      <a:cubicBezTo>
                        <a:pt x="14" y="0"/>
                        <a:pt x="9" y="0"/>
                        <a:pt x="8" y="0"/>
                      </a:cubicBezTo>
                      <a:cubicBezTo>
                        <a:pt x="7" y="0"/>
                        <a:pt x="6" y="0"/>
                        <a:pt x="6" y="1"/>
                      </a:cubicBezTo>
                      <a:cubicBezTo>
                        <a:pt x="6" y="3"/>
                        <a:pt x="5" y="6"/>
                        <a:pt x="5" y="8"/>
                      </a:cubicBezTo>
                      <a:cubicBezTo>
                        <a:pt x="5" y="7"/>
                        <a:pt x="6" y="7"/>
                        <a:pt x="6" y="7"/>
                      </a:cubicBezTo>
                      <a:cubicBezTo>
                        <a:pt x="7" y="7"/>
                        <a:pt x="7" y="7"/>
                        <a:pt x="7"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80" name="Freeform 592"/>
                <p:cNvSpPr>
                  <a:spLocks/>
                </p:cNvSpPr>
                <p:nvPr/>
              </p:nvSpPr>
              <p:spPr bwMode="auto">
                <a:xfrm>
                  <a:off x="12526" y="1097"/>
                  <a:ext cx="15" cy="14"/>
                </a:xfrm>
                <a:custGeom>
                  <a:avLst/>
                  <a:gdLst>
                    <a:gd name="T0" fmla="*/ 3 w 6"/>
                    <a:gd name="T1" fmla="*/ 6 h 6"/>
                    <a:gd name="T2" fmla="*/ 6 w 6"/>
                    <a:gd name="T3" fmla="*/ 3 h 6"/>
                    <a:gd name="T4" fmla="*/ 6 w 6"/>
                    <a:gd name="T5" fmla="*/ 0 h 6"/>
                    <a:gd name="T6" fmla="*/ 2 w 6"/>
                    <a:gd name="T7" fmla="*/ 2 h 6"/>
                    <a:gd name="T8" fmla="*/ 0 w 6"/>
                    <a:gd name="T9" fmla="*/ 4 h 6"/>
                    <a:gd name="T10" fmla="*/ 3 w 6"/>
                    <a:gd name="T11" fmla="*/ 6 h 6"/>
                  </a:gdLst>
                  <a:ahLst/>
                  <a:cxnLst>
                    <a:cxn ang="0">
                      <a:pos x="T0" y="T1"/>
                    </a:cxn>
                    <a:cxn ang="0">
                      <a:pos x="T2" y="T3"/>
                    </a:cxn>
                    <a:cxn ang="0">
                      <a:pos x="T4" y="T5"/>
                    </a:cxn>
                    <a:cxn ang="0">
                      <a:pos x="T6" y="T7"/>
                    </a:cxn>
                    <a:cxn ang="0">
                      <a:pos x="T8" y="T9"/>
                    </a:cxn>
                    <a:cxn ang="0">
                      <a:pos x="T10" y="T11"/>
                    </a:cxn>
                  </a:cxnLst>
                  <a:rect l="0" t="0" r="r" b="b"/>
                  <a:pathLst>
                    <a:path w="6" h="6">
                      <a:moveTo>
                        <a:pt x="3" y="6"/>
                      </a:moveTo>
                      <a:cubicBezTo>
                        <a:pt x="5" y="6"/>
                        <a:pt x="6" y="5"/>
                        <a:pt x="6" y="3"/>
                      </a:cubicBezTo>
                      <a:cubicBezTo>
                        <a:pt x="6" y="3"/>
                        <a:pt x="6" y="1"/>
                        <a:pt x="6" y="0"/>
                      </a:cubicBezTo>
                      <a:cubicBezTo>
                        <a:pt x="5" y="1"/>
                        <a:pt x="4" y="2"/>
                        <a:pt x="2" y="2"/>
                      </a:cubicBezTo>
                      <a:cubicBezTo>
                        <a:pt x="2" y="3"/>
                        <a:pt x="1" y="3"/>
                        <a:pt x="0" y="4"/>
                      </a:cubicBezTo>
                      <a:cubicBezTo>
                        <a:pt x="1" y="5"/>
                        <a:pt x="2"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81" name="Freeform 593"/>
                <p:cNvSpPr>
                  <a:spLocks/>
                </p:cNvSpPr>
                <p:nvPr/>
              </p:nvSpPr>
              <p:spPr bwMode="auto">
                <a:xfrm>
                  <a:off x="12576" y="863"/>
                  <a:ext cx="43" cy="102"/>
                </a:xfrm>
                <a:custGeom>
                  <a:avLst/>
                  <a:gdLst>
                    <a:gd name="T0" fmla="*/ 3 w 18"/>
                    <a:gd name="T1" fmla="*/ 43 h 43"/>
                    <a:gd name="T2" fmla="*/ 6 w 18"/>
                    <a:gd name="T3" fmla="*/ 40 h 43"/>
                    <a:gd name="T4" fmla="*/ 6 w 18"/>
                    <a:gd name="T5" fmla="*/ 19 h 43"/>
                    <a:gd name="T6" fmla="*/ 7 w 18"/>
                    <a:gd name="T7" fmla="*/ 19 h 43"/>
                    <a:gd name="T8" fmla="*/ 7 w 18"/>
                    <a:gd name="T9" fmla="*/ 40 h 43"/>
                    <a:gd name="T10" fmla="*/ 10 w 18"/>
                    <a:gd name="T11" fmla="*/ 43 h 43"/>
                    <a:gd name="T12" fmla="*/ 13 w 18"/>
                    <a:gd name="T13" fmla="*/ 40 h 43"/>
                    <a:gd name="T14" fmla="*/ 13 w 18"/>
                    <a:gd name="T15" fmla="*/ 4 h 43"/>
                    <a:gd name="T16" fmla="*/ 14 w 18"/>
                    <a:gd name="T17" fmla="*/ 4 h 43"/>
                    <a:gd name="T18" fmla="*/ 14 w 18"/>
                    <a:gd name="T19" fmla="*/ 17 h 43"/>
                    <a:gd name="T20" fmla="*/ 16 w 18"/>
                    <a:gd name="T21" fmla="*/ 19 h 43"/>
                    <a:gd name="T22" fmla="*/ 18 w 18"/>
                    <a:gd name="T23" fmla="*/ 17 h 43"/>
                    <a:gd name="T24" fmla="*/ 18 w 18"/>
                    <a:gd name="T25" fmla="*/ 2 h 43"/>
                    <a:gd name="T26" fmla="*/ 17 w 18"/>
                    <a:gd name="T27" fmla="*/ 0 h 43"/>
                    <a:gd name="T28" fmla="*/ 0 w 18"/>
                    <a:gd name="T29" fmla="*/ 6 h 43"/>
                    <a:gd name="T30" fmla="*/ 0 w 18"/>
                    <a:gd name="T31" fmla="*/ 35 h 43"/>
                    <a:gd name="T32" fmla="*/ 1 w 18"/>
                    <a:gd name="T33" fmla="*/ 41 h 43"/>
                    <a:gd name="T34" fmla="*/ 3 w 18"/>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3">
                      <a:moveTo>
                        <a:pt x="3" y="43"/>
                      </a:moveTo>
                      <a:cubicBezTo>
                        <a:pt x="5" y="43"/>
                        <a:pt x="6" y="42"/>
                        <a:pt x="6" y="40"/>
                      </a:cubicBezTo>
                      <a:cubicBezTo>
                        <a:pt x="6" y="38"/>
                        <a:pt x="6" y="19"/>
                        <a:pt x="6" y="19"/>
                      </a:cubicBezTo>
                      <a:cubicBezTo>
                        <a:pt x="6" y="19"/>
                        <a:pt x="6" y="19"/>
                        <a:pt x="7" y="19"/>
                      </a:cubicBezTo>
                      <a:cubicBezTo>
                        <a:pt x="7" y="19"/>
                        <a:pt x="7" y="38"/>
                        <a:pt x="7" y="40"/>
                      </a:cubicBezTo>
                      <a:cubicBezTo>
                        <a:pt x="7" y="42"/>
                        <a:pt x="8" y="43"/>
                        <a:pt x="10" y="43"/>
                      </a:cubicBezTo>
                      <a:cubicBezTo>
                        <a:pt x="11" y="43"/>
                        <a:pt x="13" y="42"/>
                        <a:pt x="13" y="40"/>
                      </a:cubicBezTo>
                      <a:cubicBezTo>
                        <a:pt x="13" y="38"/>
                        <a:pt x="13" y="4"/>
                        <a:pt x="13" y="4"/>
                      </a:cubicBezTo>
                      <a:cubicBezTo>
                        <a:pt x="13" y="4"/>
                        <a:pt x="13" y="4"/>
                        <a:pt x="14" y="4"/>
                      </a:cubicBezTo>
                      <a:cubicBezTo>
                        <a:pt x="14" y="4"/>
                        <a:pt x="14" y="16"/>
                        <a:pt x="14" y="17"/>
                      </a:cubicBezTo>
                      <a:cubicBezTo>
                        <a:pt x="14" y="18"/>
                        <a:pt x="15" y="19"/>
                        <a:pt x="16" y="19"/>
                      </a:cubicBezTo>
                      <a:cubicBezTo>
                        <a:pt x="17" y="19"/>
                        <a:pt x="18" y="18"/>
                        <a:pt x="18" y="17"/>
                      </a:cubicBezTo>
                      <a:cubicBezTo>
                        <a:pt x="18" y="16"/>
                        <a:pt x="18" y="4"/>
                        <a:pt x="18" y="2"/>
                      </a:cubicBezTo>
                      <a:cubicBezTo>
                        <a:pt x="18" y="2"/>
                        <a:pt x="18" y="1"/>
                        <a:pt x="17" y="0"/>
                      </a:cubicBezTo>
                      <a:cubicBezTo>
                        <a:pt x="12" y="1"/>
                        <a:pt x="6" y="3"/>
                        <a:pt x="0" y="6"/>
                      </a:cubicBezTo>
                      <a:cubicBezTo>
                        <a:pt x="0" y="11"/>
                        <a:pt x="0" y="26"/>
                        <a:pt x="0" y="35"/>
                      </a:cubicBezTo>
                      <a:cubicBezTo>
                        <a:pt x="0" y="37"/>
                        <a:pt x="1" y="39"/>
                        <a:pt x="1" y="41"/>
                      </a:cubicBezTo>
                      <a:cubicBezTo>
                        <a:pt x="1" y="42"/>
                        <a:pt x="2" y="43"/>
                        <a:pt x="3"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82" name="Freeform 594"/>
                <p:cNvSpPr>
                  <a:spLocks/>
                </p:cNvSpPr>
                <p:nvPr/>
              </p:nvSpPr>
              <p:spPr bwMode="auto">
                <a:xfrm>
                  <a:off x="14715" y="1147"/>
                  <a:ext cx="41" cy="24"/>
                </a:xfrm>
                <a:custGeom>
                  <a:avLst/>
                  <a:gdLst>
                    <a:gd name="T0" fmla="*/ 6 w 17"/>
                    <a:gd name="T1" fmla="*/ 0 h 10"/>
                    <a:gd name="T2" fmla="*/ 0 w 17"/>
                    <a:gd name="T3" fmla="*/ 7 h 10"/>
                    <a:gd name="T4" fmla="*/ 0 w 17"/>
                    <a:gd name="T5" fmla="*/ 10 h 10"/>
                    <a:gd name="T6" fmla="*/ 17 w 17"/>
                    <a:gd name="T7" fmla="*/ 1 h 10"/>
                    <a:gd name="T8" fmla="*/ 16 w 17"/>
                    <a:gd name="T9" fmla="*/ 0 h 10"/>
                    <a:gd name="T10" fmla="*/ 6 w 17"/>
                    <a:gd name="T11" fmla="*/ 0 h 10"/>
                  </a:gdLst>
                  <a:ahLst/>
                  <a:cxnLst>
                    <a:cxn ang="0">
                      <a:pos x="T0" y="T1"/>
                    </a:cxn>
                    <a:cxn ang="0">
                      <a:pos x="T2" y="T3"/>
                    </a:cxn>
                    <a:cxn ang="0">
                      <a:pos x="T4" y="T5"/>
                    </a:cxn>
                    <a:cxn ang="0">
                      <a:pos x="T6" y="T7"/>
                    </a:cxn>
                    <a:cxn ang="0">
                      <a:pos x="T8" y="T9"/>
                    </a:cxn>
                    <a:cxn ang="0">
                      <a:pos x="T10" y="T11"/>
                    </a:cxn>
                  </a:cxnLst>
                  <a:rect l="0" t="0" r="r" b="b"/>
                  <a:pathLst>
                    <a:path w="17" h="10">
                      <a:moveTo>
                        <a:pt x="6" y="0"/>
                      </a:moveTo>
                      <a:cubicBezTo>
                        <a:pt x="3" y="0"/>
                        <a:pt x="0" y="3"/>
                        <a:pt x="0" y="7"/>
                      </a:cubicBezTo>
                      <a:cubicBezTo>
                        <a:pt x="0" y="7"/>
                        <a:pt x="0" y="8"/>
                        <a:pt x="0" y="10"/>
                      </a:cubicBezTo>
                      <a:cubicBezTo>
                        <a:pt x="6" y="6"/>
                        <a:pt x="11" y="3"/>
                        <a:pt x="17" y="1"/>
                      </a:cubicBezTo>
                      <a:cubicBezTo>
                        <a:pt x="17" y="0"/>
                        <a:pt x="17" y="0"/>
                        <a:pt x="16" y="0"/>
                      </a:cubicBezTo>
                      <a:cubicBezTo>
                        <a:pt x="15" y="0"/>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83" name="Oval 595"/>
                <p:cNvSpPr>
                  <a:spLocks noChangeArrowheads="1"/>
                </p:cNvSpPr>
                <p:nvPr/>
              </p:nvSpPr>
              <p:spPr bwMode="auto">
                <a:xfrm>
                  <a:off x="14732"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84" name="Freeform 596"/>
                <p:cNvSpPr>
                  <a:spLocks/>
                </p:cNvSpPr>
                <p:nvPr/>
              </p:nvSpPr>
              <p:spPr bwMode="auto">
                <a:xfrm>
                  <a:off x="14796" y="1123"/>
                  <a:ext cx="19" cy="7"/>
                </a:xfrm>
                <a:custGeom>
                  <a:avLst/>
                  <a:gdLst>
                    <a:gd name="T0" fmla="*/ 0 w 8"/>
                    <a:gd name="T1" fmla="*/ 3 h 3"/>
                    <a:gd name="T2" fmla="*/ 8 w 8"/>
                    <a:gd name="T3" fmla="*/ 1 h 3"/>
                    <a:gd name="T4" fmla="*/ 5 w 8"/>
                    <a:gd name="T5" fmla="*/ 0 h 3"/>
                    <a:gd name="T6" fmla="*/ 0 w 8"/>
                    <a:gd name="T7" fmla="*/ 3 h 3"/>
                  </a:gdLst>
                  <a:ahLst/>
                  <a:cxnLst>
                    <a:cxn ang="0">
                      <a:pos x="T0" y="T1"/>
                    </a:cxn>
                    <a:cxn ang="0">
                      <a:pos x="T2" y="T3"/>
                    </a:cxn>
                    <a:cxn ang="0">
                      <a:pos x="T4" y="T5"/>
                    </a:cxn>
                    <a:cxn ang="0">
                      <a:pos x="T6" y="T7"/>
                    </a:cxn>
                  </a:cxnLst>
                  <a:rect l="0" t="0" r="r" b="b"/>
                  <a:pathLst>
                    <a:path w="8" h="3">
                      <a:moveTo>
                        <a:pt x="0" y="3"/>
                      </a:moveTo>
                      <a:cubicBezTo>
                        <a:pt x="3" y="2"/>
                        <a:pt x="5" y="2"/>
                        <a:pt x="8" y="1"/>
                      </a:cubicBezTo>
                      <a:cubicBezTo>
                        <a:pt x="7" y="0"/>
                        <a:pt x="6" y="0"/>
                        <a:pt x="5" y="0"/>
                      </a:cubicBezTo>
                      <a:cubicBezTo>
                        <a:pt x="3" y="0"/>
                        <a:pt x="1"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85" name="Oval 597"/>
                <p:cNvSpPr>
                  <a:spLocks noChangeArrowheads="1"/>
                </p:cNvSpPr>
                <p:nvPr/>
              </p:nvSpPr>
              <p:spPr bwMode="auto">
                <a:xfrm>
                  <a:off x="14339"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86" name="Oval 598"/>
                <p:cNvSpPr>
                  <a:spLocks noChangeArrowheads="1"/>
                </p:cNvSpPr>
                <p:nvPr/>
              </p:nvSpPr>
              <p:spPr bwMode="auto">
                <a:xfrm>
                  <a:off x="14472"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887" name="Freeform 599"/>
                <p:cNvSpPr>
                  <a:spLocks/>
                </p:cNvSpPr>
                <p:nvPr/>
              </p:nvSpPr>
              <p:spPr bwMode="auto">
                <a:xfrm>
                  <a:off x="14325" y="1443"/>
                  <a:ext cx="52" cy="109"/>
                </a:xfrm>
                <a:custGeom>
                  <a:avLst/>
                  <a:gdLst>
                    <a:gd name="T0" fmla="*/ 0 w 22"/>
                    <a:gd name="T1" fmla="*/ 6 h 46"/>
                    <a:gd name="T2" fmla="*/ 0 w 22"/>
                    <a:gd name="T3" fmla="*/ 20 h 46"/>
                    <a:gd name="T4" fmla="*/ 2 w 22"/>
                    <a:gd name="T5" fmla="*/ 23 h 46"/>
                    <a:gd name="T6" fmla="*/ 4 w 22"/>
                    <a:gd name="T7" fmla="*/ 20 h 46"/>
                    <a:gd name="T8" fmla="*/ 4 w 22"/>
                    <a:gd name="T9" fmla="*/ 7 h 46"/>
                    <a:gd name="T10" fmla="*/ 5 w 22"/>
                    <a:gd name="T11" fmla="*/ 7 h 46"/>
                    <a:gd name="T12" fmla="*/ 5 w 22"/>
                    <a:gd name="T13" fmla="*/ 44 h 46"/>
                    <a:gd name="T14" fmla="*/ 8 w 22"/>
                    <a:gd name="T15" fmla="*/ 46 h 46"/>
                    <a:gd name="T16" fmla="*/ 11 w 22"/>
                    <a:gd name="T17" fmla="*/ 44 h 46"/>
                    <a:gd name="T18" fmla="*/ 11 w 22"/>
                    <a:gd name="T19" fmla="*/ 23 h 46"/>
                    <a:gd name="T20" fmla="*/ 12 w 22"/>
                    <a:gd name="T21" fmla="*/ 23 h 46"/>
                    <a:gd name="T22" fmla="*/ 12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3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2" y="23"/>
                        <a:pt x="22" y="22"/>
                        <a:pt x="22" y="20"/>
                      </a:cubicBezTo>
                      <a:cubicBezTo>
                        <a:pt x="22" y="19"/>
                        <a:pt x="22" y="8"/>
                        <a:pt x="22" y="6"/>
                      </a:cubicBezTo>
                      <a:cubicBezTo>
                        <a:pt x="22" y="2"/>
                        <a:pt x="20" y="0"/>
                        <a:pt x="16" y="0"/>
                      </a:cubicBezTo>
                      <a:cubicBezTo>
                        <a:pt x="15" y="0"/>
                        <a:pt x="7" y="0"/>
                        <a:pt x="6"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grpSp>
            <p:nvGrpSpPr>
              <p:cNvPr id="326" name="Group 801"/>
              <p:cNvGrpSpPr>
                <a:grpSpLocks/>
              </p:cNvGrpSpPr>
              <p:nvPr/>
            </p:nvGrpSpPr>
            <p:grpSpPr bwMode="auto">
              <a:xfrm>
                <a:off x="19464338" y="1782763"/>
                <a:ext cx="3881438" cy="684213"/>
                <a:chOff x="12261" y="1123"/>
                <a:chExt cx="2445" cy="431"/>
              </a:xfrm>
              <a:grpFill/>
            </p:grpSpPr>
            <p:sp>
              <p:nvSpPr>
                <p:cNvPr id="1488" name="Freeform 601"/>
                <p:cNvSpPr>
                  <a:spLocks/>
                </p:cNvSpPr>
                <p:nvPr/>
              </p:nvSpPr>
              <p:spPr bwMode="auto">
                <a:xfrm>
                  <a:off x="14192" y="1443"/>
                  <a:ext cx="55" cy="109"/>
                </a:xfrm>
                <a:custGeom>
                  <a:avLst/>
                  <a:gdLst>
                    <a:gd name="T0" fmla="*/ 0 w 23"/>
                    <a:gd name="T1" fmla="*/ 6 h 46"/>
                    <a:gd name="T2" fmla="*/ 0 w 23"/>
                    <a:gd name="T3" fmla="*/ 20 h 46"/>
                    <a:gd name="T4" fmla="*/ 3 w 23"/>
                    <a:gd name="T5" fmla="*/ 23 h 46"/>
                    <a:gd name="T6" fmla="*/ 5 w 23"/>
                    <a:gd name="T7" fmla="*/ 20 h 46"/>
                    <a:gd name="T8" fmla="*/ 5 w 23"/>
                    <a:gd name="T9" fmla="*/ 7 h 46"/>
                    <a:gd name="T10" fmla="*/ 6 w 23"/>
                    <a:gd name="T11" fmla="*/ 7 h 46"/>
                    <a:gd name="T12" fmla="*/ 6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7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3" y="23"/>
                      </a:cubicBezTo>
                      <a:cubicBezTo>
                        <a:pt x="4" y="23"/>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4"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7"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89" name="Oval 602"/>
                <p:cNvSpPr>
                  <a:spLocks noChangeArrowheads="1"/>
                </p:cNvSpPr>
                <p:nvPr/>
              </p:nvSpPr>
              <p:spPr bwMode="auto">
                <a:xfrm>
                  <a:off x="14209"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90" name="Freeform 603"/>
                <p:cNvSpPr>
                  <a:spLocks/>
                </p:cNvSpPr>
                <p:nvPr/>
              </p:nvSpPr>
              <p:spPr bwMode="auto">
                <a:xfrm>
                  <a:off x="14188" y="1296"/>
                  <a:ext cx="64" cy="111"/>
                </a:xfrm>
                <a:custGeom>
                  <a:avLst/>
                  <a:gdLst>
                    <a:gd name="T0" fmla="*/ 27 w 27"/>
                    <a:gd name="T1" fmla="*/ 18 h 47"/>
                    <a:gd name="T2" fmla="*/ 23 w 27"/>
                    <a:gd name="T3" fmla="*/ 4 h 47"/>
                    <a:gd name="T4" fmla="*/ 18 w 27"/>
                    <a:gd name="T5" fmla="*/ 0 h 47"/>
                    <a:gd name="T6" fmla="*/ 10 w 27"/>
                    <a:gd name="T7" fmla="*/ 0 h 47"/>
                    <a:gd name="T8" fmla="*/ 5 w 27"/>
                    <a:gd name="T9" fmla="*/ 4 h 47"/>
                    <a:gd name="T10" fmla="*/ 1 w 27"/>
                    <a:gd name="T11" fmla="*/ 18 h 47"/>
                    <a:gd name="T12" fmla="*/ 2 w 27"/>
                    <a:gd name="T13" fmla="*/ 21 h 47"/>
                    <a:gd name="T14" fmla="*/ 4 w 27"/>
                    <a:gd name="T15" fmla="*/ 19 h 47"/>
                    <a:gd name="T16" fmla="*/ 8 w 27"/>
                    <a:gd name="T17" fmla="*/ 6 h 47"/>
                    <a:gd name="T18" fmla="*/ 9 w 27"/>
                    <a:gd name="T19" fmla="*/ 6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7 w 27"/>
                    <a:gd name="T37" fmla="*/ 47 h 47"/>
                    <a:gd name="T38" fmla="*/ 19 w 27"/>
                    <a:gd name="T39" fmla="*/ 45 h 47"/>
                    <a:gd name="T40" fmla="*/ 19 w 27"/>
                    <a:gd name="T41" fmla="*/ 28 h 47"/>
                    <a:gd name="T42" fmla="*/ 25 w 27"/>
                    <a:gd name="T43" fmla="*/ 28 h 47"/>
                    <a:gd name="T44" fmla="*/ 19 w 27"/>
                    <a:gd name="T45" fmla="*/ 6 h 47"/>
                    <a:gd name="T46" fmla="*/ 20 w 27"/>
                    <a:gd name="T47" fmla="*/ 6 h 47"/>
                    <a:gd name="T48" fmla="*/ 24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5" y="10"/>
                        <a:pt x="23" y="4"/>
                      </a:cubicBezTo>
                      <a:cubicBezTo>
                        <a:pt x="22" y="2"/>
                        <a:pt x="20" y="0"/>
                        <a:pt x="18" y="0"/>
                      </a:cubicBezTo>
                      <a:cubicBezTo>
                        <a:pt x="16" y="0"/>
                        <a:pt x="11" y="0"/>
                        <a:pt x="10" y="0"/>
                      </a:cubicBezTo>
                      <a:cubicBezTo>
                        <a:pt x="8" y="0"/>
                        <a:pt x="5" y="2"/>
                        <a:pt x="5" y="4"/>
                      </a:cubicBezTo>
                      <a:cubicBezTo>
                        <a:pt x="3" y="10"/>
                        <a:pt x="1" y="18"/>
                        <a:pt x="1" y="18"/>
                      </a:cubicBezTo>
                      <a:cubicBezTo>
                        <a:pt x="0" y="19"/>
                        <a:pt x="1" y="20"/>
                        <a:pt x="2" y="21"/>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91" name="Oval 604"/>
                <p:cNvSpPr>
                  <a:spLocks noChangeArrowheads="1"/>
                </p:cNvSpPr>
                <p:nvPr/>
              </p:nvSpPr>
              <p:spPr bwMode="auto">
                <a:xfrm>
                  <a:off x="14339"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92" name="Freeform 605"/>
                <p:cNvSpPr>
                  <a:spLocks/>
                </p:cNvSpPr>
                <p:nvPr/>
              </p:nvSpPr>
              <p:spPr bwMode="auto">
                <a:xfrm>
                  <a:off x="14325" y="1147"/>
                  <a:ext cx="52" cy="111"/>
                </a:xfrm>
                <a:custGeom>
                  <a:avLst/>
                  <a:gdLst>
                    <a:gd name="T0" fmla="*/ 20 w 22"/>
                    <a:gd name="T1" fmla="*/ 23 h 47"/>
                    <a:gd name="T2" fmla="*/ 22 w 22"/>
                    <a:gd name="T3" fmla="*/ 21 h 47"/>
                    <a:gd name="T4" fmla="*/ 22 w 22"/>
                    <a:gd name="T5" fmla="*/ 7 h 47"/>
                    <a:gd name="T6" fmla="*/ 16 w 22"/>
                    <a:gd name="T7" fmla="*/ 0 h 47"/>
                    <a:gd name="T8" fmla="*/ 6 w 22"/>
                    <a:gd name="T9" fmla="*/ 0 h 47"/>
                    <a:gd name="T10" fmla="*/ 0 w 22"/>
                    <a:gd name="T11" fmla="*/ 7 h 47"/>
                    <a:gd name="T12" fmla="*/ 0 w 22"/>
                    <a:gd name="T13" fmla="*/ 21 h 47"/>
                    <a:gd name="T14" fmla="*/ 2 w 22"/>
                    <a:gd name="T15" fmla="*/ 23 h 47"/>
                    <a:gd name="T16" fmla="*/ 4 w 22"/>
                    <a:gd name="T17" fmla="*/ 21 h 47"/>
                    <a:gd name="T18" fmla="*/ 4 w 22"/>
                    <a:gd name="T19" fmla="*/ 8 h 47"/>
                    <a:gd name="T20" fmla="*/ 5 w 22"/>
                    <a:gd name="T21" fmla="*/ 8 h 47"/>
                    <a:gd name="T22" fmla="*/ 5 w 22"/>
                    <a:gd name="T23" fmla="*/ 44 h 47"/>
                    <a:gd name="T24" fmla="*/ 8 w 22"/>
                    <a:gd name="T25" fmla="*/ 47 h 47"/>
                    <a:gd name="T26" fmla="*/ 11 w 22"/>
                    <a:gd name="T27" fmla="*/ 44 h 47"/>
                    <a:gd name="T28" fmla="*/ 11 w 22"/>
                    <a:gd name="T29" fmla="*/ 23 h 47"/>
                    <a:gd name="T30" fmla="*/ 12 w 22"/>
                    <a:gd name="T31" fmla="*/ 23 h 47"/>
                    <a:gd name="T32" fmla="*/ 12 w 22"/>
                    <a:gd name="T33" fmla="*/ 44 h 47"/>
                    <a:gd name="T34" fmla="*/ 14 w 22"/>
                    <a:gd name="T35" fmla="*/ 47 h 47"/>
                    <a:gd name="T36" fmla="*/ 17 w 22"/>
                    <a:gd name="T37" fmla="*/ 44 h 47"/>
                    <a:gd name="T38" fmla="*/ 17 w 22"/>
                    <a:gd name="T39" fmla="*/ 8 h 47"/>
                    <a:gd name="T40" fmla="*/ 18 w 22"/>
                    <a:gd name="T41" fmla="*/ 8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2" y="23"/>
                        <a:pt x="22" y="22"/>
                        <a:pt x="22" y="21"/>
                      </a:cubicBezTo>
                      <a:cubicBezTo>
                        <a:pt x="22" y="20"/>
                        <a:pt x="22" y="8"/>
                        <a:pt x="22" y="7"/>
                      </a:cubicBezTo>
                      <a:cubicBezTo>
                        <a:pt x="22" y="3"/>
                        <a:pt x="20" y="0"/>
                        <a:pt x="16" y="0"/>
                      </a:cubicBezTo>
                      <a:cubicBezTo>
                        <a:pt x="15" y="0"/>
                        <a:pt x="7"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93" name="Oval 606"/>
                <p:cNvSpPr>
                  <a:spLocks noChangeArrowheads="1"/>
                </p:cNvSpPr>
                <p:nvPr/>
              </p:nvSpPr>
              <p:spPr bwMode="auto">
                <a:xfrm>
                  <a:off x="14405"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94" name="Freeform 607"/>
                <p:cNvSpPr>
                  <a:spLocks/>
                </p:cNvSpPr>
                <p:nvPr/>
              </p:nvSpPr>
              <p:spPr bwMode="auto">
                <a:xfrm>
                  <a:off x="14384" y="1147"/>
                  <a:ext cx="64" cy="111"/>
                </a:xfrm>
                <a:custGeom>
                  <a:avLst/>
                  <a:gdLst>
                    <a:gd name="T0" fmla="*/ 18 w 27"/>
                    <a:gd name="T1" fmla="*/ 0 h 47"/>
                    <a:gd name="T2" fmla="*/ 10 w 27"/>
                    <a:gd name="T3" fmla="*/ 0 h 47"/>
                    <a:gd name="T4" fmla="*/ 5 w 27"/>
                    <a:gd name="T5" fmla="*/ 5 h 47"/>
                    <a:gd name="T6" fmla="*/ 1 w 27"/>
                    <a:gd name="T7" fmla="*/ 19 h 47"/>
                    <a:gd name="T8" fmla="*/ 2 w 27"/>
                    <a:gd name="T9" fmla="*/ 21 h 47"/>
                    <a:gd name="T10" fmla="*/ 4 w 27"/>
                    <a:gd name="T11" fmla="*/ 20 h 47"/>
                    <a:gd name="T12" fmla="*/ 8 w 27"/>
                    <a:gd name="T13" fmla="*/ 7 h 47"/>
                    <a:gd name="T14" fmla="*/ 9 w 27"/>
                    <a:gd name="T15" fmla="*/ 7 h 47"/>
                    <a:gd name="T16" fmla="*/ 3 w 27"/>
                    <a:gd name="T17" fmla="*/ 29 h 47"/>
                    <a:gd name="T18" fmla="*/ 9 w 27"/>
                    <a:gd name="T19" fmla="*/ 29 h 47"/>
                    <a:gd name="T20" fmla="*/ 9 w 27"/>
                    <a:gd name="T21" fmla="*/ 45 h 47"/>
                    <a:gd name="T22" fmla="*/ 11 w 27"/>
                    <a:gd name="T23" fmla="*/ 47 h 47"/>
                    <a:gd name="T24" fmla="*/ 13 w 27"/>
                    <a:gd name="T25" fmla="*/ 45 h 47"/>
                    <a:gd name="T26" fmla="*/ 13 w 27"/>
                    <a:gd name="T27" fmla="*/ 29 h 47"/>
                    <a:gd name="T28" fmla="*/ 14 w 27"/>
                    <a:gd name="T29" fmla="*/ 29 h 47"/>
                    <a:gd name="T30" fmla="*/ 14 w 27"/>
                    <a:gd name="T31" fmla="*/ 45 h 47"/>
                    <a:gd name="T32" fmla="*/ 17 w 27"/>
                    <a:gd name="T33" fmla="*/ 47 h 47"/>
                    <a:gd name="T34" fmla="*/ 19 w 27"/>
                    <a:gd name="T35" fmla="*/ 45 h 47"/>
                    <a:gd name="T36" fmla="*/ 19 w 27"/>
                    <a:gd name="T37" fmla="*/ 29 h 47"/>
                    <a:gd name="T38" fmla="*/ 25 w 27"/>
                    <a:gd name="T39" fmla="*/ 29 h 47"/>
                    <a:gd name="T40" fmla="*/ 19 w 27"/>
                    <a:gd name="T41" fmla="*/ 7 h 47"/>
                    <a:gd name="T42" fmla="*/ 20 w 27"/>
                    <a:gd name="T43" fmla="*/ 7 h 47"/>
                    <a:gd name="T44" fmla="*/ 24 w 27"/>
                    <a:gd name="T45" fmla="*/ 20 h 47"/>
                    <a:gd name="T46" fmla="*/ 26 w 27"/>
                    <a:gd name="T47" fmla="*/ 21 h 47"/>
                    <a:gd name="T48" fmla="*/ 27 w 27"/>
                    <a:gd name="T49" fmla="*/ 19 h 47"/>
                    <a:gd name="T50" fmla="*/ 23 w 27"/>
                    <a:gd name="T51" fmla="*/ 5 h 47"/>
                    <a:gd name="T52" fmla="*/ 18 w 27"/>
                    <a:gd name="T5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8" y="0"/>
                      </a:move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95" name="Oval 608"/>
                <p:cNvSpPr>
                  <a:spLocks noChangeArrowheads="1"/>
                </p:cNvSpPr>
                <p:nvPr/>
              </p:nvSpPr>
              <p:spPr bwMode="auto">
                <a:xfrm>
                  <a:off x="14538"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96" name="Freeform 609"/>
                <p:cNvSpPr>
                  <a:spLocks/>
                </p:cNvSpPr>
                <p:nvPr/>
              </p:nvSpPr>
              <p:spPr bwMode="auto">
                <a:xfrm>
                  <a:off x="14455" y="1147"/>
                  <a:ext cx="55" cy="76"/>
                </a:xfrm>
                <a:custGeom>
                  <a:avLst/>
                  <a:gdLst>
                    <a:gd name="T0" fmla="*/ 17 w 23"/>
                    <a:gd name="T1" fmla="*/ 0 h 32"/>
                    <a:gd name="T2" fmla="*/ 6 w 23"/>
                    <a:gd name="T3" fmla="*/ 0 h 32"/>
                    <a:gd name="T4" fmla="*/ 0 w 23"/>
                    <a:gd name="T5" fmla="*/ 7 h 32"/>
                    <a:gd name="T6" fmla="*/ 0 w 23"/>
                    <a:gd name="T7" fmla="*/ 21 h 32"/>
                    <a:gd name="T8" fmla="*/ 2 w 23"/>
                    <a:gd name="T9" fmla="*/ 23 h 32"/>
                    <a:gd name="T10" fmla="*/ 4 w 23"/>
                    <a:gd name="T11" fmla="*/ 21 h 32"/>
                    <a:gd name="T12" fmla="*/ 4 w 23"/>
                    <a:gd name="T13" fmla="*/ 8 h 32"/>
                    <a:gd name="T14" fmla="*/ 5 w 23"/>
                    <a:gd name="T15" fmla="*/ 8 h 32"/>
                    <a:gd name="T16" fmla="*/ 5 w 23"/>
                    <a:gd name="T17" fmla="*/ 32 h 32"/>
                    <a:gd name="T18" fmla="*/ 11 w 23"/>
                    <a:gd name="T19" fmla="*/ 25 h 32"/>
                    <a:gd name="T20" fmla="*/ 11 w 23"/>
                    <a:gd name="T21" fmla="*/ 23 h 32"/>
                    <a:gd name="T22" fmla="*/ 12 w 23"/>
                    <a:gd name="T23" fmla="*/ 23 h 32"/>
                    <a:gd name="T24" fmla="*/ 12 w 23"/>
                    <a:gd name="T25" fmla="*/ 24 h 32"/>
                    <a:gd name="T26" fmla="*/ 18 w 23"/>
                    <a:gd name="T27" fmla="*/ 19 h 32"/>
                    <a:gd name="T28" fmla="*/ 18 w 23"/>
                    <a:gd name="T29" fmla="*/ 8 h 32"/>
                    <a:gd name="T30" fmla="*/ 19 w 23"/>
                    <a:gd name="T31" fmla="*/ 8 h 32"/>
                    <a:gd name="T32" fmla="*/ 19 w 23"/>
                    <a:gd name="T33" fmla="*/ 18 h 32"/>
                    <a:gd name="T34" fmla="*/ 23 w 23"/>
                    <a:gd name="T35" fmla="*/ 15 h 32"/>
                    <a:gd name="T36" fmla="*/ 23 w 23"/>
                    <a:gd name="T37" fmla="*/ 7 h 32"/>
                    <a:gd name="T38" fmla="*/ 17 w 23"/>
                    <a:gd name="T3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 h="32">
                      <a:moveTo>
                        <a:pt x="17" y="0"/>
                      </a:moveTo>
                      <a:cubicBezTo>
                        <a:pt x="15" y="0"/>
                        <a:pt x="8"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21"/>
                        <a:pt x="5" y="32"/>
                      </a:cubicBezTo>
                      <a:cubicBezTo>
                        <a:pt x="7" y="30"/>
                        <a:pt x="9" y="27"/>
                        <a:pt x="11" y="25"/>
                      </a:cubicBezTo>
                      <a:cubicBezTo>
                        <a:pt x="11" y="24"/>
                        <a:pt x="11" y="23"/>
                        <a:pt x="11" y="23"/>
                      </a:cubicBezTo>
                      <a:cubicBezTo>
                        <a:pt x="11" y="23"/>
                        <a:pt x="11" y="23"/>
                        <a:pt x="12" y="23"/>
                      </a:cubicBezTo>
                      <a:cubicBezTo>
                        <a:pt x="12" y="23"/>
                        <a:pt x="12" y="24"/>
                        <a:pt x="12" y="24"/>
                      </a:cubicBezTo>
                      <a:cubicBezTo>
                        <a:pt x="14" y="22"/>
                        <a:pt x="16" y="21"/>
                        <a:pt x="18" y="19"/>
                      </a:cubicBezTo>
                      <a:cubicBezTo>
                        <a:pt x="18" y="13"/>
                        <a:pt x="18" y="8"/>
                        <a:pt x="18" y="8"/>
                      </a:cubicBezTo>
                      <a:cubicBezTo>
                        <a:pt x="18" y="8"/>
                        <a:pt x="18" y="8"/>
                        <a:pt x="19" y="8"/>
                      </a:cubicBezTo>
                      <a:cubicBezTo>
                        <a:pt x="19" y="8"/>
                        <a:pt x="19" y="14"/>
                        <a:pt x="19" y="18"/>
                      </a:cubicBezTo>
                      <a:cubicBezTo>
                        <a:pt x="20" y="17"/>
                        <a:pt x="21" y="16"/>
                        <a:pt x="23" y="15"/>
                      </a:cubicBezTo>
                      <a:cubicBezTo>
                        <a:pt x="23" y="12"/>
                        <a:pt x="23" y="7"/>
                        <a:pt x="23" y="7"/>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97" name="Freeform 610"/>
                <p:cNvSpPr>
                  <a:spLocks/>
                </p:cNvSpPr>
                <p:nvPr/>
              </p:nvSpPr>
              <p:spPr bwMode="auto">
                <a:xfrm>
                  <a:off x="14320" y="1296"/>
                  <a:ext cx="64" cy="111"/>
                </a:xfrm>
                <a:custGeom>
                  <a:avLst/>
                  <a:gdLst>
                    <a:gd name="T0" fmla="*/ 26 w 27"/>
                    <a:gd name="T1" fmla="*/ 18 h 47"/>
                    <a:gd name="T2" fmla="*/ 22 w 27"/>
                    <a:gd name="T3" fmla="*/ 4 h 47"/>
                    <a:gd name="T4" fmla="*/ 17 w 27"/>
                    <a:gd name="T5" fmla="*/ 0 h 47"/>
                    <a:gd name="T6" fmla="*/ 9 w 27"/>
                    <a:gd name="T7" fmla="*/ 0 h 47"/>
                    <a:gd name="T8" fmla="*/ 4 w 27"/>
                    <a:gd name="T9" fmla="*/ 4 h 47"/>
                    <a:gd name="T10" fmla="*/ 0 w 27"/>
                    <a:gd name="T11" fmla="*/ 18 h 47"/>
                    <a:gd name="T12" fmla="*/ 1 w 27"/>
                    <a:gd name="T13" fmla="*/ 21 h 47"/>
                    <a:gd name="T14" fmla="*/ 4 w 27"/>
                    <a:gd name="T15" fmla="*/ 19 h 47"/>
                    <a:gd name="T16" fmla="*/ 7 w 27"/>
                    <a:gd name="T17" fmla="*/ 6 h 47"/>
                    <a:gd name="T18" fmla="*/ 8 w 27"/>
                    <a:gd name="T19" fmla="*/ 6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4 w 27"/>
                    <a:gd name="T43" fmla="*/ 28 h 47"/>
                    <a:gd name="T44" fmla="*/ 18 w 27"/>
                    <a:gd name="T45" fmla="*/ 6 h 47"/>
                    <a:gd name="T46" fmla="*/ 19 w 27"/>
                    <a:gd name="T47" fmla="*/ 6 h 47"/>
                    <a:gd name="T48" fmla="*/ 23 w 27"/>
                    <a:gd name="T49" fmla="*/ 19 h 47"/>
                    <a:gd name="T50" fmla="*/ 25 w 27"/>
                    <a:gd name="T51" fmla="*/ 21 h 47"/>
                    <a:gd name="T52" fmla="*/ 26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6" y="18"/>
                      </a:moveTo>
                      <a:cubicBezTo>
                        <a:pt x="26" y="18"/>
                        <a:pt x="24" y="10"/>
                        <a:pt x="22" y="4"/>
                      </a:cubicBezTo>
                      <a:cubicBezTo>
                        <a:pt x="22" y="2"/>
                        <a:pt x="19" y="0"/>
                        <a:pt x="17" y="0"/>
                      </a:cubicBezTo>
                      <a:cubicBezTo>
                        <a:pt x="16" y="0"/>
                        <a:pt x="11" y="0"/>
                        <a:pt x="9" y="0"/>
                      </a:cubicBezTo>
                      <a:cubicBezTo>
                        <a:pt x="7" y="0"/>
                        <a:pt x="5" y="2"/>
                        <a:pt x="4" y="4"/>
                      </a:cubicBezTo>
                      <a:cubicBezTo>
                        <a:pt x="2" y="10"/>
                        <a:pt x="0" y="18"/>
                        <a:pt x="0" y="18"/>
                      </a:cubicBezTo>
                      <a:cubicBezTo>
                        <a:pt x="0" y="19"/>
                        <a:pt x="0" y="20"/>
                        <a:pt x="1" y="21"/>
                      </a:cubicBezTo>
                      <a:cubicBezTo>
                        <a:pt x="2" y="21"/>
                        <a:pt x="3" y="20"/>
                        <a:pt x="4" y="19"/>
                      </a:cubicBezTo>
                      <a:cubicBezTo>
                        <a:pt x="4" y="18"/>
                        <a:pt x="7" y="6"/>
                        <a:pt x="7" y="6"/>
                      </a:cubicBezTo>
                      <a:cubicBezTo>
                        <a:pt x="8" y="6"/>
                        <a:pt x="8" y="6"/>
                        <a:pt x="8"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6"/>
                        <a:pt x="18" y="6"/>
                        <a:pt x="18" y="6"/>
                      </a:cubicBezTo>
                      <a:cubicBezTo>
                        <a:pt x="19" y="6"/>
                        <a:pt x="19" y="6"/>
                        <a:pt x="19" y="6"/>
                      </a:cubicBezTo>
                      <a:cubicBezTo>
                        <a:pt x="19" y="6"/>
                        <a:pt x="23" y="18"/>
                        <a:pt x="23" y="19"/>
                      </a:cubicBezTo>
                      <a:cubicBezTo>
                        <a:pt x="23" y="20"/>
                        <a:pt x="24" y="21"/>
                        <a:pt x="25" y="21"/>
                      </a:cubicBezTo>
                      <a:cubicBezTo>
                        <a:pt x="26" y="20"/>
                        <a:pt x="27" y="19"/>
                        <a:pt x="2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98" name="Freeform 611"/>
                <p:cNvSpPr>
                  <a:spLocks/>
                </p:cNvSpPr>
                <p:nvPr/>
              </p:nvSpPr>
              <p:spPr bwMode="auto">
                <a:xfrm>
                  <a:off x="14538" y="1270"/>
                  <a:ext cx="21" cy="9"/>
                </a:xfrm>
                <a:custGeom>
                  <a:avLst/>
                  <a:gdLst>
                    <a:gd name="T0" fmla="*/ 4 w 9"/>
                    <a:gd name="T1" fmla="*/ 0 h 4"/>
                    <a:gd name="T2" fmla="*/ 0 w 9"/>
                    <a:gd name="T3" fmla="*/ 4 h 4"/>
                    <a:gd name="T4" fmla="*/ 9 w 9"/>
                    <a:gd name="T5" fmla="*/ 3 h 4"/>
                    <a:gd name="T6" fmla="*/ 4 w 9"/>
                    <a:gd name="T7" fmla="*/ 0 h 4"/>
                  </a:gdLst>
                  <a:ahLst/>
                  <a:cxnLst>
                    <a:cxn ang="0">
                      <a:pos x="T0" y="T1"/>
                    </a:cxn>
                    <a:cxn ang="0">
                      <a:pos x="T2" y="T3"/>
                    </a:cxn>
                    <a:cxn ang="0">
                      <a:pos x="T4" y="T5"/>
                    </a:cxn>
                    <a:cxn ang="0">
                      <a:pos x="T6" y="T7"/>
                    </a:cxn>
                  </a:cxnLst>
                  <a:rect l="0" t="0" r="r" b="b"/>
                  <a:pathLst>
                    <a:path w="9" h="4">
                      <a:moveTo>
                        <a:pt x="4" y="0"/>
                      </a:moveTo>
                      <a:cubicBezTo>
                        <a:pt x="2" y="0"/>
                        <a:pt x="0" y="2"/>
                        <a:pt x="0" y="4"/>
                      </a:cubicBezTo>
                      <a:cubicBezTo>
                        <a:pt x="3" y="4"/>
                        <a:pt x="6" y="4"/>
                        <a:pt x="9" y="3"/>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99" name="Freeform 612"/>
                <p:cNvSpPr>
                  <a:spLocks/>
                </p:cNvSpPr>
                <p:nvPr/>
              </p:nvSpPr>
              <p:spPr bwMode="auto">
                <a:xfrm>
                  <a:off x="14472" y="1365"/>
                  <a:ext cx="9" cy="42"/>
                </a:xfrm>
                <a:custGeom>
                  <a:avLst/>
                  <a:gdLst>
                    <a:gd name="T0" fmla="*/ 2 w 4"/>
                    <a:gd name="T1" fmla="*/ 18 h 18"/>
                    <a:gd name="T2" fmla="*/ 4 w 4"/>
                    <a:gd name="T3" fmla="*/ 16 h 18"/>
                    <a:gd name="T4" fmla="*/ 4 w 4"/>
                    <a:gd name="T5" fmla="*/ 0 h 18"/>
                    <a:gd name="T6" fmla="*/ 0 w 4"/>
                    <a:gd name="T7" fmla="*/ 3 h 18"/>
                    <a:gd name="T8" fmla="*/ 0 w 4"/>
                    <a:gd name="T9" fmla="*/ 16 h 18"/>
                    <a:gd name="T10" fmla="*/ 2 w 4"/>
                    <a:gd name="T11" fmla="*/ 18 h 18"/>
                  </a:gdLst>
                  <a:ahLst/>
                  <a:cxnLst>
                    <a:cxn ang="0">
                      <a:pos x="T0" y="T1"/>
                    </a:cxn>
                    <a:cxn ang="0">
                      <a:pos x="T2" y="T3"/>
                    </a:cxn>
                    <a:cxn ang="0">
                      <a:pos x="T4" y="T5"/>
                    </a:cxn>
                    <a:cxn ang="0">
                      <a:pos x="T6" y="T7"/>
                    </a:cxn>
                    <a:cxn ang="0">
                      <a:pos x="T8" y="T9"/>
                    </a:cxn>
                    <a:cxn ang="0">
                      <a:pos x="T10" y="T11"/>
                    </a:cxn>
                  </a:cxnLst>
                  <a:rect l="0" t="0" r="r" b="b"/>
                  <a:pathLst>
                    <a:path w="4" h="18">
                      <a:moveTo>
                        <a:pt x="2" y="18"/>
                      </a:moveTo>
                      <a:cubicBezTo>
                        <a:pt x="3" y="18"/>
                        <a:pt x="4" y="17"/>
                        <a:pt x="4" y="16"/>
                      </a:cubicBezTo>
                      <a:cubicBezTo>
                        <a:pt x="4" y="14"/>
                        <a:pt x="4" y="3"/>
                        <a:pt x="4" y="0"/>
                      </a:cubicBezTo>
                      <a:cubicBezTo>
                        <a:pt x="3" y="1"/>
                        <a:pt x="1" y="2"/>
                        <a:pt x="0" y="3"/>
                      </a:cubicBezTo>
                      <a:cubicBezTo>
                        <a:pt x="0" y="9"/>
                        <a:pt x="0" y="15"/>
                        <a:pt x="0" y="16"/>
                      </a:cubicBezTo>
                      <a:cubicBezTo>
                        <a:pt x="0" y="17"/>
                        <a:pt x="1" y="18"/>
                        <a:pt x="2"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00" name="Freeform 613"/>
                <p:cNvSpPr>
                  <a:spLocks/>
                </p:cNvSpPr>
                <p:nvPr/>
              </p:nvSpPr>
              <p:spPr bwMode="auto">
                <a:xfrm>
                  <a:off x="14533" y="1350"/>
                  <a:ext cx="14" cy="57"/>
                </a:xfrm>
                <a:custGeom>
                  <a:avLst/>
                  <a:gdLst>
                    <a:gd name="T0" fmla="*/ 3 w 6"/>
                    <a:gd name="T1" fmla="*/ 24 h 24"/>
                    <a:gd name="T2" fmla="*/ 6 w 6"/>
                    <a:gd name="T3" fmla="*/ 21 h 24"/>
                    <a:gd name="T4" fmla="*/ 6 w 6"/>
                    <a:gd name="T5" fmla="*/ 2 h 24"/>
                    <a:gd name="T6" fmla="*/ 0 w 6"/>
                    <a:gd name="T7" fmla="*/ 0 h 24"/>
                    <a:gd name="T8" fmla="*/ 0 w 6"/>
                    <a:gd name="T9" fmla="*/ 21 h 24"/>
                    <a:gd name="T10" fmla="*/ 3 w 6"/>
                    <a:gd name="T11" fmla="*/ 24 h 24"/>
                  </a:gdLst>
                  <a:ahLst/>
                  <a:cxnLst>
                    <a:cxn ang="0">
                      <a:pos x="T0" y="T1"/>
                    </a:cxn>
                    <a:cxn ang="0">
                      <a:pos x="T2" y="T3"/>
                    </a:cxn>
                    <a:cxn ang="0">
                      <a:pos x="T4" y="T5"/>
                    </a:cxn>
                    <a:cxn ang="0">
                      <a:pos x="T6" y="T7"/>
                    </a:cxn>
                    <a:cxn ang="0">
                      <a:pos x="T8" y="T9"/>
                    </a:cxn>
                    <a:cxn ang="0">
                      <a:pos x="T10" y="T11"/>
                    </a:cxn>
                  </a:cxnLst>
                  <a:rect l="0" t="0" r="r" b="b"/>
                  <a:pathLst>
                    <a:path w="6" h="24">
                      <a:moveTo>
                        <a:pt x="3" y="24"/>
                      </a:moveTo>
                      <a:cubicBezTo>
                        <a:pt x="4" y="24"/>
                        <a:pt x="6" y="22"/>
                        <a:pt x="6" y="21"/>
                      </a:cubicBezTo>
                      <a:cubicBezTo>
                        <a:pt x="6" y="19"/>
                        <a:pt x="6" y="7"/>
                        <a:pt x="6" y="2"/>
                      </a:cubicBezTo>
                      <a:cubicBezTo>
                        <a:pt x="4" y="1"/>
                        <a:pt x="2" y="1"/>
                        <a:pt x="0" y="0"/>
                      </a:cubicBezTo>
                      <a:cubicBezTo>
                        <a:pt x="0" y="10"/>
                        <a:pt x="0" y="20"/>
                        <a:pt x="0" y="21"/>
                      </a:cubicBezTo>
                      <a:cubicBezTo>
                        <a:pt x="0" y="22"/>
                        <a:pt x="1" y="24"/>
                        <a:pt x="3"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01" name="Freeform 614"/>
                <p:cNvSpPr>
                  <a:spLocks/>
                </p:cNvSpPr>
                <p:nvPr/>
              </p:nvSpPr>
              <p:spPr bwMode="auto">
                <a:xfrm>
                  <a:off x="14484" y="1353"/>
                  <a:ext cx="26" cy="54"/>
                </a:xfrm>
                <a:custGeom>
                  <a:avLst/>
                  <a:gdLst>
                    <a:gd name="T0" fmla="*/ 0 w 11"/>
                    <a:gd name="T1" fmla="*/ 21 h 23"/>
                    <a:gd name="T2" fmla="*/ 2 w 11"/>
                    <a:gd name="T3" fmla="*/ 23 h 23"/>
                    <a:gd name="T4" fmla="*/ 5 w 11"/>
                    <a:gd name="T5" fmla="*/ 21 h 23"/>
                    <a:gd name="T6" fmla="*/ 5 w 11"/>
                    <a:gd name="T7" fmla="*/ 4 h 23"/>
                    <a:gd name="T8" fmla="*/ 11 w 11"/>
                    <a:gd name="T9" fmla="*/ 4 h 23"/>
                    <a:gd name="T10" fmla="*/ 10 w 11"/>
                    <a:gd name="T11" fmla="*/ 0 h 23"/>
                    <a:gd name="T12" fmla="*/ 0 w 11"/>
                    <a:gd name="T13" fmla="*/ 4 h 23"/>
                    <a:gd name="T14" fmla="*/ 0 w 11"/>
                    <a:gd name="T15" fmla="*/ 2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23">
                      <a:moveTo>
                        <a:pt x="0" y="21"/>
                      </a:moveTo>
                      <a:cubicBezTo>
                        <a:pt x="0" y="22"/>
                        <a:pt x="1" y="23"/>
                        <a:pt x="2" y="23"/>
                      </a:cubicBezTo>
                      <a:cubicBezTo>
                        <a:pt x="4" y="23"/>
                        <a:pt x="5" y="22"/>
                        <a:pt x="5" y="21"/>
                      </a:cubicBezTo>
                      <a:cubicBezTo>
                        <a:pt x="5" y="20"/>
                        <a:pt x="5" y="12"/>
                        <a:pt x="5" y="4"/>
                      </a:cubicBezTo>
                      <a:cubicBezTo>
                        <a:pt x="11" y="4"/>
                        <a:pt x="11" y="4"/>
                        <a:pt x="11" y="4"/>
                      </a:cubicBezTo>
                      <a:cubicBezTo>
                        <a:pt x="10" y="3"/>
                        <a:pt x="10" y="1"/>
                        <a:pt x="10" y="0"/>
                      </a:cubicBezTo>
                      <a:cubicBezTo>
                        <a:pt x="6" y="1"/>
                        <a:pt x="3" y="2"/>
                        <a:pt x="0" y="4"/>
                      </a:cubicBezTo>
                      <a:cubicBezTo>
                        <a:pt x="0" y="6"/>
                        <a:pt x="0" y="19"/>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02" name="Freeform 615"/>
                <p:cNvSpPr>
                  <a:spLocks/>
                </p:cNvSpPr>
                <p:nvPr/>
              </p:nvSpPr>
              <p:spPr bwMode="auto">
                <a:xfrm>
                  <a:off x="14550" y="1358"/>
                  <a:ext cx="12" cy="49"/>
                </a:xfrm>
                <a:custGeom>
                  <a:avLst/>
                  <a:gdLst>
                    <a:gd name="T0" fmla="*/ 0 w 5"/>
                    <a:gd name="T1" fmla="*/ 0 h 21"/>
                    <a:gd name="T2" fmla="*/ 0 w 5"/>
                    <a:gd name="T3" fmla="*/ 18 h 21"/>
                    <a:gd name="T4" fmla="*/ 3 w 5"/>
                    <a:gd name="T5" fmla="*/ 21 h 21"/>
                    <a:gd name="T6" fmla="*/ 5 w 5"/>
                    <a:gd name="T7" fmla="*/ 18 h 21"/>
                    <a:gd name="T8" fmla="*/ 5 w 5"/>
                    <a:gd name="T9" fmla="*/ 3 h 21"/>
                    <a:gd name="T10" fmla="*/ 3 w 5"/>
                    <a:gd name="T11" fmla="*/ 2 h 21"/>
                    <a:gd name="T12" fmla="*/ 0 w 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5" h="21">
                      <a:moveTo>
                        <a:pt x="0" y="0"/>
                      </a:moveTo>
                      <a:cubicBezTo>
                        <a:pt x="0" y="5"/>
                        <a:pt x="0" y="16"/>
                        <a:pt x="0" y="18"/>
                      </a:cubicBezTo>
                      <a:cubicBezTo>
                        <a:pt x="0" y="19"/>
                        <a:pt x="1" y="21"/>
                        <a:pt x="3" y="21"/>
                      </a:cubicBezTo>
                      <a:cubicBezTo>
                        <a:pt x="4" y="21"/>
                        <a:pt x="5" y="19"/>
                        <a:pt x="5" y="18"/>
                      </a:cubicBezTo>
                      <a:cubicBezTo>
                        <a:pt x="5" y="17"/>
                        <a:pt x="5" y="11"/>
                        <a:pt x="5" y="3"/>
                      </a:cubicBezTo>
                      <a:cubicBezTo>
                        <a:pt x="5" y="3"/>
                        <a:pt x="4" y="2"/>
                        <a:pt x="3" y="2"/>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03" name="Freeform 616"/>
                <p:cNvSpPr>
                  <a:spLocks/>
                </p:cNvSpPr>
                <p:nvPr/>
              </p:nvSpPr>
              <p:spPr bwMode="auto">
                <a:xfrm>
                  <a:off x="14538" y="1417"/>
                  <a:ext cx="21" cy="21"/>
                </a:xfrm>
                <a:custGeom>
                  <a:avLst/>
                  <a:gdLst>
                    <a:gd name="T0" fmla="*/ 4 w 9"/>
                    <a:gd name="T1" fmla="*/ 0 h 9"/>
                    <a:gd name="T2" fmla="*/ 0 w 9"/>
                    <a:gd name="T3" fmla="*/ 5 h 9"/>
                    <a:gd name="T4" fmla="*/ 2 w 9"/>
                    <a:gd name="T5" fmla="*/ 9 h 9"/>
                    <a:gd name="T6" fmla="*/ 9 w 9"/>
                    <a:gd name="T7" fmla="*/ 4 h 9"/>
                    <a:gd name="T8" fmla="*/ 4 w 9"/>
                    <a:gd name="T9" fmla="*/ 0 h 9"/>
                  </a:gdLst>
                  <a:ahLst/>
                  <a:cxnLst>
                    <a:cxn ang="0">
                      <a:pos x="T0" y="T1"/>
                    </a:cxn>
                    <a:cxn ang="0">
                      <a:pos x="T2" y="T3"/>
                    </a:cxn>
                    <a:cxn ang="0">
                      <a:pos x="T4" y="T5"/>
                    </a:cxn>
                    <a:cxn ang="0">
                      <a:pos x="T6" y="T7"/>
                    </a:cxn>
                    <a:cxn ang="0">
                      <a:pos x="T8" y="T9"/>
                    </a:cxn>
                  </a:cxnLst>
                  <a:rect l="0" t="0" r="r" b="b"/>
                  <a:pathLst>
                    <a:path w="9" h="9">
                      <a:moveTo>
                        <a:pt x="4" y="0"/>
                      </a:moveTo>
                      <a:cubicBezTo>
                        <a:pt x="2" y="0"/>
                        <a:pt x="0" y="2"/>
                        <a:pt x="0" y="5"/>
                      </a:cubicBezTo>
                      <a:cubicBezTo>
                        <a:pt x="0" y="6"/>
                        <a:pt x="0" y="8"/>
                        <a:pt x="2" y="9"/>
                      </a:cubicBezTo>
                      <a:cubicBezTo>
                        <a:pt x="4" y="7"/>
                        <a:pt x="7" y="5"/>
                        <a:pt x="9"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04" name="Freeform 617"/>
                <p:cNvSpPr>
                  <a:spLocks/>
                </p:cNvSpPr>
                <p:nvPr/>
              </p:nvSpPr>
              <p:spPr bwMode="auto">
                <a:xfrm>
                  <a:off x="14391" y="1296"/>
                  <a:ext cx="43" cy="111"/>
                </a:xfrm>
                <a:custGeom>
                  <a:avLst/>
                  <a:gdLst>
                    <a:gd name="T0" fmla="*/ 0 w 18"/>
                    <a:gd name="T1" fmla="*/ 6 h 47"/>
                    <a:gd name="T2" fmla="*/ 0 w 18"/>
                    <a:gd name="T3" fmla="*/ 21 h 47"/>
                    <a:gd name="T4" fmla="*/ 2 w 18"/>
                    <a:gd name="T5" fmla="*/ 23 h 47"/>
                    <a:gd name="T6" fmla="*/ 4 w 18"/>
                    <a:gd name="T7" fmla="*/ 21 h 47"/>
                    <a:gd name="T8" fmla="*/ 4 w 18"/>
                    <a:gd name="T9" fmla="*/ 7 h 47"/>
                    <a:gd name="T10" fmla="*/ 5 w 18"/>
                    <a:gd name="T11" fmla="*/ 7 h 47"/>
                    <a:gd name="T12" fmla="*/ 5 w 18"/>
                    <a:gd name="T13" fmla="*/ 44 h 47"/>
                    <a:gd name="T14" fmla="*/ 8 w 18"/>
                    <a:gd name="T15" fmla="*/ 47 h 47"/>
                    <a:gd name="T16" fmla="*/ 10 w 18"/>
                    <a:gd name="T17" fmla="*/ 44 h 47"/>
                    <a:gd name="T18" fmla="*/ 10 w 18"/>
                    <a:gd name="T19" fmla="*/ 39 h 47"/>
                    <a:gd name="T20" fmla="*/ 9 w 18"/>
                    <a:gd name="T21" fmla="*/ 39 h 47"/>
                    <a:gd name="T22" fmla="*/ 10 w 18"/>
                    <a:gd name="T23" fmla="*/ 37 h 47"/>
                    <a:gd name="T24" fmla="*/ 10 w 18"/>
                    <a:gd name="T25" fmla="*/ 23 h 47"/>
                    <a:gd name="T26" fmla="*/ 11 w 18"/>
                    <a:gd name="T27" fmla="*/ 23 h 47"/>
                    <a:gd name="T28" fmla="*/ 11 w 18"/>
                    <a:gd name="T29" fmla="*/ 36 h 47"/>
                    <a:gd name="T30" fmla="*/ 12 w 18"/>
                    <a:gd name="T31" fmla="*/ 11 h 47"/>
                    <a:gd name="T32" fmla="*/ 4 w 18"/>
                    <a:gd name="T33" fmla="*/ 0 h 47"/>
                    <a:gd name="T34" fmla="*/ 0 w 18"/>
                    <a:gd name="T3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3"/>
                        <a:pt x="10" y="42"/>
                        <a:pt x="10" y="39"/>
                      </a:cubicBezTo>
                      <a:cubicBezTo>
                        <a:pt x="10" y="39"/>
                        <a:pt x="9" y="39"/>
                        <a:pt x="9" y="39"/>
                      </a:cubicBezTo>
                      <a:cubicBezTo>
                        <a:pt x="9" y="38"/>
                        <a:pt x="10" y="38"/>
                        <a:pt x="10" y="37"/>
                      </a:cubicBezTo>
                      <a:cubicBezTo>
                        <a:pt x="10" y="31"/>
                        <a:pt x="10" y="23"/>
                        <a:pt x="10" y="23"/>
                      </a:cubicBezTo>
                      <a:cubicBezTo>
                        <a:pt x="10" y="23"/>
                        <a:pt x="10" y="23"/>
                        <a:pt x="11" y="23"/>
                      </a:cubicBezTo>
                      <a:cubicBezTo>
                        <a:pt x="11" y="23"/>
                        <a:pt x="11" y="30"/>
                        <a:pt x="11" y="36"/>
                      </a:cubicBezTo>
                      <a:cubicBezTo>
                        <a:pt x="18" y="26"/>
                        <a:pt x="11" y="19"/>
                        <a:pt x="12" y="11"/>
                      </a:cubicBezTo>
                      <a:cubicBezTo>
                        <a:pt x="12" y="7"/>
                        <a:pt x="6" y="5"/>
                        <a:pt x="4" y="0"/>
                      </a:cubicBezTo>
                      <a:cubicBezTo>
                        <a:pt x="2" y="1"/>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05" name="Oval 618"/>
                <p:cNvSpPr>
                  <a:spLocks noChangeArrowheads="1"/>
                </p:cNvSpPr>
                <p:nvPr/>
              </p:nvSpPr>
              <p:spPr bwMode="auto">
                <a:xfrm>
                  <a:off x="14339"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06" name="Freeform 619"/>
                <p:cNvSpPr>
                  <a:spLocks/>
                </p:cNvSpPr>
                <p:nvPr/>
              </p:nvSpPr>
              <p:spPr bwMode="auto">
                <a:xfrm>
                  <a:off x="14455" y="1443"/>
                  <a:ext cx="55" cy="45"/>
                </a:xfrm>
                <a:custGeom>
                  <a:avLst/>
                  <a:gdLst>
                    <a:gd name="T0" fmla="*/ 17 w 23"/>
                    <a:gd name="T1" fmla="*/ 0 h 19"/>
                    <a:gd name="T2" fmla="*/ 6 w 23"/>
                    <a:gd name="T3" fmla="*/ 0 h 19"/>
                    <a:gd name="T4" fmla="*/ 0 w 23"/>
                    <a:gd name="T5" fmla="*/ 6 h 19"/>
                    <a:gd name="T6" fmla="*/ 0 w 23"/>
                    <a:gd name="T7" fmla="*/ 19 h 19"/>
                    <a:gd name="T8" fmla="*/ 4 w 23"/>
                    <a:gd name="T9" fmla="*/ 16 h 19"/>
                    <a:gd name="T10" fmla="*/ 4 w 23"/>
                    <a:gd name="T11" fmla="*/ 7 h 19"/>
                    <a:gd name="T12" fmla="*/ 5 w 23"/>
                    <a:gd name="T13" fmla="*/ 7 h 19"/>
                    <a:gd name="T14" fmla="*/ 5 w 23"/>
                    <a:gd name="T15" fmla="*/ 16 h 19"/>
                    <a:gd name="T16" fmla="*/ 18 w 23"/>
                    <a:gd name="T17" fmla="*/ 9 h 19"/>
                    <a:gd name="T18" fmla="*/ 18 w 23"/>
                    <a:gd name="T19" fmla="*/ 7 h 19"/>
                    <a:gd name="T20" fmla="*/ 19 w 23"/>
                    <a:gd name="T21" fmla="*/ 7 h 19"/>
                    <a:gd name="T22" fmla="*/ 19 w 23"/>
                    <a:gd name="T23" fmla="*/ 8 h 19"/>
                    <a:gd name="T24" fmla="*/ 23 w 23"/>
                    <a:gd name="T25" fmla="*/ 6 h 19"/>
                    <a:gd name="T26" fmla="*/ 17 w 23"/>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19">
                      <a:moveTo>
                        <a:pt x="17" y="0"/>
                      </a:moveTo>
                      <a:cubicBezTo>
                        <a:pt x="15" y="0"/>
                        <a:pt x="8" y="0"/>
                        <a:pt x="6" y="0"/>
                      </a:cubicBezTo>
                      <a:cubicBezTo>
                        <a:pt x="3" y="0"/>
                        <a:pt x="0" y="2"/>
                        <a:pt x="0" y="6"/>
                      </a:cubicBezTo>
                      <a:cubicBezTo>
                        <a:pt x="0" y="7"/>
                        <a:pt x="0" y="15"/>
                        <a:pt x="0" y="19"/>
                      </a:cubicBezTo>
                      <a:cubicBezTo>
                        <a:pt x="1" y="18"/>
                        <a:pt x="3" y="17"/>
                        <a:pt x="4" y="16"/>
                      </a:cubicBezTo>
                      <a:cubicBezTo>
                        <a:pt x="4" y="12"/>
                        <a:pt x="4" y="7"/>
                        <a:pt x="4" y="7"/>
                      </a:cubicBezTo>
                      <a:cubicBezTo>
                        <a:pt x="4" y="7"/>
                        <a:pt x="4" y="7"/>
                        <a:pt x="5" y="7"/>
                      </a:cubicBezTo>
                      <a:cubicBezTo>
                        <a:pt x="5" y="7"/>
                        <a:pt x="5" y="11"/>
                        <a:pt x="5" y="16"/>
                      </a:cubicBezTo>
                      <a:cubicBezTo>
                        <a:pt x="9" y="14"/>
                        <a:pt x="13" y="11"/>
                        <a:pt x="18" y="9"/>
                      </a:cubicBezTo>
                      <a:cubicBezTo>
                        <a:pt x="18" y="8"/>
                        <a:pt x="18" y="7"/>
                        <a:pt x="18" y="7"/>
                      </a:cubicBezTo>
                      <a:cubicBezTo>
                        <a:pt x="18" y="7"/>
                        <a:pt x="18" y="7"/>
                        <a:pt x="19" y="7"/>
                      </a:cubicBezTo>
                      <a:cubicBezTo>
                        <a:pt x="19" y="7"/>
                        <a:pt x="19" y="7"/>
                        <a:pt x="19" y="8"/>
                      </a:cubicBezTo>
                      <a:cubicBezTo>
                        <a:pt x="20" y="7"/>
                        <a:pt x="21" y="6"/>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07" name="Freeform 620"/>
                <p:cNvSpPr>
                  <a:spLocks/>
                </p:cNvSpPr>
                <p:nvPr/>
              </p:nvSpPr>
              <p:spPr bwMode="auto">
                <a:xfrm>
                  <a:off x="14417" y="1388"/>
                  <a:ext cx="14" cy="19"/>
                </a:xfrm>
                <a:custGeom>
                  <a:avLst/>
                  <a:gdLst>
                    <a:gd name="T0" fmla="*/ 0 w 6"/>
                    <a:gd name="T1" fmla="*/ 0 h 8"/>
                    <a:gd name="T2" fmla="*/ 0 w 6"/>
                    <a:gd name="T3" fmla="*/ 5 h 8"/>
                    <a:gd name="T4" fmla="*/ 3 w 6"/>
                    <a:gd name="T5" fmla="*/ 8 h 8"/>
                    <a:gd name="T6" fmla="*/ 6 w 6"/>
                    <a:gd name="T7" fmla="*/ 5 h 8"/>
                    <a:gd name="T8" fmla="*/ 6 w 6"/>
                    <a:gd name="T9" fmla="*/ 0 h 8"/>
                    <a:gd name="T10" fmla="*/ 0 w 6"/>
                    <a:gd name="T11" fmla="*/ 0 h 8"/>
                  </a:gdLst>
                  <a:ahLst/>
                  <a:cxnLst>
                    <a:cxn ang="0">
                      <a:pos x="T0" y="T1"/>
                    </a:cxn>
                    <a:cxn ang="0">
                      <a:pos x="T2" y="T3"/>
                    </a:cxn>
                    <a:cxn ang="0">
                      <a:pos x="T4" y="T5"/>
                    </a:cxn>
                    <a:cxn ang="0">
                      <a:pos x="T6" y="T7"/>
                    </a:cxn>
                    <a:cxn ang="0">
                      <a:pos x="T8" y="T9"/>
                    </a:cxn>
                    <a:cxn ang="0">
                      <a:pos x="T10" y="T11"/>
                    </a:cxn>
                  </a:cxnLst>
                  <a:rect l="0" t="0" r="r" b="b"/>
                  <a:pathLst>
                    <a:path w="6" h="8">
                      <a:moveTo>
                        <a:pt x="0" y="0"/>
                      </a:moveTo>
                      <a:cubicBezTo>
                        <a:pt x="0" y="3"/>
                        <a:pt x="0" y="4"/>
                        <a:pt x="0" y="5"/>
                      </a:cubicBezTo>
                      <a:cubicBezTo>
                        <a:pt x="0" y="6"/>
                        <a:pt x="2" y="8"/>
                        <a:pt x="3" y="8"/>
                      </a:cubicBezTo>
                      <a:cubicBezTo>
                        <a:pt x="5" y="8"/>
                        <a:pt x="6" y="6"/>
                        <a:pt x="6" y="5"/>
                      </a:cubicBezTo>
                      <a:cubicBezTo>
                        <a:pt x="6" y="4"/>
                        <a:pt x="6" y="3"/>
                        <a:pt x="6" y="0"/>
                      </a:cubicBezTo>
                      <a:cubicBezTo>
                        <a:pt x="4"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08" name="Freeform 621"/>
                <p:cNvSpPr>
                  <a:spLocks/>
                </p:cNvSpPr>
                <p:nvPr/>
              </p:nvSpPr>
              <p:spPr bwMode="auto">
                <a:xfrm>
                  <a:off x="14573" y="1185"/>
                  <a:ext cx="8" cy="12"/>
                </a:xfrm>
                <a:custGeom>
                  <a:avLst/>
                  <a:gdLst>
                    <a:gd name="T0" fmla="*/ 1 w 3"/>
                    <a:gd name="T1" fmla="*/ 5 h 5"/>
                    <a:gd name="T2" fmla="*/ 2 w 3"/>
                    <a:gd name="T3" fmla="*/ 3 h 5"/>
                    <a:gd name="T4" fmla="*/ 1 w 3"/>
                    <a:gd name="T5" fmla="*/ 0 h 5"/>
                    <a:gd name="T6" fmla="*/ 0 w 3"/>
                    <a:gd name="T7" fmla="*/ 5 h 5"/>
                    <a:gd name="T8" fmla="*/ 1 w 3"/>
                    <a:gd name="T9" fmla="*/ 5 h 5"/>
                  </a:gdLst>
                  <a:ahLst/>
                  <a:cxnLst>
                    <a:cxn ang="0">
                      <a:pos x="T0" y="T1"/>
                    </a:cxn>
                    <a:cxn ang="0">
                      <a:pos x="T2" y="T3"/>
                    </a:cxn>
                    <a:cxn ang="0">
                      <a:pos x="T4" y="T5"/>
                    </a:cxn>
                    <a:cxn ang="0">
                      <a:pos x="T6" y="T7"/>
                    </a:cxn>
                    <a:cxn ang="0">
                      <a:pos x="T8" y="T9"/>
                    </a:cxn>
                  </a:cxnLst>
                  <a:rect l="0" t="0" r="r" b="b"/>
                  <a:pathLst>
                    <a:path w="3" h="5">
                      <a:moveTo>
                        <a:pt x="1" y="5"/>
                      </a:moveTo>
                      <a:cubicBezTo>
                        <a:pt x="2" y="5"/>
                        <a:pt x="3" y="4"/>
                        <a:pt x="2" y="3"/>
                      </a:cubicBezTo>
                      <a:cubicBezTo>
                        <a:pt x="2" y="3"/>
                        <a:pt x="2" y="1"/>
                        <a:pt x="1" y="0"/>
                      </a:cubicBezTo>
                      <a:cubicBezTo>
                        <a:pt x="1" y="1"/>
                        <a:pt x="0" y="3"/>
                        <a:pt x="0" y="5"/>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09" name="Oval 622"/>
                <p:cNvSpPr>
                  <a:spLocks noChangeArrowheads="1"/>
                </p:cNvSpPr>
                <p:nvPr/>
              </p:nvSpPr>
              <p:spPr bwMode="auto">
                <a:xfrm>
                  <a:off x="14472"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10" name="Oval 623"/>
                <p:cNvSpPr>
                  <a:spLocks noChangeArrowheads="1"/>
                </p:cNvSpPr>
                <p:nvPr/>
              </p:nvSpPr>
              <p:spPr bwMode="auto">
                <a:xfrm>
                  <a:off x="14668"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11" name="Freeform 624"/>
                <p:cNvSpPr>
                  <a:spLocks/>
                </p:cNvSpPr>
                <p:nvPr/>
              </p:nvSpPr>
              <p:spPr bwMode="auto">
                <a:xfrm>
                  <a:off x="14521" y="1147"/>
                  <a:ext cx="52" cy="31"/>
                </a:xfrm>
                <a:custGeom>
                  <a:avLst/>
                  <a:gdLst>
                    <a:gd name="T0" fmla="*/ 17 w 22"/>
                    <a:gd name="T1" fmla="*/ 9 h 13"/>
                    <a:gd name="T2" fmla="*/ 16 w 22"/>
                    <a:gd name="T3" fmla="*/ 7 h 13"/>
                    <a:gd name="T4" fmla="*/ 17 w 22"/>
                    <a:gd name="T5" fmla="*/ 7 h 13"/>
                    <a:gd name="T6" fmla="*/ 18 w 22"/>
                    <a:gd name="T7" fmla="*/ 9 h 13"/>
                    <a:gd name="T8" fmla="*/ 22 w 22"/>
                    <a:gd name="T9" fmla="*/ 9 h 13"/>
                    <a:gd name="T10" fmla="*/ 20 w 22"/>
                    <a:gd name="T11" fmla="*/ 5 h 13"/>
                    <a:gd name="T12" fmla="*/ 15 w 22"/>
                    <a:gd name="T13" fmla="*/ 0 h 13"/>
                    <a:gd name="T14" fmla="*/ 7 w 22"/>
                    <a:gd name="T15" fmla="*/ 0 h 13"/>
                    <a:gd name="T16" fmla="*/ 2 w 22"/>
                    <a:gd name="T17" fmla="*/ 5 h 13"/>
                    <a:gd name="T18" fmla="*/ 0 w 22"/>
                    <a:gd name="T19" fmla="*/ 13 h 13"/>
                    <a:gd name="T20" fmla="*/ 4 w 22"/>
                    <a:gd name="T21" fmla="*/ 11 h 13"/>
                    <a:gd name="T22" fmla="*/ 5 w 22"/>
                    <a:gd name="T23" fmla="*/ 7 h 13"/>
                    <a:gd name="T24" fmla="*/ 7 w 22"/>
                    <a:gd name="T25" fmla="*/ 7 h 13"/>
                    <a:gd name="T26" fmla="*/ 6 w 22"/>
                    <a:gd name="T27" fmla="*/ 10 h 13"/>
                    <a:gd name="T28" fmla="*/ 17 w 22"/>
                    <a:gd name="T29"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13">
                      <a:moveTo>
                        <a:pt x="17" y="9"/>
                      </a:moveTo>
                      <a:cubicBezTo>
                        <a:pt x="16" y="7"/>
                        <a:pt x="16" y="7"/>
                        <a:pt x="16" y="7"/>
                      </a:cubicBezTo>
                      <a:cubicBezTo>
                        <a:pt x="17" y="7"/>
                        <a:pt x="17" y="7"/>
                        <a:pt x="17" y="7"/>
                      </a:cubicBezTo>
                      <a:cubicBezTo>
                        <a:pt x="17" y="7"/>
                        <a:pt x="17" y="8"/>
                        <a:pt x="18" y="9"/>
                      </a:cubicBezTo>
                      <a:cubicBezTo>
                        <a:pt x="19" y="9"/>
                        <a:pt x="20" y="9"/>
                        <a:pt x="22" y="9"/>
                      </a:cubicBezTo>
                      <a:cubicBezTo>
                        <a:pt x="21" y="8"/>
                        <a:pt x="21" y="6"/>
                        <a:pt x="20" y="5"/>
                      </a:cubicBezTo>
                      <a:cubicBezTo>
                        <a:pt x="20" y="3"/>
                        <a:pt x="17" y="0"/>
                        <a:pt x="15" y="0"/>
                      </a:cubicBezTo>
                      <a:cubicBezTo>
                        <a:pt x="14" y="0"/>
                        <a:pt x="8" y="0"/>
                        <a:pt x="7" y="0"/>
                      </a:cubicBezTo>
                      <a:cubicBezTo>
                        <a:pt x="5" y="0"/>
                        <a:pt x="3" y="3"/>
                        <a:pt x="2" y="5"/>
                      </a:cubicBezTo>
                      <a:cubicBezTo>
                        <a:pt x="1" y="7"/>
                        <a:pt x="1" y="10"/>
                        <a:pt x="0" y="13"/>
                      </a:cubicBezTo>
                      <a:cubicBezTo>
                        <a:pt x="1" y="12"/>
                        <a:pt x="3" y="11"/>
                        <a:pt x="4" y="11"/>
                      </a:cubicBezTo>
                      <a:cubicBezTo>
                        <a:pt x="5" y="8"/>
                        <a:pt x="5" y="7"/>
                        <a:pt x="5" y="7"/>
                      </a:cubicBezTo>
                      <a:cubicBezTo>
                        <a:pt x="7" y="7"/>
                        <a:pt x="7" y="7"/>
                        <a:pt x="7" y="7"/>
                      </a:cubicBezTo>
                      <a:cubicBezTo>
                        <a:pt x="6" y="8"/>
                        <a:pt x="6" y="9"/>
                        <a:pt x="6" y="10"/>
                      </a:cubicBezTo>
                      <a:cubicBezTo>
                        <a:pt x="9" y="9"/>
                        <a:pt x="13" y="9"/>
                        <a:pt x="17"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12" name="Freeform 625"/>
                <p:cNvSpPr>
                  <a:spLocks/>
                </p:cNvSpPr>
                <p:nvPr/>
              </p:nvSpPr>
              <p:spPr bwMode="auto">
                <a:xfrm>
                  <a:off x="14405" y="1270"/>
                  <a:ext cx="22" cy="9"/>
                </a:xfrm>
                <a:custGeom>
                  <a:avLst/>
                  <a:gdLst>
                    <a:gd name="T0" fmla="*/ 5 w 9"/>
                    <a:gd name="T1" fmla="*/ 0 h 4"/>
                    <a:gd name="T2" fmla="*/ 0 w 9"/>
                    <a:gd name="T3" fmla="*/ 4 h 4"/>
                    <a:gd name="T4" fmla="*/ 9 w 9"/>
                    <a:gd name="T5" fmla="*/ 3 h 4"/>
                    <a:gd name="T6" fmla="*/ 5 w 9"/>
                    <a:gd name="T7" fmla="*/ 0 h 4"/>
                  </a:gdLst>
                  <a:ahLst/>
                  <a:cxnLst>
                    <a:cxn ang="0">
                      <a:pos x="T0" y="T1"/>
                    </a:cxn>
                    <a:cxn ang="0">
                      <a:pos x="T2" y="T3"/>
                    </a:cxn>
                    <a:cxn ang="0">
                      <a:pos x="T4" y="T5"/>
                    </a:cxn>
                    <a:cxn ang="0">
                      <a:pos x="T6" y="T7"/>
                    </a:cxn>
                  </a:cxnLst>
                  <a:rect l="0" t="0" r="r" b="b"/>
                  <a:pathLst>
                    <a:path w="9" h="4">
                      <a:moveTo>
                        <a:pt x="5" y="0"/>
                      </a:moveTo>
                      <a:cubicBezTo>
                        <a:pt x="3" y="0"/>
                        <a:pt x="1" y="2"/>
                        <a:pt x="0" y="4"/>
                      </a:cubicBezTo>
                      <a:cubicBezTo>
                        <a:pt x="3" y="3"/>
                        <a:pt x="6" y="4"/>
                        <a:pt x="9" y="3"/>
                      </a:cubicBezTo>
                      <a:cubicBezTo>
                        <a:pt x="8" y="1"/>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13" name="Oval 626"/>
                <p:cNvSpPr>
                  <a:spLocks noChangeArrowheads="1"/>
                </p:cNvSpPr>
                <p:nvPr/>
              </p:nvSpPr>
              <p:spPr bwMode="auto">
                <a:xfrm>
                  <a:off x="14602"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14" name="Freeform 627"/>
                <p:cNvSpPr>
                  <a:spLocks/>
                </p:cNvSpPr>
                <p:nvPr/>
              </p:nvSpPr>
              <p:spPr bwMode="auto">
                <a:xfrm>
                  <a:off x="14254" y="1147"/>
                  <a:ext cx="64" cy="111"/>
                </a:xfrm>
                <a:custGeom>
                  <a:avLst/>
                  <a:gdLst>
                    <a:gd name="T0" fmla="*/ 17 w 27"/>
                    <a:gd name="T1" fmla="*/ 0 h 47"/>
                    <a:gd name="T2" fmla="*/ 10 w 27"/>
                    <a:gd name="T3" fmla="*/ 0 h 47"/>
                    <a:gd name="T4" fmla="*/ 4 w 27"/>
                    <a:gd name="T5" fmla="*/ 5 h 47"/>
                    <a:gd name="T6" fmla="*/ 0 w 27"/>
                    <a:gd name="T7" fmla="*/ 19 h 47"/>
                    <a:gd name="T8" fmla="*/ 1 w 27"/>
                    <a:gd name="T9" fmla="*/ 21 h 47"/>
                    <a:gd name="T10" fmla="*/ 4 w 27"/>
                    <a:gd name="T11" fmla="*/ 20 h 47"/>
                    <a:gd name="T12" fmla="*/ 8 w 27"/>
                    <a:gd name="T13" fmla="*/ 7 h 47"/>
                    <a:gd name="T14" fmla="*/ 9 w 27"/>
                    <a:gd name="T15" fmla="*/ 7 h 47"/>
                    <a:gd name="T16" fmla="*/ 2 w 27"/>
                    <a:gd name="T17" fmla="*/ 29 h 47"/>
                    <a:gd name="T18" fmla="*/ 8 w 27"/>
                    <a:gd name="T19" fmla="*/ 29 h 47"/>
                    <a:gd name="T20" fmla="*/ 8 w 27"/>
                    <a:gd name="T21" fmla="*/ 45 h 47"/>
                    <a:gd name="T22" fmla="*/ 11 w 27"/>
                    <a:gd name="T23" fmla="*/ 47 h 47"/>
                    <a:gd name="T24" fmla="*/ 13 w 27"/>
                    <a:gd name="T25" fmla="*/ 45 h 47"/>
                    <a:gd name="T26" fmla="*/ 13 w 27"/>
                    <a:gd name="T27" fmla="*/ 29 h 47"/>
                    <a:gd name="T28" fmla="*/ 14 w 27"/>
                    <a:gd name="T29" fmla="*/ 29 h 47"/>
                    <a:gd name="T30" fmla="*/ 14 w 27"/>
                    <a:gd name="T31" fmla="*/ 45 h 47"/>
                    <a:gd name="T32" fmla="*/ 16 w 27"/>
                    <a:gd name="T33" fmla="*/ 47 h 47"/>
                    <a:gd name="T34" fmla="*/ 18 w 27"/>
                    <a:gd name="T35" fmla="*/ 45 h 47"/>
                    <a:gd name="T36" fmla="*/ 18 w 27"/>
                    <a:gd name="T37" fmla="*/ 29 h 47"/>
                    <a:gd name="T38" fmla="*/ 25 w 27"/>
                    <a:gd name="T39" fmla="*/ 29 h 47"/>
                    <a:gd name="T40" fmla="*/ 18 w 27"/>
                    <a:gd name="T41" fmla="*/ 7 h 47"/>
                    <a:gd name="T42" fmla="*/ 19 w 27"/>
                    <a:gd name="T43" fmla="*/ 7 h 47"/>
                    <a:gd name="T44" fmla="*/ 23 w 27"/>
                    <a:gd name="T45" fmla="*/ 20 h 47"/>
                    <a:gd name="T46" fmla="*/ 25 w 27"/>
                    <a:gd name="T47" fmla="*/ 21 h 47"/>
                    <a:gd name="T48" fmla="*/ 27 w 27"/>
                    <a:gd name="T49" fmla="*/ 19 h 47"/>
                    <a:gd name="T50" fmla="*/ 23 w 27"/>
                    <a:gd name="T51" fmla="*/ 5 h 47"/>
                    <a:gd name="T52" fmla="*/ 17 w 27"/>
                    <a:gd name="T5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7" y="0"/>
                      </a:moveTo>
                      <a:cubicBezTo>
                        <a:pt x="16" y="0"/>
                        <a:pt x="11" y="0"/>
                        <a:pt x="10" y="0"/>
                      </a:cubicBezTo>
                      <a:cubicBezTo>
                        <a:pt x="7" y="0"/>
                        <a:pt x="5" y="3"/>
                        <a:pt x="4" y="5"/>
                      </a:cubicBezTo>
                      <a:cubicBezTo>
                        <a:pt x="3" y="11"/>
                        <a:pt x="0" y="18"/>
                        <a:pt x="0" y="19"/>
                      </a:cubicBezTo>
                      <a:cubicBezTo>
                        <a:pt x="0" y="20"/>
                        <a:pt x="1" y="21"/>
                        <a:pt x="1" y="21"/>
                      </a:cubicBezTo>
                      <a:cubicBezTo>
                        <a:pt x="2" y="21"/>
                        <a:pt x="3" y="21"/>
                        <a:pt x="4" y="20"/>
                      </a:cubicBezTo>
                      <a:cubicBezTo>
                        <a:pt x="4" y="18"/>
                        <a:pt x="8" y="7"/>
                        <a:pt x="8" y="7"/>
                      </a:cubicBezTo>
                      <a:cubicBezTo>
                        <a:pt x="9" y="7"/>
                        <a:pt x="9" y="7"/>
                        <a:pt x="9" y="7"/>
                      </a:cubicBezTo>
                      <a:cubicBezTo>
                        <a:pt x="2" y="29"/>
                        <a:pt x="2" y="29"/>
                        <a:pt x="2" y="29"/>
                      </a:cubicBezTo>
                      <a:cubicBezTo>
                        <a:pt x="8" y="29"/>
                        <a:pt x="8" y="29"/>
                        <a:pt x="8" y="29"/>
                      </a:cubicBezTo>
                      <a:cubicBezTo>
                        <a:pt x="8" y="36"/>
                        <a:pt x="8" y="44"/>
                        <a:pt x="8" y="45"/>
                      </a:cubicBezTo>
                      <a:cubicBezTo>
                        <a:pt x="8"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8" y="46"/>
                        <a:pt x="18" y="45"/>
                      </a:cubicBezTo>
                      <a:cubicBezTo>
                        <a:pt x="18" y="44"/>
                        <a:pt x="18" y="36"/>
                        <a:pt x="18" y="29"/>
                      </a:cubicBezTo>
                      <a:cubicBezTo>
                        <a:pt x="25" y="29"/>
                        <a:pt x="25" y="29"/>
                        <a:pt x="25" y="29"/>
                      </a:cubicBezTo>
                      <a:cubicBezTo>
                        <a:pt x="18" y="7"/>
                        <a:pt x="18" y="7"/>
                        <a:pt x="18" y="7"/>
                      </a:cubicBezTo>
                      <a:cubicBezTo>
                        <a:pt x="19" y="7"/>
                        <a:pt x="19" y="7"/>
                        <a:pt x="19" y="7"/>
                      </a:cubicBezTo>
                      <a:cubicBezTo>
                        <a:pt x="19" y="7"/>
                        <a:pt x="23" y="18"/>
                        <a:pt x="23" y="20"/>
                      </a:cubicBezTo>
                      <a:cubicBezTo>
                        <a:pt x="23" y="21"/>
                        <a:pt x="25" y="21"/>
                        <a:pt x="25" y="21"/>
                      </a:cubicBezTo>
                      <a:cubicBezTo>
                        <a:pt x="26" y="21"/>
                        <a:pt x="27" y="20"/>
                        <a:pt x="27" y="19"/>
                      </a:cubicBezTo>
                      <a:cubicBezTo>
                        <a:pt x="26" y="18"/>
                        <a:pt x="24" y="11"/>
                        <a:pt x="23" y="5"/>
                      </a:cubicBezTo>
                      <a:cubicBezTo>
                        <a:pt x="22"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15" name="Freeform 628"/>
                <p:cNvSpPr>
                  <a:spLocks/>
                </p:cNvSpPr>
                <p:nvPr/>
              </p:nvSpPr>
              <p:spPr bwMode="auto">
                <a:xfrm>
                  <a:off x="14550" y="1216"/>
                  <a:ext cx="9" cy="42"/>
                </a:xfrm>
                <a:custGeom>
                  <a:avLst/>
                  <a:gdLst>
                    <a:gd name="T0" fmla="*/ 0 w 4"/>
                    <a:gd name="T1" fmla="*/ 16 h 18"/>
                    <a:gd name="T2" fmla="*/ 2 w 4"/>
                    <a:gd name="T3" fmla="*/ 18 h 18"/>
                    <a:gd name="T4" fmla="*/ 4 w 4"/>
                    <a:gd name="T5" fmla="*/ 16 h 18"/>
                    <a:gd name="T6" fmla="*/ 4 w 4"/>
                    <a:gd name="T7" fmla="*/ 0 h 18"/>
                    <a:gd name="T8" fmla="*/ 0 w 4"/>
                    <a:gd name="T9" fmla="*/ 7 h 18"/>
                    <a:gd name="T10" fmla="*/ 0 w 4"/>
                    <a:gd name="T11" fmla="*/ 16 h 18"/>
                  </a:gdLst>
                  <a:ahLst/>
                  <a:cxnLst>
                    <a:cxn ang="0">
                      <a:pos x="T0" y="T1"/>
                    </a:cxn>
                    <a:cxn ang="0">
                      <a:pos x="T2" y="T3"/>
                    </a:cxn>
                    <a:cxn ang="0">
                      <a:pos x="T4" y="T5"/>
                    </a:cxn>
                    <a:cxn ang="0">
                      <a:pos x="T6" y="T7"/>
                    </a:cxn>
                    <a:cxn ang="0">
                      <a:pos x="T8" y="T9"/>
                    </a:cxn>
                    <a:cxn ang="0">
                      <a:pos x="T10" y="T11"/>
                    </a:cxn>
                  </a:cxnLst>
                  <a:rect l="0" t="0" r="r" b="b"/>
                  <a:pathLst>
                    <a:path w="4" h="18">
                      <a:moveTo>
                        <a:pt x="0" y="16"/>
                      </a:moveTo>
                      <a:cubicBezTo>
                        <a:pt x="0" y="17"/>
                        <a:pt x="1" y="18"/>
                        <a:pt x="2" y="18"/>
                      </a:cubicBezTo>
                      <a:cubicBezTo>
                        <a:pt x="3" y="18"/>
                        <a:pt x="4" y="17"/>
                        <a:pt x="4" y="16"/>
                      </a:cubicBezTo>
                      <a:cubicBezTo>
                        <a:pt x="4" y="15"/>
                        <a:pt x="4" y="8"/>
                        <a:pt x="4" y="0"/>
                      </a:cubicBezTo>
                      <a:cubicBezTo>
                        <a:pt x="3" y="3"/>
                        <a:pt x="1" y="5"/>
                        <a:pt x="0" y="7"/>
                      </a:cubicBezTo>
                      <a:cubicBezTo>
                        <a:pt x="0" y="11"/>
                        <a:pt x="0" y="15"/>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16" name="Freeform 629"/>
                <p:cNvSpPr>
                  <a:spLocks/>
                </p:cNvSpPr>
                <p:nvPr/>
              </p:nvSpPr>
              <p:spPr bwMode="auto">
                <a:xfrm>
                  <a:off x="14588" y="1147"/>
                  <a:ext cx="52" cy="111"/>
                </a:xfrm>
                <a:custGeom>
                  <a:avLst/>
                  <a:gdLst>
                    <a:gd name="T0" fmla="*/ 18 w 22"/>
                    <a:gd name="T1" fmla="*/ 8 h 47"/>
                    <a:gd name="T2" fmla="*/ 18 w 22"/>
                    <a:gd name="T3" fmla="*/ 21 h 47"/>
                    <a:gd name="T4" fmla="*/ 20 w 22"/>
                    <a:gd name="T5" fmla="*/ 23 h 47"/>
                    <a:gd name="T6" fmla="*/ 22 w 22"/>
                    <a:gd name="T7" fmla="*/ 21 h 47"/>
                    <a:gd name="T8" fmla="*/ 22 w 22"/>
                    <a:gd name="T9" fmla="*/ 7 h 47"/>
                    <a:gd name="T10" fmla="*/ 16 w 22"/>
                    <a:gd name="T11" fmla="*/ 0 h 47"/>
                    <a:gd name="T12" fmla="*/ 6 w 22"/>
                    <a:gd name="T13" fmla="*/ 0 h 47"/>
                    <a:gd name="T14" fmla="*/ 0 w 22"/>
                    <a:gd name="T15" fmla="*/ 7 h 47"/>
                    <a:gd name="T16" fmla="*/ 0 w 22"/>
                    <a:gd name="T17" fmla="*/ 21 h 47"/>
                    <a:gd name="T18" fmla="*/ 2 w 22"/>
                    <a:gd name="T19" fmla="*/ 23 h 47"/>
                    <a:gd name="T20" fmla="*/ 4 w 22"/>
                    <a:gd name="T21" fmla="*/ 21 h 47"/>
                    <a:gd name="T22" fmla="*/ 4 w 22"/>
                    <a:gd name="T23" fmla="*/ 8 h 47"/>
                    <a:gd name="T24" fmla="*/ 5 w 22"/>
                    <a:gd name="T25" fmla="*/ 8 h 47"/>
                    <a:gd name="T26" fmla="*/ 5 w 22"/>
                    <a:gd name="T27" fmla="*/ 44 h 47"/>
                    <a:gd name="T28" fmla="*/ 6 w 22"/>
                    <a:gd name="T29" fmla="*/ 47 h 47"/>
                    <a:gd name="T30" fmla="*/ 10 w 22"/>
                    <a:gd name="T31" fmla="*/ 44 h 47"/>
                    <a:gd name="T32" fmla="*/ 10 w 22"/>
                    <a:gd name="T33" fmla="*/ 23 h 47"/>
                    <a:gd name="T34" fmla="*/ 11 w 22"/>
                    <a:gd name="T35" fmla="*/ 23 h 47"/>
                    <a:gd name="T36" fmla="*/ 11 w 22"/>
                    <a:gd name="T37" fmla="*/ 43 h 47"/>
                    <a:gd name="T38" fmla="*/ 17 w 22"/>
                    <a:gd name="T39" fmla="*/ 39 h 47"/>
                    <a:gd name="T40" fmla="*/ 17 w 22"/>
                    <a:gd name="T41" fmla="*/ 8 h 47"/>
                    <a:gd name="T42" fmla="*/ 18 w 22"/>
                    <a:gd name="T43" fmla="*/ 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47">
                      <a:moveTo>
                        <a:pt x="18" y="8"/>
                      </a:moveTo>
                      <a:cubicBezTo>
                        <a:pt x="18" y="8"/>
                        <a:pt x="18" y="20"/>
                        <a:pt x="18" y="21"/>
                      </a:cubicBezTo>
                      <a:cubicBezTo>
                        <a:pt x="18" y="22"/>
                        <a:pt x="19" y="23"/>
                        <a:pt x="20" y="23"/>
                      </a:cubicBezTo>
                      <a:cubicBezTo>
                        <a:pt x="21" y="23"/>
                        <a:pt x="22" y="22"/>
                        <a:pt x="22" y="21"/>
                      </a:cubicBezTo>
                      <a:cubicBezTo>
                        <a:pt x="22" y="20"/>
                        <a:pt x="22" y="8"/>
                        <a:pt x="22" y="7"/>
                      </a:cubicBezTo>
                      <a:cubicBezTo>
                        <a:pt x="22" y="3"/>
                        <a:pt x="19" y="0"/>
                        <a:pt x="16" y="0"/>
                      </a:cubicBezTo>
                      <a:cubicBezTo>
                        <a:pt x="14" y="0"/>
                        <a:pt x="7" y="0"/>
                        <a:pt x="6" y="0"/>
                      </a:cubicBezTo>
                      <a:cubicBezTo>
                        <a:pt x="2"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5" y="46"/>
                        <a:pt x="6" y="47"/>
                      </a:cubicBezTo>
                      <a:cubicBezTo>
                        <a:pt x="8" y="46"/>
                        <a:pt x="9" y="45"/>
                        <a:pt x="10" y="44"/>
                      </a:cubicBezTo>
                      <a:cubicBezTo>
                        <a:pt x="10" y="40"/>
                        <a:pt x="10" y="23"/>
                        <a:pt x="10" y="23"/>
                      </a:cubicBezTo>
                      <a:cubicBezTo>
                        <a:pt x="10" y="23"/>
                        <a:pt x="10" y="23"/>
                        <a:pt x="11" y="23"/>
                      </a:cubicBezTo>
                      <a:cubicBezTo>
                        <a:pt x="11" y="23"/>
                        <a:pt x="11" y="38"/>
                        <a:pt x="11" y="43"/>
                      </a:cubicBezTo>
                      <a:cubicBezTo>
                        <a:pt x="13" y="42"/>
                        <a:pt x="15" y="40"/>
                        <a:pt x="17" y="39"/>
                      </a:cubicBezTo>
                      <a:cubicBezTo>
                        <a:pt x="17" y="28"/>
                        <a:pt x="17" y="8"/>
                        <a:pt x="17" y="8"/>
                      </a:cubicBezTo>
                      <a:cubicBezTo>
                        <a:pt x="17" y="8"/>
                        <a:pt x="17"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17" name="Oval 630"/>
                <p:cNvSpPr>
                  <a:spLocks noChangeArrowheads="1"/>
                </p:cNvSpPr>
                <p:nvPr/>
              </p:nvSpPr>
              <p:spPr bwMode="auto">
                <a:xfrm>
                  <a:off x="14405"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18" name="Freeform 631"/>
                <p:cNvSpPr>
                  <a:spLocks/>
                </p:cNvSpPr>
                <p:nvPr/>
              </p:nvSpPr>
              <p:spPr bwMode="auto">
                <a:xfrm>
                  <a:off x="14538" y="1234"/>
                  <a:ext cx="9" cy="24"/>
                </a:xfrm>
                <a:custGeom>
                  <a:avLst/>
                  <a:gdLst>
                    <a:gd name="T0" fmla="*/ 1 w 4"/>
                    <a:gd name="T1" fmla="*/ 10 h 10"/>
                    <a:gd name="T2" fmla="*/ 4 w 4"/>
                    <a:gd name="T3" fmla="*/ 8 h 10"/>
                    <a:gd name="T4" fmla="*/ 4 w 4"/>
                    <a:gd name="T5" fmla="*/ 0 h 10"/>
                    <a:gd name="T6" fmla="*/ 0 w 4"/>
                    <a:gd name="T7" fmla="*/ 10 h 10"/>
                    <a:gd name="T8" fmla="*/ 1 w 4"/>
                    <a:gd name="T9" fmla="*/ 10 h 10"/>
                  </a:gdLst>
                  <a:ahLst/>
                  <a:cxnLst>
                    <a:cxn ang="0">
                      <a:pos x="T0" y="T1"/>
                    </a:cxn>
                    <a:cxn ang="0">
                      <a:pos x="T2" y="T3"/>
                    </a:cxn>
                    <a:cxn ang="0">
                      <a:pos x="T4" y="T5"/>
                    </a:cxn>
                    <a:cxn ang="0">
                      <a:pos x="T6" y="T7"/>
                    </a:cxn>
                    <a:cxn ang="0">
                      <a:pos x="T8" y="T9"/>
                    </a:cxn>
                  </a:cxnLst>
                  <a:rect l="0" t="0" r="r" b="b"/>
                  <a:pathLst>
                    <a:path w="4" h="10">
                      <a:moveTo>
                        <a:pt x="1" y="10"/>
                      </a:moveTo>
                      <a:cubicBezTo>
                        <a:pt x="3" y="10"/>
                        <a:pt x="4" y="9"/>
                        <a:pt x="4" y="8"/>
                      </a:cubicBezTo>
                      <a:cubicBezTo>
                        <a:pt x="4" y="7"/>
                        <a:pt x="4" y="4"/>
                        <a:pt x="4" y="0"/>
                      </a:cubicBezTo>
                      <a:cubicBezTo>
                        <a:pt x="2" y="3"/>
                        <a:pt x="1" y="6"/>
                        <a:pt x="0" y="10"/>
                      </a:cubicBezTo>
                      <a:cubicBezTo>
                        <a:pt x="0" y="10"/>
                        <a:pt x="1" y="10"/>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19" name="Freeform 632"/>
                <p:cNvSpPr>
                  <a:spLocks/>
                </p:cNvSpPr>
                <p:nvPr/>
              </p:nvSpPr>
              <p:spPr bwMode="auto">
                <a:xfrm>
                  <a:off x="14647" y="1147"/>
                  <a:ext cx="59" cy="69"/>
                </a:xfrm>
                <a:custGeom>
                  <a:avLst/>
                  <a:gdLst>
                    <a:gd name="T0" fmla="*/ 17 w 25"/>
                    <a:gd name="T1" fmla="*/ 0 h 29"/>
                    <a:gd name="T2" fmla="*/ 10 w 25"/>
                    <a:gd name="T3" fmla="*/ 0 h 29"/>
                    <a:gd name="T4" fmla="*/ 4 w 25"/>
                    <a:gd name="T5" fmla="*/ 5 h 29"/>
                    <a:gd name="T6" fmla="*/ 0 w 25"/>
                    <a:gd name="T7" fmla="*/ 19 h 29"/>
                    <a:gd name="T8" fmla="*/ 2 w 25"/>
                    <a:gd name="T9" fmla="*/ 21 h 29"/>
                    <a:gd name="T10" fmla="*/ 4 w 25"/>
                    <a:gd name="T11" fmla="*/ 20 h 29"/>
                    <a:gd name="T12" fmla="*/ 8 w 25"/>
                    <a:gd name="T13" fmla="*/ 7 h 29"/>
                    <a:gd name="T14" fmla="*/ 9 w 25"/>
                    <a:gd name="T15" fmla="*/ 7 h 29"/>
                    <a:gd name="T16" fmla="*/ 2 w 25"/>
                    <a:gd name="T17" fmla="*/ 29 h 29"/>
                    <a:gd name="T18" fmla="*/ 3 w 25"/>
                    <a:gd name="T19" fmla="*/ 29 h 29"/>
                    <a:gd name="T20" fmla="*/ 15 w 25"/>
                    <a:gd name="T21" fmla="*/ 19 h 29"/>
                    <a:gd name="T22" fmla="*/ 21 w 25"/>
                    <a:gd name="T23" fmla="*/ 15 h 29"/>
                    <a:gd name="T24" fmla="*/ 18 w 25"/>
                    <a:gd name="T25" fmla="*/ 7 h 29"/>
                    <a:gd name="T26" fmla="*/ 20 w 25"/>
                    <a:gd name="T27" fmla="*/ 7 h 29"/>
                    <a:gd name="T28" fmla="*/ 22 w 25"/>
                    <a:gd name="T29" fmla="*/ 14 h 29"/>
                    <a:gd name="T30" fmla="*/ 25 w 25"/>
                    <a:gd name="T31" fmla="*/ 12 h 29"/>
                    <a:gd name="T32" fmla="*/ 23 w 25"/>
                    <a:gd name="T33" fmla="*/ 5 h 29"/>
                    <a:gd name="T34" fmla="*/ 17 w 25"/>
                    <a:gd name="T3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9">
                      <a:moveTo>
                        <a:pt x="17" y="0"/>
                      </a:moveTo>
                      <a:cubicBezTo>
                        <a:pt x="16" y="0"/>
                        <a:pt x="11" y="0"/>
                        <a:pt x="10" y="0"/>
                      </a:cubicBezTo>
                      <a:cubicBezTo>
                        <a:pt x="7" y="0"/>
                        <a:pt x="5" y="3"/>
                        <a:pt x="4"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2" y="29"/>
                        <a:pt x="2" y="29"/>
                        <a:pt x="2" y="29"/>
                      </a:cubicBezTo>
                      <a:cubicBezTo>
                        <a:pt x="3" y="29"/>
                        <a:pt x="3" y="29"/>
                        <a:pt x="3" y="29"/>
                      </a:cubicBezTo>
                      <a:cubicBezTo>
                        <a:pt x="8" y="25"/>
                        <a:pt x="11" y="22"/>
                        <a:pt x="15" y="19"/>
                      </a:cubicBezTo>
                      <a:cubicBezTo>
                        <a:pt x="17" y="17"/>
                        <a:pt x="19" y="16"/>
                        <a:pt x="21" y="15"/>
                      </a:cubicBezTo>
                      <a:cubicBezTo>
                        <a:pt x="18" y="7"/>
                        <a:pt x="18" y="7"/>
                        <a:pt x="18" y="7"/>
                      </a:cubicBezTo>
                      <a:cubicBezTo>
                        <a:pt x="20" y="7"/>
                        <a:pt x="20" y="7"/>
                        <a:pt x="20" y="7"/>
                      </a:cubicBezTo>
                      <a:cubicBezTo>
                        <a:pt x="20" y="7"/>
                        <a:pt x="21" y="11"/>
                        <a:pt x="22" y="14"/>
                      </a:cubicBezTo>
                      <a:cubicBezTo>
                        <a:pt x="23" y="13"/>
                        <a:pt x="24" y="13"/>
                        <a:pt x="25" y="12"/>
                      </a:cubicBezTo>
                      <a:cubicBezTo>
                        <a:pt x="24" y="10"/>
                        <a:pt x="24" y="7"/>
                        <a:pt x="23" y="5"/>
                      </a:cubicBezTo>
                      <a:cubicBezTo>
                        <a:pt x="22"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20" name="Oval 633"/>
                <p:cNvSpPr>
                  <a:spLocks noChangeArrowheads="1"/>
                </p:cNvSpPr>
                <p:nvPr/>
              </p:nvSpPr>
              <p:spPr bwMode="auto">
                <a:xfrm>
                  <a:off x="14275"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21" name="Oval 634"/>
                <p:cNvSpPr>
                  <a:spLocks noChangeArrowheads="1"/>
                </p:cNvSpPr>
                <p:nvPr/>
              </p:nvSpPr>
              <p:spPr bwMode="auto">
                <a:xfrm>
                  <a:off x="14275"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22" name="Oval 635"/>
                <p:cNvSpPr>
                  <a:spLocks noChangeArrowheads="1"/>
                </p:cNvSpPr>
                <p:nvPr/>
              </p:nvSpPr>
              <p:spPr bwMode="auto">
                <a:xfrm>
                  <a:off x="14275"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23" name="Freeform 636"/>
                <p:cNvSpPr>
                  <a:spLocks/>
                </p:cNvSpPr>
                <p:nvPr/>
              </p:nvSpPr>
              <p:spPr bwMode="auto">
                <a:xfrm>
                  <a:off x="14259" y="1296"/>
                  <a:ext cx="54"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5 w 23"/>
                    <a:gd name="T11" fmla="*/ 7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7 h 47"/>
                    <a:gd name="T30" fmla="*/ 19 w 23"/>
                    <a:gd name="T31" fmla="*/ 7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8" y="45"/>
                        <a:pt x="18" y="44"/>
                      </a:cubicBezTo>
                      <a:cubicBezTo>
                        <a:pt x="18" y="42"/>
                        <a:pt x="18" y="7"/>
                        <a:pt x="18" y="7"/>
                      </a:cubicBezTo>
                      <a:cubicBezTo>
                        <a:pt x="18" y="7"/>
                        <a:pt x="18" y="7"/>
                        <a:pt x="19" y="7"/>
                      </a:cubicBezTo>
                      <a:cubicBezTo>
                        <a:pt x="19" y="7"/>
                        <a:pt x="19" y="19"/>
                        <a:pt x="19" y="21"/>
                      </a:cubicBezTo>
                      <a:cubicBezTo>
                        <a:pt x="19" y="22"/>
                        <a:pt x="20"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24" name="Freeform 637"/>
                <p:cNvSpPr>
                  <a:spLocks/>
                </p:cNvSpPr>
                <p:nvPr/>
              </p:nvSpPr>
              <p:spPr bwMode="auto">
                <a:xfrm>
                  <a:off x="14254" y="1443"/>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1 w 27"/>
                    <a:gd name="T13" fmla="*/ 20 h 47"/>
                    <a:gd name="T14" fmla="*/ 4 w 27"/>
                    <a:gd name="T15" fmla="*/ 19 h 47"/>
                    <a:gd name="T16" fmla="*/ 8 w 27"/>
                    <a:gd name="T17" fmla="*/ 6 h 47"/>
                    <a:gd name="T18" fmla="*/ 9 w 27"/>
                    <a:gd name="T19" fmla="*/ 6 h 47"/>
                    <a:gd name="T20" fmla="*/ 2 w 27"/>
                    <a:gd name="T21" fmla="*/ 28 h 47"/>
                    <a:gd name="T22" fmla="*/ 8 w 27"/>
                    <a:gd name="T23" fmla="*/ 28 h 47"/>
                    <a:gd name="T24" fmla="*/ 8 w 27"/>
                    <a:gd name="T25" fmla="*/ 44 h 47"/>
                    <a:gd name="T26" fmla="*/ 11 w 27"/>
                    <a:gd name="T27" fmla="*/ 47 h 47"/>
                    <a:gd name="T28" fmla="*/ 13 w 27"/>
                    <a:gd name="T29" fmla="*/ 44 h 47"/>
                    <a:gd name="T30" fmla="*/ 13 w 27"/>
                    <a:gd name="T31" fmla="*/ 28 h 47"/>
                    <a:gd name="T32" fmla="*/ 14 w 27"/>
                    <a:gd name="T33" fmla="*/ 28 h 47"/>
                    <a:gd name="T34" fmla="*/ 14 w 27"/>
                    <a:gd name="T35" fmla="*/ 44 h 47"/>
                    <a:gd name="T36" fmla="*/ 16 w 27"/>
                    <a:gd name="T37" fmla="*/ 47 h 47"/>
                    <a:gd name="T38" fmla="*/ 18 w 27"/>
                    <a:gd name="T39" fmla="*/ 44 h 47"/>
                    <a:gd name="T40" fmla="*/ 18 w 27"/>
                    <a:gd name="T41" fmla="*/ 28 h 47"/>
                    <a:gd name="T42" fmla="*/ 25 w 27"/>
                    <a:gd name="T43" fmla="*/ 28 h 47"/>
                    <a:gd name="T44" fmla="*/ 18 w 27"/>
                    <a:gd name="T45" fmla="*/ 6 h 47"/>
                    <a:gd name="T46" fmla="*/ 19 w 27"/>
                    <a:gd name="T47" fmla="*/ 6 h 47"/>
                    <a:gd name="T48" fmla="*/ 23 w 27"/>
                    <a:gd name="T49" fmla="*/ 19 h 47"/>
                    <a:gd name="T50" fmla="*/ 25 w 27"/>
                    <a:gd name="T51" fmla="*/ 20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6" y="17"/>
                        <a:pt x="24" y="10"/>
                        <a:pt x="23" y="4"/>
                      </a:cubicBezTo>
                      <a:cubicBezTo>
                        <a:pt x="22" y="2"/>
                        <a:pt x="20" y="0"/>
                        <a:pt x="17" y="0"/>
                      </a:cubicBezTo>
                      <a:cubicBezTo>
                        <a:pt x="16" y="0"/>
                        <a:pt x="11" y="0"/>
                        <a:pt x="10" y="0"/>
                      </a:cubicBezTo>
                      <a:cubicBezTo>
                        <a:pt x="7" y="0"/>
                        <a:pt x="5" y="2"/>
                        <a:pt x="4" y="4"/>
                      </a:cubicBezTo>
                      <a:cubicBezTo>
                        <a:pt x="3" y="10"/>
                        <a:pt x="0" y="17"/>
                        <a:pt x="0" y="18"/>
                      </a:cubicBezTo>
                      <a:cubicBezTo>
                        <a:pt x="0" y="19"/>
                        <a:pt x="1" y="20"/>
                        <a:pt x="1" y="20"/>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8" y="46"/>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5" y="21"/>
                        <a:pt x="25" y="20"/>
                      </a:cubicBezTo>
                      <a:cubicBezTo>
                        <a:pt x="26"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25" name="Freeform 638"/>
                <p:cNvSpPr>
                  <a:spLocks/>
                </p:cNvSpPr>
                <p:nvPr/>
              </p:nvSpPr>
              <p:spPr bwMode="auto">
                <a:xfrm>
                  <a:off x="14384" y="1443"/>
                  <a:ext cx="64" cy="111"/>
                </a:xfrm>
                <a:custGeom>
                  <a:avLst/>
                  <a:gdLst>
                    <a:gd name="T0" fmla="*/ 20 w 27"/>
                    <a:gd name="T1" fmla="*/ 6 h 47"/>
                    <a:gd name="T2" fmla="*/ 24 w 27"/>
                    <a:gd name="T3" fmla="*/ 19 h 47"/>
                    <a:gd name="T4" fmla="*/ 26 w 27"/>
                    <a:gd name="T5" fmla="*/ 20 h 47"/>
                    <a:gd name="T6" fmla="*/ 27 w 27"/>
                    <a:gd name="T7" fmla="*/ 18 h 47"/>
                    <a:gd name="T8" fmla="*/ 23 w 27"/>
                    <a:gd name="T9" fmla="*/ 4 h 47"/>
                    <a:gd name="T10" fmla="*/ 18 w 27"/>
                    <a:gd name="T11" fmla="*/ 0 h 47"/>
                    <a:gd name="T12" fmla="*/ 10 w 27"/>
                    <a:gd name="T13" fmla="*/ 0 h 47"/>
                    <a:gd name="T14" fmla="*/ 5 w 27"/>
                    <a:gd name="T15" fmla="*/ 4 h 47"/>
                    <a:gd name="T16" fmla="*/ 1 w 27"/>
                    <a:gd name="T17" fmla="*/ 18 h 47"/>
                    <a:gd name="T18" fmla="*/ 2 w 27"/>
                    <a:gd name="T19" fmla="*/ 20 h 47"/>
                    <a:gd name="T20" fmla="*/ 4 w 27"/>
                    <a:gd name="T21" fmla="*/ 19 h 47"/>
                    <a:gd name="T22" fmla="*/ 8 w 27"/>
                    <a:gd name="T23" fmla="*/ 6 h 47"/>
                    <a:gd name="T24" fmla="*/ 9 w 27"/>
                    <a:gd name="T25" fmla="*/ 6 h 47"/>
                    <a:gd name="T26" fmla="*/ 3 w 27"/>
                    <a:gd name="T27" fmla="*/ 28 h 47"/>
                    <a:gd name="T28" fmla="*/ 9 w 27"/>
                    <a:gd name="T29" fmla="*/ 28 h 47"/>
                    <a:gd name="T30" fmla="*/ 9 w 27"/>
                    <a:gd name="T31" fmla="*/ 44 h 47"/>
                    <a:gd name="T32" fmla="*/ 11 w 27"/>
                    <a:gd name="T33" fmla="*/ 47 h 47"/>
                    <a:gd name="T34" fmla="*/ 13 w 27"/>
                    <a:gd name="T35" fmla="*/ 44 h 47"/>
                    <a:gd name="T36" fmla="*/ 13 w 27"/>
                    <a:gd name="T37" fmla="*/ 28 h 47"/>
                    <a:gd name="T38" fmla="*/ 14 w 27"/>
                    <a:gd name="T39" fmla="*/ 28 h 47"/>
                    <a:gd name="T40" fmla="*/ 14 w 27"/>
                    <a:gd name="T41" fmla="*/ 44 h 47"/>
                    <a:gd name="T42" fmla="*/ 17 w 27"/>
                    <a:gd name="T43" fmla="*/ 47 h 47"/>
                    <a:gd name="T44" fmla="*/ 19 w 27"/>
                    <a:gd name="T45" fmla="*/ 44 h 47"/>
                    <a:gd name="T46" fmla="*/ 19 w 27"/>
                    <a:gd name="T47" fmla="*/ 28 h 47"/>
                    <a:gd name="T48" fmla="*/ 24 w 27"/>
                    <a:gd name="T49" fmla="*/ 28 h 47"/>
                    <a:gd name="T50" fmla="*/ 24 w 27"/>
                    <a:gd name="T51" fmla="*/ 25 h 47"/>
                    <a:gd name="T52" fmla="*/ 19 w 27"/>
                    <a:gd name="T53" fmla="*/ 6 h 47"/>
                    <a:gd name="T54" fmla="*/ 20 w 27"/>
                    <a:gd name="T5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 h="47">
                      <a:moveTo>
                        <a:pt x="20" y="6"/>
                      </a:moveTo>
                      <a:cubicBezTo>
                        <a:pt x="20" y="6"/>
                        <a:pt x="23" y="18"/>
                        <a:pt x="24" y="19"/>
                      </a:cubicBezTo>
                      <a:cubicBezTo>
                        <a:pt x="24" y="20"/>
                        <a:pt x="25" y="21"/>
                        <a:pt x="26" y="20"/>
                      </a:cubicBezTo>
                      <a:cubicBezTo>
                        <a:pt x="27" y="20"/>
                        <a:pt x="27" y="19"/>
                        <a:pt x="27" y="18"/>
                      </a:cubicBezTo>
                      <a:cubicBezTo>
                        <a:pt x="27" y="17"/>
                        <a:pt x="25" y="10"/>
                        <a:pt x="23" y="4"/>
                      </a:cubicBezTo>
                      <a:cubicBezTo>
                        <a:pt x="22"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1" y="28"/>
                        <a:pt x="23" y="28"/>
                        <a:pt x="24" y="28"/>
                      </a:cubicBezTo>
                      <a:cubicBezTo>
                        <a:pt x="24" y="27"/>
                        <a:pt x="24" y="26"/>
                        <a:pt x="24" y="25"/>
                      </a:cubicBezTo>
                      <a:cubicBezTo>
                        <a:pt x="19" y="6"/>
                        <a:pt x="19" y="6"/>
                        <a:pt x="19" y="6"/>
                      </a:cubicBezTo>
                      <a:cubicBezTo>
                        <a:pt x="20" y="6"/>
                        <a:pt x="20" y="6"/>
                        <a:pt x="2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26" name="Oval 639"/>
                <p:cNvSpPr>
                  <a:spLocks noChangeArrowheads="1"/>
                </p:cNvSpPr>
                <p:nvPr/>
              </p:nvSpPr>
              <p:spPr bwMode="auto">
                <a:xfrm>
                  <a:off x="14209"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27" name="Freeform 640"/>
                <p:cNvSpPr>
                  <a:spLocks/>
                </p:cNvSpPr>
                <p:nvPr/>
              </p:nvSpPr>
              <p:spPr bwMode="auto">
                <a:xfrm>
                  <a:off x="14192" y="1147"/>
                  <a:ext cx="55" cy="111"/>
                </a:xfrm>
                <a:custGeom>
                  <a:avLst/>
                  <a:gdLst>
                    <a:gd name="T0" fmla="*/ 17 w 23"/>
                    <a:gd name="T1" fmla="*/ 0 h 47"/>
                    <a:gd name="T2" fmla="*/ 7 w 23"/>
                    <a:gd name="T3" fmla="*/ 0 h 47"/>
                    <a:gd name="T4" fmla="*/ 0 w 23"/>
                    <a:gd name="T5" fmla="*/ 7 h 47"/>
                    <a:gd name="T6" fmla="*/ 0 w 23"/>
                    <a:gd name="T7" fmla="*/ 21 h 47"/>
                    <a:gd name="T8" fmla="*/ 3 w 23"/>
                    <a:gd name="T9" fmla="*/ 23 h 47"/>
                    <a:gd name="T10" fmla="*/ 5 w 23"/>
                    <a:gd name="T11" fmla="*/ 21 h 47"/>
                    <a:gd name="T12" fmla="*/ 5 w 23"/>
                    <a:gd name="T13" fmla="*/ 8 h 47"/>
                    <a:gd name="T14" fmla="*/ 6 w 23"/>
                    <a:gd name="T15" fmla="*/ 8 h 47"/>
                    <a:gd name="T16" fmla="*/ 6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7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7" y="0"/>
                      </a:cubicBezTo>
                      <a:cubicBezTo>
                        <a:pt x="3" y="0"/>
                        <a:pt x="0" y="3"/>
                        <a:pt x="0" y="7"/>
                      </a:cubicBezTo>
                      <a:cubicBezTo>
                        <a:pt x="0" y="8"/>
                        <a:pt x="0" y="20"/>
                        <a:pt x="0" y="21"/>
                      </a:cubicBezTo>
                      <a:cubicBezTo>
                        <a:pt x="0" y="22"/>
                        <a:pt x="1" y="23"/>
                        <a:pt x="3" y="23"/>
                      </a:cubicBez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28" name="Oval 641"/>
                <p:cNvSpPr>
                  <a:spLocks noChangeArrowheads="1"/>
                </p:cNvSpPr>
                <p:nvPr/>
              </p:nvSpPr>
              <p:spPr bwMode="auto">
                <a:xfrm>
                  <a:off x="14209"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29" name="Freeform 642"/>
                <p:cNvSpPr>
                  <a:spLocks/>
                </p:cNvSpPr>
                <p:nvPr/>
              </p:nvSpPr>
              <p:spPr bwMode="auto">
                <a:xfrm>
                  <a:off x="14562" y="1201"/>
                  <a:ext cx="14" cy="15"/>
                </a:xfrm>
                <a:custGeom>
                  <a:avLst/>
                  <a:gdLst>
                    <a:gd name="T0" fmla="*/ 6 w 6"/>
                    <a:gd name="T1" fmla="*/ 6 h 6"/>
                    <a:gd name="T2" fmla="*/ 4 w 6"/>
                    <a:gd name="T3" fmla="*/ 0 h 6"/>
                    <a:gd name="T4" fmla="*/ 0 w 6"/>
                    <a:gd name="T5" fmla="*/ 6 h 6"/>
                    <a:gd name="T6" fmla="*/ 6 w 6"/>
                    <a:gd name="T7" fmla="*/ 6 h 6"/>
                  </a:gdLst>
                  <a:ahLst/>
                  <a:cxnLst>
                    <a:cxn ang="0">
                      <a:pos x="T0" y="T1"/>
                    </a:cxn>
                    <a:cxn ang="0">
                      <a:pos x="T2" y="T3"/>
                    </a:cxn>
                    <a:cxn ang="0">
                      <a:pos x="T4" y="T5"/>
                    </a:cxn>
                    <a:cxn ang="0">
                      <a:pos x="T6" y="T7"/>
                    </a:cxn>
                  </a:cxnLst>
                  <a:rect l="0" t="0" r="r" b="b"/>
                  <a:pathLst>
                    <a:path w="6" h="6">
                      <a:moveTo>
                        <a:pt x="6" y="6"/>
                      </a:moveTo>
                      <a:cubicBezTo>
                        <a:pt x="5" y="3"/>
                        <a:pt x="4" y="1"/>
                        <a:pt x="4" y="0"/>
                      </a:cubicBezTo>
                      <a:cubicBezTo>
                        <a:pt x="3" y="2"/>
                        <a:pt x="1" y="4"/>
                        <a:pt x="0" y="6"/>
                      </a:cubicBezTo>
                      <a:cubicBezTo>
                        <a:pt x="5" y="6"/>
                        <a:pt x="6" y="6"/>
                        <a:pt x="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30" name="Oval 643"/>
                <p:cNvSpPr>
                  <a:spLocks noChangeArrowheads="1"/>
                </p:cNvSpPr>
                <p:nvPr/>
              </p:nvSpPr>
              <p:spPr bwMode="auto">
                <a:xfrm>
                  <a:off x="13688"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31" name="Freeform 644"/>
                <p:cNvSpPr>
                  <a:spLocks/>
                </p:cNvSpPr>
                <p:nvPr/>
              </p:nvSpPr>
              <p:spPr bwMode="auto">
                <a:xfrm>
                  <a:off x="13672" y="1443"/>
                  <a:ext cx="54" cy="109"/>
                </a:xfrm>
                <a:custGeom>
                  <a:avLst/>
                  <a:gdLst>
                    <a:gd name="T0" fmla="*/ 0 w 23"/>
                    <a:gd name="T1" fmla="*/ 6 h 46"/>
                    <a:gd name="T2" fmla="*/ 0 w 23"/>
                    <a:gd name="T3" fmla="*/ 20 h 46"/>
                    <a:gd name="T4" fmla="*/ 2 w 23"/>
                    <a:gd name="T5" fmla="*/ 23 h 46"/>
                    <a:gd name="T6" fmla="*/ 4 w 23"/>
                    <a:gd name="T7" fmla="*/ 20 h 46"/>
                    <a:gd name="T8" fmla="*/ 4 w 23"/>
                    <a:gd name="T9" fmla="*/ 7 h 46"/>
                    <a:gd name="T10" fmla="*/ 5 w 23"/>
                    <a:gd name="T11" fmla="*/ 7 h 46"/>
                    <a:gd name="T12" fmla="*/ 5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6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6"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32" name="Freeform 645"/>
                <p:cNvSpPr>
                  <a:spLocks/>
                </p:cNvSpPr>
                <p:nvPr/>
              </p:nvSpPr>
              <p:spPr bwMode="auto">
                <a:xfrm>
                  <a:off x="14065" y="1147"/>
                  <a:ext cx="54" cy="111"/>
                </a:xfrm>
                <a:custGeom>
                  <a:avLst/>
                  <a:gdLst>
                    <a:gd name="T0" fmla="*/ 17 w 23"/>
                    <a:gd name="T1" fmla="*/ 0 h 47"/>
                    <a:gd name="T2" fmla="*/ 6 w 23"/>
                    <a:gd name="T3" fmla="*/ 0 h 47"/>
                    <a:gd name="T4" fmla="*/ 0 w 23"/>
                    <a:gd name="T5" fmla="*/ 7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7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33" name="Oval 646"/>
                <p:cNvSpPr>
                  <a:spLocks noChangeArrowheads="1"/>
                </p:cNvSpPr>
                <p:nvPr/>
              </p:nvSpPr>
              <p:spPr bwMode="auto">
                <a:xfrm>
                  <a:off x="14145"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34" name="Freeform 647"/>
                <p:cNvSpPr>
                  <a:spLocks/>
                </p:cNvSpPr>
                <p:nvPr/>
              </p:nvSpPr>
              <p:spPr bwMode="auto">
                <a:xfrm>
                  <a:off x="14126" y="1443"/>
                  <a:ext cx="64" cy="111"/>
                </a:xfrm>
                <a:custGeom>
                  <a:avLst/>
                  <a:gdLst>
                    <a:gd name="T0" fmla="*/ 26 w 27"/>
                    <a:gd name="T1" fmla="*/ 18 h 47"/>
                    <a:gd name="T2" fmla="*/ 22 w 27"/>
                    <a:gd name="T3" fmla="*/ 4 h 47"/>
                    <a:gd name="T4" fmla="*/ 17 w 27"/>
                    <a:gd name="T5" fmla="*/ 0 h 47"/>
                    <a:gd name="T6" fmla="*/ 9 w 27"/>
                    <a:gd name="T7" fmla="*/ 0 h 47"/>
                    <a:gd name="T8" fmla="*/ 4 w 27"/>
                    <a:gd name="T9" fmla="*/ 4 h 47"/>
                    <a:gd name="T10" fmla="*/ 0 w 27"/>
                    <a:gd name="T11" fmla="*/ 18 h 47"/>
                    <a:gd name="T12" fmla="*/ 1 w 27"/>
                    <a:gd name="T13" fmla="*/ 20 h 47"/>
                    <a:gd name="T14" fmla="*/ 3 w 27"/>
                    <a:gd name="T15" fmla="*/ 19 h 47"/>
                    <a:gd name="T16" fmla="*/ 7 w 27"/>
                    <a:gd name="T17" fmla="*/ 6 h 47"/>
                    <a:gd name="T18" fmla="*/ 8 w 27"/>
                    <a:gd name="T19" fmla="*/ 6 h 47"/>
                    <a:gd name="T20" fmla="*/ 2 w 27"/>
                    <a:gd name="T21" fmla="*/ 28 h 47"/>
                    <a:gd name="T22" fmla="*/ 8 w 27"/>
                    <a:gd name="T23" fmla="*/ 28 h 47"/>
                    <a:gd name="T24" fmla="*/ 8 w 27"/>
                    <a:gd name="T25" fmla="*/ 44 h 47"/>
                    <a:gd name="T26" fmla="*/ 11 w 27"/>
                    <a:gd name="T27" fmla="*/ 47 h 47"/>
                    <a:gd name="T28" fmla="*/ 13 w 27"/>
                    <a:gd name="T29" fmla="*/ 44 h 47"/>
                    <a:gd name="T30" fmla="*/ 13 w 27"/>
                    <a:gd name="T31" fmla="*/ 28 h 47"/>
                    <a:gd name="T32" fmla="*/ 14 w 27"/>
                    <a:gd name="T33" fmla="*/ 28 h 47"/>
                    <a:gd name="T34" fmla="*/ 14 w 27"/>
                    <a:gd name="T35" fmla="*/ 44 h 47"/>
                    <a:gd name="T36" fmla="*/ 16 w 27"/>
                    <a:gd name="T37" fmla="*/ 47 h 47"/>
                    <a:gd name="T38" fmla="*/ 18 w 27"/>
                    <a:gd name="T39" fmla="*/ 44 h 47"/>
                    <a:gd name="T40" fmla="*/ 18 w 27"/>
                    <a:gd name="T41" fmla="*/ 28 h 47"/>
                    <a:gd name="T42" fmla="*/ 24 w 27"/>
                    <a:gd name="T43" fmla="*/ 28 h 47"/>
                    <a:gd name="T44" fmla="*/ 18 w 27"/>
                    <a:gd name="T45" fmla="*/ 6 h 47"/>
                    <a:gd name="T46" fmla="*/ 19 w 27"/>
                    <a:gd name="T47" fmla="*/ 6 h 47"/>
                    <a:gd name="T48" fmla="*/ 23 w 27"/>
                    <a:gd name="T49" fmla="*/ 19 h 47"/>
                    <a:gd name="T50" fmla="*/ 25 w 27"/>
                    <a:gd name="T51" fmla="*/ 20 h 47"/>
                    <a:gd name="T52" fmla="*/ 26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6" y="18"/>
                      </a:moveTo>
                      <a:cubicBezTo>
                        <a:pt x="26" y="17"/>
                        <a:pt x="24" y="10"/>
                        <a:pt x="22" y="4"/>
                      </a:cubicBezTo>
                      <a:cubicBezTo>
                        <a:pt x="22" y="2"/>
                        <a:pt x="19" y="0"/>
                        <a:pt x="17" y="0"/>
                      </a:cubicBezTo>
                      <a:cubicBezTo>
                        <a:pt x="16" y="0"/>
                        <a:pt x="11" y="0"/>
                        <a:pt x="9" y="0"/>
                      </a:cubicBezTo>
                      <a:cubicBezTo>
                        <a:pt x="7" y="0"/>
                        <a:pt x="5" y="2"/>
                        <a:pt x="4" y="4"/>
                      </a:cubicBezTo>
                      <a:cubicBezTo>
                        <a:pt x="2" y="10"/>
                        <a:pt x="0" y="17"/>
                        <a:pt x="0" y="18"/>
                      </a:cubicBezTo>
                      <a:cubicBezTo>
                        <a:pt x="0" y="19"/>
                        <a:pt x="0" y="20"/>
                        <a:pt x="1" y="20"/>
                      </a:cubicBez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35" name="Oval 648"/>
                <p:cNvSpPr>
                  <a:spLocks noChangeArrowheads="1"/>
                </p:cNvSpPr>
                <p:nvPr/>
              </p:nvSpPr>
              <p:spPr bwMode="auto">
                <a:xfrm>
                  <a:off x="14145"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36" name="Freeform 649"/>
                <p:cNvSpPr>
                  <a:spLocks/>
                </p:cNvSpPr>
                <p:nvPr/>
              </p:nvSpPr>
              <p:spPr bwMode="auto">
                <a:xfrm>
                  <a:off x="13667"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1 w 27"/>
                    <a:gd name="T13" fmla="*/ 21 h 47"/>
                    <a:gd name="T14" fmla="*/ 4 w 27"/>
                    <a:gd name="T15" fmla="*/ 19 h 47"/>
                    <a:gd name="T16" fmla="*/ 8 w 27"/>
                    <a:gd name="T17" fmla="*/ 6 h 47"/>
                    <a:gd name="T18" fmla="*/ 9 w 27"/>
                    <a:gd name="T19" fmla="*/ 6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9 w 27"/>
                    <a:gd name="T39" fmla="*/ 45 h 47"/>
                    <a:gd name="T40" fmla="*/ 19 w 27"/>
                    <a:gd name="T41" fmla="*/ 28 h 47"/>
                    <a:gd name="T42" fmla="*/ 25 w 27"/>
                    <a:gd name="T43" fmla="*/ 28 h 47"/>
                    <a:gd name="T44" fmla="*/ 18 w 27"/>
                    <a:gd name="T45" fmla="*/ 6 h 47"/>
                    <a:gd name="T46" fmla="*/ 19 w 27"/>
                    <a:gd name="T47" fmla="*/ 6 h 47"/>
                    <a:gd name="T48" fmla="*/ 23 w 27"/>
                    <a:gd name="T49" fmla="*/ 19 h 47"/>
                    <a:gd name="T50" fmla="*/ 25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6" y="18"/>
                        <a:pt x="24" y="10"/>
                        <a:pt x="23" y="4"/>
                      </a:cubicBezTo>
                      <a:cubicBezTo>
                        <a:pt x="22" y="2"/>
                        <a:pt x="20" y="0"/>
                        <a:pt x="17" y="0"/>
                      </a:cubicBezTo>
                      <a:cubicBezTo>
                        <a:pt x="16" y="0"/>
                        <a:pt x="11" y="0"/>
                        <a:pt x="10" y="0"/>
                      </a:cubicBezTo>
                      <a:cubicBezTo>
                        <a:pt x="7" y="0"/>
                        <a:pt x="5" y="2"/>
                        <a:pt x="4" y="4"/>
                      </a:cubicBezTo>
                      <a:cubicBezTo>
                        <a:pt x="3" y="10"/>
                        <a:pt x="0" y="18"/>
                        <a:pt x="0" y="18"/>
                      </a:cubicBezTo>
                      <a:cubicBezTo>
                        <a:pt x="0" y="19"/>
                        <a:pt x="0" y="20"/>
                        <a:pt x="1" y="21"/>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9" y="46"/>
                        <a:pt x="19" y="45"/>
                      </a:cubicBezTo>
                      <a:cubicBezTo>
                        <a:pt x="19" y="44"/>
                        <a:pt x="19" y="36"/>
                        <a:pt x="19"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1"/>
                      </a:cubicBezTo>
                      <a:cubicBezTo>
                        <a:pt x="26"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37" name="Oval 650"/>
                <p:cNvSpPr>
                  <a:spLocks noChangeArrowheads="1"/>
                </p:cNvSpPr>
                <p:nvPr/>
              </p:nvSpPr>
              <p:spPr bwMode="auto">
                <a:xfrm>
                  <a:off x="14145"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38" name="Oval 651"/>
                <p:cNvSpPr>
                  <a:spLocks noChangeArrowheads="1"/>
                </p:cNvSpPr>
                <p:nvPr/>
              </p:nvSpPr>
              <p:spPr bwMode="auto">
                <a:xfrm>
                  <a:off x="14081"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39" name="Oval 652"/>
                <p:cNvSpPr>
                  <a:spLocks noChangeArrowheads="1"/>
                </p:cNvSpPr>
                <p:nvPr/>
              </p:nvSpPr>
              <p:spPr bwMode="auto">
                <a:xfrm>
                  <a:off x="14081"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40" name="Freeform 653"/>
                <p:cNvSpPr>
                  <a:spLocks/>
                </p:cNvSpPr>
                <p:nvPr/>
              </p:nvSpPr>
              <p:spPr bwMode="auto">
                <a:xfrm>
                  <a:off x="14131" y="1296"/>
                  <a:ext cx="54"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5 w 23"/>
                    <a:gd name="T11" fmla="*/ 7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7 w 23"/>
                    <a:gd name="T27" fmla="*/ 44 h 47"/>
                    <a:gd name="T28" fmla="*/ 17 w 23"/>
                    <a:gd name="T29" fmla="*/ 7 h 47"/>
                    <a:gd name="T30" fmla="*/ 18 w 23"/>
                    <a:gd name="T31" fmla="*/ 7 h 47"/>
                    <a:gd name="T32" fmla="*/ 18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41" name="Oval 654"/>
                <p:cNvSpPr>
                  <a:spLocks noChangeArrowheads="1"/>
                </p:cNvSpPr>
                <p:nvPr/>
              </p:nvSpPr>
              <p:spPr bwMode="auto">
                <a:xfrm>
                  <a:off x="13819"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42" name="Freeform 655"/>
                <p:cNvSpPr>
                  <a:spLocks/>
                </p:cNvSpPr>
                <p:nvPr/>
              </p:nvSpPr>
              <p:spPr bwMode="auto">
                <a:xfrm>
                  <a:off x="13802" y="1443"/>
                  <a:ext cx="54" cy="109"/>
                </a:xfrm>
                <a:custGeom>
                  <a:avLst/>
                  <a:gdLst>
                    <a:gd name="T0" fmla="*/ 0 w 23"/>
                    <a:gd name="T1" fmla="*/ 6 h 46"/>
                    <a:gd name="T2" fmla="*/ 0 w 23"/>
                    <a:gd name="T3" fmla="*/ 20 h 46"/>
                    <a:gd name="T4" fmla="*/ 3 w 23"/>
                    <a:gd name="T5" fmla="*/ 23 h 46"/>
                    <a:gd name="T6" fmla="*/ 5 w 23"/>
                    <a:gd name="T7" fmla="*/ 20 h 46"/>
                    <a:gd name="T8" fmla="*/ 5 w 23"/>
                    <a:gd name="T9" fmla="*/ 7 h 46"/>
                    <a:gd name="T10" fmla="*/ 6 w 23"/>
                    <a:gd name="T11" fmla="*/ 7 h 46"/>
                    <a:gd name="T12" fmla="*/ 6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7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3" y="23"/>
                      </a:cubicBezTo>
                      <a:cubicBezTo>
                        <a:pt x="4" y="23"/>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4"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7"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43" name="Freeform 656"/>
                <p:cNvSpPr>
                  <a:spLocks/>
                </p:cNvSpPr>
                <p:nvPr/>
              </p:nvSpPr>
              <p:spPr bwMode="auto">
                <a:xfrm>
                  <a:off x="13797" y="1296"/>
                  <a:ext cx="64" cy="111"/>
                </a:xfrm>
                <a:custGeom>
                  <a:avLst/>
                  <a:gdLst>
                    <a:gd name="T0" fmla="*/ 27 w 27"/>
                    <a:gd name="T1" fmla="*/ 18 h 47"/>
                    <a:gd name="T2" fmla="*/ 23 w 27"/>
                    <a:gd name="T3" fmla="*/ 4 h 47"/>
                    <a:gd name="T4" fmla="*/ 18 w 27"/>
                    <a:gd name="T5" fmla="*/ 0 h 47"/>
                    <a:gd name="T6" fmla="*/ 10 w 27"/>
                    <a:gd name="T7" fmla="*/ 0 h 47"/>
                    <a:gd name="T8" fmla="*/ 5 w 27"/>
                    <a:gd name="T9" fmla="*/ 4 h 47"/>
                    <a:gd name="T10" fmla="*/ 0 w 27"/>
                    <a:gd name="T11" fmla="*/ 18 h 47"/>
                    <a:gd name="T12" fmla="*/ 2 w 27"/>
                    <a:gd name="T13" fmla="*/ 21 h 47"/>
                    <a:gd name="T14" fmla="*/ 4 w 27"/>
                    <a:gd name="T15" fmla="*/ 19 h 47"/>
                    <a:gd name="T16" fmla="*/ 8 w 27"/>
                    <a:gd name="T17" fmla="*/ 6 h 47"/>
                    <a:gd name="T18" fmla="*/ 9 w 27"/>
                    <a:gd name="T19" fmla="*/ 6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7 w 27"/>
                    <a:gd name="T37" fmla="*/ 47 h 47"/>
                    <a:gd name="T38" fmla="*/ 19 w 27"/>
                    <a:gd name="T39" fmla="*/ 45 h 47"/>
                    <a:gd name="T40" fmla="*/ 19 w 27"/>
                    <a:gd name="T41" fmla="*/ 28 h 47"/>
                    <a:gd name="T42" fmla="*/ 25 w 27"/>
                    <a:gd name="T43" fmla="*/ 28 h 47"/>
                    <a:gd name="T44" fmla="*/ 19 w 27"/>
                    <a:gd name="T45" fmla="*/ 6 h 47"/>
                    <a:gd name="T46" fmla="*/ 20 w 27"/>
                    <a:gd name="T47" fmla="*/ 6 h 47"/>
                    <a:gd name="T48" fmla="*/ 24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5" y="10"/>
                        <a:pt x="23" y="4"/>
                      </a:cubicBezTo>
                      <a:cubicBezTo>
                        <a:pt x="22" y="2"/>
                        <a:pt x="20" y="0"/>
                        <a:pt x="18" y="0"/>
                      </a:cubicBezTo>
                      <a:cubicBezTo>
                        <a:pt x="16" y="0"/>
                        <a:pt x="11" y="0"/>
                        <a:pt x="10" y="0"/>
                      </a:cubicBezTo>
                      <a:cubicBezTo>
                        <a:pt x="8" y="0"/>
                        <a:pt x="5" y="2"/>
                        <a:pt x="5" y="4"/>
                      </a:cubicBezTo>
                      <a:cubicBezTo>
                        <a:pt x="3" y="10"/>
                        <a:pt x="1" y="18"/>
                        <a:pt x="0" y="18"/>
                      </a:cubicBezTo>
                      <a:cubicBezTo>
                        <a:pt x="0" y="19"/>
                        <a:pt x="1" y="20"/>
                        <a:pt x="2" y="21"/>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44" name="Freeform 657"/>
                <p:cNvSpPr>
                  <a:spLocks/>
                </p:cNvSpPr>
                <p:nvPr/>
              </p:nvSpPr>
              <p:spPr bwMode="auto">
                <a:xfrm>
                  <a:off x="14065" y="1443"/>
                  <a:ext cx="54" cy="109"/>
                </a:xfrm>
                <a:custGeom>
                  <a:avLst/>
                  <a:gdLst>
                    <a:gd name="T0" fmla="*/ 0 w 23"/>
                    <a:gd name="T1" fmla="*/ 6 h 46"/>
                    <a:gd name="T2" fmla="*/ 0 w 23"/>
                    <a:gd name="T3" fmla="*/ 20 h 46"/>
                    <a:gd name="T4" fmla="*/ 2 w 23"/>
                    <a:gd name="T5" fmla="*/ 23 h 46"/>
                    <a:gd name="T6" fmla="*/ 4 w 23"/>
                    <a:gd name="T7" fmla="*/ 20 h 46"/>
                    <a:gd name="T8" fmla="*/ 4 w 23"/>
                    <a:gd name="T9" fmla="*/ 7 h 46"/>
                    <a:gd name="T10" fmla="*/ 5 w 23"/>
                    <a:gd name="T11" fmla="*/ 7 h 46"/>
                    <a:gd name="T12" fmla="*/ 5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6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6"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45" name="Freeform 658"/>
                <p:cNvSpPr>
                  <a:spLocks/>
                </p:cNvSpPr>
                <p:nvPr/>
              </p:nvSpPr>
              <p:spPr bwMode="auto">
                <a:xfrm>
                  <a:off x="14060"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2 w 27"/>
                    <a:gd name="T13" fmla="*/ 21 h 47"/>
                    <a:gd name="T14" fmla="*/ 4 w 27"/>
                    <a:gd name="T15" fmla="*/ 19 h 47"/>
                    <a:gd name="T16" fmla="*/ 8 w 27"/>
                    <a:gd name="T17" fmla="*/ 6 h 47"/>
                    <a:gd name="T18" fmla="*/ 9 w 27"/>
                    <a:gd name="T19" fmla="*/ 6 h 47"/>
                    <a:gd name="T20" fmla="*/ 2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9 w 27"/>
                    <a:gd name="T39" fmla="*/ 45 h 47"/>
                    <a:gd name="T40" fmla="*/ 19 w 27"/>
                    <a:gd name="T41" fmla="*/ 28 h 47"/>
                    <a:gd name="T42" fmla="*/ 25 w 27"/>
                    <a:gd name="T43" fmla="*/ 28 h 47"/>
                    <a:gd name="T44" fmla="*/ 18 w 27"/>
                    <a:gd name="T45" fmla="*/ 6 h 47"/>
                    <a:gd name="T46" fmla="*/ 19 w 27"/>
                    <a:gd name="T47" fmla="*/ 6 h 47"/>
                    <a:gd name="T48" fmla="*/ 23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4" y="10"/>
                        <a:pt x="23" y="4"/>
                      </a:cubicBezTo>
                      <a:cubicBezTo>
                        <a:pt x="22" y="2"/>
                        <a:pt x="20" y="0"/>
                        <a:pt x="17" y="0"/>
                      </a:cubicBezTo>
                      <a:cubicBezTo>
                        <a:pt x="16" y="0"/>
                        <a:pt x="11" y="0"/>
                        <a:pt x="10" y="0"/>
                      </a:cubicBezTo>
                      <a:cubicBezTo>
                        <a:pt x="7" y="0"/>
                        <a:pt x="5" y="2"/>
                        <a:pt x="4" y="4"/>
                      </a:cubicBezTo>
                      <a:cubicBezTo>
                        <a:pt x="3" y="10"/>
                        <a:pt x="1" y="18"/>
                        <a:pt x="0" y="18"/>
                      </a:cubicBezTo>
                      <a:cubicBezTo>
                        <a:pt x="0" y="19"/>
                        <a:pt x="1" y="20"/>
                        <a:pt x="2" y="21"/>
                      </a:cubicBezTo>
                      <a:cubicBezTo>
                        <a:pt x="3" y="21"/>
                        <a:pt x="4" y="20"/>
                        <a:pt x="4" y="19"/>
                      </a:cubicBezTo>
                      <a:cubicBezTo>
                        <a:pt x="4" y="18"/>
                        <a:pt x="8" y="6"/>
                        <a:pt x="8" y="6"/>
                      </a:cubicBezTo>
                      <a:cubicBezTo>
                        <a:pt x="9" y="6"/>
                        <a:pt x="9" y="6"/>
                        <a:pt x="9" y="6"/>
                      </a:cubicBezTo>
                      <a:cubicBezTo>
                        <a:pt x="2" y="28"/>
                        <a:pt x="2" y="28"/>
                        <a:pt x="2"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6"/>
                        <a:pt x="18" y="6"/>
                        <a:pt x="18" y="6"/>
                      </a:cubicBezTo>
                      <a:cubicBezTo>
                        <a:pt x="19" y="6"/>
                        <a:pt x="19" y="6"/>
                        <a:pt x="19" y="6"/>
                      </a:cubicBezTo>
                      <a:cubicBezTo>
                        <a:pt x="19" y="6"/>
                        <a:pt x="23" y="18"/>
                        <a:pt x="23"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46" name="Oval 659"/>
                <p:cNvSpPr>
                  <a:spLocks noChangeArrowheads="1"/>
                </p:cNvSpPr>
                <p:nvPr/>
              </p:nvSpPr>
              <p:spPr bwMode="auto">
                <a:xfrm>
                  <a:off x="14081"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47" name="Freeform 660"/>
                <p:cNvSpPr>
                  <a:spLocks/>
                </p:cNvSpPr>
                <p:nvPr/>
              </p:nvSpPr>
              <p:spPr bwMode="auto">
                <a:xfrm>
                  <a:off x="14126" y="1147"/>
                  <a:ext cx="64" cy="111"/>
                </a:xfrm>
                <a:custGeom>
                  <a:avLst/>
                  <a:gdLst>
                    <a:gd name="T0" fmla="*/ 17 w 27"/>
                    <a:gd name="T1" fmla="*/ 0 h 47"/>
                    <a:gd name="T2" fmla="*/ 9 w 27"/>
                    <a:gd name="T3" fmla="*/ 0 h 47"/>
                    <a:gd name="T4" fmla="*/ 4 w 27"/>
                    <a:gd name="T5" fmla="*/ 5 h 47"/>
                    <a:gd name="T6" fmla="*/ 0 w 27"/>
                    <a:gd name="T7" fmla="*/ 19 h 47"/>
                    <a:gd name="T8" fmla="*/ 1 w 27"/>
                    <a:gd name="T9" fmla="*/ 21 h 47"/>
                    <a:gd name="T10" fmla="*/ 3 w 27"/>
                    <a:gd name="T11" fmla="*/ 20 h 47"/>
                    <a:gd name="T12" fmla="*/ 7 w 27"/>
                    <a:gd name="T13" fmla="*/ 7 h 47"/>
                    <a:gd name="T14" fmla="*/ 8 w 27"/>
                    <a:gd name="T15" fmla="*/ 7 h 47"/>
                    <a:gd name="T16" fmla="*/ 2 w 27"/>
                    <a:gd name="T17" fmla="*/ 29 h 47"/>
                    <a:gd name="T18" fmla="*/ 8 w 27"/>
                    <a:gd name="T19" fmla="*/ 29 h 47"/>
                    <a:gd name="T20" fmla="*/ 8 w 27"/>
                    <a:gd name="T21" fmla="*/ 45 h 47"/>
                    <a:gd name="T22" fmla="*/ 11 w 27"/>
                    <a:gd name="T23" fmla="*/ 47 h 47"/>
                    <a:gd name="T24" fmla="*/ 13 w 27"/>
                    <a:gd name="T25" fmla="*/ 45 h 47"/>
                    <a:gd name="T26" fmla="*/ 13 w 27"/>
                    <a:gd name="T27" fmla="*/ 29 h 47"/>
                    <a:gd name="T28" fmla="*/ 14 w 27"/>
                    <a:gd name="T29" fmla="*/ 29 h 47"/>
                    <a:gd name="T30" fmla="*/ 14 w 27"/>
                    <a:gd name="T31" fmla="*/ 45 h 47"/>
                    <a:gd name="T32" fmla="*/ 16 w 27"/>
                    <a:gd name="T33" fmla="*/ 47 h 47"/>
                    <a:gd name="T34" fmla="*/ 18 w 27"/>
                    <a:gd name="T35" fmla="*/ 45 h 47"/>
                    <a:gd name="T36" fmla="*/ 18 w 27"/>
                    <a:gd name="T37" fmla="*/ 29 h 47"/>
                    <a:gd name="T38" fmla="*/ 24 w 27"/>
                    <a:gd name="T39" fmla="*/ 29 h 47"/>
                    <a:gd name="T40" fmla="*/ 18 w 27"/>
                    <a:gd name="T41" fmla="*/ 7 h 47"/>
                    <a:gd name="T42" fmla="*/ 19 w 27"/>
                    <a:gd name="T43" fmla="*/ 7 h 47"/>
                    <a:gd name="T44" fmla="*/ 23 w 27"/>
                    <a:gd name="T45" fmla="*/ 20 h 47"/>
                    <a:gd name="T46" fmla="*/ 25 w 27"/>
                    <a:gd name="T47" fmla="*/ 21 h 47"/>
                    <a:gd name="T48" fmla="*/ 26 w 27"/>
                    <a:gd name="T49" fmla="*/ 19 h 47"/>
                    <a:gd name="T50" fmla="*/ 22 w 27"/>
                    <a:gd name="T51" fmla="*/ 5 h 47"/>
                    <a:gd name="T52" fmla="*/ 17 w 27"/>
                    <a:gd name="T5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7" y="0"/>
                      </a:moveTo>
                      <a:cubicBezTo>
                        <a:pt x="16" y="0"/>
                        <a:pt x="11" y="0"/>
                        <a:pt x="9" y="0"/>
                      </a:cubicBezTo>
                      <a:cubicBezTo>
                        <a:pt x="7" y="0"/>
                        <a:pt x="5" y="3"/>
                        <a:pt x="4" y="5"/>
                      </a:cubicBezTo>
                      <a:cubicBezTo>
                        <a:pt x="2" y="11"/>
                        <a:pt x="0" y="18"/>
                        <a:pt x="0" y="19"/>
                      </a:cubicBezTo>
                      <a:cubicBezTo>
                        <a:pt x="0" y="20"/>
                        <a:pt x="0" y="21"/>
                        <a:pt x="1" y="21"/>
                      </a:cubicBezTo>
                      <a:cubicBezTo>
                        <a:pt x="2" y="21"/>
                        <a:pt x="3" y="21"/>
                        <a:pt x="3" y="20"/>
                      </a:cubicBezTo>
                      <a:cubicBezTo>
                        <a:pt x="4" y="18"/>
                        <a:pt x="7" y="7"/>
                        <a:pt x="7" y="7"/>
                      </a:cubicBezTo>
                      <a:cubicBezTo>
                        <a:pt x="8" y="7"/>
                        <a:pt x="8" y="7"/>
                        <a:pt x="8" y="7"/>
                      </a:cubicBezTo>
                      <a:cubicBezTo>
                        <a:pt x="2" y="29"/>
                        <a:pt x="2" y="29"/>
                        <a:pt x="2" y="29"/>
                      </a:cubicBezTo>
                      <a:cubicBezTo>
                        <a:pt x="8" y="29"/>
                        <a:pt x="8" y="29"/>
                        <a:pt x="8" y="29"/>
                      </a:cubicBezTo>
                      <a:cubicBezTo>
                        <a:pt x="8" y="36"/>
                        <a:pt x="8" y="44"/>
                        <a:pt x="8" y="45"/>
                      </a:cubicBezTo>
                      <a:cubicBezTo>
                        <a:pt x="8" y="46"/>
                        <a:pt x="9"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7" y="47"/>
                        <a:pt x="18" y="46"/>
                        <a:pt x="18" y="45"/>
                      </a:cubicBezTo>
                      <a:cubicBezTo>
                        <a:pt x="18" y="44"/>
                        <a:pt x="18" y="36"/>
                        <a:pt x="18" y="29"/>
                      </a:cubicBezTo>
                      <a:cubicBezTo>
                        <a:pt x="24" y="29"/>
                        <a:pt x="24" y="29"/>
                        <a:pt x="24" y="29"/>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6" y="19"/>
                      </a:cubicBezTo>
                      <a:cubicBezTo>
                        <a:pt x="26" y="18"/>
                        <a:pt x="24" y="11"/>
                        <a:pt x="22" y="5"/>
                      </a:cubicBezTo>
                      <a:cubicBezTo>
                        <a:pt x="22" y="3"/>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48" name="Oval 661"/>
                <p:cNvSpPr>
                  <a:spLocks noChangeArrowheads="1"/>
                </p:cNvSpPr>
                <p:nvPr/>
              </p:nvSpPr>
              <p:spPr bwMode="auto">
                <a:xfrm>
                  <a:off x="14015"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49" name="Oval 662"/>
                <p:cNvSpPr>
                  <a:spLocks noChangeArrowheads="1"/>
                </p:cNvSpPr>
                <p:nvPr/>
              </p:nvSpPr>
              <p:spPr bwMode="auto">
                <a:xfrm>
                  <a:off x="13885"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50" name="Freeform 663"/>
                <p:cNvSpPr>
                  <a:spLocks/>
                </p:cNvSpPr>
                <p:nvPr/>
              </p:nvSpPr>
              <p:spPr bwMode="auto">
                <a:xfrm>
                  <a:off x="13802" y="1147"/>
                  <a:ext cx="54" cy="111"/>
                </a:xfrm>
                <a:custGeom>
                  <a:avLst/>
                  <a:gdLst>
                    <a:gd name="T0" fmla="*/ 3 w 23"/>
                    <a:gd name="T1" fmla="*/ 23 h 47"/>
                    <a:gd name="T2" fmla="*/ 5 w 23"/>
                    <a:gd name="T3" fmla="*/ 21 h 47"/>
                    <a:gd name="T4" fmla="*/ 5 w 23"/>
                    <a:gd name="T5" fmla="*/ 8 h 47"/>
                    <a:gd name="T6" fmla="*/ 6 w 23"/>
                    <a:gd name="T7" fmla="*/ 8 h 47"/>
                    <a:gd name="T8" fmla="*/ 6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8 h 47"/>
                    <a:gd name="T26" fmla="*/ 19 w 23"/>
                    <a:gd name="T27" fmla="*/ 8 h 47"/>
                    <a:gd name="T28" fmla="*/ 19 w 23"/>
                    <a:gd name="T29" fmla="*/ 21 h 47"/>
                    <a:gd name="T30" fmla="*/ 21 w 23"/>
                    <a:gd name="T31" fmla="*/ 23 h 47"/>
                    <a:gd name="T32" fmla="*/ 23 w 23"/>
                    <a:gd name="T33" fmla="*/ 21 h 47"/>
                    <a:gd name="T34" fmla="*/ 23 w 23"/>
                    <a:gd name="T35" fmla="*/ 7 h 47"/>
                    <a:gd name="T36" fmla="*/ 17 w 23"/>
                    <a:gd name="T37" fmla="*/ 0 h 47"/>
                    <a:gd name="T38" fmla="*/ 7 w 23"/>
                    <a:gd name="T39" fmla="*/ 0 h 47"/>
                    <a:gd name="T40" fmla="*/ 0 w 23"/>
                    <a:gd name="T41" fmla="*/ 7 h 47"/>
                    <a:gd name="T42" fmla="*/ 0 w 23"/>
                    <a:gd name="T43" fmla="*/ 21 h 47"/>
                    <a:gd name="T44" fmla="*/ 3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3" y="23"/>
                      </a:move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ubicBezTo>
                        <a:pt x="15" y="0"/>
                        <a:pt x="8" y="0"/>
                        <a:pt x="7" y="0"/>
                      </a:cubicBezTo>
                      <a:cubicBezTo>
                        <a:pt x="3" y="0"/>
                        <a:pt x="0" y="3"/>
                        <a:pt x="0" y="7"/>
                      </a:cubicBezTo>
                      <a:cubicBezTo>
                        <a:pt x="0" y="8"/>
                        <a:pt x="0" y="20"/>
                        <a:pt x="0" y="21"/>
                      </a:cubicBezTo>
                      <a:cubicBezTo>
                        <a:pt x="0" y="22"/>
                        <a:pt x="1" y="23"/>
                        <a:pt x="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51" name="Freeform 664"/>
                <p:cNvSpPr>
                  <a:spLocks/>
                </p:cNvSpPr>
                <p:nvPr/>
              </p:nvSpPr>
              <p:spPr bwMode="auto">
                <a:xfrm>
                  <a:off x="13868" y="1296"/>
                  <a:ext cx="55" cy="111"/>
                </a:xfrm>
                <a:custGeom>
                  <a:avLst/>
                  <a:gdLst>
                    <a:gd name="T0" fmla="*/ 21 w 23"/>
                    <a:gd name="T1" fmla="*/ 23 h 47"/>
                    <a:gd name="T2" fmla="*/ 23 w 23"/>
                    <a:gd name="T3" fmla="*/ 21 h 47"/>
                    <a:gd name="T4" fmla="*/ 23 w 23"/>
                    <a:gd name="T5" fmla="*/ 6 h 47"/>
                    <a:gd name="T6" fmla="*/ 17 w 23"/>
                    <a:gd name="T7" fmla="*/ 0 h 47"/>
                    <a:gd name="T8" fmla="*/ 6 w 23"/>
                    <a:gd name="T9" fmla="*/ 0 h 47"/>
                    <a:gd name="T10" fmla="*/ 0 w 23"/>
                    <a:gd name="T11" fmla="*/ 6 h 47"/>
                    <a:gd name="T12" fmla="*/ 0 w 23"/>
                    <a:gd name="T13" fmla="*/ 21 h 47"/>
                    <a:gd name="T14" fmla="*/ 2 w 23"/>
                    <a:gd name="T15" fmla="*/ 23 h 47"/>
                    <a:gd name="T16" fmla="*/ 4 w 23"/>
                    <a:gd name="T17" fmla="*/ 21 h 47"/>
                    <a:gd name="T18" fmla="*/ 4 w 23"/>
                    <a:gd name="T19" fmla="*/ 7 h 47"/>
                    <a:gd name="T20" fmla="*/ 5 w 23"/>
                    <a:gd name="T21" fmla="*/ 7 h 47"/>
                    <a:gd name="T22" fmla="*/ 5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8 w 23"/>
                    <a:gd name="T37" fmla="*/ 44 h 47"/>
                    <a:gd name="T38" fmla="*/ 18 w 23"/>
                    <a:gd name="T39" fmla="*/ 7 h 47"/>
                    <a:gd name="T40" fmla="*/ 19 w 23"/>
                    <a:gd name="T41" fmla="*/ 7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8" y="45"/>
                        <a:pt x="18" y="44"/>
                      </a:cubicBezTo>
                      <a:cubicBezTo>
                        <a:pt x="18" y="42"/>
                        <a:pt x="18" y="7"/>
                        <a:pt x="18" y="7"/>
                      </a:cubicBezTo>
                      <a:cubicBezTo>
                        <a:pt x="18" y="7"/>
                        <a:pt x="18" y="7"/>
                        <a:pt x="19" y="7"/>
                      </a:cubicBezTo>
                      <a:cubicBezTo>
                        <a:pt x="19" y="7"/>
                        <a:pt x="19" y="19"/>
                        <a:pt x="19" y="21"/>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52" name="Oval 665"/>
                <p:cNvSpPr>
                  <a:spLocks noChangeArrowheads="1"/>
                </p:cNvSpPr>
                <p:nvPr/>
              </p:nvSpPr>
              <p:spPr bwMode="auto">
                <a:xfrm>
                  <a:off x="13819"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53" name="Freeform 666"/>
                <p:cNvSpPr>
                  <a:spLocks/>
                </p:cNvSpPr>
                <p:nvPr/>
              </p:nvSpPr>
              <p:spPr bwMode="auto">
                <a:xfrm>
                  <a:off x="13864" y="1443"/>
                  <a:ext cx="63" cy="111"/>
                </a:xfrm>
                <a:custGeom>
                  <a:avLst/>
                  <a:gdLst>
                    <a:gd name="T0" fmla="*/ 1 w 27"/>
                    <a:gd name="T1" fmla="*/ 20 h 47"/>
                    <a:gd name="T2" fmla="*/ 4 w 27"/>
                    <a:gd name="T3" fmla="*/ 19 h 47"/>
                    <a:gd name="T4" fmla="*/ 8 w 27"/>
                    <a:gd name="T5" fmla="*/ 6 h 47"/>
                    <a:gd name="T6" fmla="*/ 9 w 27"/>
                    <a:gd name="T7" fmla="*/ 6 h 47"/>
                    <a:gd name="T8" fmla="*/ 2 w 27"/>
                    <a:gd name="T9" fmla="*/ 28 h 47"/>
                    <a:gd name="T10" fmla="*/ 8 w 27"/>
                    <a:gd name="T11" fmla="*/ 28 h 47"/>
                    <a:gd name="T12" fmla="*/ 8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6 w 27"/>
                    <a:gd name="T25" fmla="*/ 47 h 47"/>
                    <a:gd name="T26" fmla="*/ 19 w 27"/>
                    <a:gd name="T27" fmla="*/ 44 h 47"/>
                    <a:gd name="T28" fmla="*/ 19 w 27"/>
                    <a:gd name="T29" fmla="*/ 28 h 47"/>
                    <a:gd name="T30" fmla="*/ 25 w 27"/>
                    <a:gd name="T31" fmla="*/ 28 h 47"/>
                    <a:gd name="T32" fmla="*/ 18 w 27"/>
                    <a:gd name="T33" fmla="*/ 6 h 47"/>
                    <a:gd name="T34" fmla="*/ 19 w 27"/>
                    <a:gd name="T35" fmla="*/ 6 h 47"/>
                    <a:gd name="T36" fmla="*/ 23 w 27"/>
                    <a:gd name="T37" fmla="*/ 19 h 47"/>
                    <a:gd name="T38" fmla="*/ 26 w 27"/>
                    <a:gd name="T39" fmla="*/ 20 h 47"/>
                    <a:gd name="T40" fmla="*/ 27 w 27"/>
                    <a:gd name="T41" fmla="*/ 18 h 47"/>
                    <a:gd name="T42" fmla="*/ 23 w 27"/>
                    <a:gd name="T43" fmla="*/ 4 h 47"/>
                    <a:gd name="T44" fmla="*/ 17 w 27"/>
                    <a:gd name="T45" fmla="*/ 0 h 47"/>
                    <a:gd name="T46" fmla="*/ 10 w 27"/>
                    <a:gd name="T47" fmla="*/ 0 h 47"/>
                    <a:gd name="T48" fmla="*/ 4 w 27"/>
                    <a:gd name="T49" fmla="*/ 4 h 47"/>
                    <a:gd name="T50" fmla="*/ 0 w 27"/>
                    <a:gd name="T51" fmla="*/ 18 h 47"/>
                    <a:gd name="T52" fmla="*/ 1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0"/>
                      </a:moveTo>
                      <a:cubicBezTo>
                        <a:pt x="2" y="21"/>
                        <a:pt x="4" y="20"/>
                        <a:pt x="4" y="19"/>
                      </a:cubicBez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5" y="21"/>
                        <a:pt x="26" y="20"/>
                      </a:cubicBezTo>
                      <a:cubicBezTo>
                        <a:pt x="26" y="20"/>
                        <a:pt x="27" y="19"/>
                        <a:pt x="27" y="18"/>
                      </a:cubicBezTo>
                      <a:cubicBezTo>
                        <a:pt x="26" y="17"/>
                        <a:pt x="24" y="10"/>
                        <a:pt x="23" y="4"/>
                      </a:cubicBezTo>
                      <a:cubicBezTo>
                        <a:pt x="22" y="2"/>
                        <a:pt x="20" y="0"/>
                        <a:pt x="17" y="0"/>
                      </a:cubicBezTo>
                      <a:cubicBezTo>
                        <a:pt x="16" y="0"/>
                        <a:pt x="11" y="0"/>
                        <a:pt x="10" y="0"/>
                      </a:cubicBezTo>
                      <a:cubicBezTo>
                        <a:pt x="7" y="0"/>
                        <a:pt x="5" y="2"/>
                        <a:pt x="4" y="4"/>
                      </a:cubicBezTo>
                      <a:cubicBezTo>
                        <a:pt x="2" y="10"/>
                        <a:pt x="0" y="17"/>
                        <a:pt x="0" y="18"/>
                      </a:cubicBezTo>
                      <a:cubicBezTo>
                        <a:pt x="0" y="19"/>
                        <a:pt x="0"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54" name="Oval 667"/>
                <p:cNvSpPr>
                  <a:spLocks noChangeArrowheads="1"/>
                </p:cNvSpPr>
                <p:nvPr/>
              </p:nvSpPr>
              <p:spPr bwMode="auto">
                <a:xfrm>
                  <a:off x="13885"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55" name="Freeform 668"/>
                <p:cNvSpPr>
                  <a:spLocks/>
                </p:cNvSpPr>
                <p:nvPr/>
              </p:nvSpPr>
              <p:spPr bwMode="auto">
                <a:xfrm>
                  <a:off x="13935" y="1443"/>
                  <a:ext cx="52" cy="109"/>
                </a:xfrm>
                <a:custGeom>
                  <a:avLst/>
                  <a:gdLst>
                    <a:gd name="T0" fmla="*/ 22 w 22"/>
                    <a:gd name="T1" fmla="*/ 20 h 46"/>
                    <a:gd name="T2" fmla="*/ 22 w 22"/>
                    <a:gd name="T3" fmla="*/ 6 h 46"/>
                    <a:gd name="T4" fmla="*/ 16 w 22"/>
                    <a:gd name="T5" fmla="*/ 0 h 46"/>
                    <a:gd name="T6" fmla="*/ 6 w 22"/>
                    <a:gd name="T7" fmla="*/ 0 h 46"/>
                    <a:gd name="T8" fmla="*/ 0 w 22"/>
                    <a:gd name="T9" fmla="*/ 6 h 46"/>
                    <a:gd name="T10" fmla="*/ 0 w 22"/>
                    <a:gd name="T11" fmla="*/ 20 h 46"/>
                    <a:gd name="T12" fmla="*/ 2 w 22"/>
                    <a:gd name="T13" fmla="*/ 23 h 46"/>
                    <a:gd name="T14" fmla="*/ 4 w 22"/>
                    <a:gd name="T15" fmla="*/ 20 h 46"/>
                    <a:gd name="T16" fmla="*/ 4 w 22"/>
                    <a:gd name="T17" fmla="*/ 7 h 46"/>
                    <a:gd name="T18" fmla="*/ 5 w 22"/>
                    <a:gd name="T19" fmla="*/ 7 h 46"/>
                    <a:gd name="T20" fmla="*/ 5 w 22"/>
                    <a:gd name="T21" fmla="*/ 44 h 46"/>
                    <a:gd name="T22" fmla="*/ 8 w 22"/>
                    <a:gd name="T23" fmla="*/ 46 h 46"/>
                    <a:gd name="T24" fmla="*/ 11 w 22"/>
                    <a:gd name="T25" fmla="*/ 44 h 46"/>
                    <a:gd name="T26" fmla="*/ 11 w 22"/>
                    <a:gd name="T27" fmla="*/ 23 h 46"/>
                    <a:gd name="T28" fmla="*/ 12 w 22"/>
                    <a:gd name="T29" fmla="*/ 23 h 46"/>
                    <a:gd name="T30" fmla="*/ 12 w 22"/>
                    <a:gd name="T31" fmla="*/ 44 h 46"/>
                    <a:gd name="T32" fmla="*/ 14 w 22"/>
                    <a:gd name="T33" fmla="*/ 46 h 46"/>
                    <a:gd name="T34" fmla="*/ 17 w 22"/>
                    <a:gd name="T35" fmla="*/ 44 h 46"/>
                    <a:gd name="T36" fmla="*/ 17 w 22"/>
                    <a:gd name="T37" fmla="*/ 7 h 46"/>
                    <a:gd name="T38" fmla="*/ 18 w 22"/>
                    <a:gd name="T39" fmla="*/ 7 h 46"/>
                    <a:gd name="T40" fmla="*/ 18 w 22"/>
                    <a:gd name="T41" fmla="*/ 20 h 46"/>
                    <a:gd name="T42" fmla="*/ 20 w 22"/>
                    <a:gd name="T43" fmla="*/ 23 h 46"/>
                    <a:gd name="T44" fmla="*/ 22 w 22"/>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2" y="20"/>
                      </a:moveTo>
                      <a:cubicBezTo>
                        <a:pt x="22" y="19"/>
                        <a:pt x="22" y="8"/>
                        <a:pt x="22" y="6"/>
                      </a:cubicBezTo>
                      <a:cubicBezTo>
                        <a:pt x="22" y="2"/>
                        <a:pt x="20" y="0"/>
                        <a:pt x="16" y="0"/>
                      </a:cubicBezTo>
                      <a:cubicBezTo>
                        <a:pt x="15" y="0"/>
                        <a:pt x="8" y="0"/>
                        <a:pt x="6" y="0"/>
                      </a:cubicBezTo>
                      <a:cubicBezTo>
                        <a:pt x="3" y="0"/>
                        <a:pt x="0" y="2"/>
                        <a:pt x="0" y="6"/>
                      </a:cubicBez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56" name="Freeform 669"/>
                <p:cNvSpPr>
                  <a:spLocks/>
                </p:cNvSpPr>
                <p:nvPr/>
              </p:nvSpPr>
              <p:spPr bwMode="auto">
                <a:xfrm>
                  <a:off x="13864" y="1147"/>
                  <a:ext cx="63" cy="111"/>
                </a:xfrm>
                <a:custGeom>
                  <a:avLst/>
                  <a:gdLst>
                    <a:gd name="T0" fmla="*/ 1 w 27"/>
                    <a:gd name="T1" fmla="*/ 21 h 47"/>
                    <a:gd name="T2" fmla="*/ 4 w 27"/>
                    <a:gd name="T3" fmla="*/ 20 h 47"/>
                    <a:gd name="T4" fmla="*/ 8 w 27"/>
                    <a:gd name="T5" fmla="*/ 7 h 47"/>
                    <a:gd name="T6" fmla="*/ 9 w 27"/>
                    <a:gd name="T7" fmla="*/ 7 h 47"/>
                    <a:gd name="T8" fmla="*/ 2 w 27"/>
                    <a:gd name="T9" fmla="*/ 29 h 47"/>
                    <a:gd name="T10" fmla="*/ 8 w 27"/>
                    <a:gd name="T11" fmla="*/ 29 h 47"/>
                    <a:gd name="T12" fmla="*/ 8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6 w 27"/>
                    <a:gd name="T25" fmla="*/ 47 h 47"/>
                    <a:gd name="T26" fmla="*/ 19 w 27"/>
                    <a:gd name="T27" fmla="*/ 45 h 47"/>
                    <a:gd name="T28" fmla="*/ 19 w 27"/>
                    <a:gd name="T29" fmla="*/ 29 h 47"/>
                    <a:gd name="T30" fmla="*/ 25 w 27"/>
                    <a:gd name="T31" fmla="*/ 29 h 47"/>
                    <a:gd name="T32" fmla="*/ 18 w 27"/>
                    <a:gd name="T33" fmla="*/ 7 h 47"/>
                    <a:gd name="T34" fmla="*/ 19 w 27"/>
                    <a:gd name="T35" fmla="*/ 7 h 47"/>
                    <a:gd name="T36" fmla="*/ 23 w 27"/>
                    <a:gd name="T37" fmla="*/ 20 h 47"/>
                    <a:gd name="T38" fmla="*/ 26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4" y="21"/>
                        <a:pt x="4" y="20"/>
                      </a:cubicBezTo>
                      <a:cubicBezTo>
                        <a:pt x="4" y="18"/>
                        <a:pt x="8" y="7"/>
                        <a:pt x="8" y="7"/>
                      </a:cubicBezTo>
                      <a:cubicBezTo>
                        <a:pt x="9" y="7"/>
                        <a:pt x="9" y="7"/>
                        <a:pt x="9" y="7"/>
                      </a:cubicBezTo>
                      <a:cubicBezTo>
                        <a:pt x="2" y="29"/>
                        <a:pt x="2" y="29"/>
                        <a:pt x="2" y="29"/>
                      </a:cubicBezTo>
                      <a:cubicBezTo>
                        <a:pt x="8" y="29"/>
                        <a:pt x="8" y="29"/>
                        <a:pt x="8" y="29"/>
                      </a:cubicBezTo>
                      <a:cubicBezTo>
                        <a:pt x="8" y="36"/>
                        <a:pt x="8" y="44"/>
                        <a:pt x="8" y="45"/>
                      </a:cubicBezTo>
                      <a:cubicBezTo>
                        <a:pt x="8" y="46"/>
                        <a:pt x="9"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19" y="7"/>
                        <a:pt x="19" y="7"/>
                        <a:pt x="19" y="7"/>
                      </a:cubicBezTo>
                      <a:cubicBezTo>
                        <a:pt x="19" y="7"/>
                        <a:pt x="23" y="18"/>
                        <a:pt x="23" y="20"/>
                      </a:cubicBezTo>
                      <a:cubicBezTo>
                        <a:pt x="23" y="21"/>
                        <a:pt x="25" y="21"/>
                        <a:pt x="26"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57" name="Freeform 670"/>
                <p:cNvSpPr>
                  <a:spLocks/>
                </p:cNvSpPr>
                <p:nvPr/>
              </p:nvSpPr>
              <p:spPr bwMode="auto">
                <a:xfrm>
                  <a:off x="13930" y="1296"/>
                  <a:ext cx="64" cy="111"/>
                </a:xfrm>
                <a:custGeom>
                  <a:avLst/>
                  <a:gdLst>
                    <a:gd name="T0" fmla="*/ 1 w 27"/>
                    <a:gd name="T1" fmla="*/ 21 h 47"/>
                    <a:gd name="T2" fmla="*/ 3 w 27"/>
                    <a:gd name="T3" fmla="*/ 19 h 47"/>
                    <a:gd name="T4" fmla="*/ 7 w 27"/>
                    <a:gd name="T5" fmla="*/ 6 h 47"/>
                    <a:gd name="T6" fmla="*/ 8 w 27"/>
                    <a:gd name="T7" fmla="*/ 6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6 h 47"/>
                    <a:gd name="T34" fmla="*/ 19 w 27"/>
                    <a:gd name="T35" fmla="*/ 6 h 47"/>
                    <a:gd name="T36" fmla="*/ 23 w 27"/>
                    <a:gd name="T37" fmla="*/ 19 h 47"/>
                    <a:gd name="T38" fmla="*/ 25 w 27"/>
                    <a:gd name="T39" fmla="*/ 21 h 47"/>
                    <a:gd name="T40" fmla="*/ 26 w 27"/>
                    <a:gd name="T41" fmla="*/ 18 h 47"/>
                    <a:gd name="T42" fmla="*/ 22 w 27"/>
                    <a:gd name="T43" fmla="*/ 4 h 47"/>
                    <a:gd name="T44" fmla="*/ 17 w 27"/>
                    <a:gd name="T45" fmla="*/ 0 h 47"/>
                    <a:gd name="T46" fmla="*/ 9 w 27"/>
                    <a:gd name="T47" fmla="*/ 0 h 47"/>
                    <a:gd name="T48" fmla="*/ 4 w 27"/>
                    <a:gd name="T49" fmla="*/ 4 h 47"/>
                    <a:gd name="T50" fmla="*/ 0 w 27"/>
                    <a:gd name="T51" fmla="*/ 18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1"/>
                      </a:cubicBezTo>
                      <a:cubicBezTo>
                        <a:pt x="26" y="20"/>
                        <a:pt x="27" y="19"/>
                        <a:pt x="26" y="18"/>
                      </a:cubicBezTo>
                      <a:cubicBezTo>
                        <a:pt x="26" y="18"/>
                        <a:pt x="24" y="10"/>
                        <a:pt x="22" y="4"/>
                      </a:cubicBezTo>
                      <a:cubicBezTo>
                        <a:pt x="22" y="2"/>
                        <a:pt x="19" y="0"/>
                        <a:pt x="17" y="0"/>
                      </a:cubicBezTo>
                      <a:cubicBezTo>
                        <a:pt x="16" y="0"/>
                        <a:pt x="10" y="0"/>
                        <a:pt x="9" y="0"/>
                      </a:cubicBezTo>
                      <a:cubicBezTo>
                        <a:pt x="7" y="0"/>
                        <a:pt x="5" y="2"/>
                        <a:pt x="4" y="4"/>
                      </a:cubicBezTo>
                      <a:cubicBezTo>
                        <a:pt x="2" y="10"/>
                        <a:pt x="0" y="18"/>
                        <a:pt x="0" y="18"/>
                      </a:cubicBezTo>
                      <a:cubicBezTo>
                        <a:pt x="0" y="19"/>
                        <a:pt x="0" y="20"/>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58" name="Oval 671"/>
                <p:cNvSpPr>
                  <a:spLocks noChangeArrowheads="1"/>
                </p:cNvSpPr>
                <p:nvPr/>
              </p:nvSpPr>
              <p:spPr bwMode="auto">
                <a:xfrm>
                  <a:off x="13949" y="1417"/>
                  <a:ext cx="23"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59" name="Oval 672"/>
                <p:cNvSpPr>
                  <a:spLocks noChangeArrowheads="1"/>
                </p:cNvSpPr>
                <p:nvPr/>
              </p:nvSpPr>
              <p:spPr bwMode="auto">
                <a:xfrm>
                  <a:off x="13885"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60" name="Oval 673"/>
                <p:cNvSpPr>
                  <a:spLocks noChangeArrowheads="1"/>
                </p:cNvSpPr>
                <p:nvPr/>
              </p:nvSpPr>
              <p:spPr bwMode="auto">
                <a:xfrm>
                  <a:off x="14015"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61" name="Freeform 674"/>
                <p:cNvSpPr>
                  <a:spLocks/>
                </p:cNvSpPr>
                <p:nvPr/>
              </p:nvSpPr>
              <p:spPr bwMode="auto">
                <a:xfrm>
                  <a:off x="13731" y="1443"/>
                  <a:ext cx="66" cy="111"/>
                </a:xfrm>
                <a:custGeom>
                  <a:avLst/>
                  <a:gdLst>
                    <a:gd name="T0" fmla="*/ 2 w 28"/>
                    <a:gd name="T1" fmla="*/ 20 h 47"/>
                    <a:gd name="T2" fmla="*/ 4 w 28"/>
                    <a:gd name="T3" fmla="*/ 19 h 47"/>
                    <a:gd name="T4" fmla="*/ 8 w 28"/>
                    <a:gd name="T5" fmla="*/ 6 h 47"/>
                    <a:gd name="T6" fmla="*/ 9 w 28"/>
                    <a:gd name="T7" fmla="*/ 6 h 47"/>
                    <a:gd name="T8" fmla="*/ 3 w 28"/>
                    <a:gd name="T9" fmla="*/ 28 h 47"/>
                    <a:gd name="T10" fmla="*/ 9 w 28"/>
                    <a:gd name="T11" fmla="*/ 28 h 47"/>
                    <a:gd name="T12" fmla="*/ 9 w 28"/>
                    <a:gd name="T13" fmla="*/ 44 h 47"/>
                    <a:gd name="T14" fmla="*/ 11 w 28"/>
                    <a:gd name="T15" fmla="*/ 47 h 47"/>
                    <a:gd name="T16" fmla="*/ 14 w 28"/>
                    <a:gd name="T17" fmla="*/ 44 h 47"/>
                    <a:gd name="T18" fmla="*/ 14 w 28"/>
                    <a:gd name="T19" fmla="*/ 28 h 47"/>
                    <a:gd name="T20" fmla="*/ 15 w 28"/>
                    <a:gd name="T21" fmla="*/ 28 h 47"/>
                    <a:gd name="T22" fmla="*/ 15 w 28"/>
                    <a:gd name="T23" fmla="*/ 44 h 47"/>
                    <a:gd name="T24" fmla="*/ 17 w 28"/>
                    <a:gd name="T25" fmla="*/ 47 h 47"/>
                    <a:gd name="T26" fmla="*/ 19 w 28"/>
                    <a:gd name="T27" fmla="*/ 44 h 47"/>
                    <a:gd name="T28" fmla="*/ 19 w 28"/>
                    <a:gd name="T29" fmla="*/ 28 h 47"/>
                    <a:gd name="T30" fmla="*/ 25 w 28"/>
                    <a:gd name="T31" fmla="*/ 28 h 47"/>
                    <a:gd name="T32" fmla="*/ 19 w 28"/>
                    <a:gd name="T33" fmla="*/ 6 h 47"/>
                    <a:gd name="T34" fmla="*/ 20 w 28"/>
                    <a:gd name="T35" fmla="*/ 6 h 47"/>
                    <a:gd name="T36" fmla="*/ 24 w 28"/>
                    <a:gd name="T37" fmla="*/ 19 h 47"/>
                    <a:gd name="T38" fmla="*/ 26 w 28"/>
                    <a:gd name="T39" fmla="*/ 20 h 47"/>
                    <a:gd name="T40" fmla="*/ 27 w 28"/>
                    <a:gd name="T41" fmla="*/ 18 h 47"/>
                    <a:gd name="T42" fmla="*/ 23 w 28"/>
                    <a:gd name="T43" fmla="*/ 4 h 47"/>
                    <a:gd name="T44" fmla="*/ 18 w 28"/>
                    <a:gd name="T45" fmla="*/ 0 h 47"/>
                    <a:gd name="T46" fmla="*/ 10 w 28"/>
                    <a:gd name="T47" fmla="*/ 0 h 47"/>
                    <a:gd name="T48" fmla="*/ 5 w 28"/>
                    <a:gd name="T49" fmla="*/ 4 h 47"/>
                    <a:gd name="T50" fmla="*/ 1 w 28"/>
                    <a:gd name="T51" fmla="*/ 18 h 47"/>
                    <a:gd name="T52" fmla="*/ 2 w 28"/>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 y="20"/>
                      </a:move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3" y="47"/>
                        <a:pt x="14" y="46"/>
                        <a:pt x="14" y="44"/>
                      </a:cubicBezTo>
                      <a:cubicBezTo>
                        <a:pt x="14" y="43"/>
                        <a:pt x="14" y="28"/>
                        <a:pt x="14" y="28"/>
                      </a:cubicBezTo>
                      <a:cubicBezTo>
                        <a:pt x="15" y="28"/>
                        <a:pt x="15" y="28"/>
                        <a:pt x="15" y="28"/>
                      </a:cubicBezTo>
                      <a:cubicBezTo>
                        <a:pt x="15" y="28"/>
                        <a:pt x="15" y="43"/>
                        <a:pt x="15" y="44"/>
                      </a:cubicBezTo>
                      <a:cubicBezTo>
                        <a:pt x="15"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8" y="19"/>
                        <a:pt x="27" y="18"/>
                      </a:cubicBezTo>
                      <a:cubicBezTo>
                        <a:pt x="27" y="17"/>
                        <a:pt x="25" y="10"/>
                        <a:pt x="23" y="4"/>
                      </a:cubicBezTo>
                      <a:cubicBezTo>
                        <a:pt x="23" y="2"/>
                        <a:pt x="20" y="0"/>
                        <a:pt x="18" y="0"/>
                      </a:cubicBezTo>
                      <a:cubicBezTo>
                        <a:pt x="17" y="0"/>
                        <a:pt x="11" y="0"/>
                        <a:pt x="10" y="0"/>
                      </a:cubicBezTo>
                      <a:cubicBezTo>
                        <a:pt x="8" y="0"/>
                        <a:pt x="6" y="2"/>
                        <a:pt x="5" y="4"/>
                      </a:cubicBezTo>
                      <a:cubicBezTo>
                        <a:pt x="3" y="10"/>
                        <a:pt x="1" y="17"/>
                        <a:pt x="1" y="18"/>
                      </a:cubicBezTo>
                      <a:cubicBezTo>
                        <a:pt x="0" y="19"/>
                        <a:pt x="1"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62" name="Oval 675"/>
                <p:cNvSpPr>
                  <a:spLocks noChangeArrowheads="1"/>
                </p:cNvSpPr>
                <p:nvPr/>
              </p:nvSpPr>
              <p:spPr bwMode="auto">
                <a:xfrm>
                  <a:off x="13819" y="127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63" name="Freeform 676"/>
                <p:cNvSpPr>
                  <a:spLocks/>
                </p:cNvSpPr>
                <p:nvPr/>
              </p:nvSpPr>
              <p:spPr bwMode="auto">
                <a:xfrm>
                  <a:off x="13672" y="1147"/>
                  <a:ext cx="54" cy="111"/>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8 h 47"/>
                    <a:gd name="T26" fmla="*/ 19 w 23"/>
                    <a:gd name="T27" fmla="*/ 8 h 47"/>
                    <a:gd name="T28" fmla="*/ 19 w 23"/>
                    <a:gd name="T29" fmla="*/ 21 h 47"/>
                    <a:gd name="T30" fmla="*/ 21 w 23"/>
                    <a:gd name="T31" fmla="*/ 23 h 47"/>
                    <a:gd name="T32" fmla="*/ 23 w 23"/>
                    <a:gd name="T33" fmla="*/ 21 h 47"/>
                    <a:gd name="T34" fmla="*/ 23 w 23"/>
                    <a:gd name="T35" fmla="*/ 7 h 47"/>
                    <a:gd name="T36" fmla="*/ 17 w 23"/>
                    <a:gd name="T37" fmla="*/ 0 h 47"/>
                    <a:gd name="T38" fmla="*/ 6 w 23"/>
                    <a:gd name="T39" fmla="*/ 0 h 47"/>
                    <a:gd name="T40" fmla="*/ 0 w 23"/>
                    <a:gd name="T41" fmla="*/ 7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ubicBezTo>
                        <a:pt x="15" y="0"/>
                        <a:pt x="8" y="0"/>
                        <a:pt x="6" y="0"/>
                      </a:cubicBezTo>
                      <a:cubicBezTo>
                        <a:pt x="3"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64" name="Oval 677"/>
                <p:cNvSpPr>
                  <a:spLocks noChangeArrowheads="1"/>
                </p:cNvSpPr>
                <p:nvPr/>
              </p:nvSpPr>
              <p:spPr bwMode="auto">
                <a:xfrm>
                  <a:off x="13752"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65" name="Oval 678"/>
                <p:cNvSpPr>
                  <a:spLocks noChangeArrowheads="1"/>
                </p:cNvSpPr>
                <p:nvPr/>
              </p:nvSpPr>
              <p:spPr bwMode="auto">
                <a:xfrm>
                  <a:off x="13949" y="127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66" name="Oval 679"/>
                <p:cNvSpPr>
                  <a:spLocks noChangeArrowheads="1"/>
                </p:cNvSpPr>
                <p:nvPr/>
              </p:nvSpPr>
              <p:spPr bwMode="auto">
                <a:xfrm>
                  <a:off x="13688"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67" name="Oval 680"/>
                <p:cNvSpPr>
                  <a:spLocks noChangeArrowheads="1"/>
                </p:cNvSpPr>
                <p:nvPr/>
              </p:nvSpPr>
              <p:spPr bwMode="auto">
                <a:xfrm>
                  <a:off x="13752"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68" name="Oval 681"/>
                <p:cNvSpPr>
                  <a:spLocks noChangeArrowheads="1"/>
                </p:cNvSpPr>
                <p:nvPr/>
              </p:nvSpPr>
              <p:spPr bwMode="auto">
                <a:xfrm>
                  <a:off x="13752"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69" name="Freeform 682"/>
                <p:cNvSpPr>
                  <a:spLocks/>
                </p:cNvSpPr>
                <p:nvPr/>
              </p:nvSpPr>
              <p:spPr bwMode="auto">
                <a:xfrm>
                  <a:off x="13731" y="1147"/>
                  <a:ext cx="66" cy="111"/>
                </a:xfrm>
                <a:custGeom>
                  <a:avLst/>
                  <a:gdLst>
                    <a:gd name="T0" fmla="*/ 2 w 28"/>
                    <a:gd name="T1" fmla="*/ 21 h 47"/>
                    <a:gd name="T2" fmla="*/ 4 w 28"/>
                    <a:gd name="T3" fmla="*/ 20 h 47"/>
                    <a:gd name="T4" fmla="*/ 8 w 28"/>
                    <a:gd name="T5" fmla="*/ 7 h 47"/>
                    <a:gd name="T6" fmla="*/ 9 w 28"/>
                    <a:gd name="T7" fmla="*/ 7 h 47"/>
                    <a:gd name="T8" fmla="*/ 3 w 28"/>
                    <a:gd name="T9" fmla="*/ 29 h 47"/>
                    <a:gd name="T10" fmla="*/ 9 w 28"/>
                    <a:gd name="T11" fmla="*/ 29 h 47"/>
                    <a:gd name="T12" fmla="*/ 9 w 28"/>
                    <a:gd name="T13" fmla="*/ 45 h 47"/>
                    <a:gd name="T14" fmla="*/ 11 w 28"/>
                    <a:gd name="T15" fmla="*/ 47 h 47"/>
                    <a:gd name="T16" fmla="*/ 14 w 28"/>
                    <a:gd name="T17" fmla="*/ 45 h 47"/>
                    <a:gd name="T18" fmla="*/ 14 w 28"/>
                    <a:gd name="T19" fmla="*/ 29 h 47"/>
                    <a:gd name="T20" fmla="*/ 15 w 28"/>
                    <a:gd name="T21" fmla="*/ 29 h 47"/>
                    <a:gd name="T22" fmla="*/ 15 w 28"/>
                    <a:gd name="T23" fmla="*/ 45 h 47"/>
                    <a:gd name="T24" fmla="*/ 17 w 28"/>
                    <a:gd name="T25" fmla="*/ 47 h 47"/>
                    <a:gd name="T26" fmla="*/ 19 w 28"/>
                    <a:gd name="T27" fmla="*/ 45 h 47"/>
                    <a:gd name="T28" fmla="*/ 19 w 28"/>
                    <a:gd name="T29" fmla="*/ 29 h 47"/>
                    <a:gd name="T30" fmla="*/ 25 w 28"/>
                    <a:gd name="T31" fmla="*/ 29 h 47"/>
                    <a:gd name="T32" fmla="*/ 19 w 28"/>
                    <a:gd name="T33" fmla="*/ 7 h 47"/>
                    <a:gd name="T34" fmla="*/ 20 w 28"/>
                    <a:gd name="T35" fmla="*/ 7 h 47"/>
                    <a:gd name="T36" fmla="*/ 24 w 28"/>
                    <a:gd name="T37" fmla="*/ 20 h 47"/>
                    <a:gd name="T38" fmla="*/ 26 w 28"/>
                    <a:gd name="T39" fmla="*/ 21 h 47"/>
                    <a:gd name="T40" fmla="*/ 27 w 28"/>
                    <a:gd name="T41" fmla="*/ 19 h 47"/>
                    <a:gd name="T42" fmla="*/ 23 w 28"/>
                    <a:gd name="T43" fmla="*/ 5 h 47"/>
                    <a:gd name="T44" fmla="*/ 18 w 28"/>
                    <a:gd name="T45" fmla="*/ 0 h 47"/>
                    <a:gd name="T46" fmla="*/ 10 w 28"/>
                    <a:gd name="T47" fmla="*/ 0 h 47"/>
                    <a:gd name="T48" fmla="*/ 5 w 28"/>
                    <a:gd name="T49" fmla="*/ 5 h 47"/>
                    <a:gd name="T50" fmla="*/ 1 w 28"/>
                    <a:gd name="T51" fmla="*/ 19 h 47"/>
                    <a:gd name="T52" fmla="*/ 2 w 28"/>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 y="21"/>
                      </a:move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3" y="47"/>
                        <a:pt x="14" y="46"/>
                        <a:pt x="14" y="45"/>
                      </a:cubicBezTo>
                      <a:cubicBezTo>
                        <a:pt x="14" y="43"/>
                        <a:pt x="14" y="29"/>
                        <a:pt x="14" y="29"/>
                      </a:cubicBezTo>
                      <a:cubicBezTo>
                        <a:pt x="15" y="29"/>
                        <a:pt x="15" y="29"/>
                        <a:pt x="15" y="29"/>
                      </a:cubicBezTo>
                      <a:cubicBezTo>
                        <a:pt x="15" y="29"/>
                        <a:pt x="15" y="43"/>
                        <a:pt x="15" y="45"/>
                      </a:cubicBezTo>
                      <a:cubicBezTo>
                        <a:pt x="15" y="46"/>
                        <a:pt x="16"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8" y="20"/>
                        <a:pt x="27" y="19"/>
                      </a:cubicBezTo>
                      <a:cubicBezTo>
                        <a:pt x="27" y="18"/>
                        <a:pt x="25" y="11"/>
                        <a:pt x="23" y="5"/>
                      </a:cubicBezTo>
                      <a:cubicBezTo>
                        <a:pt x="23" y="3"/>
                        <a:pt x="20" y="0"/>
                        <a:pt x="18" y="0"/>
                      </a:cubicBezTo>
                      <a:cubicBezTo>
                        <a:pt x="17" y="0"/>
                        <a:pt x="11" y="0"/>
                        <a:pt x="10" y="0"/>
                      </a:cubicBezTo>
                      <a:cubicBezTo>
                        <a:pt x="8" y="0"/>
                        <a:pt x="6" y="3"/>
                        <a:pt x="5" y="5"/>
                      </a:cubicBezTo>
                      <a:cubicBezTo>
                        <a:pt x="3" y="11"/>
                        <a:pt x="1" y="18"/>
                        <a:pt x="1"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70" name="Freeform 683"/>
                <p:cNvSpPr>
                  <a:spLocks/>
                </p:cNvSpPr>
                <p:nvPr/>
              </p:nvSpPr>
              <p:spPr bwMode="auto">
                <a:xfrm>
                  <a:off x="13738" y="1296"/>
                  <a:ext cx="52" cy="111"/>
                </a:xfrm>
                <a:custGeom>
                  <a:avLst/>
                  <a:gdLst>
                    <a:gd name="T0" fmla="*/ 20 w 22"/>
                    <a:gd name="T1" fmla="*/ 23 h 47"/>
                    <a:gd name="T2" fmla="*/ 22 w 22"/>
                    <a:gd name="T3" fmla="*/ 21 h 47"/>
                    <a:gd name="T4" fmla="*/ 22 w 22"/>
                    <a:gd name="T5" fmla="*/ 6 h 47"/>
                    <a:gd name="T6" fmla="*/ 16 w 22"/>
                    <a:gd name="T7" fmla="*/ 0 h 47"/>
                    <a:gd name="T8" fmla="*/ 6 w 22"/>
                    <a:gd name="T9" fmla="*/ 0 h 47"/>
                    <a:gd name="T10" fmla="*/ 0 w 22"/>
                    <a:gd name="T11" fmla="*/ 6 h 47"/>
                    <a:gd name="T12" fmla="*/ 0 w 22"/>
                    <a:gd name="T13" fmla="*/ 21 h 47"/>
                    <a:gd name="T14" fmla="*/ 2 w 22"/>
                    <a:gd name="T15" fmla="*/ 23 h 47"/>
                    <a:gd name="T16" fmla="*/ 4 w 22"/>
                    <a:gd name="T17" fmla="*/ 21 h 47"/>
                    <a:gd name="T18" fmla="*/ 4 w 22"/>
                    <a:gd name="T19" fmla="*/ 7 h 47"/>
                    <a:gd name="T20" fmla="*/ 5 w 22"/>
                    <a:gd name="T21" fmla="*/ 7 h 47"/>
                    <a:gd name="T22" fmla="*/ 5 w 22"/>
                    <a:gd name="T23" fmla="*/ 44 h 47"/>
                    <a:gd name="T24" fmla="*/ 8 w 22"/>
                    <a:gd name="T25" fmla="*/ 47 h 47"/>
                    <a:gd name="T26" fmla="*/ 11 w 22"/>
                    <a:gd name="T27" fmla="*/ 44 h 47"/>
                    <a:gd name="T28" fmla="*/ 11 w 22"/>
                    <a:gd name="T29" fmla="*/ 23 h 47"/>
                    <a:gd name="T30" fmla="*/ 12 w 22"/>
                    <a:gd name="T31" fmla="*/ 23 h 47"/>
                    <a:gd name="T32" fmla="*/ 12 w 22"/>
                    <a:gd name="T33" fmla="*/ 44 h 47"/>
                    <a:gd name="T34" fmla="*/ 14 w 22"/>
                    <a:gd name="T35" fmla="*/ 47 h 47"/>
                    <a:gd name="T36" fmla="*/ 17 w 22"/>
                    <a:gd name="T37" fmla="*/ 44 h 47"/>
                    <a:gd name="T38" fmla="*/ 17 w 22"/>
                    <a:gd name="T39" fmla="*/ 7 h 47"/>
                    <a:gd name="T40" fmla="*/ 18 w 22"/>
                    <a:gd name="T41" fmla="*/ 7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19"/>
                        <a:pt x="22" y="8"/>
                        <a:pt x="22" y="6"/>
                      </a:cubicBezTo>
                      <a:cubicBezTo>
                        <a:pt x="22" y="3"/>
                        <a:pt x="20" y="0"/>
                        <a:pt x="16" y="0"/>
                      </a:cubicBezTo>
                      <a:cubicBezTo>
                        <a:pt x="15" y="0"/>
                        <a:pt x="7" y="0"/>
                        <a:pt x="6" y="0"/>
                      </a:cubicBezTo>
                      <a:cubicBezTo>
                        <a:pt x="3" y="0"/>
                        <a:pt x="0" y="3"/>
                        <a:pt x="0" y="6"/>
                      </a:cubicBez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1" y="45"/>
                        <a:pt x="11" y="44"/>
                      </a:cubicBezTo>
                      <a:cubicBezTo>
                        <a:pt x="11" y="42"/>
                        <a:pt x="11" y="23"/>
                        <a:pt x="11" y="23"/>
                      </a:cubicBezTo>
                      <a:cubicBezTo>
                        <a:pt x="11" y="23"/>
                        <a:pt x="11" y="23"/>
                        <a:pt x="12" y="23"/>
                      </a:cubicBezTo>
                      <a:cubicBezTo>
                        <a:pt x="12" y="23"/>
                        <a:pt x="12" y="42"/>
                        <a:pt x="12" y="44"/>
                      </a:cubicBezTo>
                      <a:cubicBezTo>
                        <a:pt x="12"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71" name="Oval 684"/>
                <p:cNvSpPr>
                  <a:spLocks noChangeArrowheads="1"/>
                </p:cNvSpPr>
                <p:nvPr/>
              </p:nvSpPr>
              <p:spPr bwMode="auto">
                <a:xfrm>
                  <a:off x="13688"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72" name="Oval 685"/>
                <p:cNvSpPr>
                  <a:spLocks noChangeArrowheads="1"/>
                </p:cNvSpPr>
                <p:nvPr/>
              </p:nvSpPr>
              <p:spPr bwMode="auto">
                <a:xfrm>
                  <a:off x="14015"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73" name="Freeform 686"/>
                <p:cNvSpPr>
                  <a:spLocks/>
                </p:cNvSpPr>
                <p:nvPr/>
              </p:nvSpPr>
              <p:spPr bwMode="auto">
                <a:xfrm>
                  <a:off x="13994" y="1443"/>
                  <a:ext cx="64" cy="111"/>
                </a:xfrm>
                <a:custGeom>
                  <a:avLst/>
                  <a:gdLst>
                    <a:gd name="T0" fmla="*/ 2 w 27"/>
                    <a:gd name="T1" fmla="*/ 20 h 47"/>
                    <a:gd name="T2" fmla="*/ 4 w 27"/>
                    <a:gd name="T3" fmla="*/ 19 h 47"/>
                    <a:gd name="T4" fmla="*/ 8 w 27"/>
                    <a:gd name="T5" fmla="*/ 6 h 47"/>
                    <a:gd name="T6" fmla="*/ 9 w 27"/>
                    <a:gd name="T7" fmla="*/ 6 h 47"/>
                    <a:gd name="T8" fmla="*/ 3 w 27"/>
                    <a:gd name="T9" fmla="*/ 28 h 47"/>
                    <a:gd name="T10" fmla="*/ 9 w 27"/>
                    <a:gd name="T11" fmla="*/ 28 h 47"/>
                    <a:gd name="T12" fmla="*/ 9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7 w 27"/>
                    <a:gd name="T25" fmla="*/ 47 h 47"/>
                    <a:gd name="T26" fmla="*/ 19 w 27"/>
                    <a:gd name="T27" fmla="*/ 44 h 47"/>
                    <a:gd name="T28" fmla="*/ 19 w 27"/>
                    <a:gd name="T29" fmla="*/ 28 h 47"/>
                    <a:gd name="T30" fmla="*/ 25 w 27"/>
                    <a:gd name="T31" fmla="*/ 28 h 47"/>
                    <a:gd name="T32" fmla="*/ 19 w 27"/>
                    <a:gd name="T33" fmla="*/ 6 h 47"/>
                    <a:gd name="T34" fmla="*/ 20 w 27"/>
                    <a:gd name="T35" fmla="*/ 6 h 47"/>
                    <a:gd name="T36" fmla="*/ 24 w 27"/>
                    <a:gd name="T37" fmla="*/ 19 h 47"/>
                    <a:gd name="T38" fmla="*/ 26 w 27"/>
                    <a:gd name="T39" fmla="*/ 20 h 47"/>
                    <a:gd name="T40" fmla="*/ 27 w 27"/>
                    <a:gd name="T41" fmla="*/ 18 h 47"/>
                    <a:gd name="T42" fmla="*/ 23 w 27"/>
                    <a:gd name="T43" fmla="*/ 4 h 47"/>
                    <a:gd name="T44" fmla="*/ 18 w 27"/>
                    <a:gd name="T45" fmla="*/ 0 h 47"/>
                    <a:gd name="T46" fmla="*/ 10 w 27"/>
                    <a:gd name="T47" fmla="*/ 0 h 47"/>
                    <a:gd name="T48" fmla="*/ 5 w 27"/>
                    <a:gd name="T49" fmla="*/ 4 h 47"/>
                    <a:gd name="T50" fmla="*/ 1 w 27"/>
                    <a:gd name="T51" fmla="*/ 18 h 47"/>
                    <a:gd name="T52" fmla="*/ 2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0"/>
                      </a:move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ubicBezTo>
                        <a:pt x="22" y="2"/>
                        <a:pt x="20" y="0"/>
                        <a:pt x="18" y="0"/>
                      </a:cubicBezTo>
                      <a:cubicBezTo>
                        <a:pt x="17" y="0"/>
                        <a:pt x="11" y="0"/>
                        <a:pt x="10" y="0"/>
                      </a:cubicBezTo>
                      <a:cubicBezTo>
                        <a:pt x="8" y="0"/>
                        <a:pt x="5" y="2"/>
                        <a:pt x="5" y="4"/>
                      </a:cubicBezTo>
                      <a:cubicBezTo>
                        <a:pt x="3" y="10"/>
                        <a:pt x="1" y="17"/>
                        <a:pt x="1" y="18"/>
                      </a:cubicBezTo>
                      <a:cubicBezTo>
                        <a:pt x="0" y="19"/>
                        <a:pt x="1"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74" name="Freeform 687"/>
                <p:cNvSpPr>
                  <a:spLocks/>
                </p:cNvSpPr>
                <p:nvPr/>
              </p:nvSpPr>
              <p:spPr bwMode="auto">
                <a:xfrm>
                  <a:off x="14001" y="1296"/>
                  <a:ext cx="52" cy="111"/>
                </a:xfrm>
                <a:custGeom>
                  <a:avLst/>
                  <a:gdLst>
                    <a:gd name="T0" fmla="*/ 20 w 22"/>
                    <a:gd name="T1" fmla="*/ 23 h 47"/>
                    <a:gd name="T2" fmla="*/ 22 w 22"/>
                    <a:gd name="T3" fmla="*/ 21 h 47"/>
                    <a:gd name="T4" fmla="*/ 22 w 22"/>
                    <a:gd name="T5" fmla="*/ 6 h 47"/>
                    <a:gd name="T6" fmla="*/ 16 w 22"/>
                    <a:gd name="T7" fmla="*/ 0 h 47"/>
                    <a:gd name="T8" fmla="*/ 6 w 22"/>
                    <a:gd name="T9" fmla="*/ 0 h 47"/>
                    <a:gd name="T10" fmla="*/ 0 w 22"/>
                    <a:gd name="T11" fmla="*/ 6 h 47"/>
                    <a:gd name="T12" fmla="*/ 0 w 22"/>
                    <a:gd name="T13" fmla="*/ 21 h 47"/>
                    <a:gd name="T14" fmla="*/ 2 w 22"/>
                    <a:gd name="T15" fmla="*/ 23 h 47"/>
                    <a:gd name="T16" fmla="*/ 4 w 22"/>
                    <a:gd name="T17" fmla="*/ 21 h 47"/>
                    <a:gd name="T18" fmla="*/ 4 w 22"/>
                    <a:gd name="T19" fmla="*/ 7 h 47"/>
                    <a:gd name="T20" fmla="*/ 5 w 22"/>
                    <a:gd name="T21" fmla="*/ 7 h 47"/>
                    <a:gd name="T22" fmla="*/ 5 w 22"/>
                    <a:gd name="T23" fmla="*/ 44 h 47"/>
                    <a:gd name="T24" fmla="*/ 8 w 22"/>
                    <a:gd name="T25" fmla="*/ 47 h 47"/>
                    <a:gd name="T26" fmla="*/ 10 w 22"/>
                    <a:gd name="T27" fmla="*/ 44 h 47"/>
                    <a:gd name="T28" fmla="*/ 10 w 22"/>
                    <a:gd name="T29" fmla="*/ 23 h 47"/>
                    <a:gd name="T30" fmla="*/ 11 w 22"/>
                    <a:gd name="T31" fmla="*/ 23 h 47"/>
                    <a:gd name="T32" fmla="*/ 11 w 22"/>
                    <a:gd name="T33" fmla="*/ 44 h 47"/>
                    <a:gd name="T34" fmla="*/ 14 w 22"/>
                    <a:gd name="T35" fmla="*/ 47 h 47"/>
                    <a:gd name="T36" fmla="*/ 17 w 22"/>
                    <a:gd name="T37" fmla="*/ 44 h 47"/>
                    <a:gd name="T38" fmla="*/ 17 w 22"/>
                    <a:gd name="T39" fmla="*/ 7 h 47"/>
                    <a:gd name="T40" fmla="*/ 18 w 22"/>
                    <a:gd name="T41" fmla="*/ 7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19"/>
                        <a:pt x="22" y="8"/>
                        <a:pt x="22" y="6"/>
                      </a:cubicBezTo>
                      <a:cubicBezTo>
                        <a:pt x="22" y="3"/>
                        <a:pt x="19" y="0"/>
                        <a:pt x="16" y="0"/>
                      </a:cubicBezTo>
                      <a:cubicBezTo>
                        <a:pt x="14" y="0"/>
                        <a:pt x="7" y="0"/>
                        <a:pt x="6" y="0"/>
                      </a:cubicBezTo>
                      <a:cubicBezTo>
                        <a:pt x="2" y="0"/>
                        <a:pt x="0" y="3"/>
                        <a:pt x="0" y="6"/>
                      </a:cubicBezTo>
                      <a:cubicBezTo>
                        <a:pt x="0" y="8"/>
                        <a:pt x="0" y="19"/>
                        <a:pt x="0" y="21"/>
                      </a:cubicBezTo>
                      <a:cubicBezTo>
                        <a:pt x="0" y="22"/>
                        <a:pt x="0"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2"/>
                        <a:pt x="10" y="23"/>
                        <a:pt x="10" y="23"/>
                      </a:cubicBezTo>
                      <a:cubicBezTo>
                        <a:pt x="10" y="23"/>
                        <a:pt x="10" y="23"/>
                        <a:pt x="11" y="23"/>
                      </a:cubicBezTo>
                      <a:cubicBezTo>
                        <a:pt x="11" y="23"/>
                        <a:pt x="11" y="42"/>
                        <a:pt x="11" y="44"/>
                      </a:cubicBezTo>
                      <a:cubicBezTo>
                        <a:pt x="11"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75" name="Freeform 688"/>
                <p:cNvSpPr>
                  <a:spLocks/>
                </p:cNvSpPr>
                <p:nvPr/>
              </p:nvSpPr>
              <p:spPr bwMode="auto">
                <a:xfrm>
                  <a:off x="13994" y="1147"/>
                  <a:ext cx="64" cy="111"/>
                </a:xfrm>
                <a:custGeom>
                  <a:avLst/>
                  <a:gdLst>
                    <a:gd name="T0" fmla="*/ 2 w 27"/>
                    <a:gd name="T1" fmla="*/ 21 h 47"/>
                    <a:gd name="T2" fmla="*/ 4 w 27"/>
                    <a:gd name="T3" fmla="*/ 20 h 47"/>
                    <a:gd name="T4" fmla="*/ 8 w 27"/>
                    <a:gd name="T5" fmla="*/ 7 h 47"/>
                    <a:gd name="T6" fmla="*/ 9 w 27"/>
                    <a:gd name="T7" fmla="*/ 7 h 47"/>
                    <a:gd name="T8" fmla="*/ 3 w 27"/>
                    <a:gd name="T9" fmla="*/ 29 h 47"/>
                    <a:gd name="T10" fmla="*/ 9 w 27"/>
                    <a:gd name="T11" fmla="*/ 29 h 47"/>
                    <a:gd name="T12" fmla="*/ 9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7 w 27"/>
                    <a:gd name="T25" fmla="*/ 47 h 47"/>
                    <a:gd name="T26" fmla="*/ 19 w 27"/>
                    <a:gd name="T27" fmla="*/ 45 h 47"/>
                    <a:gd name="T28" fmla="*/ 19 w 27"/>
                    <a:gd name="T29" fmla="*/ 29 h 47"/>
                    <a:gd name="T30" fmla="*/ 25 w 27"/>
                    <a:gd name="T31" fmla="*/ 29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1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ubicBezTo>
                        <a:pt x="17" y="0"/>
                        <a:pt x="11" y="0"/>
                        <a:pt x="10" y="0"/>
                      </a:cubicBezTo>
                      <a:cubicBezTo>
                        <a:pt x="8" y="0"/>
                        <a:pt x="5" y="3"/>
                        <a:pt x="5" y="5"/>
                      </a:cubicBezTo>
                      <a:cubicBezTo>
                        <a:pt x="3" y="11"/>
                        <a:pt x="1" y="18"/>
                        <a:pt x="1"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76" name="Oval 689"/>
                <p:cNvSpPr>
                  <a:spLocks noChangeArrowheads="1"/>
                </p:cNvSpPr>
                <p:nvPr/>
              </p:nvSpPr>
              <p:spPr bwMode="auto">
                <a:xfrm>
                  <a:off x="13949" y="1123"/>
                  <a:ext cx="23"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77" name="Freeform 690"/>
                <p:cNvSpPr>
                  <a:spLocks/>
                </p:cNvSpPr>
                <p:nvPr/>
              </p:nvSpPr>
              <p:spPr bwMode="auto">
                <a:xfrm>
                  <a:off x="13935" y="1147"/>
                  <a:ext cx="52" cy="111"/>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8 w 22"/>
                    <a:gd name="T11" fmla="*/ 47 h 47"/>
                    <a:gd name="T12" fmla="*/ 11 w 22"/>
                    <a:gd name="T13" fmla="*/ 44 h 47"/>
                    <a:gd name="T14" fmla="*/ 11 w 22"/>
                    <a:gd name="T15" fmla="*/ 23 h 47"/>
                    <a:gd name="T16" fmla="*/ 12 w 22"/>
                    <a:gd name="T17" fmla="*/ 23 h 47"/>
                    <a:gd name="T18" fmla="*/ 12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7 h 47"/>
                    <a:gd name="T36" fmla="*/ 16 w 22"/>
                    <a:gd name="T37" fmla="*/ 0 h 47"/>
                    <a:gd name="T38" fmla="*/ 6 w 22"/>
                    <a:gd name="T39" fmla="*/ 0 h 47"/>
                    <a:gd name="T40" fmla="*/ 0 w 22"/>
                    <a:gd name="T41" fmla="*/ 7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7"/>
                      </a:cubicBezTo>
                      <a:cubicBezTo>
                        <a:pt x="22" y="3"/>
                        <a:pt x="20" y="0"/>
                        <a:pt x="16" y="0"/>
                      </a:cubicBezTo>
                      <a:cubicBezTo>
                        <a:pt x="15" y="0"/>
                        <a:pt x="8" y="0"/>
                        <a:pt x="6" y="0"/>
                      </a:cubicBezTo>
                      <a:cubicBezTo>
                        <a:pt x="3"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78" name="Oval 691"/>
                <p:cNvSpPr>
                  <a:spLocks noChangeArrowheads="1"/>
                </p:cNvSpPr>
                <p:nvPr/>
              </p:nvSpPr>
              <p:spPr bwMode="auto">
                <a:xfrm>
                  <a:off x="13625" y="1123"/>
                  <a:ext cx="23"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79" name="Oval 692"/>
                <p:cNvSpPr>
                  <a:spLocks noChangeArrowheads="1"/>
                </p:cNvSpPr>
                <p:nvPr/>
              </p:nvSpPr>
              <p:spPr bwMode="auto">
                <a:xfrm>
                  <a:off x="13232"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80" name="Oval 693"/>
                <p:cNvSpPr>
                  <a:spLocks noChangeArrowheads="1"/>
                </p:cNvSpPr>
                <p:nvPr/>
              </p:nvSpPr>
              <p:spPr bwMode="auto">
                <a:xfrm>
                  <a:off x="13165"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81" name="Freeform 694"/>
                <p:cNvSpPr>
                  <a:spLocks/>
                </p:cNvSpPr>
                <p:nvPr/>
              </p:nvSpPr>
              <p:spPr bwMode="auto">
                <a:xfrm>
                  <a:off x="13603" y="1147"/>
                  <a:ext cx="64" cy="111"/>
                </a:xfrm>
                <a:custGeom>
                  <a:avLst/>
                  <a:gdLst>
                    <a:gd name="T0" fmla="*/ 2 w 27"/>
                    <a:gd name="T1" fmla="*/ 21 h 47"/>
                    <a:gd name="T2" fmla="*/ 4 w 27"/>
                    <a:gd name="T3" fmla="*/ 20 h 47"/>
                    <a:gd name="T4" fmla="*/ 8 w 27"/>
                    <a:gd name="T5" fmla="*/ 7 h 47"/>
                    <a:gd name="T6" fmla="*/ 9 w 27"/>
                    <a:gd name="T7" fmla="*/ 7 h 47"/>
                    <a:gd name="T8" fmla="*/ 3 w 27"/>
                    <a:gd name="T9" fmla="*/ 29 h 47"/>
                    <a:gd name="T10" fmla="*/ 9 w 27"/>
                    <a:gd name="T11" fmla="*/ 29 h 47"/>
                    <a:gd name="T12" fmla="*/ 9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7 w 27"/>
                    <a:gd name="T25" fmla="*/ 47 h 47"/>
                    <a:gd name="T26" fmla="*/ 19 w 27"/>
                    <a:gd name="T27" fmla="*/ 45 h 47"/>
                    <a:gd name="T28" fmla="*/ 19 w 27"/>
                    <a:gd name="T29" fmla="*/ 29 h 47"/>
                    <a:gd name="T30" fmla="*/ 25 w 27"/>
                    <a:gd name="T31" fmla="*/ 29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82" name="Freeform 695"/>
                <p:cNvSpPr>
                  <a:spLocks/>
                </p:cNvSpPr>
                <p:nvPr/>
              </p:nvSpPr>
              <p:spPr bwMode="auto">
                <a:xfrm>
                  <a:off x="13210" y="1147"/>
                  <a:ext cx="64" cy="111"/>
                </a:xfrm>
                <a:custGeom>
                  <a:avLst/>
                  <a:gdLst>
                    <a:gd name="T0" fmla="*/ 23 w 27"/>
                    <a:gd name="T1" fmla="*/ 5 h 47"/>
                    <a:gd name="T2" fmla="*/ 17 w 27"/>
                    <a:gd name="T3" fmla="*/ 0 h 47"/>
                    <a:gd name="T4" fmla="*/ 10 w 27"/>
                    <a:gd name="T5" fmla="*/ 0 h 47"/>
                    <a:gd name="T6" fmla="*/ 5 w 27"/>
                    <a:gd name="T7" fmla="*/ 5 h 47"/>
                    <a:gd name="T8" fmla="*/ 0 w 27"/>
                    <a:gd name="T9" fmla="*/ 19 h 47"/>
                    <a:gd name="T10" fmla="*/ 2 w 27"/>
                    <a:gd name="T11" fmla="*/ 21 h 47"/>
                    <a:gd name="T12" fmla="*/ 4 w 27"/>
                    <a:gd name="T13" fmla="*/ 20 h 47"/>
                    <a:gd name="T14" fmla="*/ 8 w 27"/>
                    <a:gd name="T15" fmla="*/ 7 h 47"/>
                    <a:gd name="T16" fmla="*/ 9 w 27"/>
                    <a:gd name="T17" fmla="*/ 7 h 47"/>
                    <a:gd name="T18" fmla="*/ 3 w 27"/>
                    <a:gd name="T19" fmla="*/ 29 h 47"/>
                    <a:gd name="T20" fmla="*/ 9 w 27"/>
                    <a:gd name="T21" fmla="*/ 29 h 47"/>
                    <a:gd name="T22" fmla="*/ 9 w 27"/>
                    <a:gd name="T23" fmla="*/ 45 h 47"/>
                    <a:gd name="T24" fmla="*/ 11 w 27"/>
                    <a:gd name="T25" fmla="*/ 47 h 47"/>
                    <a:gd name="T26" fmla="*/ 13 w 27"/>
                    <a:gd name="T27" fmla="*/ 45 h 47"/>
                    <a:gd name="T28" fmla="*/ 13 w 27"/>
                    <a:gd name="T29" fmla="*/ 29 h 47"/>
                    <a:gd name="T30" fmla="*/ 14 w 27"/>
                    <a:gd name="T31" fmla="*/ 29 h 47"/>
                    <a:gd name="T32" fmla="*/ 14 w 27"/>
                    <a:gd name="T33" fmla="*/ 45 h 47"/>
                    <a:gd name="T34" fmla="*/ 16 w 27"/>
                    <a:gd name="T35" fmla="*/ 47 h 47"/>
                    <a:gd name="T36" fmla="*/ 19 w 27"/>
                    <a:gd name="T37" fmla="*/ 45 h 47"/>
                    <a:gd name="T38" fmla="*/ 19 w 27"/>
                    <a:gd name="T39" fmla="*/ 29 h 47"/>
                    <a:gd name="T40" fmla="*/ 25 w 27"/>
                    <a:gd name="T41" fmla="*/ 29 h 47"/>
                    <a:gd name="T42" fmla="*/ 18 w 27"/>
                    <a:gd name="T43" fmla="*/ 7 h 47"/>
                    <a:gd name="T44" fmla="*/ 20 w 27"/>
                    <a:gd name="T45" fmla="*/ 7 h 47"/>
                    <a:gd name="T46" fmla="*/ 23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8" y="0"/>
                        <a:pt x="5" y="3"/>
                        <a:pt x="5"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83" name="Oval 696"/>
                <p:cNvSpPr>
                  <a:spLocks noChangeArrowheads="1"/>
                </p:cNvSpPr>
                <p:nvPr/>
              </p:nvSpPr>
              <p:spPr bwMode="auto">
                <a:xfrm>
                  <a:off x="13165"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84" name="Freeform 697"/>
                <p:cNvSpPr>
                  <a:spLocks/>
                </p:cNvSpPr>
                <p:nvPr/>
              </p:nvSpPr>
              <p:spPr bwMode="auto">
                <a:xfrm>
                  <a:off x="13151" y="1147"/>
                  <a:ext cx="52" cy="111"/>
                </a:xfrm>
                <a:custGeom>
                  <a:avLst/>
                  <a:gdLst>
                    <a:gd name="T0" fmla="*/ 16 w 22"/>
                    <a:gd name="T1" fmla="*/ 0 h 47"/>
                    <a:gd name="T2" fmla="*/ 6 w 22"/>
                    <a:gd name="T3" fmla="*/ 0 h 47"/>
                    <a:gd name="T4" fmla="*/ 0 w 22"/>
                    <a:gd name="T5" fmla="*/ 7 h 47"/>
                    <a:gd name="T6" fmla="*/ 0 w 22"/>
                    <a:gd name="T7" fmla="*/ 21 h 47"/>
                    <a:gd name="T8" fmla="*/ 2 w 22"/>
                    <a:gd name="T9" fmla="*/ 23 h 47"/>
                    <a:gd name="T10" fmla="*/ 4 w 22"/>
                    <a:gd name="T11" fmla="*/ 21 h 47"/>
                    <a:gd name="T12" fmla="*/ 4 w 22"/>
                    <a:gd name="T13" fmla="*/ 8 h 47"/>
                    <a:gd name="T14" fmla="*/ 5 w 22"/>
                    <a:gd name="T15" fmla="*/ 8 h 47"/>
                    <a:gd name="T16" fmla="*/ 5 w 22"/>
                    <a:gd name="T17" fmla="*/ 44 h 47"/>
                    <a:gd name="T18" fmla="*/ 8 w 22"/>
                    <a:gd name="T19" fmla="*/ 47 h 47"/>
                    <a:gd name="T20" fmla="*/ 10 w 22"/>
                    <a:gd name="T21" fmla="*/ 44 h 47"/>
                    <a:gd name="T22" fmla="*/ 10 w 22"/>
                    <a:gd name="T23" fmla="*/ 23 h 47"/>
                    <a:gd name="T24" fmla="*/ 11 w 22"/>
                    <a:gd name="T25" fmla="*/ 23 h 47"/>
                    <a:gd name="T26" fmla="*/ 11 w 22"/>
                    <a:gd name="T27" fmla="*/ 44 h 47"/>
                    <a:gd name="T28" fmla="*/ 14 w 22"/>
                    <a:gd name="T29" fmla="*/ 47 h 47"/>
                    <a:gd name="T30" fmla="*/ 17 w 22"/>
                    <a:gd name="T31" fmla="*/ 44 h 47"/>
                    <a:gd name="T32" fmla="*/ 17 w 22"/>
                    <a:gd name="T33" fmla="*/ 8 h 47"/>
                    <a:gd name="T34" fmla="*/ 18 w 22"/>
                    <a:gd name="T35" fmla="*/ 8 h 47"/>
                    <a:gd name="T36" fmla="*/ 18 w 22"/>
                    <a:gd name="T37" fmla="*/ 21 h 47"/>
                    <a:gd name="T38" fmla="*/ 20 w 22"/>
                    <a:gd name="T39" fmla="*/ 23 h 47"/>
                    <a:gd name="T40" fmla="*/ 22 w 22"/>
                    <a:gd name="T41" fmla="*/ 21 h 47"/>
                    <a:gd name="T42" fmla="*/ 22 w 22"/>
                    <a:gd name="T43" fmla="*/ 7 h 47"/>
                    <a:gd name="T44" fmla="*/ 16 w 22"/>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16" y="0"/>
                      </a:moveTo>
                      <a:cubicBezTo>
                        <a:pt x="14" y="0"/>
                        <a:pt x="7" y="0"/>
                        <a:pt x="6" y="0"/>
                      </a:cubicBezTo>
                      <a:cubicBezTo>
                        <a:pt x="2"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7"/>
                      </a:cubicBezTo>
                      <a:cubicBezTo>
                        <a:pt x="22" y="3"/>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85" name="Oval 698"/>
                <p:cNvSpPr>
                  <a:spLocks noChangeArrowheads="1"/>
                </p:cNvSpPr>
                <p:nvPr/>
              </p:nvSpPr>
              <p:spPr bwMode="auto">
                <a:xfrm>
                  <a:off x="13558"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86" name="Freeform 699"/>
                <p:cNvSpPr>
                  <a:spLocks/>
                </p:cNvSpPr>
                <p:nvPr/>
              </p:nvSpPr>
              <p:spPr bwMode="auto">
                <a:xfrm>
                  <a:off x="13478" y="1296"/>
                  <a:ext cx="54" cy="111"/>
                </a:xfrm>
                <a:custGeom>
                  <a:avLst/>
                  <a:gdLst>
                    <a:gd name="T0" fmla="*/ 21 w 23"/>
                    <a:gd name="T1" fmla="*/ 23 h 47"/>
                    <a:gd name="T2" fmla="*/ 23 w 23"/>
                    <a:gd name="T3" fmla="*/ 21 h 47"/>
                    <a:gd name="T4" fmla="*/ 23 w 23"/>
                    <a:gd name="T5" fmla="*/ 6 h 47"/>
                    <a:gd name="T6" fmla="*/ 17 w 23"/>
                    <a:gd name="T7" fmla="*/ 0 h 47"/>
                    <a:gd name="T8" fmla="*/ 6 w 23"/>
                    <a:gd name="T9" fmla="*/ 0 h 47"/>
                    <a:gd name="T10" fmla="*/ 0 w 23"/>
                    <a:gd name="T11" fmla="*/ 6 h 47"/>
                    <a:gd name="T12" fmla="*/ 0 w 23"/>
                    <a:gd name="T13" fmla="*/ 21 h 47"/>
                    <a:gd name="T14" fmla="*/ 2 w 23"/>
                    <a:gd name="T15" fmla="*/ 23 h 47"/>
                    <a:gd name="T16" fmla="*/ 4 w 23"/>
                    <a:gd name="T17" fmla="*/ 21 h 47"/>
                    <a:gd name="T18" fmla="*/ 4 w 23"/>
                    <a:gd name="T19" fmla="*/ 7 h 47"/>
                    <a:gd name="T20" fmla="*/ 5 w 23"/>
                    <a:gd name="T21" fmla="*/ 7 h 47"/>
                    <a:gd name="T22" fmla="*/ 5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8 w 23"/>
                    <a:gd name="T37" fmla="*/ 44 h 47"/>
                    <a:gd name="T38" fmla="*/ 18 w 23"/>
                    <a:gd name="T39" fmla="*/ 7 h 47"/>
                    <a:gd name="T40" fmla="*/ 19 w 23"/>
                    <a:gd name="T41" fmla="*/ 7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8" y="45"/>
                        <a:pt x="18" y="44"/>
                      </a:cubicBezTo>
                      <a:cubicBezTo>
                        <a:pt x="18" y="42"/>
                        <a:pt x="18" y="7"/>
                        <a:pt x="18" y="7"/>
                      </a:cubicBezTo>
                      <a:cubicBezTo>
                        <a:pt x="18" y="7"/>
                        <a:pt x="18" y="7"/>
                        <a:pt x="19" y="7"/>
                      </a:cubicBezTo>
                      <a:cubicBezTo>
                        <a:pt x="19" y="7"/>
                        <a:pt x="19" y="19"/>
                        <a:pt x="19" y="21"/>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87" name="Oval 700"/>
                <p:cNvSpPr>
                  <a:spLocks noChangeArrowheads="1"/>
                </p:cNvSpPr>
                <p:nvPr/>
              </p:nvSpPr>
              <p:spPr bwMode="auto">
                <a:xfrm>
                  <a:off x="13494"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88" name="Oval 701"/>
                <p:cNvSpPr>
                  <a:spLocks noChangeArrowheads="1"/>
                </p:cNvSpPr>
                <p:nvPr/>
              </p:nvSpPr>
              <p:spPr bwMode="auto">
                <a:xfrm>
                  <a:off x="13494"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89" name="Freeform 702"/>
                <p:cNvSpPr>
                  <a:spLocks/>
                </p:cNvSpPr>
                <p:nvPr/>
              </p:nvSpPr>
              <p:spPr bwMode="auto">
                <a:xfrm>
                  <a:off x="13473" y="1147"/>
                  <a:ext cx="64" cy="111"/>
                </a:xfrm>
                <a:custGeom>
                  <a:avLst/>
                  <a:gdLst>
                    <a:gd name="T0" fmla="*/ 1 w 27"/>
                    <a:gd name="T1" fmla="*/ 21 h 47"/>
                    <a:gd name="T2" fmla="*/ 4 w 27"/>
                    <a:gd name="T3" fmla="*/ 20 h 47"/>
                    <a:gd name="T4" fmla="*/ 8 w 27"/>
                    <a:gd name="T5" fmla="*/ 7 h 47"/>
                    <a:gd name="T6" fmla="*/ 9 w 27"/>
                    <a:gd name="T7" fmla="*/ 7 h 47"/>
                    <a:gd name="T8" fmla="*/ 2 w 27"/>
                    <a:gd name="T9" fmla="*/ 29 h 47"/>
                    <a:gd name="T10" fmla="*/ 8 w 27"/>
                    <a:gd name="T11" fmla="*/ 29 h 47"/>
                    <a:gd name="T12" fmla="*/ 8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6 w 27"/>
                    <a:gd name="T25" fmla="*/ 47 h 47"/>
                    <a:gd name="T26" fmla="*/ 19 w 27"/>
                    <a:gd name="T27" fmla="*/ 45 h 47"/>
                    <a:gd name="T28" fmla="*/ 19 w 27"/>
                    <a:gd name="T29" fmla="*/ 29 h 47"/>
                    <a:gd name="T30" fmla="*/ 25 w 27"/>
                    <a:gd name="T31" fmla="*/ 29 h 47"/>
                    <a:gd name="T32" fmla="*/ 18 w 27"/>
                    <a:gd name="T33" fmla="*/ 7 h 47"/>
                    <a:gd name="T34" fmla="*/ 19 w 27"/>
                    <a:gd name="T35" fmla="*/ 7 h 47"/>
                    <a:gd name="T36" fmla="*/ 23 w 27"/>
                    <a:gd name="T37" fmla="*/ 20 h 47"/>
                    <a:gd name="T38" fmla="*/ 25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8" y="7"/>
                        <a:pt x="8" y="7"/>
                      </a:cubicBezTo>
                      <a:cubicBezTo>
                        <a:pt x="9" y="7"/>
                        <a:pt x="9" y="7"/>
                        <a:pt x="9" y="7"/>
                      </a:cubicBezTo>
                      <a:cubicBezTo>
                        <a:pt x="2" y="29"/>
                        <a:pt x="2" y="29"/>
                        <a:pt x="2" y="29"/>
                      </a:cubicBezTo>
                      <a:cubicBezTo>
                        <a:pt x="8" y="29"/>
                        <a:pt x="8" y="29"/>
                        <a:pt x="8" y="29"/>
                      </a:cubicBezTo>
                      <a:cubicBezTo>
                        <a:pt x="8" y="36"/>
                        <a:pt x="8" y="44"/>
                        <a:pt x="8" y="45"/>
                      </a:cubicBezTo>
                      <a:cubicBezTo>
                        <a:pt x="8" y="46"/>
                        <a:pt x="9"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90" name="Oval 703"/>
                <p:cNvSpPr>
                  <a:spLocks noChangeArrowheads="1"/>
                </p:cNvSpPr>
                <p:nvPr/>
              </p:nvSpPr>
              <p:spPr bwMode="auto">
                <a:xfrm>
                  <a:off x="13494"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91" name="Freeform 704"/>
                <p:cNvSpPr>
                  <a:spLocks/>
                </p:cNvSpPr>
                <p:nvPr/>
              </p:nvSpPr>
              <p:spPr bwMode="auto">
                <a:xfrm>
                  <a:off x="13473" y="1443"/>
                  <a:ext cx="64" cy="111"/>
                </a:xfrm>
                <a:custGeom>
                  <a:avLst/>
                  <a:gdLst>
                    <a:gd name="T0" fmla="*/ 1 w 27"/>
                    <a:gd name="T1" fmla="*/ 20 h 47"/>
                    <a:gd name="T2" fmla="*/ 4 w 27"/>
                    <a:gd name="T3" fmla="*/ 19 h 47"/>
                    <a:gd name="T4" fmla="*/ 8 w 27"/>
                    <a:gd name="T5" fmla="*/ 6 h 47"/>
                    <a:gd name="T6" fmla="*/ 9 w 27"/>
                    <a:gd name="T7" fmla="*/ 6 h 47"/>
                    <a:gd name="T8" fmla="*/ 2 w 27"/>
                    <a:gd name="T9" fmla="*/ 28 h 47"/>
                    <a:gd name="T10" fmla="*/ 8 w 27"/>
                    <a:gd name="T11" fmla="*/ 28 h 47"/>
                    <a:gd name="T12" fmla="*/ 8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6 w 27"/>
                    <a:gd name="T25" fmla="*/ 47 h 47"/>
                    <a:gd name="T26" fmla="*/ 19 w 27"/>
                    <a:gd name="T27" fmla="*/ 44 h 47"/>
                    <a:gd name="T28" fmla="*/ 19 w 27"/>
                    <a:gd name="T29" fmla="*/ 28 h 47"/>
                    <a:gd name="T30" fmla="*/ 25 w 27"/>
                    <a:gd name="T31" fmla="*/ 28 h 47"/>
                    <a:gd name="T32" fmla="*/ 18 w 27"/>
                    <a:gd name="T33" fmla="*/ 6 h 47"/>
                    <a:gd name="T34" fmla="*/ 19 w 27"/>
                    <a:gd name="T35" fmla="*/ 6 h 47"/>
                    <a:gd name="T36" fmla="*/ 23 w 27"/>
                    <a:gd name="T37" fmla="*/ 19 h 47"/>
                    <a:gd name="T38" fmla="*/ 25 w 27"/>
                    <a:gd name="T39" fmla="*/ 20 h 47"/>
                    <a:gd name="T40" fmla="*/ 27 w 27"/>
                    <a:gd name="T41" fmla="*/ 18 h 47"/>
                    <a:gd name="T42" fmla="*/ 23 w 27"/>
                    <a:gd name="T43" fmla="*/ 4 h 47"/>
                    <a:gd name="T44" fmla="*/ 17 w 27"/>
                    <a:gd name="T45" fmla="*/ 0 h 47"/>
                    <a:gd name="T46" fmla="*/ 10 w 27"/>
                    <a:gd name="T47" fmla="*/ 0 h 47"/>
                    <a:gd name="T48" fmla="*/ 4 w 27"/>
                    <a:gd name="T49" fmla="*/ 4 h 47"/>
                    <a:gd name="T50" fmla="*/ 0 w 27"/>
                    <a:gd name="T51" fmla="*/ 18 h 47"/>
                    <a:gd name="T52" fmla="*/ 1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0"/>
                      </a:move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3" y="4"/>
                      </a:cubicBezTo>
                      <a:cubicBezTo>
                        <a:pt x="22" y="2"/>
                        <a:pt x="20" y="0"/>
                        <a:pt x="17" y="0"/>
                      </a:cubicBezTo>
                      <a:cubicBezTo>
                        <a:pt x="16" y="0"/>
                        <a:pt x="11" y="0"/>
                        <a:pt x="10" y="0"/>
                      </a:cubicBezTo>
                      <a:cubicBezTo>
                        <a:pt x="7" y="0"/>
                        <a:pt x="5" y="2"/>
                        <a:pt x="4" y="4"/>
                      </a:cubicBezTo>
                      <a:cubicBezTo>
                        <a:pt x="2" y="10"/>
                        <a:pt x="0" y="17"/>
                        <a:pt x="0" y="18"/>
                      </a:cubicBezTo>
                      <a:cubicBezTo>
                        <a:pt x="0" y="19"/>
                        <a:pt x="0"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92" name="Oval 705"/>
                <p:cNvSpPr>
                  <a:spLocks noChangeArrowheads="1"/>
                </p:cNvSpPr>
                <p:nvPr/>
              </p:nvSpPr>
              <p:spPr bwMode="auto">
                <a:xfrm>
                  <a:off x="13232"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93" name="Oval 706"/>
                <p:cNvSpPr>
                  <a:spLocks noChangeArrowheads="1"/>
                </p:cNvSpPr>
                <p:nvPr/>
              </p:nvSpPr>
              <p:spPr bwMode="auto">
                <a:xfrm>
                  <a:off x="13558"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94" name="Oval 707"/>
                <p:cNvSpPr>
                  <a:spLocks noChangeArrowheads="1"/>
                </p:cNvSpPr>
                <p:nvPr/>
              </p:nvSpPr>
              <p:spPr bwMode="auto">
                <a:xfrm>
                  <a:off x="13625" y="127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95" name="Oval 708"/>
                <p:cNvSpPr>
                  <a:spLocks noChangeArrowheads="1"/>
                </p:cNvSpPr>
                <p:nvPr/>
              </p:nvSpPr>
              <p:spPr bwMode="auto">
                <a:xfrm>
                  <a:off x="13625" y="1417"/>
                  <a:ext cx="23"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96" name="Freeform 709"/>
                <p:cNvSpPr>
                  <a:spLocks/>
                </p:cNvSpPr>
                <p:nvPr/>
              </p:nvSpPr>
              <p:spPr bwMode="auto">
                <a:xfrm>
                  <a:off x="13603" y="1443"/>
                  <a:ext cx="64" cy="111"/>
                </a:xfrm>
                <a:custGeom>
                  <a:avLst/>
                  <a:gdLst>
                    <a:gd name="T0" fmla="*/ 2 w 27"/>
                    <a:gd name="T1" fmla="*/ 20 h 47"/>
                    <a:gd name="T2" fmla="*/ 4 w 27"/>
                    <a:gd name="T3" fmla="*/ 19 h 47"/>
                    <a:gd name="T4" fmla="*/ 8 w 27"/>
                    <a:gd name="T5" fmla="*/ 6 h 47"/>
                    <a:gd name="T6" fmla="*/ 9 w 27"/>
                    <a:gd name="T7" fmla="*/ 6 h 47"/>
                    <a:gd name="T8" fmla="*/ 3 w 27"/>
                    <a:gd name="T9" fmla="*/ 28 h 47"/>
                    <a:gd name="T10" fmla="*/ 9 w 27"/>
                    <a:gd name="T11" fmla="*/ 28 h 47"/>
                    <a:gd name="T12" fmla="*/ 9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7 w 27"/>
                    <a:gd name="T25" fmla="*/ 47 h 47"/>
                    <a:gd name="T26" fmla="*/ 19 w 27"/>
                    <a:gd name="T27" fmla="*/ 44 h 47"/>
                    <a:gd name="T28" fmla="*/ 19 w 27"/>
                    <a:gd name="T29" fmla="*/ 28 h 47"/>
                    <a:gd name="T30" fmla="*/ 25 w 27"/>
                    <a:gd name="T31" fmla="*/ 28 h 47"/>
                    <a:gd name="T32" fmla="*/ 19 w 27"/>
                    <a:gd name="T33" fmla="*/ 6 h 47"/>
                    <a:gd name="T34" fmla="*/ 20 w 27"/>
                    <a:gd name="T35" fmla="*/ 6 h 47"/>
                    <a:gd name="T36" fmla="*/ 24 w 27"/>
                    <a:gd name="T37" fmla="*/ 19 h 47"/>
                    <a:gd name="T38" fmla="*/ 26 w 27"/>
                    <a:gd name="T39" fmla="*/ 20 h 47"/>
                    <a:gd name="T40" fmla="*/ 27 w 27"/>
                    <a:gd name="T41" fmla="*/ 18 h 47"/>
                    <a:gd name="T42" fmla="*/ 23 w 27"/>
                    <a:gd name="T43" fmla="*/ 4 h 47"/>
                    <a:gd name="T44" fmla="*/ 18 w 27"/>
                    <a:gd name="T45" fmla="*/ 0 h 47"/>
                    <a:gd name="T46" fmla="*/ 10 w 27"/>
                    <a:gd name="T47" fmla="*/ 0 h 47"/>
                    <a:gd name="T48" fmla="*/ 5 w 27"/>
                    <a:gd name="T49" fmla="*/ 4 h 47"/>
                    <a:gd name="T50" fmla="*/ 0 w 27"/>
                    <a:gd name="T51" fmla="*/ 18 h 47"/>
                    <a:gd name="T52" fmla="*/ 2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0"/>
                      </a:move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97" name="Freeform 710"/>
                <p:cNvSpPr>
                  <a:spLocks/>
                </p:cNvSpPr>
                <p:nvPr/>
              </p:nvSpPr>
              <p:spPr bwMode="auto">
                <a:xfrm>
                  <a:off x="13610" y="1296"/>
                  <a:ext cx="52" cy="111"/>
                </a:xfrm>
                <a:custGeom>
                  <a:avLst/>
                  <a:gdLst>
                    <a:gd name="T0" fmla="*/ 20 w 22"/>
                    <a:gd name="T1" fmla="*/ 23 h 47"/>
                    <a:gd name="T2" fmla="*/ 22 w 22"/>
                    <a:gd name="T3" fmla="*/ 21 h 47"/>
                    <a:gd name="T4" fmla="*/ 22 w 22"/>
                    <a:gd name="T5" fmla="*/ 6 h 47"/>
                    <a:gd name="T6" fmla="*/ 16 w 22"/>
                    <a:gd name="T7" fmla="*/ 0 h 47"/>
                    <a:gd name="T8" fmla="*/ 6 w 22"/>
                    <a:gd name="T9" fmla="*/ 0 h 47"/>
                    <a:gd name="T10" fmla="*/ 0 w 22"/>
                    <a:gd name="T11" fmla="*/ 6 h 47"/>
                    <a:gd name="T12" fmla="*/ 0 w 22"/>
                    <a:gd name="T13" fmla="*/ 21 h 47"/>
                    <a:gd name="T14" fmla="*/ 2 w 22"/>
                    <a:gd name="T15" fmla="*/ 23 h 47"/>
                    <a:gd name="T16" fmla="*/ 4 w 22"/>
                    <a:gd name="T17" fmla="*/ 21 h 47"/>
                    <a:gd name="T18" fmla="*/ 4 w 22"/>
                    <a:gd name="T19" fmla="*/ 7 h 47"/>
                    <a:gd name="T20" fmla="*/ 5 w 22"/>
                    <a:gd name="T21" fmla="*/ 7 h 47"/>
                    <a:gd name="T22" fmla="*/ 5 w 22"/>
                    <a:gd name="T23" fmla="*/ 44 h 47"/>
                    <a:gd name="T24" fmla="*/ 8 w 22"/>
                    <a:gd name="T25" fmla="*/ 47 h 47"/>
                    <a:gd name="T26" fmla="*/ 10 w 22"/>
                    <a:gd name="T27" fmla="*/ 44 h 47"/>
                    <a:gd name="T28" fmla="*/ 10 w 22"/>
                    <a:gd name="T29" fmla="*/ 23 h 47"/>
                    <a:gd name="T30" fmla="*/ 11 w 22"/>
                    <a:gd name="T31" fmla="*/ 23 h 47"/>
                    <a:gd name="T32" fmla="*/ 11 w 22"/>
                    <a:gd name="T33" fmla="*/ 44 h 47"/>
                    <a:gd name="T34" fmla="*/ 14 w 22"/>
                    <a:gd name="T35" fmla="*/ 47 h 47"/>
                    <a:gd name="T36" fmla="*/ 17 w 22"/>
                    <a:gd name="T37" fmla="*/ 44 h 47"/>
                    <a:gd name="T38" fmla="*/ 17 w 22"/>
                    <a:gd name="T39" fmla="*/ 7 h 47"/>
                    <a:gd name="T40" fmla="*/ 18 w 22"/>
                    <a:gd name="T41" fmla="*/ 7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19"/>
                        <a:pt x="22" y="8"/>
                        <a:pt x="22" y="6"/>
                      </a:cubicBezTo>
                      <a:cubicBezTo>
                        <a:pt x="22" y="3"/>
                        <a:pt x="19" y="0"/>
                        <a:pt x="16" y="0"/>
                      </a:cubicBezTo>
                      <a:cubicBezTo>
                        <a:pt x="14" y="0"/>
                        <a:pt x="7" y="0"/>
                        <a:pt x="6" y="0"/>
                      </a:cubicBezTo>
                      <a:cubicBezTo>
                        <a:pt x="2" y="0"/>
                        <a:pt x="0" y="3"/>
                        <a:pt x="0" y="6"/>
                      </a:cubicBezTo>
                      <a:cubicBezTo>
                        <a:pt x="0" y="8"/>
                        <a:pt x="0" y="19"/>
                        <a:pt x="0" y="21"/>
                      </a:cubicBezTo>
                      <a:cubicBezTo>
                        <a:pt x="0" y="22"/>
                        <a:pt x="0"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2"/>
                        <a:pt x="10" y="23"/>
                        <a:pt x="10" y="23"/>
                      </a:cubicBezTo>
                      <a:cubicBezTo>
                        <a:pt x="10" y="23"/>
                        <a:pt x="10" y="23"/>
                        <a:pt x="11" y="23"/>
                      </a:cubicBezTo>
                      <a:cubicBezTo>
                        <a:pt x="11" y="23"/>
                        <a:pt x="11" y="42"/>
                        <a:pt x="11" y="44"/>
                      </a:cubicBezTo>
                      <a:cubicBezTo>
                        <a:pt x="11"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98" name="Freeform 711"/>
                <p:cNvSpPr>
                  <a:spLocks/>
                </p:cNvSpPr>
                <p:nvPr/>
              </p:nvSpPr>
              <p:spPr bwMode="auto">
                <a:xfrm>
                  <a:off x="13544" y="1147"/>
                  <a:ext cx="52" cy="111"/>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8 w 22"/>
                    <a:gd name="T11" fmla="*/ 47 h 47"/>
                    <a:gd name="T12" fmla="*/ 11 w 22"/>
                    <a:gd name="T13" fmla="*/ 44 h 47"/>
                    <a:gd name="T14" fmla="*/ 11 w 22"/>
                    <a:gd name="T15" fmla="*/ 23 h 47"/>
                    <a:gd name="T16" fmla="*/ 12 w 22"/>
                    <a:gd name="T17" fmla="*/ 23 h 47"/>
                    <a:gd name="T18" fmla="*/ 12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7 h 47"/>
                    <a:gd name="T36" fmla="*/ 16 w 22"/>
                    <a:gd name="T37" fmla="*/ 0 h 47"/>
                    <a:gd name="T38" fmla="*/ 6 w 22"/>
                    <a:gd name="T39" fmla="*/ 0 h 47"/>
                    <a:gd name="T40" fmla="*/ 0 w 22"/>
                    <a:gd name="T41" fmla="*/ 7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7"/>
                      </a:cubicBezTo>
                      <a:cubicBezTo>
                        <a:pt x="22" y="3"/>
                        <a:pt x="20" y="0"/>
                        <a:pt x="16" y="0"/>
                      </a:cubicBezTo>
                      <a:cubicBezTo>
                        <a:pt x="15" y="0"/>
                        <a:pt x="8" y="0"/>
                        <a:pt x="6" y="0"/>
                      </a:cubicBezTo>
                      <a:cubicBezTo>
                        <a:pt x="2"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599" name="Freeform 712"/>
                <p:cNvSpPr>
                  <a:spLocks/>
                </p:cNvSpPr>
                <p:nvPr/>
              </p:nvSpPr>
              <p:spPr bwMode="auto">
                <a:xfrm>
                  <a:off x="13215" y="1296"/>
                  <a:ext cx="55"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6 w 23"/>
                    <a:gd name="T11" fmla="*/ 7 h 47"/>
                    <a:gd name="T12" fmla="*/ 6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7 h 47"/>
                    <a:gd name="T30" fmla="*/ 19 w 23"/>
                    <a:gd name="T31" fmla="*/ 7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4" y="23"/>
                        <a:pt x="4" y="22"/>
                        <a:pt x="4" y="21"/>
                      </a:cubicBezTo>
                      <a:cubicBezTo>
                        <a:pt x="4" y="19"/>
                        <a:pt x="4" y="7"/>
                        <a:pt x="4" y="7"/>
                      </a:cubicBezTo>
                      <a:cubicBezTo>
                        <a:pt x="4" y="7"/>
                        <a:pt x="4" y="7"/>
                        <a:pt x="6" y="7"/>
                      </a:cubicBezTo>
                      <a:cubicBezTo>
                        <a:pt x="6" y="7"/>
                        <a:pt x="6" y="42"/>
                        <a:pt x="6" y="44"/>
                      </a:cubicBezTo>
                      <a:cubicBezTo>
                        <a:pt x="6"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7" y="47"/>
                        <a:pt x="18" y="45"/>
                        <a:pt x="18" y="44"/>
                      </a:cubicBezTo>
                      <a:cubicBezTo>
                        <a:pt x="18" y="42"/>
                        <a:pt x="18" y="7"/>
                        <a:pt x="18" y="7"/>
                      </a:cubicBezTo>
                      <a:cubicBezTo>
                        <a:pt x="18" y="7"/>
                        <a:pt x="18" y="7"/>
                        <a:pt x="19" y="7"/>
                      </a:cubicBezTo>
                      <a:cubicBezTo>
                        <a:pt x="19" y="7"/>
                        <a:pt x="19" y="19"/>
                        <a:pt x="19" y="21"/>
                      </a:cubicBezTo>
                      <a:cubicBezTo>
                        <a:pt x="19" y="22"/>
                        <a:pt x="20"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00" name="Oval 713"/>
                <p:cNvSpPr>
                  <a:spLocks noChangeArrowheads="1"/>
                </p:cNvSpPr>
                <p:nvPr/>
              </p:nvSpPr>
              <p:spPr bwMode="auto">
                <a:xfrm>
                  <a:off x="13362"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01" name="Oval 714"/>
                <p:cNvSpPr>
                  <a:spLocks noChangeArrowheads="1"/>
                </p:cNvSpPr>
                <p:nvPr/>
              </p:nvSpPr>
              <p:spPr bwMode="auto">
                <a:xfrm>
                  <a:off x="13362"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02" name="Freeform 715"/>
                <p:cNvSpPr>
                  <a:spLocks/>
                </p:cNvSpPr>
                <p:nvPr/>
              </p:nvSpPr>
              <p:spPr bwMode="auto">
                <a:xfrm>
                  <a:off x="13412" y="1147"/>
                  <a:ext cx="54" cy="111"/>
                </a:xfrm>
                <a:custGeom>
                  <a:avLst/>
                  <a:gdLst>
                    <a:gd name="T0" fmla="*/ 2 w 23"/>
                    <a:gd name="T1" fmla="*/ 23 h 47"/>
                    <a:gd name="T2" fmla="*/ 5 w 23"/>
                    <a:gd name="T3" fmla="*/ 21 h 47"/>
                    <a:gd name="T4" fmla="*/ 5 w 23"/>
                    <a:gd name="T5" fmla="*/ 8 h 47"/>
                    <a:gd name="T6" fmla="*/ 6 w 23"/>
                    <a:gd name="T7" fmla="*/ 8 h 47"/>
                    <a:gd name="T8" fmla="*/ 6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8 h 47"/>
                    <a:gd name="T26" fmla="*/ 19 w 23"/>
                    <a:gd name="T27" fmla="*/ 8 h 47"/>
                    <a:gd name="T28" fmla="*/ 19 w 23"/>
                    <a:gd name="T29" fmla="*/ 21 h 47"/>
                    <a:gd name="T30" fmla="*/ 21 w 23"/>
                    <a:gd name="T31" fmla="*/ 23 h 47"/>
                    <a:gd name="T32" fmla="*/ 23 w 23"/>
                    <a:gd name="T33" fmla="*/ 21 h 47"/>
                    <a:gd name="T34" fmla="*/ 23 w 23"/>
                    <a:gd name="T35" fmla="*/ 7 h 47"/>
                    <a:gd name="T36" fmla="*/ 17 w 23"/>
                    <a:gd name="T37" fmla="*/ 0 h 47"/>
                    <a:gd name="T38" fmla="*/ 7 w 23"/>
                    <a:gd name="T39" fmla="*/ 0 h 47"/>
                    <a:gd name="T40" fmla="*/ 0 w 23"/>
                    <a:gd name="T41" fmla="*/ 7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ubicBezTo>
                        <a:pt x="15" y="0"/>
                        <a:pt x="8" y="0"/>
                        <a:pt x="7" y="0"/>
                      </a:cubicBezTo>
                      <a:cubicBezTo>
                        <a:pt x="3"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03" name="Oval 716"/>
                <p:cNvSpPr>
                  <a:spLocks noChangeArrowheads="1"/>
                </p:cNvSpPr>
                <p:nvPr/>
              </p:nvSpPr>
              <p:spPr bwMode="auto">
                <a:xfrm>
                  <a:off x="13428"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04" name="Freeform 717"/>
                <p:cNvSpPr>
                  <a:spLocks/>
                </p:cNvSpPr>
                <p:nvPr/>
              </p:nvSpPr>
              <p:spPr bwMode="auto">
                <a:xfrm>
                  <a:off x="13348" y="1296"/>
                  <a:ext cx="52" cy="111"/>
                </a:xfrm>
                <a:custGeom>
                  <a:avLst/>
                  <a:gdLst>
                    <a:gd name="T0" fmla="*/ 0 w 22"/>
                    <a:gd name="T1" fmla="*/ 6 h 47"/>
                    <a:gd name="T2" fmla="*/ 0 w 22"/>
                    <a:gd name="T3" fmla="*/ 21 h 47"/>
                    <a:gd name="T4" fmla="*/ 2 w 22"/>
                    <a:gd name="T5" fmla="*/ 23 h 47"/>
                    <a:gd name="T6" fmla="*/ 4 w 22"/>
                    <a:gd name="T7" fmla="*/ 21 h 47"/>
                    <a:gd name="T8" fmla="*/ 4 w 22"/>
                    <a:gd name="T9" fmla="*/ 7 h 47"/>
                    <a:gd name="T10" fmla="*/ 5 w 22"/>
                    <a:gd name="T11" fmla="*/ 7 h 47"/>
                    <a:gd name="T12" fmla="*/ 5 w 22"/>
                    <a:gd name="T13" fmla="*/ 44 h 47"/>
                    <a:gd name="T14" fmla="*/ 8 w 22"/>
                    <a:gd name="T15" fmla="*/ 47 h 47"/>
                    <a:gd name="T16" fmla="*/ 10 w 22"/>
                    <a:gd name="T17" fmla="*/ 44 h 47"/>
                    <a:gd name="T18" fmla="*/ 10 w 22"/>
                    <a:gd name="T19" fmla="*/ 23 h 47"/>
                    <a:gd name="T20" fmla="*/ 12 w 22"/>
                    <a:gd name="T21" fmla="*/ 23 h 47"/>
                    <a:gd name="T22" fmla="*/ 12 w 22"/>
                    <a:gd name="T23" fmla="*/ 44 h 47"/>
                    <a:gd name="T24" fmla="*/ 14 w 22"/>
                    <a:gd name="T25" fmla="*/ 47 h 47"/>
                    <a:gd name="T26" fmla="*/ 17 w 22"/>
                    <a:gd name="T27" fmla="*/ 44 h 47"/>
                    <a:gd name="T28" fmla="*/ 17 w 22"/>
                    <a:gd name="T29" fmla="*/ 7 h 47"/>
                    <a:gd name="T30" fmla="*/ 18 w 22"/>
                    <a:gd name="T31" fmla="*/ 7 h 47"/>
                    <a:gd name="T32" fmla="*/ 18 w 22"/>
                    <a:gd name="T33" fmla="*/ 21 h 47"/>
                    <a:gd name="T34" fmla="*/ 20 w 22"/>
                    <a:gd name="T35" fmla="*/ 23 h 47"/>
                    <a:gd name="T36" fmla="*/ 22 w 22"/>
                    <a:gd name="T37" fmla="*/ 21 h 47"/>
                    <a:gd name="T38" fmla="*/ 22 w 22"/>
                    <a:gd name="T39" fmla="*/ 6 h 47"/>
                    <a:gd name="T40" fmla="*/ 16 w 22"/>
                    <a:gd name="T41" fmla="*/ 0 h 47"/>
                    <a:gd name="T42" fmla="*/ 6 w 22"/>
                    <a:gd name="T43" fmla="*/ 0 h 47"/>
                    <a:gd name="T44" fmla="*/ 0 w 22"/>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2"/>
                        <a:pt x="10" y="23"/>
                        <a:pt x="10" y="23"/>
                      </a:cubicBezTo>
                      <a:cubicBezTo>
                        <a:pt x="10" y="23"/>
                        <a:pt x="10" y="23"/>
                        <a:pt x="12" y="23"/>
                      </a:cubicBezTo>
                      <a:cubicBezTo>
                        <a:pt x="12" y="23"/>
                        <a:pt x="12" y="42"/>
                        <a:pt x="12" y="44"/>
                      </a:cubicBezTo>
                      <a:cubicBezTo>
                        <a:pt x="12"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ubicBezTo>
                        <a:pt x="21" y="23"/>
                        <a:pt x="22" y="22"/>
                        <a:pt x="22" y="21"/>
                      </a:cubicBezTo>
                      <a:cubicBezTo>
                        <a:pt x="22" y="19"/>
                        <a:pt x="22" y="8"/>
                        <a:pt x="22" y="6"/>
                      </a:cubicBezTo>
                      <a:cubicBezTo>
                        <a:pt x="22" y="3"/>
                        <a:pt x="20" y="0"/>
                        <a:pt x="16" y="0"/>
                      </a:cubicBezTo>
                      <a:cubicBezTo>
                        <a:pt x="15" y="0"/>
                        <a:pt x="7"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05" name="Freeform 718"/>
                <p:cNvSpPr>
                  <a:spLocks/>
                </p:cNvSpPr>
                <p:nvPr/>
              </p:nvSpPr>
              <p:spPr bwMode="auto">
                <a:xfrm>
                  <a:off x="13341" y="1147"/>
                  <a:ext cx="66" cy="111"/>
                </a:xfrm>
                <a:custGeom>
                  <a:avLst/>
                  <a:gdLst>
                    <a:gd name="T0" fmla="*/ 23 w 28"/>
                    <a:gd name="T1" fmla="*/ 5 h 47"/>
                    <a:gd name="T2" fmla="*/ 18 w 28"/>
                    <a:gd name="T3" fmla="*/ 0 h 47"/>
                    <a:gd name="T4" fmla="*/ 10 w 28"/>
                    <a:gd name="T5" fmla="*/ 0 h 47"/>
                    <a:gd name="T6" fmla="*/ 5 w 28"/>
                    <a:gd name="T7" fmla="*/ 5 h 47"/>
                    <a:gd name="T8" fmla="*/ 1 w 28"/>
                    <a:gd name="T9" fmla="*/ 19 h 47"/>
                    <a:gd name="T10" fmla="*/ 2 w 28"/>
                    <a:gd name="T11" fmla="*/ 21 h 47"/>
                    <a:gd name="T12" fmla="*/ 4 w 28"/>
                    <a:gd name="T13" fmla="*/ 20 h 47"/>
                    <a:gd name="T14" fmla="*/ 8 w 28"/>
                    <a:gd name="T15" fmla="*/ 7 h 47"/>
                    <a:gd name="T16" fmla="*/ 9 w 28"/>
                    <a:gd name="T17" fmla="*/ 7 h 47"/>
                    <a:gd name="T18" fmla="*/ 3 w 28"/>
                    <a:gd name="T19" fmla="*/ 29 h 47"/>
                    <a:gd name="T20" fmla="*/ 9 w 28"/>
                    <a:gd name="T21" fmla="*/ 29 h 47"/>
                    <a:gd name="T22" fmla="*/ 9 w 28"/>
                    <a:gd name="T23" fmla="*/ 45 h 47"/>
                    <a:gd name="T24" fmla="*/ 11 w 28"/>
                    <a:gd name="T25" fmla="*/ 47 h 47"/>
                    <a:gd name="T26" fmla="*/ 14 w 28"/>
                    <a:gd name="T27" fmla="*/ 45 h 47"/>
                    <a:gd name="T28" fmla="*/ 14 w 28"/>
                    <a:gd name="T29" fmla="*/ 29 h 47"/>
                    <a:gd name="T30" fmla="*/ 15 w 28"/>
                    <a:gd name="T31" fmla="*/ 29 h 47"/>
                    <a:gd name="T32" fmla="*/ 15 w 28"/>
                    <a:gd name="T33" fmla="*/ 45 h 47"/>
                    <a:gd name="T34" fmla="*/ 17 w 28"/>
                    <a:gd name="T35" fmla="*/ 47 h 47"/>
                    <a:gd name="T36" fmla="*/ 19 w 28"/>
                    <a:gd name="T37" fmla="*/ 45 h 47"/>
                    <a:gd name="T38" fmla="*/ 19 w 28"/>
                    <a:gd name="T39" fmla="*/ 29 h 47"/>
                    <a:gd name="T40" fmla="*/ 25 w 28"/>
                    <a:gd name="T41" fmla="*/ 29 h 47"/>
                    <a:gd name="T42" fmla="*/ 19 w 28"/>
                    <a:gd name="T43" fmla="*/ 7 h 47"/>
                    <a:gd name="T44" fmla="*/ 20 w 28"/>
                    <a:gd name="T45" fmla="*/ 7 h 47"/>
                    <a:gd name="T46" fmla="*/ 24 w 28"/>
                    <a:gd name="T47" fmla="*/ 20 h 47"/>
                    <a:gd name="T48" fmla="*/ 26 w 28"/>
                    <a:gd name="T49" fmla="*/ 21 h 47"/>
                    <a:gd name="T50" fmla="*/ 27 w 28"/>
                    <a:gd name="T51" fmla="*/ 19 h 47"/>
                    <a:gd name="T52" fmla="*/ 23 w 28"/>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5"/>
                      </a:moveTo>
                      <a:cubicBezTo>
                        <a:pt x="23" y="3"/>
                        <a:pt x="20" y="0"/>
                        <a:pt x="18" y="0"/>
                      </a:cubicBezTo>
                      <a:cubicBezTo>
                        <a:pt x="17" y="0"/>
                        <a:pt x="11" y="0"/>
                        <a:pt x="10" y="0"/>
                      </a:cubicBezTo>
                      <a:cubicBezTo>
                        <a:pt x="8" y="0"/>
                        <a:pt x="6"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4" y="46"/>
                        <a:pt x="14" y="45"/>
                      </a:cubicBezTo>
                      <a:cubicBezTo>
                        <a:pt x="14" y="43"/>
                        <a:pt x="14" y="29"/>
                        <a:pt x="14" y="29"/>
                      </a:cubicBezTo>
                      <a:cubicBezTo>
                        <a:pt x="15" y="29"/>
                        <a:pt x="15" y="29"/>
                        <a:pt x="15" y="29"/>
                      </a:cubicBezTo>
                      <a:cubicBezTo>
                        <a:pt x="15" y="29"/>
                        <a:pt x="15" y="43"/>
                        <a:pt x="15" y="45"/>
                      </a:cubicBezTo>
                      <a:cubicBezTo>
                        <a:pt x="15" y="46"/>
                        <a:pt x="16"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8"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06" name="Freeform 719"/>
                <p:cNvSpPr>
                  <a:spLocks/>
                </p:cNvSpPr>
                <p:nvPr/>
              </p:nvSpPr>
              <p:spPr bwMode="auto">
                <a:xfrm>
                  <a:off x="13544" y="1443"/>
                  <a:ext cx="52" cy="109"/>
                </a:xfrm>
                <a:custGeom>
                  <a:avLst/>
                  <a:gdLst>
                    <a:gd name="T0" fmla="*/ 0 w 22"/>
                    <a:gd name="T1" fmla="*/ 6 h 46"/>
                    <a:gd name="T2" fmla="*/ 0 w 22"/>
                    <a:gd name="T3" fmla="*/ 20 h 46"/>
                    <a:gd name="T4" fmla="*/ 2 w 22"/>
                    <a:gd name="T5" fmla="*/ 23 h 46"/>
                    <a:gd name="T6" fmla="*/ 4 w 22"/>
                    <a:gd name="T7" fmla="*/ 20 h 46"/>
                    <a:gd name="T8" fmla="*/ 4 w 22"/>
                    <a:gd name="T9" fmla="*/ 7 h 46"/>
                    <a:gd name="T10" fmla="*/ 5 w 22"/>
                    <a:gd name="T11" fmla="*/ 7 h 46"/>
                    <a:gd name="T12" fmla="*/ 5 w 22"/>
                    <a:gd name="T13" fmla="*/ 44 h 46"/>
                    <a:gd name="T14" fmla="*/ 8 w 22"/>
                    <a:gd name="T15" fmla="*/ 46 h 46"/>
                    <a:gd name="T16" fmla="*/ 11 w 22"/>
                    <a:gd name="T17" fmla="*/ 44 h 46"/>
                    <a:gd name="T18" fmla="*/ 11 w 22"/>
                    <a:gd name="T19" fmla="*/ 23 h 46"/>
                    <a:gd name="T20" fmla="*/ 12 w 22"/>
                    <a:gd name="T21" fmla="*/ 23 h 46"/>
                    <a:gd name="T22" fmla="*/ 12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3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8"/>
                        <a:pt x="22" y="6"/>
                      </a:cubicBezTo>
                      <a:cubicBezTo>
                        <a:pt x="22" y="2"/>
                        <a:pt x="20" y="0"/>
                        <a:pt x="16" y="0"/>
                      </a:cubicBezTo>
                      <a:cubicBezTo>
                        <a:pt x="15" y="0"/>
                        <a:pt x="8" y="0"/>
                        <a:pt x="6" y="0"/>
                      </a:cubicBezTo>
                      <a:cubicBezTo>
                        <a:pt x="2"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07" name="Freeform 720"/>
                <p:cNvSpPr>
                  <a:spLocks/>
                </p:cNvSpPr>
                <p:nvPr/>
              </p:nvSpPr>
              <p:spPr bwMode="auto">
                <a:xfrm>
                  <a:off x="13407" y="1296"/>
                  <a:ext cx="64" cy="111"/>
                </a:xfrm>
                <a:custGeom>
                  <a:avLst/>
                  <a:gdLst>
                    <a:gd name="T0" fmla="*/ 27 w 27"/>
                    <a:gd name="T1" fmla="*/ 18 h 47"/>
                    <a:gd name="T2" fmla="*/ 23 w 27"/>
                    <a:gd name="T3" fmla="*/ 4 h 47"/>
                    <a:gd name="T4" fmla="*/ 18 w 27"/>
                    <a:gd name="T5" fmla="*/ 0 h 47"/>
                    <a:gd name="T6" fmla="*/ 10 w 27"/>
                    <a:gd name="T7" fmla="*/ 0 h 47"/>
                    <a:gd name="T8" fmla="*/ 5 w 27"/>
                    <a:gd name="T9" fmla="*/ 4 h 47"/>
                    <a:gd name="T10" fmla="*/ 1 w 27"/>
                    <a:gd name="T11" fmla="*/ 18 h 47"/>
                    <a:gd name="T12" fmla="*/ 2 w 27"/>
                    <a:gd name="T13" fmla="*/ 21 h 47"/>
                    <a:gd name="T14" fmla="*/ 4 w 27"/>
                    <a:gd name="T15" fmla="*/ 19 h 47"/>
                    <a:gd name="T16" fmla="*/ 8 w 27"/>
                    <a:gd name="T17" fmla="*/ 6 h 47"/>
                    <a:gd name="T18" fmla="*/ 9 w 27"/>
                    <a:gd name="T19" fmla="*/ 6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7 w 27"/>
                    <a:gd name="T37" fmla="*/ 47 h 47"/>
                    <a:gd name="T38" fmla="*/ 19 w 27"/>
                    <a:gd name="T39" fmla="*/ 45 h 47"/>
                    <a:gd name="T40" fmla="*/ 19 w 27"/>
                    <a:gd name="T41" fmla="*/ 28 h 47"/>
                    <a:gd name="T42" fmla="*/ 25 w 27"/>
                    <a:gd name="T43" fmla="*/ 28 h 47"/>
                    <a:gd name="T44" fmla="*/ 19 w 27"/>
                    <a:gd name="T45" fmla="*/ 6 h 47"/>
                    <a:gd name="T46" fmla="*/ 20 w 27"/>
                    <a:gd name="T47" fmla="*/ 6 h 47"/>
                    <a:gd name="T48" fmla="*/ 23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5" y="10"/>
                        <a:pt x="23" y="4"/>
                      </a:cubicBezTo>
                      <a:cubicBezTo>
                        <a:pt x="22" y="2"/>
                        <a:pt x="20" y="0"/>
                        <a:pt x="18" y="0"/>
                      </a:cubicBezTo>
                      <a:cubicBezTo>
                        <a:pt x="16" y="0"/>
                        <a:pt x="11" y="0"/>
                        <a:pt x="10" y="0"/>
                      </a:cubicBezTo>
                      <a:cubicBezTo>
                        <a:pt x="8" y="0"/>
                        <a:pt x="5" y="2"/>
                        <a:pt x="5" y="4"/>
                      </a:cubicBezTo>
                      <a:cubicBezTo>
                        <a:pt x="3" y="10"/>
                        <a:pt x="1" y="18"/>
                        <a:pt x="1" y="18"/>
                      </a:cubicBezTo>
                      <a:cubicBezTo>
                        <a:pt x="0" y="19"/>
                        <a:pt x="1" y="20"/>
                        <a:pt x="2" y="21"/>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08" name="Freeform 721"/>
                <p:cNvSpPr>
                  <a:spLocks/>
                </p:cNvSpPr>
                <p:nvPr/>
              </p:nvSpPr>
              <p:spPr bwMode="auto">
                <a:xfrm>
                  <a:off x="13341" y="1443"/>
                  <a:ext cx="66" cy="111"/>
                </a:xfrm>
                <a:custGeom>
                  <a:avLst/>
                  <a:gdLst>
                    <a:gd name="T0" fmla="*/ 23 w 28"/>
                    <a:gd name="T1" fmla="*/ 4 h 47"/>
                    <a:gd name="T2" fmla="*/ 18 w 28"/>
                    <a:gd name="T3" fmla="*/ 0 h 47"/>
                    <a:gd name="T4" fmla="*/ 10 w 28"/>
                    <a:gd name="T5" fmla="*/ 0 h 47"/>
                    <a:gd name="T6" fmla="*/ 5 w 28"/>
                    <a:gd name="T7" fmla="*/ 4 h 47"/>
                    <a:gd name="T8" fmla="*/ 1 w 28"/>
                    <a:gd name="T9" fmla="*/ 18 h 47"/>
                    <a:gd name="T10" fmla="*/ 2 w 28"/>
                    <a:gd name="T11" fmla="*/ 20 h 47"/>
                    <a:gd name="T12" fmla="*/ 4 w 28"/>
                    <a:gd name="T13" fmla="*/ 19 h 47"/>
                    <a:gd name="T14" fmla="*/ 8 w 28"/>
                    <a:gd name="T15" fmla="*/ 6 h 47"/>
                    <a:gd name="T16" fmla="*/ 9 w 28"/>
                    <a:gd name="T17" fmla="*/ 6 h 47"/>
                    <a:gd name="T18" fmla="*/ 3 w 28"/>
                    <a:gd name="T19" fmla="*/ 28 h 47"/>
                    <a:gd name="T20" fmla="*/ 9 w 28"/>
                    <a:gd name="T21" fmla="*/ 28 h 47"/>
                    <a:gd name="T22" fmla="*/ 9 w 28"/>
                    <a:gd name="T23" fmla="*/ 44 h 47"/>
                    <a:gd name="T24" fmla="*/ 11 w 28"/>
                    <a:gd name="T25" fmla="*/ 47 h 47"/>
                    <a:gd name="T26" fmla="*/ 14 w 28"/>
                    <a:gd name="T27" fmla="*/ 44 h 47"/>
                    <a:gd name="T28" fmla="*/ 14 w 28"/>
                    <a:gd name="T29" fmla="*/ 28 h 47"/>
                    <a:gd name="T30" fmla="*/ 15 w 28"/>
                    <a:gd name="T31" fmla="*/ 28 h 47"/>
                    <a:gd name="T32" fmla="*/ 15 w 28"/>
                    <a:gd name="T33" fmla="*/ 44 h 47"/>
                    <a:gd name="T34" fmla="*/ 17 w 28"/>
                    <a:gd name="T35" fmla="*/ 47 h 47"/>
                    <a:gd name="T36" fmla="*/ 19 w 28"/>
                    <a:gd name="T37" fmla="*/ 44 h 47"/>
                    <a:gd name="T38" fmla="*/ 19 w 28"/>
                    <a:gd name="T39" fmla="*/ 28 h 47"/>
                    <a:gd name="T40" fmla="*/ 25 w 28"/>
                    <a:gd name="T41" fmla="*/ 28 h 47"/>
                    <a:gd name="T42" fmla="*/ 19 w 28"/>
                    <a:gd name="T43" fmla="*/ 6 h 47"/>
                    <a:gd name="T44" fmla="*/ 20 w 28"/>
                    <a:gd name="T45" fmla="*/ 6 h 47"/>
                    <a:gd name="T46" fmla="*/ 24 w 28"/>
                    <a:gd name="T47" fmla="*/ 19 h 47"/>
                    <a:gd name="T48" fmla="*/ 26 w 28"/>
                    <a:gd name="T49" fmla="*/ 20 h 47"/>
                    <a:gd name="T50" fmla="*/ 27 w 28"/>
                    <a:gd name="T51" fmla="*/ 18 h 47"/>
                    <a:gd name="T52" fmla="*/ 23 w 28"/>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4"/>
                      </a:moveTo>
                      <a:cubicBezTo>
                        <a:pt x="23" y="2"/>
                        <a:pt x="20" y="0"/>
                        <a:pt x="18" y="0"/>
                      </a:cubicBezTo>
                      <a:cubicBezTo>
                        <a:pt x="17" y="0"/>
                        <a:pt x="11" y="0"/>
                        <a:pt x="10" y="0"/>
                      </a:cubicBezTo>
                      <a:cubicBezTo>
                        <a:pt x="8" y="0"/>
                        <a:pt x="6"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4" y="46"/>
                        <a:pt x="14" y="44"/>
                      </a:cubicBezTo>
                      <a:cubicBezTo>
                        <a:pt x="14" y="43"/>
                        <a:pt x="14" y="28"/>
                        <a:pt x="14" y="28"/>
                      </a:cubicBezTo>
                      <a:cubicBezTo>
                        <a:pt x="15" y="28"/>
                        <a:pt x="15" y="28"/>
                        <a:pt x="15" y="28"/>
                      </a:cubicBezTo>
                      <a:cubicBezTo>
                        <a:pt x="15" y="28"/>
                        <a:pt x="15" y="43"/>
                        <a:pt x="15" y="44"/>
                      </a:cubicBezTo>
                      <a:cubicBezTo>
                        <a:pt x="15"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8"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09" name="Oval 722"/>
                <p:cNvSpPr>
                  <a:spLocks noChangeArrowheads="1"/>
                </p:cNvSpPr>
                <p:nvPr/>
              </p:nvSpPr>
              <p:spPr bwMode="auto">
                <a:xfrm>
                  <a:off x="13428"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10" name="Oval 723"/>
                <p:cNvSpPr>
                  <a:spLocks noChangeArrowheads="1"/>
                </p:cNvSpPr>
                <p:nvPr/>
              </p:nvSpPr>
              <p:spPr bwMode="auto">
                <a:xfrm>
                  <a:off x="13428"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11" name="Oval 724"/>
                <p:cNvSpPr>
                  <a:spLocks noChangeArrowheads="1"/>
                </p:cNvSpPr>
                <p:nvPr/>
              </p:nvSpPr>
              <p:spPr bwMode="auto">
                <a:xfrm>
                  <a:off x="13558"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12" name="Freeform 725"/>
                <p:cNvSpPr>
                  <a:spLocks/>
                </p:cNvSpPr>
                <p:nvPr/>
              </p:nvSpPr>
              <p:spPr bwMode="auto">
                <a:xfrm>
                  <a:off x="13539" y="1296"/>
                  <a:ext cx="64" cy="111"/>
                </a:xfrm>
                <a:custGeom>
                  <a:avLst/>
                  <a:gdLst>
                    <a:gd name="T0" fmla="*/ 26 w 27"/>
                    <a:gd name="T1" fmla="*/ 18 h 47"/>
                    <a:gd name="T2" fmla="*/ 22 w 27"/>
                    <a:gd name="T3" fmla="*/ 4 h 47"/>
                    <a:gd name="T4" fmla="*/ 17 w 27"/>
                    <a:gd name="T5" fmla="*/ 0 h 47"/>
                    <a:gd name="T6" fmla="*/ 9 w 27"/>
                    <a:gd name="T7" fmla="*/ 0 h 47"/>
                    <a:gd name="T8" fmla="*/ 4 w 27"/>
                    <a:gd name="T9" fmla="*/ 4 h 47"/>
                    <a:gd name="T10" fmla="*/ 0 w 27"/>
                    <a:gd name="T11" fmla="*/ 18 h 47"/>
                    <a:gd name="T12" fmla="*/ 1 w 27"/>
                    <a:gd name="T13" fmla="*/ 21 h 47"/>
                    <a:gd name="T14" fmla="*/ 3 w 27"/>
                    <a:gd name="T15" fmla="*/ 19 h 47"/>
                    <a:gd name="T16" fmla="*/ 7 w 27"/>
                    <a:gd name="T17" fmla="*/ 6 h 47"/>
                    <a:gd name="T18" fmla="*/ 8 w 27"/>
                    <a:gd name="T19" fmla="*/ 6 h 47"/>
                    <a:gd name="T20" fmla="*/ 2 w 27"/>
                    <a:gd name="T21" fmla="*/ 28 h 47"/>
                    <a:gd name="T22" fmla="*/ 8 w 27"/>
                    <a:gd name="T23" fmla="*/ 28 h 47"/>
                    <a:gd name="T24" fmla="*/ 8 w 27"/>
                    <a:gd name="T25" fmla="*/ 45 h 47"/>
                    <a:gd name="T26" fmla="*/ 10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4 w 27"/>
                    <a:gd name="T43" fmla="*/ 28 h 47"/>
                    <a:gd name="T44" fmla="*/ 18 w 27"/>
                    <a:gd name="T45" fmla="*/ 6 h 47"/>
                    <a:gd name="T46" fmla="*/ 19 w 27"/>
                    <a:gd name="T47" fmla="*/ 6 h 47"/>
                    <a:gd name="T48" fmla="*/ 23 w 27"/>
                    <a:gd name="T49" fmla="*/ 19 h 47"/>
                    <a:gd name="T50" fmla="*/ 25 w 27"/>
                    <a:gd name="T51" fmla="*/ 21 h 47"/>
                    <a:gd name="T52" fmla="*/ 26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6" y="18"/>
                      </a:moveTo>
                      <a:cubicBezTo>
                        <a:pt x="26" y="18"/>
                        <a:pt x="24" y="10"/>
                        <a:pt x="22" y="4"/>
                      </a:cubicBezTo>
                      <a:cubicBezTo>
                        <a:pt x="22" y="2"/>
                        <a:pt x="19" y="0"/>
                        <a:pt x="17" y="0"/>
                      </a:cubicBezTo>
                      <a:cubicBezTo>
                        <a:pt x="16" y="0"/>
                        <a:pt x="10" y="0"/>
                        <a:pt x="9" y="0"/>
                      </a:cubicBezTo>
                      <a:cubicBezTo>
                        <a:pt x="7" y="0"/>
                        <a:pt x="5" y="2"/>
                        <a:pt x="4" y="4"/>
                      </a:cubicBezTo>
                      <a:cubicBezTo>
                        <a:pt x="2" y="10"/>
                        <a:pt x="0" y="18"/>
                        <a:pt x="0" y="18"/>
                      </a:cubicBezTo>
                      <a:cubicBezTo>
                        <a:pt x="0" y="19"/>
                        <a:pt x="0" y="20"/>
                        <a:pt x="1" y="21"/>
                      </a:cubicBez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1"/>
                      </a:cubicBezTo>
                      <a:cubicBezTo>
                        <a:pt x="26" y="20"/>
                        <a:pt x="27" y="19"/>
                        <a:pt x="2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13" name="Freeform 726"/>
                <p:cNvSpPr>
                  <a:spLocks/>
                </p:cNvSpPr>
                <p:nvPr/>
              </p:nvSpPr>
              <p:spPr bwMode="auto">
                <a:xfrm>
                  <a:off x="13210" y="1443"/>
                  <a:ext cx="64" cy="111"/>
                </a:xfrm>
                <a:custGeom>
                  <a:avLst/>
                  <a:gdLst>
                    <a:gd name="T0" fmla="*/ 23 w 27"/>
                    <a:gd name="T1" fmla="*/ 4 h 47"/>
                    <a:gd name="T2" fmla="*/ 17 w 27"/>
                    <a:gd name="T3" fmla="*/ 0 h 47"/>
                    <a:gd name="T4" fmla="*/ 10 w 27"/>
                    <a:gd name="T5" fmla="*/ 0 h 47"/>
                    <a:gd name="T6" fmla="*/ 5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9 w 27"/>
                    <a:gd name="T37" fmla="*/ 44 h 47"/>
                    <a:gd name="T38" fmla="*/ 19 w 27"/>
                    <a:gd name="T39" fmla="*/ 28 h 47"/>
                    <a:gd name="T40" fmla="*/ 25 w 27"/>
                    <a:gd name="T41" fmla="*/ 28 h 47"/>
                    <a:gd name="T42" fmla="*/ 18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7"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14" name="Oval 727"/>
                <p:cNvSpPr>
                  <a:spLocks noChangeArrowheads="1"/>
                </p:cNvSpPr>
                <p:nvPr/>
              </p:nvSpPr>
              <p:spPr bwMode="auto">
                <a:xfrm>
                  <a:off x="13165"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15" name="Oval 728"/>
                <p:cNvSpPr>
                  <a:spLocks noChangeArrowheads="1"/>
                </p:cNvSpPr>
                <p:nvPr/>
              </p:nvSpPr>
              <p:spPr bwMode="auto">
                <a:xfrm>
                  <a:off x="13362"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16" name="Freeform 729"/>
                <p:cNvSpPr>
                  <a:spLocks/>
                </p:cNvSpPr>
                <p:nvPr/>
              </p:nvSpPr>
              <p:spPr bwMode="auto">
                <a:xfrm>
                  <a:off x="13151" y="1443"/>
                  <a:ext cx="52" cy="109"/>
                </a:xfrm>
                <a:custGeom>
                  <a:avLst/>
                  <a:gdLst>
                    <a:gd name="T0" fmla="*/ 0 w 22"/>
                    <a:gd name="T1" fmla="*/ 6 h 46"/>
                    <a:gd name="T2" fmla="*/ 0 w 22"/>
                    <a:gd name="T3" fmla="*/ 20 h 46"/>
                    <a:gd name="T4" fmla="*/ 2 w 22"/>
                    <a:gd name="T5" fmla="*/ 23 h 46"/>
                    <a:gd name="T6" fmla="*/ 4 w 22"/>
                    <a:gd name="T7" fmla="*/ 20 h 46"/>
                    <a:gd name="T8" fmla="*/ 4 w 22"/>
                    <a:gd name="T9" fmla="*/ 7 h 46"/>
                    <a:gd name="T10" fmla="*/ 5 w 22"/>
                    <a:gd name="T11" fmla="*/ 7 h 46"/>
                    <a:gd name="T12" fmla="*/ 5 w 22"/>
                    <a:gd name="T13" fmla="*/ 44 h 46"/>
                    <a:gd name="T14" fmla="*/ 8 w 22"/>
                    <a:gd name="T15" fmla="*/ 46 h 46"/>
                    <a:gd name="T16" fmla="*/ 10 w 22"/>
                    <a:gd name="T17" fmla="*/ 44 h 46"/>
                    <a:gd name="T18" fmla="*/ 10 w 22"/>
                    <a:gd name="T19" fmla="*/ 23 h 46"/>
                    <a:gd name="T20" fmla="*/ 11 w 22"/>
                    <a:gd name="T21" fmla="*/ 23 h 46"/>
                    <a:gd name="T22" fmla="*/ 11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3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1" y="23"/>
                      </a:cubicBezTo>
                      <a:cubicBezTo>
                        <a:pt x="11" y="23"/>
                        <a:pt x="11" y="41"/>
                        <a:pt x="11" y="44"/>
                      </a:cubicBezTo>
                      <a:cubicBezTo>
                        <a:pt x="11"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8"/>
                        <a:pt x="22" y="6"/>
                      </a:cubicBezTo>
                      <a:cubicBezTo>
                        <a:pt x="22" y="2"/>
                        <a:pt x="20" y="0"/>
                        <a:pt x="16" y="0"/>
                      </a:cubicBezTo>
                      <a:cubicBezTo>
                        <a:pt x="14" y="0"/>
                        <a:pt x="7" y="0"/>
                        <a:pt x="6" y="0"/>
                      </a:cubicBezTo>
                      <a:cubicBezTo>
                        <a:pt x="2"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17" name="Freeform 730"/>
                <p:cNvSpPr>
                  <a:spLocks/>
                </p:cNvSpPr>
                <p:nvPr/>
              </p:nvSpPr>
              <p:spPr bwMode="auto">
                <a:xfrm>
                  <a:off x="13146" y="1296"/>
                  <a:ext cx="64" cy="111"/>
                </a:xfrm>
                <a:custGeom>
                  <a:avLst/>
                  <a:gdLst>
                    <a:gd name="T0" fmla="*/ 26 w 27"/>
                    <a:gd name="T1" fmla="*/ 18 h 47"/>
                    <a:gd name="T2" fmla="*/ 22 w 27"/>
                    <a:gd name="T3" fmla="*/ 4 h 47"/>
                    <a:gd name="T4" fmla="*/ 17 w 27"/>
                    <a:gd name="T5" fmla="*/ 0 h 47"/>
                    <a:gd name="T6" fmla="*/ 9 w 27"/>
                    <a:gd name="T7" fmla="*/ 0 h 47"/>
                    <a:gd name="T8" fmla="*/ 4 w 27"/>
                    <a:gd name="T9" fmla="*/ 4 h 47"/>
                    <a:gd name="T10" fmla="*/ 0 w 27"/>
                    <a:gd name="T11" fmla="*/ 18 h 47"/>
                    <a:gd name="T12" fmla="*/ 1 w 27"/>
                    <a:gd name="T13" fmla="*/ 21 h 47"/>
                    <a:gd name="T14" fmla="*/ 3 w 27"/>
                    <a:gd name="T15" fmla="*/ 19 h 47"/>
                    <a:gd name="T16" fmla="*/ 7 w 27"/>
                    <a:gd name="T17" fmla="*/ 6 h 47"/>
                    <a:gd name="T18" fmla="*/ 8 w 27"/>
                    <a:gd name="T19" fmla="*/ 6 h 47"/>
                    <a:gd name="T20" fmla="*/ 2 w 27"/>
                    <a:gd name="T21" fmla="*/ 28 h 47"/>
                    <a:gd name="T22" fmla="*/ 8 w 27"/>
                    <a:gd name="T23" fmla="*/ 28 h 47"/>
                    <a:gd name="T24" fmla="*/ 8 w 27"/>
                    <a:gd name="T25" fmla="*/ 45 h 47"/>
                    <a:gd name="T26" fmla="*/ 10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4 w 27"/>
                    <a:gd name="T43" fmla="*/ 28 h 47"/>
                    <a:gd name="T44" fmla="*/ 18 w 27"/>
                    <a:gd name="T45" fmla="*/ 6 h 47"/>
                    <a:gd name="T46" fmla="*/ 19 w 27"/>
                    <a:gd name="T47" fmla="*/ 6 h 47"/>
                    <a:gd name="T48" fmla="*/ 23 w 27"/>
                    <a:gd name="T49" fmla="*/ 19 h 47"/>
                    <a:gd name="T50" fmla="*/ 25 w 27"/>
                    <a:gd name="T51" fmla="*/ 21 h 47"/>
                    <a:gd name="T52" fmla="*/ 26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6" y="18"/>
                      </a:moveTo>
                      <a:cubicBezTo>
                        <a:pt x="26" y="18"/>
                        <a:pt x="24" y="10"/>
                        <a:pt x="22" y="4"/>
                      </a:cubicBezTo>
                      <a:cubicBezTo>
                        <a:pt x="22" y="2"/>
                        <a:pt x="19" y="0"/>
                        <a:pt x="17" y="0"/>
                      </a:cubicBezTo>
                      <a:cubicBezTo>
                        <a:pt x="16" y="0"/>
                        <a:pt x="10" y="0"/>
                        <a:pt x="9" y="0"/>
                      </a:cubicBezTo>
                      <a:cubicBezTo>
                        <a:pt x="7" y="0"/>
                        <a:pt x="5" y="2"/>
                        <a:pt x="4" y="4"/>
                      </a:cubicBezTo>
                      <a:cubicBezTo>
                        <a:pt x="2" y="10"/>
                        <a:pt x="0" y="18"/>
                        <a:pt x="0" y="18"/>
                      </a:cubicBezTo>
                      <a:cubicBezTo>
                        <a:pt x="0" y="19"/>
                        <a:pt x="0" y="20"/>
                        <a:pt x="1" y="21"/>
                      </a:cubicBez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1"/>
                      </a:cubicBezTo>
                      <a:cubicBezTo>
                        <a:pt x="26" y="20"/>
                        <a:pt x="27" y="19"/>
                        <a:pt x="2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18" name="Freeform 731"/>
                <p:cNvSpPr>
                  <a:spLocks/>
                </p:cNvSpPr>
                <p:nvPr/>
              </p:nvSpPr>
              <p:spPr bwMode="auto">
                <a:xfrm>
                  <a:off x="13412" y="1443"/>
                  <a:ext cx="54" cy="109"/>
                </a:xfrm>
                <a:custGeom>
                  <a:avLst/>
                  <a:gdLst>
                    <a:gd name="T0" fmla="*/ 0 w 23"/>
                    <a:gd name="T1" fmla="*/ 6 h 46"/>
                    <a:gd name="T2" fmla="*/ 0 w 23"/>
                    <a:gd name="T3" fmla="*/ 20 h 46"/>
                    <a:gd name="T4" fmla="*/ 2 w 23"/>
                    <a:gd name="T5" fmla="*/ 23 h 46"/>
                    <a:gd name="T6" fmla="*/ 5 w 23"/>
                    <a:gd name="T7" fmla="*/ 20 h 46"/>
                    <a:gd name="T8" fmla="*/ 5 w 23"/>
                    <a:gd name="T9" fmla="*/ 7 h 46"/>
                    <a:gd name="T10" fmla="*/ 6 w 23"/>
                    <a:gd name="T11" fmla="*/ 7 h 46"/>
                    <a:gd name="T12" fmla="*/ 6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7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2" y="23"/>
                      </a:cubicBezTo>
                      <a:cubicBezTo>
                        <a:pt x="4" y="23"/>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7"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19" name="Oval 732"/>
                <p:cNvSpPr>
                  <a:spLocks noChangeArrowheads="1"/>
                </p:cNvSpPr>
                <p:nvPr/>
              </p:nvSpPr>
              <p:spPr bwMode="auto">
                <a:xfrm>
                  <a:off x="13232"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20" name="Freeform 733"/>
                <p:cNvSpPr>
                  <a:spLocks/>
                </p:cNvSpPr>
                <p:nvPr/>
              </p:nvSpPr>
              <p:spPr bwMode="auto">
                <a:xfrm>
                  <a:off x="13281" y="1443"/>
                  <a:ext cx="55" cy="109"/>
                </a:xfrm>
                <a:custGeom>
                  <a:avLst/>
                  <a:gdLst>
                    <a:gd name="T0" fmla="*/ 17 w 23"/>
                    <a:gd name="T1" fmla="*/ 0 h 46"/>
                    <a:gd name="T2" fmla="*/ 6 w 23"/>
                    <a:gd name="T3" fmla="*/ 0 h 46"/>
                    <a:gd name="T4" fmla="*/ 0 w 23"/>
                    <a:gd name="T5" fmla="*/ 6 h 46"/>
                    <a:gd name="T6" fmla="*/ 0 w 23"/>
                    <a:gd name="T7" fmla="*/ 20 h 46"/>
                    <a:gd name="T8" fmla="*/ 2 w 23"/>
                    <a:gd name="T9" fmla="*/ 23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7 w 23"/>
                    <a:gd name="T31" fmla="*/ 44 h 46"/>
                    <a:gd name="T32" fmla="*/ 17 w 23"/>
                    <a:gd name="T33" fmla="*/ 7 h 46"/>
                    <a:gd name="T34" fmla="*/ 18 w 23"/>
                    <a:gd name="T35" fmla="*/ 7 h 46"/>
                    <a:gd name="T36" fmla="*/ 18 w 23"/>
                    <a:gd name="T37" fmla="*/ 20 h 46"/>
                    <a:gd name="T38" fmla="*/ 21 w 23"/>
                    <a:gd name="T39" fmla="*/ 23 h 46"/>
                    <a:gd name="T40" fmla="*/ 23 w 23"/>
                    <a:gd name="T41" fmla="*/ 20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1" y="23"/>
                      </a:cubicBezTo>
                      <a:cubicBezTo>
                        <a:pt x="22" y="23"/>
                        <a:pt x="23" y="22"/>
                        <a:pt x="23" y="20"/>
                      </a:cubicBezTo>
                      <a:cubicBezTo>
                        <a:pt x="23" y="19"/>
                        <a:pt x="23" y="8"/>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21" name="Freeform 734"/>
                <p:cNvSpPr>
                  <a:spLocks/>
                </p:cNvSpPr>
                <p:nvPr/>
              </p:nvSpPr>
              <p:spPr bwMode="auto">
                <a:xfrm>
                  <a:off x="13277"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1 w 27"/>
                    <a:gd name="T13" fmla="*/ 21 h 47"/>
                    <a:gd name="T14" fmla="*/ 4 w 27"/>
                    <a:gd name="T15" fmla="*/ 19 h 47"/>
                    <a:gd name="T16" fmla="*/ 8 w 27"/>
                    <a:gd name="T17" fmla="*/ 6 h 47"/>
                    <a:gd name="T18" fmla="*/ 9 w 27"/>
                    <a:gd name="T19" fmla="*/ 6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5 w 27"/>
                    <a:gd name="T43" fmla="*/ 28 h 47"/>
                    <a:gd name="T44" fmla="*/ 18 w 27"/>
                    <a:gd name="T45" fmla="*/ 6 h 47"/>
                    <a:gd name="T46" fmla="*/ 19 w 27"/>
                    <a:gd name="T47" fmla="*/ 6 h 47"/>
                    <a:gd name="T48" fmla="*/ 23 w 27"/>
                    <a:gd name="T49" fmla="*/ 19 h 47"/>
                    <a:gd name="T50" fmla="*/ 25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6" y="18"/>
                        <a:pt x="24" y="10"/>
                        <a:pt x="23" y="4"/>
                      </a:cubicBezTo>
                      <a:cubicBezTo>
                        <a:pt x="22" y="2"/>
                        <a:pt x="20" y="0"/>
                        <a:pt x="17" y="0"/>
                      </a:cubicBezTo>
                      <a:cubicBezTo>
                        <a:pt x="16" y="0"/>
                        <a:pt x="11" y="0"/>
                        <a:pt x="10" y="0"/>
                      </a:cubicBezTo>
                      <a:cubicBezTo>
                        <a:pt x="7" y="0"/>
                        <a:pt x="5" y="2"/>
                        <a:pt x="4" y="4"/>
                      </a:cubicBezTo>
                      <a:cubicBezTo>
                        <a:pt x="2" y="10"/>
                        <a:pt x="0" y="18"/>
                        <a:pt x="0" y="18"/>
                      </a:cubicBezTo>
                      <a:cubicBezTo>
                        <a:pt x="0" y="19"/>
                        <a:pt x="0" y="20"/>
                        <a:pt x="1" y="21"/>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1"/>
                      </a:cubicBezTo>
                      <a:cubicBezTo>
                        <a:pt x="26"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22" name="Oval 735"/>
                <p:cNvSpPr>
                  <a:spLocks noChangeArrowheads="1"/>
                </p:cNvSpPr>
                <p:nvPr/>
              </p:nvSpPr>
              <p:spPr bwMode="auto">
                <a:xfrm>
                  <a:off x="13298"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23" name="Freeform 736"/>
                <p:cNvSpPr>
                  <a:spLocks/>
                </p:cNvSpPr>
                <p:nvPr/>
              </p:nvSpPr>
              <p:spPr bwMode="auto">
                <a:xfrm>
                  <a:off x="13281" y="1147"/>
                  <a:ext cx="55" cy="111"/>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7 w 23"/>
                    <a:gd name="T23" fmla="*/ 44 h 47"/>
                    <a:gd name="T24" fmla="*/ 17 w 23"/>
                    <a:gd name="T25" fmla="*/ 8 h 47"/>
                    <a:gd name="T26" fmla="*/ 18 w 23"/>
                    <a:gd name="T27" fmla="*/ 8 h 47"/>
                    <a:gd name="T28" fmla="*/ 18 w 23"/>
                    <a:gd name="T29" fmla="*/ 21 h 47"/>
                    <a:gd name="T30" fmla="*/ 21 w 23"/>
                    <a:gd name="T31" fmla="*/ 23 h 47"/>
                    <a:gd name="T32" fmla="*/ 23 w 23"/>
                    <a:gd name="T33" fmla="*/ 21 h 47"/>
                    <a:gd name="T34" fmla="*/ 23 w 23"/>
                    <a:gd name="T35" fmla="*/ 7 h 47"/>
                    <a:gd name="T36" fmla="*/ 17 w 23"/>
                    <a:gd name="T37" fmla="*/ 0 h 47"/>
                    <a:gd name="T38" fmla="*/ 6 w 23"/>
                    <a:gd name="T39" fmla="*/ 0 h 47"/>
                    <a:gd name="T40" fmla="*/ 0 w 23"/>
                    <a:gd name="T41" fmla="*/ 7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1" y="23"/>
                      </a:cubicBezTo>
                      <a:cubicBezTo>
                        <a:pt x="22" y="23"/>
                        <a:pt x="23" y="22"/>
                        <a:pt x="23" y="21"/>
                      </a:cubicBezTo>
                      <a:cubicBezTo>
                        <a:pt x="23" y="20"/>
                        <a:pt x="23" y="8"/>
                        <a:pt x="23" y="7"/>
                      </a:cubicBezTo>
                      <a:cubicBezTo>
                        <a:pt x="23" y="3"/>
                        <a:pt x="20" y="0"/>
                        <a:pt x="17" y="0"/>
                      </a:cubicBezTo>
                      <a:cubicBezTo>
                        <a:pt x="15" y="0"/>
                        <a:pt x="8" y="0"/>
                        <a:pt x="6" y="0"/>
                      </a:cubicBezTo>
                      <a:cubicBezTo>
                        <a:pt x="3"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24" name="Oval 737"/>
                <p:cNvSpPr>
                  <a:spLocks noChangeArrowheads="1"/>
                </p:cNvSpPr>
                <p:nvPr/>
              </p:nvSpPr>
              <p:spPr bwMode="auto">
                <a:xfrm>
                  <a:off x="13298"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25" name="Oval 738"/>
                <p:cNvSpPr>
                  <a:spLocks noChangeArrowheads="1"/>
                </p:cNvSpPr>
                <p:nvPr/>
              </p:nvSpPr>
              <p:spPr bwMode="auto">
                <a:xfrm>
                  <a:off x="13298"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26" name="Freeform 739"/>
                <p:cNvSpPr>
                  <a:spLocks/>
                </p:cNvSpPr>
                <p:nvPr/>
              </p:nvSpPr>
              <p:spPr bwMode="auto">
                <a:xfrm>
                  <a:off x="12820" y="1147"/>
                  <a:ext cx="64" cy="111"/>
                </a:xfrm>
                <a:custGeom>
                  <a:avLst/>
                  <a:gdLst>
                    <a:gd name="T0" fmla="*/ 23 w 27"/>
                    <a:gd name="T1" fmla="*/ 5 h 47"/>
                    <a:gd name="T2" fmla="*/ 17 w 27"/>
                    <a:gd name="T3" fmla="*/ 0 h 47"/>
                    <a:gd name="T4" fmla="*/ 10 w 27"/>
                    <a:gd name="T5" fmla="*/ 0 h 47"/>
                    <a:gd name="T6" fmla="*/ 4 w 27"/>
                    <a:gd name="T7" fmla="*/ 5 h 47"/>
                    <a:gd name="T8" fmla="*/ 0 w 27"/>
                    <a:gd name="T9" fmla="*/ 19 h 47"/>
                    <a:gd name="T10" fmla="*/ 2 w 27"/>
                    <a:gd name="T11" fmla="*/ 21 h 47"/>
                    <a:gd name="T12" fmla="*/ 4 w 27"/>
                    <a:gd name="T13" fmla="*/ 20 h 47"/>
                    <a:gd name="T14" fmla="*/ 8 w 27"/>
                    <a:gd name="T15" fmla="*/ 7 h 47"/>
                    <a:gd name="T16" fmla="*/ 9 w 27"/>
                    <a:gd name="T17" fmla="*/ 7 h 47"/>
                    <a:gd name="T18" fmla="*/ 2 w 27"/>
                    <a:gd name="T19" fmla="*/ 29 h 47"/>
                    <a:gd name="T20" fmla="*/ 9 w 27"/>
                    <a:gd name="T21" fmla="*/ 29 h 47"/>
                    <a:gd name="T22" fmla="*/ 9 w 27"/>
                    <a:gd name="T23" fmla="*/ 45 h 47"/>
                    <a:gd name="T24" fmla="*/ 11 w 27"/>
                    <a:gd name="T25" fmla="*/ 47 h 47"/>
                    <a:gd name="T26" fmla="*/ 13 w 27"/>
                    <a:gd name="T27" fmla="*/ 45 h 47"/>
                    <a:gd name="T28" fmla="*/ 13 w 27"/>
                    <a:gd name="T29" fmla="*/ 29 h 47"/>
                    <a:gd name="T30" fmla="*/ 14 w 27"/>
                    <a:gd name="T31" fmla="*/ 29 h 47"/>
                    <a:gd name="T32" fmla="*/ 14 w 27"/>
                    <a:gd name="T33" fmla="*/ 45 h 47"/>
                    <a:gd name="T34" fmla="*/ 16 w 27"/>
                    <a:gd name="T35" fmla="*/ 47 h 47"/>
                    <a:gd name="T36" fmla="*/ 19 w 27"/>
                    <a:gd name="T37" fmla="*/ 45 h 47"/>
                    <a:gd name="T38" fmla="*/ 19 w 27"/>
                    <a:gd name="T39" fmla="*/ 29 h 47"/>
                    <a:gd name="T40" fmla="*/ 25 w 27"/>
                    <a:gd name="T41" fmla="*/ 29 h 47"/>
                    <a:gd name="T42" fmla="*/ 18 w 27"/>
                    <a:gd name="T43" fmla="*/ 7 h 47"/>
                    <a:gd name="T44" fmla="*/ 20 w 27"/>
                    <a:gd name="T45" fmla="*/ 7 h 47"/>
                    <a:gd name="T46" fmla="*/ 23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8" y="0"/>
                        <a:pt x="5" y="3"/>
                        <a:pt x="4"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2" y="29"/>
                        <a:pt x="2" y="29"/>
                        <a:pt x="2"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27" name="Oval 740"/>
                <p:cNvSpPr>
                  <a:spLocks noChangeArrowheads="1"/>
                </p:cNvSpPr>
                <p:nvPr/>
              </p:nvSpPr>
              <p:spPr bwMode="auto">
                <a:xfrm>
                  <a:off x="12711"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28" name="Oval 741"/>
                <p:cNvSpPr>
                  <a:spLocks noChangeArrowheads="1"/>
                </p:cNvSpPr>
                <p:nvPr/>
              </p:nvSpPr>
              <p:spPr bwMode="auto">
                <a:xfrm>
                  <a:off x="12775"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29" name="Freeform 742"/>
                <p:cNvSpPr>
                  <a:spLocks/>
                </p:cNvSpPr>
                <p:nvPr/>
              </p:nvSpPr>
              <p:spPr bwMode="auto">
                <a:xfrm>
                  <a:off x="12628" y="1147"/>
                  <a:ext cx="55" cy="111"/>
                </a:xfrm>
                <a:custGeom>
                  <a:avLst/>
                  <a:gdLst>
                    <a:gd name="T0" fmla="*/ 17 w 23"/>
                    <a:gd name="T1" fmla="*/ 0 h 47"/>
                    <a:gd name="T2" fmla="*/ 6 w 23"/>
                    <a:gd name="T3" fmla="*/ 0 h 47"/>
                    <a:gd name="T4" fmla="*/ 0 w 23"/>
                    <a:gd name="T5" fmla="*/ 7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7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30" name="Oval 743"/>
                <p:cNvSpPr>
                  <a:spLocks noChangeArrowheads="1"/>
                </p:cNvSpPr>
                <p:nvPr/>
              </p:nvSpPr>
              <p:spPr bwMode="auto">
                <a:xfrm>
                  <a:off x="12775"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31" name="Oval 744"/>
                <p:cNvSpPr>
                  <a:spLocks noChangeArrowheads="1"/>
                </p:cNvSpPr>
                <p:nvPr/>
              </p:nvSpPr>
              <p:spPr bwMode="auto">
                <a:xfrm>
                  <a:off x="12841"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32" name="Freeform 745"/>
                <p:cNvSpPr>
                  <a:spLocks/>
                </p:cNvSpPr>
                <p:nvPr/>
              </p:nvSpPr>
              <p:spPr bwMode="auto">
                <a:xfrm>
                  <a:off x="12761" y="1147"/>
                  <a:ext cx="52" cy="111"/>
                </a:xfrm>
                <a:custGeom>
                  <a:avLst/>
                  <a:gdLst>
                    <a:gd name="T0" fmla="*/ 20 w 22"/>
                    <a:gd name="T1" fmla="*/ 23 h 47"/>
                    <a:gd name="T2" fmla="*/ 22 w 22"/>
                    <a:gd name="T3" fmla="*/ 21 h 47"/>
                    <a:gd name="T4" fmla="*/ 22 w 22"/>
                    <a:gd name="T5" fmla="*/ 7 h 47"/>
                    <a:gd name="T6" fmla="*/ 16 w 22"/>
                    <a:gd name="T7" fmla="*/ 0 h 47"/>
                    <a:gd name="T8" fmla="*/ 6 w 22"/>
                    <a:gd name="T9" fmla="*/ 0 h 47"/>
                    <a:gd name="T10" fmla="*/ 0 w 22"/>
                    <a:gd name="T11" fmla="*/ 7 h 47"/>
                    <a:gd name="T12" fmla="*/ 0 w 22"/>
                    <a:gd name="T13" fmla="*/ 21 h 47"/>
                    <a:gd name="T14" fmla="*/ 2 w 22"/>
                    <a:gd name="T15" fmla="*/ 23 h 47"/>
                    <a:gd name="T16" fmla="*/ 4 w 22"/>
                    <a:gd name="T17" fmla="*/ 21 h 47"/>
                    <a:gd name="T18" fmla="*/ 4 w 22"/>
                    <a:gd name="T19" fmla="*/ 8 h 47"/>
                    <a:gd name="T20" fmla="*/ 5 w 22"/>
                    <a:gd name="T21" fmla="*/ 8 h 47"/>
                    <a:gd name="T22" fmla="*/ 5 w 22"/>
                    <a:gd name="T23" fmla="*/ 44 h 47"/>
                    <a:gd name="T24" fmla="*/ 8 w 22"/>
                    <a:gd name="T25" fmla="*/ 47 h 47"/>
                    <a:gd name="T26" fmla="*/ 10 w 22"/>
                    <a:gd name="T27" fmla="*/ 44 h 47"/>
                    <a:gd name="T28" fmla="*/ 10 w 22"/>
                    <a:gd name="T29" fmla="*/ 23 h 47"/>
                    <a:gd name="T30" fmla="*/ 11 w 22"/>
                    <a:gd name="T31" fmla="*/ 23 h 47"/>
                    <a:gd name="T32" fmla="*/ 11 w 22"/>
                    <a:gd name="T33" fmla="*/ 44 h 47"/>
                    <a:gd name="T34" fmla="*/ 14 w 22"/>
                    <a:gd name="T35" fmla="*/ 47 h 47"/>
                    <a:gd name="T36" fmla="*/ 17 w 22"/>
                    <a:gd name="T37" fmla="*/ 44 h 47"/>
                    <a:gd name="T38" fmla="*/ 17 w 22"/>
                    <a:gd name="T39" fmla="*/ 8 h 47"/>
                    <a:gd name="T40" fmla="*/ 18 w 22"/>
                    <a:gd name="T41" fmla="*/ 8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20"/>
                        <a:pt x="22" y="8"/>
                        <a:pt x="22" y="7"/>
                      </a:cubicBezTo>
                      <a:cubicBezTo>
                        <a:pt x="22" y="3"/>
                        <a:pt x="19" y="0"/>
                        <a:pt x="16" y="0"/>
                      </a:cubicBezTo>
                      <a:cubicBezTo>
                        <a:pt x="14" y="0"/>
                        <a:pt x="7" y="0"/>
                        <a:pt x="6" y="0"/>
                      </a:cubicBezTo>
                      <a:cubicBezTo>
                        <a:pt x="2" y="0"/>
                        <a:pt x="0" y="3"/>
                        <a:pt x="0" y="7"/>
                      </a:cubicBezTo>
                      <a:cubicBezTo>
                        <a:pt x="0" y="8"/>
                        <a:pt x="0" y="20"/>
                        <a:pt x="0" y="21"/>
                      </a:cubicBezTo>
                      <a:cubicBezTo>
                        <a:pt x="0" y="22"/>
                        <a:pt x="0"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33" name="Oval 746"/>
                <p:cNvSpPr>
                  <a:spLocks noChangeArrowheads="1"/>
                </p:cNvSpPr>
                <p:nvPr/>
              </p:nvSpPr>
              <p:spPr bwMode="auto">
                <a:xfrm>
                  <a:off x="12645"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34" name="Freeform 747"/>
                <p:cNvSpPr>
                  <a:spLocks/>
                </p:cNvSpPr>
                <p:nvPr/>
              </p:nvSpPr>
              <p:spPr bwMode="auto">
                <a:xfrm>
                  <a:off x="13083" y="1147"/>
                  <a:ext cx="63" cy="111"/>
                </a:xfrm>
                <a:custGeom>
                  <a:avLst/>
                  <a:gdLst>
                    <a:gd name="T0" fmla="*/ 17 w 27"/>
                    <a:gd name="T1" fmla="*/ 0 h 47"/>
                    <a:gd name="T2" fmla="*/ 10 w 27"/>
                    <a:gd name="T3" fmla="*/ 0 h 47"/>
                    <a:gd name="T4" fmla="*/ 4 w 27"/>
                    <a:gd name="T5" fmla="*/ 5 h 47"/>
                    <a:gd name="T6" fmla="*/ 0 w 27"/>
                    <a:gd name="T7" fmla="*/ 19 h 47"/>
                    <a:gd name="T8" fmla="*/ 1 w 27"/>
                    <a:gd name="T9" fmla="*/ 21 h 47"/>
                    <a:gd name="T10" fmla="*/ 4 w 27"/>
                    <a:gd name="T11" fmla="*/ 20 h 47"/>
                    <a:gd name="T12" fmla="*/ 8 w 27"/>
                    <a:gd name="T13" fmla="*/ 7 h 47"/>
                    <a:gd name="T14" fmla="*/ 9 w 27"/>
                    <a:gd name="T15" fmla="*/ 7 h 47"/>
                    <a:gd name="T16" fmla="*/ 2 w 27"/>
                    <a:gd name="T17" fmla="*/ 29 h 47"/>
                    <a:gd name="T18" fmla="*/ 8 w 27"/>
                    <a:gd name="T19" fmla="*/ 29 h 47"/>
                    <a:gd name="T20" fmla="*/ 8 w 27"/>
                    <a:gd name="T21" fmla="*/ 45 h 47"/>
                    <a:gd name="T22" fmla="*/ 11 w 27"/>
                    <a:gd name="T23" fmla="*/ 47 h 47"/>
                    <a:gd name="T24" fmla="*/ 13 w 27"/>
                    <a:gd name="T25" fmla="*/ 45 h 47"/>
                    <a:gd name="T26" fmla="*/ 13 w 27"/>
                    <a:gd name="T27" fmla="*/ 29 h 47"/>
                    <a:gd name="T28" fmla="*/ 14 w 27"/>
                    <a:gd name="T29" fmla="*/ 29 h 47"/>
                    <a:gd name="T30" fmla="*/ 14 w 27"/>
                    <a:gd name="T31" fmla="*/ 45 h 47"/>
                    <a:gd name="T32" fmla="*/ 16 w 27"/>
                    <a:gd name="T33" fmla="*/ 47 h 47"/>
                    <a:gd name="T34" fmla="*/ 18 w 27"/>
                    <a:gd name="T35" fmla="*/ 45 h 47"/>
                    <a:gd name="T36" fmla="*/ 18 w 27"/>
                    <a:gd name="T37" fmla="*/ 29 h 47"/>
                    <a:gd name="T38" fmla="*/ 25 w 27"/>
                    <a:gd name="T39" fmla="*/ 29 h 47"/>
                    <a:gd name="T40" fmla="*/ 18 w 27"/>
                    <a:gd name="T41" fmla="*/ 7 h 47"/>
                    <a:gd name="T42" fmla="*/ 19 w 27"/>
                    <a:gd name="T43" fmla="*/ 7 h 47"/>
                    <a:gd name="T44" fmla="*/ 23 w 27"/>
                    <a:gd name="T45" fmla="*/ 20 h 47"/>
                    <a:gd name="T46" fmla="*/ 25 w 27"/>
                    <a:gd name="T47" fmla="*/ 21 h 47"/>
                    <a:gd name="T48" fmla="*/ 27 w 27"/>
                    <a:gd name="T49" fmla="*/ 19 h 47"/>
                    <a:gd name="T50" fmla="*/ 23 w 27"/>
                    <a:gd name="T51" fmla="*/ 5 h 47"/>
                    <a:gd name="T52" fmla="*/ 17 w 27"/>
                    <a:gd name="T5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7" y="0"/>
                      </a:moveTo>
                      <a:cubicBezTo>
                        <a:pt x="16" y="0"/>
                        <a:pt x="11" y="0"/>
                        <a:pt x="10" y="0"/>
                      </a:cubicBezTo>
                      <a:cubicBezTo>
                        <a:pt x="7" y="0"/>
                        <a:pt x="5" y="3"/>
                        <a:pt x="4" y="5"/>
                      </a:cubicBezTo>
                      <a:cubicBezTo>
                        <a:pt x="3" y="11"/>
                        <a:pt x="0" y="18"/>
                        <a:pt x="0" y="19"/>
                      </a:cubicBezTo>
                      <a:cubicBezTo>
                        <a:pt x="0" y="20"/>
                        <a:pt x="0" y="21"/>
                        <a:pt x="1" y="21"/>
                      </a:cubicBezTo>
                      <a:cubicBezTo>
                        <a:pt x="2" y="21"/>
                        <a:pt x="3" y="21"/>
                        <a:pt x="4" y="20"/>
                      </a:cubicBezTo>
                      <a:cubicBezTo>
                        <a:pt x="4" y="18"/>
                        <a:pt x="8" y="7"/>
                        <a:pt x="8" y="7"/>
                      </a:cubicBezTo>
                      <a:cubicBezTo>
                        <a:pt x="9" y="7"/>
                        <a:pt x="9" y="7"/>
                        <a:pt x="9" y="7"/>
                      </a:cubicBezTo>
                      <a:cubicBezTo>
                        <a:pt x="2" y="29"/>
                        <a:pt x="2" y="29"/>
                        <a:pt x="2" y="29"/>
                      </a:cubicBezTo>
                      <a:cubicBezTo>
                        <a:pt x="8" y="29"/>
                        <a:pt x="8" y="29"/>
                        <a:pt x="8" y="29"/>
                      </a:cubicBezTo>
                      <a:cubicBezTo>
                        <a:pt x="8" y="36"/>
                        <a:pt x="8" y="44"/>
                        <a:pt x="8" y="45"/>
                      </a:cubicBezTo>
                      <a:cubicBezTo>
                        <a:pt x="8" y="46"/>
                        <a:pt x="9"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7" y="47"/>
                        <a:pt x="18" y="46"/>
                        <a:pt x="18" y="45"/>
                      </a:cubicBezTo>
                      <a:cubicBezTo>
                        <a:pt x="18" y="44"/>
                        <a:pt x="18" y="36"/>
                        <a:pt x="18" y="29"/>
                      </a:cubicBezTo>
                      <a:cubicBezTo>
                        <a:pt x="25" y="29"/>
                        <a:pt x="25" y="29"/>
                        <a:pt x="25" y="29"/>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3" y="5"/>
                      </a:cubicBezTo>
                      <a:cubicBezTo>
                        <a:pt x="22"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35" name="Oval 748"/>
                <p:cNvSpPr>
                  <a:spLocks noChangeArrowheads="1"/>
                </p:cNvSpPr>
                <p:nvPr/>
              </p:nvSpPr>
              <p:spPr bwMode="auto">
                <a:xfrm>
                  <a:off x="12645"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36" name="Freeform 749"/>
                <p:cNvSpPr>
                  <a:spLocks/>
                </p:cNvSpPr>
                <p:nvPr/>
              </p:nvSpPr>
              <p:spPr bwMode="auto">
                <a:xfrm>
                  <a:off x="12628" y="1443"/>
                  <a:ext cx="55" cy="109"/>
                </a:xfrm>
                <a:custGeom>
                  <a:avLst/>
                  <a:gdLst>
                    <a:gd name="T0" fmla="*/ 17 w 23"/>
                    <a:gd name="T1" fmla="*/ 0 h 46"/>
                    <a:gd name="T2" fmla="*/ 6 w 23"/>
                    <a:gd name="T3" fmla="*/ 0 h 46"/>
                    <a:gd name="T4" fmla="*/ 0 w 23"/>
                    <a:gd name="T5" fmla="*/ 6 h 46"/>
                    <a:gd name="T6" fmla="*/ 0 w 23"/>
                    <a:gd name="T7" fmla="*/ 20 h 46"/>
                    <a:gd name="T8" fmla="*/ 2 w 23"/>
                    <a:gd name="T9" fmla="*/ 23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8 w 23"/>
                    <a:gd name="T31" fmla="*/ 44 h 46"/>
                    <a:gd name="T32" fmla="*/ 18 w 23"/>
                    <a:gd name="T33" fmla="*/ 7 h 46"/>
                    <a:gd name="T34" fmla="*/ 19 w 23"/>
                    <a:gd name="T35" fmla="*/ 7 h 46"/>
                    <a:gd name="T36" fmla="*/ 19 w 23"/>
                    <a:gd name="T37" fmla="*/ 20 h 46"/>
                    <a:gd name="T38" fmla="*/ 21 w 23"/>
                    <a:gd name="T39" fmla="*/ 23 h 46"/>
                    <a:gd name="T40" fmla="*/ 23 w 23"/>
                    <a:gd name="T41" fmla="*/ 20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37" name="Oval 750"/>
                <p:cNvSpPr>
                  <a:spLocks noChangeArrowheads="1"/>
                </p:cNvSpPr>
                <p:nvPr/>
              </p:nvSpPr>
              <p:spPr bwMode="auto">
                <a:xfrm>
                  <a:off x="12645"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38" name="Freeform 751"/>
                <p:cNvSpPr>
                  <a:spLocks/>
                </p:cNvSpPr>
                <p:nvPr/>
              </p:nvSpPr>
              <p:spPr bwMode="auto">
                <a:xfrm>
                  <a:off x="13087" y="1296"/>
                  <a:ext cx="55"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5 w 23"/>
                    <a:gd name="T11" fmla="*/ 7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7 w 23"/>
                    <a:gd name="T27" fmla="*/ 44 h 47"/>
                    <a:gd name="T28" fmla="*/ 17 w 23"/>
                    <a:gd name="T29" fmla="*/ 7 h 47"/>
                    <a:gd name="T30" fmla="*/ 19 w 23"/>
                    <a:gd name="T31" fmla="*/ 7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7" y="45"/>
                        <a:pt x="17" y="44"/>
                      </a:cubicBezTo>
                      <a:cubicBezTo>
                        <a:pt x="17" y="42"/>
                        <a:pt x="17" y="7"/>
                        <a:pt x="17" y="7"/>
                      </a:cubicBezTo>
                      <a:cubicBezTo>
                        <a:pt x="17" y="7"/>
                        <a:pt x="17" y="7"/>
                        <a:pt x="19" y="7"/>
                      </a:cubicBezTo>
                      <a:cubicBezTo>
                        <a:pt x="19" y="7"/>
                        <a:pt x="19" y="19"/>
                        <a:pt x="19" y="21"/>
                      </a:cubicBezTo>
                      <a:cubicBezTo>
                        <a:pt x="19" y="22"/>
                        <a:pt x="20"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39" name="Oval 752"/>
                <p:cNvSpPr>
                  <a:spLocks noChangeArrowheads="1"/>
                </p:cNvSpPr>
                <p:nvPr/>
              </p:nvSpPr>
              <p:spPr bwMode="auto">
                <a:xfrm>
                  <a:off x="13104"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40" name="Oval 753"/>
                <p:cNvSpPr>
                  <a:spLocks noChangeArrowheads="1"/>
                </p:cNvSpPr>
                <p:nvPr/>
              </p:nvSpPr>
              <p:spPr bwMode="auto">
                <a:xfrm>
                  <a:off x="12907"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41" name="Freeform 754"/>
                <p:cNvSpPr>
                  <a:spLocks/>
                </p:cNvSpPr>
                <p:nvPr/>
              </p:nvSpPr>
              <p:spPr bwMode="auto">
                <a:xfrm>
                  <a:off x="12690" y="1443"/>
                  <a:ext cx="64" cy="111"/>
                </a:xfrm>
                <a:custGeom>
                  <a:avLst/>
                  <a:gdLst>
                    <a:gd name="T0" fmla="*/ 22 w 27"/>
                    <a:gd name="T1" fmla="*/ 4 h 47"/>
                    <a:gd name="T2" fmla="*/ 17 w 27"/>
                    <a:gd name="T3" fmla="*/ 0 h 47"/>
                    <a:gd name="T4" fmla="*/ 9 w 27"/>
                    <a:gd name="T5" fmla="*/ 0 h 47"/>
                    <a:gd name="T6" fmla="*/ 4 w 27"/>
                    <a:gd name="T7" fmla="*/ 4 h 47"/>
                    <a:gd name="T8" fmla="*/ 0 w 27"/>
                    <a:gd name="T9" fmla="*/ 18 h 47"/>
                    <a:gd name="T10" fmla="*/ 1 w 27"/>
                    <a:gd name="T11" fmla="*/ 20 h 47"/>
                    <a:gd name="T12" fmla="*/ 4 w 27"/>
                    <a:gd name="T13" fmla="*/ 19 h 47"/>
                    <a:gd name="T14" fmla="*/ 7 w 27"/>
                    <a:gd name="T15" fmla="*/ 6 h 47"/>
                    <a:gd name="T16" fmla="*/ 9 w 27"/>
                    <a:gd name="T17" fmla="*/ 6 h 47"/>
                    <a:gd name="T18" fmla="*/ 2 w 27"/>
                    <a:gd name="T19" fmla="*/ 28 h 47"/>
                    <a:gd name="T20" fmla="*/ 8 w 27"/>
                    <a:gd name="T21" fmla="*/ 28 h 47"/>
                    <a:gd name="T22" fmla="*/ 8 w 27"/>
                    <a:gd name="T23" fmla="*/ 44 h 47"/>
                    <a:gd name="T24" fmla="*/ 10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4 w 27"/>
                    <a:gd name="T41" fmla="*/ 28 h 47"/>
                    <a:gd name="T42" fmla="*/ 18 w 27"/>
                    <a:gd name="T43" fmla="*/ 6 h 47"/>
                    <a:gd name="T44" fmla="*/ 19 w 27"/>
                    <a:gd name="T45" fmla="*/ 6 h 47"/>
                    <a:gd name="T46" fmla="*/ 23 w 27"/>
                    <a:gd name="T47" fmla="*/ 19 h 47"/>
                    <a:gd name="T48" fmla="*/ 25 w 27"/>
                    <a:gd name="T49" fmla="*/ 20 h 47"/>
                    <a:gd name="T50" fmla="*/ 26 w 27"/>
                    <a:gd name="T51" fmla="*/ 18 h 47"/>
                    <a:gd name="T52" fmla="*/ 22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4"/>
                      </a:move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1"/>
                        <a:pt x="3" y="20"/>
                        <a:pt x="4" y="19"/>
                      </a:cubicBezTo>
                      <a:cubicBezTo>
                        <a:pt x="4" y="18"/>
                        <a:pt x="7" y="6"/>
                        <a:pt x="7"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6" y="18"/>
                      </a:cubicBezTo>
                      <a:cubicBezTo>
                        <a:pt x="26" y="17"/>
                        <a:pt x="24" y="10"/>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42" name="Oval 755"/>
                <p:cNvSpPr>
                  <a:spLocks noChangeArrowheads="1"/>
                </p:cNvSpPr>
                <p:nvPr/>
              </p:nvSpPr>
              <p:spPr bwMode="auto">
                <a:xfrm>
                  <a:off x="13104"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43" name="Freeform 756"/>
                <p:cNvSpPr>
                  <a:spLocks/>
                </p:cNvSpPr>
                <p:nvPr/>
              </p:nvSpPr>
              <p:spPr bwMode="auto">
                <a:xfrm>
                  <a:off x="13021" y="1147"/>
                  <a:ext cx="54" cy="111"/>
                </a:xfrm>
                <a:custGeom>
                  <a:avLst/>
                  <a:gdLst>
                    <a:gd name="T0" fmla="*/ 21 w 23"/>
                    <a:gd name="T1" fmla="*/ 23 h 47"/>
                    <a:gd name="T2" fmla="*/ 23 w 23"/>
                    <a:gd name="T3" fmla="*/ 21 h 47"/>
                    <a:gd name="T4" fmla="*/ 23 w 23"/>
                    <a:gd name="T5" fmla="*/ 7 h 47"/>
                    <a:gd name="T6" fmla="*/ 17 w 23"/>
                    <a:gd name="T7" fmla="*/ 0 h 47"/>
                    <a:gd name="T8" fmla="*/ 6 w 23"/>
                    <a:gd name="T9" fmla="*/ 0 h 47"/>
                    <a:gd name="T10" fmla="*/ 0 w 23"/>
                    <a:gd name="T11" fmla="*/ 7 h 47"/>
                    <a:gd name="T12" fmla="*/ 0 w 23"/>
                    <a:gd name="T13" fmla="*/ 21 h 47"/>
                    <a:gd name="T14" fmla="*/ 2 w 23"/>
                    <a:gd name="T15" fmla="*/ 23 h 47"/>
                    <a:gd name="T16" fmla="*/ 4 w 23"/>
                    <a:gd name="T17" fmla="*/ 21 h 47"/>
                    <a:gd name="T18" fmla="*/ 4 w 23"/>
                    <a:gd name="T19" fmla="*/ 8 h 47"/>
                    <a:gd name="T20" fmla="*/ 6 w 23"/>
                    <a:gd name="T21" fmla="*/ 8 h 47"/>
                    <a:gd name="T22" fmla="*/ 6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8 w 23"/>
                    <a:gd name="T37" fmla="*/ 44 h 47"/>
                    <a:gd name="T38" fmla="*/ 18 w 23"/>
                    <a:gd name="T39" fmla="*/ 8 h 47"/>
                    <a:gd name="T40" fmla="*/ 19 w 23"/>
                    <a:gd name="T41" fmla="*/ 8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20"/>
                        <a:pt x="23" y="8"/>
                        <a:pt x="23" y="7"/>
                      </a:cubicBezTo>
                      <a:cubicBezTo>
                        <a:pt x="23" y="3"/>
                        <a:pt x="20" y="0"/>
                        <a:pt x="17" y="0"/>
                      </a:cubicBezTo>
                      <a:cubicBezTo>
                        <a:pt x="15" y="0"/>
                        <a:pt x="8" y="0"/>
                        <a:pt x="6" y="0"/>
                      </a:cubicBezTo>
                      <a:cubicBezTo>
                        <a:pt x="3" y="0"/>
                        <a:pt x="0" y="3"/>
                        <a:pt x="0" y="7"/>
                      </a:cubicBezTo>
                      <a:cubicBezTo>
                        <a:pt x="0" y="8"/>
                        <a:pt x="0" y="20"/>
                        <a:pt x="0" y="21"/>
                      </a:cubicBezTo>
                      <a:cubicBezTo>
                        <a:pt x="0" y="22"/>
                        <a:pt x="1" y="23"/>
                        <a:pt x="2" y="23"/>
                      </a:cubicBezTo>
                      <a:cubicBezTo>
                        <a:pt x="4"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44" name="Oval 757"/>
                <p:cNvSpPr>
                  <a:spLocks noChangeArrowheads="1"/>
                </p:cNvSpPr>
                <p:nvPr/>
              </p:nvSpPr>
              <p:spPr bwMode="auto">
                <a:xfrm>
                  <a:off x="13104"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45" name="Oval 758"/>
                <p:cNvSpPr>
                  <a:spLocks noChangeArrowheads="1"/>
                </p:cNvSpPr>
                <p:nvPr/>
              </p:nvSpPr>
              <p:spPr bwMode="auto">
                <a:xfrm>
                  <a:off x="12907"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46" name="Freeform 759"/>
                <p:cNvSpPr>
                  <a:spLocks/>
                </p:cNvSpPr>
                <p:nvPr/>
              </p:nvSpPr>
              <p:spPr bwMode="auto">
                <a:xfrm>
                  <a:off x="12891" y="1147"/>
                  <a:ext cx="54" cy="111"/>
                </a:xfrm>
                <a:custGeom>
                  <a:avLst/>
                  <a:gdLst>
                    <a:gd name="T0" fmla="*/ 21 w 23"/>
                    <a:gd name="T1" fmla="*/ 23 h 47"/>
                    <a:gd name="T2" fmla="*/ 23 w 23"/>
                    <a:gd name="T3" fmla="*/ 21 h 47"/>
                    <a:gd name="T4" fmla="*/ 23 w 23"/>
                    <a:gd name="T5" fmla="*/ 7 h 47"/>
                    <a:gd name="T6" fmla="*/ 17 w 23"/>
                    <a:gd name="T7" fmla="*/ 0 h 47"/>
                    <a:gd name="T8" fmla="*/ 6 w 23"/>
                    <a:gd name="T9" fmla="*/ 0 h 47"/>
                    <a:gd name="T10" fmla="*/ 0 w 23"/>
                    <a:gd name="T11" fmla="*/ 7 h 47"/>
                    <a:gd name="T12" fmla="*/ 0 w 23"/>
                    <a:gd name="T13" fmla="*/ 21 h 47"/>
                    <a:gd name="T14" fmla="*/ 2 w 23"/>
                    <a:gd name="T15" fmla="*/ 23 h 47"/>
                    <a:gd name="T16" fmla="*/ 4 w 23"/>
                    <a:gd name="T17" fmla="*/ 21 h 47"/>
                    <a:gd name="T18" fmla="*/ 4 w 23"/>
                    <a:gd name="T19" fmla="*/ 8 h 47"/>
                    <a:gd name="T20" fmla="*/ 5 w 23"/>
                    <a:gd name="T21" fmla="*/ 8 h 47"/>
                    <a:gd name="T22" fmla="*/ 5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7 w 23"/>
                    <a:gd name="T37" fmla="*/ 44 h 47"/>
                    <a:gd name="T38" fmla="*/ 17 w 23"/>
                    <a:gd name="T39" fmla="*/ 8 h 47"/>
                    <a:gd name="T40" fmla="*/ 19 w 23"/>
                    <a:gd name="T41" fmla="*/ 8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20"/>
                        <a:pt x="23" y="8"/>
                        <a:pt x="23" y="7"/>
                      </a:cubicBezTo>
                      <a:cubicBezTo>
                        <a:pt x="23" y="3"/>
                        <a:pt x="20" y="0"/>
                        <a:pt x="17" y="0"/>
                      </a:cubicBezTo>
                      <a:cubicBezTo>
                        <a:pt x="15" y="0"/>
                        <a:pt x="8"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9" y="8"/>
                      </a:cubicBezTo>
                      <a:cubicBezTo>
                        <a:pt x="19" y="8"/>
                        <a:pt x="19" y="20"/>
                        <a:pt x="19" y="21"/>
                      </a:cubicBezTo>
                      <a:cubicBezTo>
                        <a:pt x="19" y="22"/>
                        <a:pt x="19"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47" name="Oval 760"/>
                <p:cNvSpPr>
                  <a:spLocks noChangeArrowheads="1"/>
                </p:cNvSpPr>
                <p:nvPr/>
              </p:nvSpPr>
              <p:spPr bwMode="auto">
                <a:xfrm>
                  <a:off x="12971"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48" name="Oval 761"/>
                <p:cNvSpPr>
                  <a:spLocks noChangeArrowheads="1"/>
                </p:cNvSpPr>
                <p:nvPr/>
              </p:nvSpPr>
              <p:spPr bwMode="auto">
                <a:xfrm>
                  <a:off x="13038"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49" name="Oval 762"/>
                <p:cNvSpPr>
                  <a:spLocks noChangeArrowheads="1"/>
                </p:cNvSpPr>
                <p:nvPr/>
              </p:nvSpPr>
              <p:spPr bwMode="auto">
                <a:xfrm>
                  <a:off x="13038"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50" name="Freeform 763"/>
                <p:cNvSpPr>
                  <a:spLocks/>
                </p:cNvSpPr>
                <p:nvPr/>
              </p:nvSpPr>
              <p:spPr bwMode="auto">
                <a:xfrm>
                  <a:off x="12623"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2 w 27"/>
                    <a:gd name="T13" fmla="*/ 21 h 47"/>
                    <a:gd name="T14" fmla="*/ 4 w 27"/>
                    <a:gd name="T15" fmla="*/ 19 h 47"/>
                    <a:gd name="T16" fmla="*/ 8 w 27"/>
                    <a:gd name="T17" fmla="*/ 6 h 47"/>
                    <a:gd name="T18" fmla="*/ 9 w 27"/>
                    <a:gd name="T19" fmla="*/ 6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9 w 27"/>
                    <a:gd name="T39" fmla="*/ 45 h 47"/>
                    <a:gd name="T40" fmla="*/ 19 w 27"/>
                    <a:gd name="T41" fmla="*/ 28 h 47"/>
                    <a:gd name="T42" fmla="*/ 25 w 27"/>
                    <a:gd name="T43" fmla="*/ 28 h 47"/>
                    <a:gd name="T44" fmla="*/ 18 w 27"/>
                    <a:gd name="T45" fmla="*/ 6 h 47"/>
                    <a:gd name="T46" fmla="*/ 19 w 27"/>
                    <a:gd name="T47" fmla="*/ 6 h 47"/>
                    <a:gd name="T48" fmla="*/ 23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5" y="10"/>
                        <a:pt x="23" y="4"/>
                      </a:cubicBezTo>
                      <a:cubicBezTo>
                        <a:pt x="22" y="2"/>
                        <a:pt x="20" y="0"/>
                        <a:pt x="17" y="0"/>
                      </a:cubicBezTo>
                      <a:cubicBezTo>
                        <a:pt x="16" y="0"/>
                        <a:pt x="11" y="0"/>
                        <a:pt x="10" y="0"/>
                      </a:cubicBezTo>
                      <a:cubicBezTo>
                        <a:pt x="7" y="0"/>
                        <a:pt x="5" y="2"/>
                        <a:pt x="4" y="4"/>
                      </a:cubicBezTo>
                      <a:cubicBezTo>
                        <a:pt x="3" y="10"/>
                        <a:pt x="1" y="18"/>
                        <a:pt x="0" y="18"/>
                      </a:cubicBezTo>
                      <a:cubicBezTo>
                        <a:pt x="0" y="19"/>
                        <a:pt x="1" y="20"/>
                        <a:pt x="2" y="21"/>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6"/>
                        <a:pt x="18" y="6"/>
                        <a:pt x="18" y="6"/>
                      </a:cubicBezTo>
                      <a:cubicBezTo>
                        <a:pt x="19" y="6"/>
                        <a:pt x="19" y="6"/>
                        <a:pt x="19" y="6"/>
                      </a:cubicBezTo>
                      <a:cubicBezTo>
                        <a:pt x="19" y="6"/>
                        <a:pt x="23" y="18"/>
                        <a:pt x="23"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51" name="Freeform 764"/>
                <p:cNvSpPr>
                  <a:spLocks/>
                </p:cNvSpPr>
                <p:nvPr/>
              </p:nvSpPr>
              <p:spPr bwMode="auto">
                <a:xfrm>
                  <a:off x="12950" y="1443"/>
                  <a:ext cx="64" cy="111"/>
                </a:xfrm>
                <a:custGeom>
                  <a:avLst/>
                  <a:gdLst>
                    <a:gd name="T0" fmla="*/ 23 w 27"/>
                    <a:gd name="T1" fmla="*/ 4 h 47"/>
                    <a:gd name="T2" fmla="*/ 18 w 27"/>
                    <a:gd name="T3" fmla="*/ 0 h 47"/>
                    <a:gd name="T4" fmla="*/ 10 w 27"/>
                    <a:gd name="T5" fmla="*/ 0 h 47"/>
                    <a:gd name="T6" fmla="*/ 5 w 27"/>
                    <a:gd name="T7" fmla="*/ 4 h 47"/>
                    <a:gd name="T8" fmla="*/ 1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4 w 27"/>
                    <a:gd name="T27" fmla="*/ 44 h 47"/>
                    <a:gd name="T28" fmla="*/ 14 w 27"/>
                    <a:gd name="T29" fmla="*/ 28 h 47"/>
                    <a:gd name="T30" fmla="*/ 15 w 27"/>
                    <a:gd name="T31" fmla="*/ 28 h 47"/>
                    <a:gd name="T32" fmla="*/ 15 w 27"/>
                    <a:gd name="T33" fmla="*/ 44 h 47"/>
                    <a:gd name="T34" fmla="*/ 17 w 27"/>
                    <a:gd name="T35" fmla="*/ 47 h 47"/>
                    <a:gd name="T36" fmla="*/ 19 w 27"/>
                    <a:gd name="T37" fmla="*/ 44 h 47"/>
                    <a:gd name="T38" fmla="*/ 19 w 27"/>
                    <a:gd name="T39" fmla="*/ 28 h 47"/>
                    <a:gd name="T40" fmla="*/ 25 w 27"/>
                    <a:gd name="T41" fmla="*/ 28 h 47"/>
                    <a:gd name="T42" fmla="*/ 19 w 27"/>
                    <a:gd name="T43" fmla="*/ 6 h 47"/>
                    <a:gd name="T44" fmla="*/ 20 w 27"/>
                    <a:gd name="T45" fmla="*/ 6 h 47"/>
                    <a:gd name="T46" fmla="*/ 24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3"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4" y="46"/>
                        <a:pt x="14" y="44"/>
                      </a:cubicBezTo>
                      <a:cubicBezTo>
                        <a:pt x="14" y="43"/>
                        <a:pt x="14" y="28"/>
                        <a:pt x="14" y="28"/>
                      </a:cubicBezTo>
                      <a:cubicBezTo>
                        <a:pt x="15" y="28"/>
                        <a:pt x="15" y="28"/>
                        <a:pt x="15" y="28"/>
                      </a:cubicBezTo>
                      <a:cubicBezTo>
                        <a:pt x="15" y="28"/>
                        <a:pt x="15" y="43"/>
                        <a:pt x="15" y="44"/>
                      </a:cubicBezTo>
                      <a:cubicBezTo>
                        <a:pt x="15"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52" name="Freeform 765"/>
                <p:cNvSpPr>
                  <a:spLocks/>
                </p:cNvSpPr>
                <p:nvPr/>
              </p:nvSpPr>
              <p:spPr bwMode="auto">
                <a:xfrm>
                  <a:off x="12957" y="1296"/>
                  <a:ext cx="52" cy="111"/>
                </a:xfrm>
                <a:custGeom>
                  <a:avLst/>
                  <a:gdLst>
                    <a:gd name="T0" fmla="*/ 0 w 22"/>
                    <a:gd name="T1" fmla="*/ 6 h 47"/>
                    <a:gd name="T2" fmla="*/ 0 w 22"/>
                    <a:gd name="T3" fmla="*/ 21 h 47"/>
                    <a:gd name="T4" fmla="*/ 2 w 22"/>
                    <a:gd name="T5" fmla="*/ 23 h 47"/>
                    <a:gd name="T6" fmla="*/ 4 w 22"/>
                    <a:gd name="T7" fmla="*/ 21 h 47"/>
                    <a:gd name="T8" fmla="*/ 4 w 22"/>
                    <a:gd name="T9" fmla="*/ 7 h 47"/>
                    <a:gd name="T10" fmla="*/ 5 w 22"/>
                    <a:gd name="T11" fmla="*/ 7 h 47"/>
                    <a:gd name="T12" fmla="*/ 5 w 22"/>
                    <a:gd name="T13" fmla="*/ 44 h 47"/>
                    <a:gd name="T14" fmla="*/ 8 w 22"/>
                    <a:gd name="T15" fmla="*/ 47 h 47"/>
                    <a:gd name="T16" fmla="*/ 10 w 22"/>
                    <a:gd name="T17" fmla="*/ 44 h 47"/>
                    <a:gd name="T18" fmla="*/ 10 w 22"/>
                    <a:gd name="T19" fmla="*/ 23 h 47"/>
                    <a:gd name="T20" fmla="*/ 12 w 22"/>
                    <a:gd name="T21" fmla="*/ 23 h 47"/>
                    <a:gd name="T22" fmla="*/ 12 w 22"/>
                    <a:gd name="T23" fmla="*/ 44 h 47"/>
                    <a:gd name="T24" fmla="*/ 14 w 22"/>
                    <a:gd name="T25" fmla="*/ 47 h 47"/>
                    <a:gd name="T26" fmla="*/ 17 w 22"/>
                    <a:gd name="T27" fmla="*/ 44 h 47"/>
                    <a:gd name="T28" fmla="*/ 17 w 22"/>
                    <a:gd name="T29" fmla="*/ 7 h 47"/>
                    <a:gd name="T30" fmla="*/ 18 w 22"/>
                    <a:gd name="T31" fmla="*/ 7 h 47"/>
                    <a:gd name="T32" fmla="*/ 18 w 22"/>
                    <a:gd name="T33" fmla="*/ 21 h 47"/>
                    <a:gd name="T34" fmla="*/ 20 w 22"/>
                    <a:gd name="T35" fmla="*/ 23 h 47"/>
                    <a:gd name="T36" fmla="*/ 22 w 22"/>
                    <a:gd name="T37" fmla="*/ 21 h 47"/>
                    <a:gd name="T38" fmla="*/ 22 w 22"/>
                    <a:gd name="T39" fmla="*/ 6 h 47"/>
                    <a:gd name="T40" fmla="*/ 16 w 22"/>
                    <a:gd name="T41" fmla="*/ 0 h 47"/>
                    <a:gd name="T42" fmla="*/ 6 w 22"/>
                    <a:gd name="T43" fmla="*/ 0 h 47"/>
                    <a:gd name="T44" fmla="*/ 0 w 22"/>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2"/>
                        <a:pt x="10" y="23"/>
                        <a:pt x="10" y="23"/>
                      </a:cubicBezTo>
                      <a:cubicBezTo>
                        <a:pt x="10" y="23"/>
                        <a:pt x="10" y="23"/>
                        <a:pt x="12" y="23"/>
                      </a:cubicBezTo>
                      <a:cubicBezTo>
                        <a:pt x="12" y="23"/>
                        <a:pt x="12" y="42"/>
                        <a:pt x="12" y="44"/>
                      </a:cubicBezTo>
                      <a:cubicBezTo>
                        <a:pt x="12"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ubicBezTo>
                        <a:pt x="21" y="23"/>
                        <a:pt x="22" y="22"/>
                        <a:pt x="22" y="21"/>
                      </a:cubicBezTo>
                      <a:cubicBezTo>
                        <a:pt x="22" y="19"/>
                        <a:pt x="22" y="8"/>
                        <a:pt x="22" y="6"/>
                      </a:cubicBezTo>
                      <a:cubicBezTo>
                        <a:pt x="22" y="3"/>
                        <a:pt x="20" y="0"/>
                        <a:pt x="16" y="0"/>
                      </a:cubicBezTo>
                      <a:cubicBezTo>
                        <a:pt x="15" y="0"/>
                        <a:pt x="7" y="0"/>
                        <a:pt x="6" y="0"/>
                      </a:cubicBezTo>
                      <a:cubicBezTo>
                        <a:pt x="2"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53" name="Freeform 766"/>
                <p:cNvSpPr>
                  <a:spLocks/>
                </p:cNvSpPr>
                <p:nvPr/>
              </p:nvSpPr>
              <p:spPr bwMode="auto">
                <a:xfrm>
                  <a:off x="12886"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1 w 27"/>
                    <a:gd name="T13" fmla="*/ 21 h 47"/>
                    <a:gd name="T14" fmla="*/ 4 w 27"/>
                    <a:gd name="T15" fmla="*/ 19 h 47"/>
                    <a:gd name="T16" fmla="*/ 8 w 27"/>
                    <a:gd name="T17" fmla="*/ 6 h 47"/>
                    <a:gd name="T18" fmla="*/ 9 w 27"/>
                    <a:gd name="T19" fmla="*/ 6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5 w 27"/>
                    <a:gd name="T43" fmla="*/ 28 h 47"/>
                    <a:gd name="T44" fmla="*/ 18 w 27"/>
                    <a:gd name="T45" fmla="*/ 6 h 47"/>
                    <a:gd name="T46" fmla="*/ 19 w 27"/>
                    <a:gd name="T47" fmla="*/ 6 h 47"/>
                    <a:gd name="T48" fmla="*/ 23 w 27"/>
                    <a:gd name="T49" fmla="*/ 19 h 47"/>
                    <a:gd name="T50" fmla="*/ 25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6" y="18"/>
                        <a:pt x="24" y="10"/>
                        <a:pt x="23" y="4"/>
                      </a:cubicBezTo>
                      <a:cubicBezTo>
                        <a:pt x="22" y="2"/>
                        <a:pt x="20" y="0"/>
                        <a:pt x="17" y="0"/>
                      </a:cubicBezTo>
                      <a:cubicBezTo>
                        <a:pt x="16" y="0"/>
                        <a:pt x="11" y="0"/>
                        <a:pt x="10" y="0"/>
                      </a:cubicBezTo>
                      <a:cubicBezTo>
                        <a:pt x="7" y="0"/>
                        <a:pt x="5" y="2"/>
                        <a:pt x="4" y="4"/>
                      </a:cubicBezTo>
                      <a:cubicBezTo>
                        <a:pt x="2" y="10"/>
                        <a:pt x="0" y="18"/>
                        <a:pt x="0" y="18"/>
                      </a:cubicBezTo>
                      <a:cubicBezTo>
                        <a:pt x="0" y="19"/>
                        <a:pt x="0" y="20"/>
                        <a:pt x="1" y="21"/>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1"/>
                      </a:cubicBezTo>
                      <a:cubicBezTo>
                        <a:pt x="26"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54" name="Freeform 767"/>
                <p:cNvSpPr>
                  <a:spLocks/>
                </p:cNvSpPr>
                <p:nvPr/>
              </p:nvSpPr>
              <p:spPr bwMode="auto">
                <a:xfrm>
                  <a:off x="12694" y="1296"/>
                  <a:ext cx="55"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5 w 23"/>
                    <a:gd name="T11" fmla="*/ 7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7 w 23"/>
                    <a:gd name="T27" fmla="*/ 44 h 47"/>
                    <a:gd name="T28" fmla="*/ 17 w 23"/>
                    <a:gd name="T29" fmla="*/ 7 h 47"/>
                    <a:gd name="T30" fmla="*/ 18 w 23"/>
                    <a:gd name="T31" fmla="*/ 7 h 47"/>
                    <a:gd name="T32" fmla="*/ 18 w 23"/>
                    <a:gd name="T33" fmla="*/ 21 h 47"/>
                    <a:gd name="T34" fmla="*/ 21 w 23"/>
                    <a:gd name="T35" fmla="*/ 23 h 47"/>
                    <a:gd name="T36" fmla="*/ 23 w 23"/>
                    <a:gd name="T37" fmla="*/ 21 h 47"/>
                    <a:gd name="T38" fmla="*/ 23 w 23"/>
                    <a:gd name="T39" fmla="*/ 6 h 47"/>
                    <a:gd name="T40" fmla="*/ 16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1" y="23"/>
                      </a:cubicBezTo>
                      <a:cubicBezTo>
                        <a:pt x="22" y="23"/>
                        <a:pt x="23" y="22"/>
                        <a:pt x="23" y="21"/>
                      </a:cubicBezTo>
                      <a:cubicBezTo>
                        <a:pt x="23" y="19"/>
                        <a:pt x="23" y="8"/>
                        <a:pt x="23" y="6"/>
                      </a:cubicBezTo>
                      <a:cubicBezTo>
                        <a:pt x="23" y="3"/>
                        <a:pt x="20" y="0"/>
                        <a:pt x="16"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55" name="Oval 768"/>
                <p:cNvSpPr>
                  <a:spLocks noChangeArrowheads="1"/>
                </p:cNvSpPr>
                <p:nvPr/>
              </p:nvSpPr>
              <p:spPr bwMode="auto">
                <a:xfrm>
                  <a:off x="12971"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56" name="Freeform 769"/>
                <p:cNvSpPr>
                  <a:spLocks/>
                </p:cNvSpPr>
                <p:nvPr/>
              </p:nvSpPr>
              <p:spPr bwMode="auto">
                <a:xfrm>
                  <a:off x="13021" y="1443"/>
                  <a:ext cx="54" cy="109"/>
                </a:xfrm>
                <a:custGeom>
                  <a:avLst/>
                  <a:gdLst>
                    <a:gd name="T0" fmla="*/ 0 w 23"/>
                    <a:gd name="T1" fmla="*/ 6 h 46"/>
                    <a:gd name="T2" fmla="*/ 0 w 23"/>
                    <a:gd name="T3" fmla="*/ 20 h 46"/>
                    <a:gd name="T4" fmla="*/ 2 w 23"/>
                    <a:gd name="T5" fmla="*/ 23 h 46"/>
                    <a:gd name="T6" fmla="*/ 4 w 23"/>
                    <a:gd name="T7" fmla="*/ 20 h 46"/>
                    <a:gd name="T8" fmla="*/ 4 w 23"/>
                    <a:gd name="T9" fmla="*/ 7 h 46"/>
                    <a:gd name="T10" fmla="*/ 6 w 23"/>
                    <a:gd name="T11" fmla="*/ 7 h 46"/>
                    <a:gd name="T12" fmla="*/ 6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6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2" y="23"/>
                      </a:cubicBezTo>
                      <a:cubicBezTo>
                        <a:pt x="4" y="23"/>
                        <a:pt x="4" y="22"/>
                        <a:pt x="4" y="20"/>
                      </a:cubicBezTo>
                      <a:cubicBezTo>
                        <a:pt x="4" y="19"/>
                        <a:pt x="4" y="7"/>
                        <a:pt x="4" y="7"/>
                      </a:cubicBezTo>
                      <a:cubicBezTo>
                        <a:pt x="4" y="7"/>
                        <a:pt x="4"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6"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57" name="Oval 770"/>
                <p:cNvSpPr>
                  <a:spLocks noChangeArrowheads="1"/>
                </p:cNvSpPr>
                <p:nvPr/>
              </p:nvSpPr>
              <p:spPr bwMode="auto">
                <a:xfrm>
                  <a:off x="12971"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58" name="Oval 771"/>
                <p:cNvSpPr>
                  <a:spLocks noChangeArrowheads="1"/>
                </p:cNvSpPr>
                <p:nvPr/>
              </p:nvSpPr>
              <p:spPr bwMode="auto">
                <a:xfrm>
                  <a:off x="13038"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59" name="Freeform 772"/>
                <p:cNvSpPr>
                  <a:spLocks/>
                </p:cNvSpPr>
                <p:nvPr/>
              </p:nvSpPr>
              <p:spPr bwMode="auto">
                <a:xfrm>
                  <a:off x="13016" y="1296"/>
                  <a:ext cx="64" cy="111"/>
                </a:xfrm>
                <a:custGeom>
                  <a:avLst/>
                  <a:gdLst>
                    <a:gd name="T0" fmla="*/ 27 w 27"/>
                    <a:gd name="T1" fmla="*/ 18 h 47"/>
                    <a:gd name="T2" fmla="*/ 23 w 27"/>
                    <a:gd name="T3" fmla="*/ 4 h 47"/>
                    <a:gd name="T4" fmla="*/ 18 w 27"/>
                    <a:gd name="T5" fmla="*/ 0 h 47"/>
                    <a:gd name="T6" fmla="*/ 10 w 27"/>
                    <a:gd name="T7" fmla="*/ 0 h 47"/>
                    <a:gd name="T8" fmla="*/ 5 w 27"/>
                    <a:gd name="T9" fmla="*/ 4 h 47"/>
                    <a:gd name="T10" fmla="*/ 1 w 27"/>
                    <a:gd name="T11" fmla="*/ 18 h 47"/>
                    <a:gd name="T12" fmla="*/ 2 w 27"/>
                    <a:gd name="T13" fmla="*/ 21 h 47"/>
                    <a:gd name="T14" fmla="*/ 4 w 27"/>
                    <a:gd name="T15" fmla="*/ 19 h 47"/>
                    <a:gd name="T16" fmla="*/ 8 w 27"/>
                    <a:gd name="T17" fmla="*/ 6 h 47"/>
                    <a:gd name="T18" fmla="*/ 9 w 27"/>
                    <a:gd name="T19" fmla="*/ 6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7 w 27"/>
                    <a:gd name="T37" fmla="*/ 47 h 47"/>
                    <a:gd name="T38" fmla="*/ 19 w 27"/>
                    <a:gd name="T39" fmla="*/ 45 h 47"/>
                    <a:gd name="T40" fmla="*/ 19 w 27"/>
                    <a:gd name="T41" fmla="*/ 28 h 47"/>
                    <a:gd name="T42" fmla="*/ 25 w 27"/>
                    <a:gd name="T43" fmla="*/ 28 h 47"/>
                    <a:gd name="T44" fmla="*/ 19 w 27"/>
                    <a:gd name="T45" fmla="*/ 6 h 47"/>
                    <a:gd name="T46" fmla="*/ 20 w 27"/>
                    <a:gd name="T47" fmla="*/ 6 h 47"/>
                    <a:gd name="T48" fmla="*/ 23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5" y="10"/>
                        <a:pt x="23" y="4"/>
                      </a:cubicBezTo>
                      <a:cubicBezTo>
                        <a:pt x="22" y="2"/>
                        <a:pt x="20" y="0"/>
                        <a:pt x="18" y="0"/>
                      </a:cubicBezTo>
                      <a:cubicBezTo>
                        <a:pt x="16" y="0"/>
                        <a:pt x="11" y="0"/>
                        <a:pt x="10" y="0"/>
                      </a:cubicBezTo>
                      <a:cubicBezTo>
                        <a:pt x="8" y="0"/>
                        <a:pt x="5" y="2"/>
                        <a:pt x="5" y="4"/>
                      </a:cubicBezTo>
                      <a:cubicBezTo>
                        <a:pt x="3" y="10"/>
                        <a:pt x="1" y="18"/>
                        <a:pt x="1" y="18"/>
                      </a:cubicBezTo>
                      <a:cubicBezTo>
                        <a:pt x="0" y="19"/>
                        <a:pt x="1" y="20"/>
                        <a:pt x="2" y="21"/>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60" name="Freeform 773"/>
                <p:cNvSpPr>
                  <a:spLocks/>
                </p:cNvSpPr>
                <p:nvPr/>
              </p:nvSpPr>
              <p:spPr bwMode="auto">
                <a:xfrm>
                  <a:off x="12891" y="1443"/>
                  <a:ext cx="54" cy="109"/>
                </a:xfrm>
                <a:custGeom>
                  <a:avLst/>
                  <a:gdLst>
                    <a:gd name="T0" fmla="*/ 0 w 23"/>
                    <a:gd name="T1" fmla="*/ 6 h 46"/>
                    <a:gd name="T2" fmla="*/ 0 w 23"/>
                    <a:gd name="T3" fmla="*/ 20 h 46"/>
                    <a:gd name="T4" fmla="*/ 2 w 23"/>
                    <a:gd name="T5" fmla="*/ 23 h 46"/>
                    <a:gd name="T6" fmla="*/ 4 w 23"/>
                    <a:gd name="T7" fmla="*/ 20 h 46"/>
                    <a:gd name="T8" fmla="*/ 4 w 23"/>
                    <a:gd name="T9" fmla="*/ 7 h 46"/>
                    <a:gd name="T10" fmla="*/ 5 w 23"/>
                    <a:gd name="T11" fmla="*/ 7 h 46"/>
                    <a:gd name="T12" fmla="*/ 5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7 w 23"/>
                    <a:gd name="T27" fmla="*/ 44 h 46"/>
                    <a:gd name="T28" fmla="*/ 17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6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19" y="23"/>
                        <a:pt x="21" y="23"/>
                      </a:cubicBezTo>
                      <a:cubicBezTo>
                        <a:pt x="22" y="23"/>
                        <a:pt x="23" y="22"/>
                        <a:pt x="23" y="20"/>
                      </a:cubicBezTo>
                      <a:cubicBezTo>
                        <a:pt x="23" y="19"/>
                        <a:pt x="23" y="8"/>
                        <a:pt x="23" y="6"/>
                      </a:cubicBezTo>
                      <a:cubicBezTo>
                        <a:pt x="23" y="2"/>
                        <a:pt x="20" y="0"/>
                        <a:pt x="17" y="0"/>
                      </a:cubicBezTo>
                      <a:cubicBezTo>
                        <a:pt x="15" y="0"/>
                        <a:pt x="8" y="0"/>
                        <a:pt x="6"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61" name="Freeform 774"/>
                <p:cNvSpPr>
                  <a:spLocks/>
                </p:cNvSpPr>
                <p:nvPr/>
              </p:nvSpPr>
              <p:spPr bwMode="auto">
                <a:xfrm>
                  <a:off x="12950" y="1147"/>
                  <a:ext cx="64" cy="111"/>
                </a:xfrm>
                <a:custGeom>
                  <a:avLst/>
                  <a:gdLst>
                    <a:gd name="T0" fmla="*/ 23 w 27"/>
                    <a:gd name="T1" fmla="*/ 5 h 47"/>
                    <a:gd name="T2" fmla="*/ 18 w 27"/>
                    <a:gd name="T3" fmla="*/ 0 h 47"/>
                    <a:gd name="T4" fmla="*/ 10 w 27"/>
                    <a:gd name="T5" fmla="*/ 0 h 47"/>
                    <a:gd name="T6" fmla="*/ 5 w 27"/>
                    <a:gd name="T7" fmla="*/ 5 h 47"/>
                    <a:gd name="T8" fmla="*/ 1 w 27"/>
                    <a:gd name="T9" fmla="*/ 19 h 47"/>
                    <a:gd name="T10" fmla="*/ 2 w 27"/>
                    <a:gd name="T11" fmla="*/ 21 h 47"/>
                    <a:gd name="T12" fmla="*/ 4 w 27"/>
                    <a:gd name="T13" fmla="*/ 20 h 47"/>
                    <a:gd name="T14" fmla="*/ 8 w 27"/>
                    <a:gd name="T15" fmla="*/ 7 h 47"/>
                    <a:gd name="T16" fmla="*/ 9 w 27"/>
                    <a:gd name="T17" fmla="*/ 7 h 47"/>
                    <a:gd name="T18" fmla="*/ 3 w 27"/>
                    <a:gd name="T19" fmla="*/ 29 h 47"/>
                    <a:gd name="T20" fmla="*/ 9 w 27"/>
                    <a:gd name="T21" fmla="*/ 29 h 47"/>
                    <a:gd name="T22" fmla="*/ 9 w 27"/>
                    <a:gd name="T23" fmla="*/ 45 h 47"/>
                    <a:gd name="T24" fmla="*/ 11 w 27"/>
                    <a:gd name="T25" fmla="*/ 47 h 47"/>
                    <a:gd name="T26" fmla="*/ 14 w 27"/>
                    <a:gd name="T27" fmla="*/ 45 h 47"/>
                    <a:gd name="T28" fmla="*/ 14 w 27"/>
                    <a:gd name="T29" fmla="*/ 29 h 47"/>
                    <a:gd name="T30" fmla="*/ 15 w 27"/>
                    <a:gd name="T31" fmla="*/ 29 h 47"/>
                    <a:gd name="T32" fmla="*/ 15 w 27"/>
                    <a:gd name="T33" fmla="*/ 45 h 47"/>
                    <a:gd name="T34" fmla="*/ 17 w 27"/>
                    <a:gd name="T35" fmla="*/ 47 h 47"/>
                    <a:gd name="T36" fmla="*/ 19 w 27"/>
                    <a:gd name="T37" fmla="*/ 45 h 47"/>
                    <a:gd name="T38" fmla="*/ 19 w 27"/>
                    <a:gd name="T39" fmla="*/ 29 h 47"/>
                    <a:gd name="T40" fmla="*/ 25 w 27"/>
                    <a:gd name="T41" fmla="*/ 29 h 47"/>
                    <a:gd name="T42" fmla="*/ 19 w 27"/>
                    <a:gd name="T43" fmla="*/ 7 h 47"/>
                    <a:gd name="T44" fmla="*/ 20 w 27"/>
                    <a:gd name="T45" fmla="*/ 7 h 47"/>
                    <a:gd name="T46" fmla="*/ 24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3"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4" y="46"/>
                        <a:pt x="14" y="45"/>
                      </a:cubicBezTo>
                      <a:cubicBezTo>
                        <a:pt x="14" y="43"/>
                        <a:pt x="14" y="29"/>
                        <a:pt x="14" y="29"/>
                      </a:cubicBezTo>
                      <a:cubicBezTo>
                        <a:pt x="15" y="29"/>
                        <a:pt x="15" y="29"/>
                        <a:pt x="15" y="29"/>
                      </a:cubicBezTo>
                      <a:cubicBezTo>
                        <a:pt x="15" y="29"/>
                        <a:pt x="15" y="43"/>
                        <a:pt x="15" y="45"/>
                      </a:cubicBezTo>
                      <a:cubicBezTo>
                        <a:pt x="15" y="46"/>
                        <a:pt x="16"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62" name="Oval 775"/>
                <p:cNvSpPr>
                  <a:spLocks noChangeArrowheads="1"/>
                </p:cNvSpPr>
                <p:nvPr/>
              </p:nvSpPr>
              <p:spPr bwMode="auto">
                <a:xfrm>
                  <a:off x="12907"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63" name="Freeform 776"/>
                <p:cNvSpPr>
                  <a:spLocks/>
                </p:cNvSpPr>
                <p:nvPr/>
              </p:nvSpPr>
              <p:spPr bwMode="auto">
                <a:xfrm>
                  <a:off x="12761" y="1443"/>
                  <a:ext cx="52" cy="109"/>
                </a:xfrm>
                <a:custGeom>
                  <a:avLst/>
                  <a:gdLst>
                    <a:gd name="T0" fmla="*/ 0 w 22"/>
                    <a:gd name="T1" fmla="*/ 6 h 46"/>
                    <a:gd name="T2" fmla="*/ 0 w 22"/>
                    <a:gd name="T3" fmla="*/ 20 h 46"/>
                    <a:gd name="T4" fmla="*/ 2 w 22"/>
                    <a:gd name="T5" fmla="*/ 23 h 46"/>
                    <a:gd name="T6" fmla="*/ 4 w 22"/>
                    <a:gd name="T7" fmla="*/ 20 h 46"/>
                    <a:gd name="T8" fmla="*/ 4 w 22"/>
                    <a:gd name="T9" fmla="*/ 7 h 46"/>
                    <a:gd name="T10" fmla="*/ 5 w 22"/>
                    <a:gd name="T11" fmla="*/ 7 h 46"/>
                    <a:gd name="T12" fmla="*/ 5 w 22"/>
                    <a:gd name="T13" fmla="*/ 44 h 46"/>
                    <a:gd name="T14" fmla="*/ 8 w 22"/>
                    <a:gd name="T15" fmla="*/ 46 h 46"/>
                    <a:gd name="T16" fmla="*/ 10 w 22"/>
                    <a:gd name="T17" fmla="*/ 44 h 46"/>
                    <a:gd name="T18" fmla="*/ 10 w 22"/>
                    <a:gd name="T19" fmla="*/ 23 h 46"/>
                    <a:gd name="T20" fmla="*/ 11 w 22"/>
                    <a:gd name="T21" fmla="*/ 23 h 46"/>
                    <a:gd name="T22" fmla="*/ 11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3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8"/>
                        <a:pt x="0" y="19"/>
                        <a:pt x="0" y="20"/>
                      </a:cubicBezTo>
                      <a:cubicBezTo>
                        <a:pt x="0" y="22"/>
                        <a:pt x="0"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1" y="23"/>
                      </a:cubicBezTo>
                      <a:cubicBezTo>
                        <a:pt x="11" y="23"/>
                        <a:pt x="11" y="41"/>
                        <a:pt x="11" y="44"/>
                      </a:cubicBezTo>
                      <a:cubicBezTo>
                        <a:pt x="11"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8"/>
                        <a:pt x="22" y="6"/>
                      </a:cubicBezTo>
                      <a:cubicBezTo>
                        <a:pt x="22" y="2"/>
                        <a:pt x="19" y="0"/>
                        <a:pt x="16" y="0"/>
                      </a:cubicBezTo>
                      <a:cubicBezTo>
                        <a:pt x="14" y="0"/>
                        <a:pt x="7" y="0"/>
                        <a:pt x="6" y="0"/>
                      </a:cubicBezTo>
                      <a:cubicBezTo>
                        <a:pt x="2"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64" name="Oval 777"/>
                <p:cNvSpPr>
                  <a:spLocks noChangeArrowheads="1"/>
                </p:cNvSpPr>
                <p:nvPr/>
              </p:nvSpPr>
              <p:spPr bwMode="auto">
                <a:xfrm>
                  <a:off x="12775"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65" name="Freeform 778"/>
                <p:cNvSpPr>
                  <a:spLocks/>
                </p:cNvSpPr>
                <p:nvPr/>
              </p:nvSpPr>
              <p:spPr bwMode="auto">
                <a:xfrm>
                  <a:off x="12690" y="1147"/>
                  <a:ext cx="64" cy="111"/>
                </a:xfrm>
                <a:custGeom>
                  <a:avLst/>
                  <a:gdLst>
                    <a:gd name="T0" fmla="*/ 22 w 27"/>
                    <a:gd name="T1" fmla="*/ 5 h 47"/>
                    <a:gd name="T2" fmla="*/ 17 w 27"/>
                    <a:gd name="T3" fmla="*/ 0 h 47"/>
                    <a:gd name="T4" fmla="*/ 9 w 27"/>
                    <a:gd name="T5" fmla="*/ 0 h 47"/>
                    <a:gd name="T6" fmla="*/ 4 w 27"/>
                    <a:gd name="T7" fmla="*/ 5 h 47"/>
                    <a:gd name="T8" fmla="*/ 0 w 27"/>
                    <a:gd name="T9" fmla="*/ 19 h 47"/>
                    <a:gd name="T10" fmla="*/ 1 w 27"/>
                    <a:gd name="T11" fmla="*/ 21 h 47"/>
                    <a:gd name="T12" fmla="*/ 4 w 27"/>
                    <a:gd name="T13" fmla="*/ 20 h 47"/>
                    <a:gd name="T14" fmla="*/ 7 w 27"/>
                    <a:gd name="T15" fmla="*/ 7 h 47"/>
                    <a:gd name="T16" fmla="*/ 9 w 27"/>
                    <a:gd name="T17" fmla="*/ 7 h 47"/>
                    <a:gd name="T18" fmla="*/ 2 w 27"/>
                    <a:gd name="T19" fmla="*/ 29 h 47"/>
                    <a:gd name="T20" fmla="*/ 8 w 27"/>
                    <a:gd name="T21" fmla="*/ 29 h 47"/>
                    <a:gd name="T22" fmla="*/ 8 w 27"/>
                    <a:gd name="T23" fmla="*/ 45 h 47"/>
                    <a:gd name="T24" fmla="*/ 10 w 27"/>
                    <a:gd name="T25" fmla="*/ 47 h 47"/>
                    <a:gd name="T26" fmla="*/ 13 w 27"/>
                    <a:gd name="T27" fmla="*/ 45 h 47"/>
                    <a:gd name="T28" fmla="*/ 13 w 27"/>
                    <a:gd name="T29" fmla="*/ 29 h 47"/>
                    <a:gd name="T30" fmla="*/ 14 w 27"/>
                    <a:gd name="T31" fmla="*/ 29 h 47"/>
                    <a:gd name="T32" fmla="*/ 14 w 27"/>
                    <a:gd name="T33" fmla="*/ 45 h 47"/>
                    <a:gd name="T34" fmla="*/ 16 w 27"/>
                    <a:gd name="T35" fmla="*/ 47 h 47"/>
                    <a:gd name="T36" fmla="*/ 18 w 27"/>
                    <a:gd name="T37" fmla="*/ 45 h 47"/>
                    <a:gd name="T38" fmla="*/ 18 w 27"/>
                    <a:gd name="T39" fmla="*/ 29 h 47"/>
                    <a:gd name="T40" fmla="*/ 24 w 27"/>
                    <a:gd name="T41" fmla="*/ 29 h 47"/>
                    <a:gd name="T42" fmla="*/ 18 w 27"/>
                    <a:gd name="T43" fmla="*/ 7 h 47"/>
                    <a:gd name="T44" fmla="*/ 19 w 27"/>
                    <a:gd name="T45" fmla="*/ 7 h 47"/>
                    <a:gd name="T46" fmla="*/ 23 w 27"/>
                    <a:gd name="T47" fmla="*/ 20 h 47"/>
                    <a:gd name="T48" fmla="*/ 25 w 27"/>
                    <a:gd name="T49" fmla="*/ 21 h 47"/>
                    <a:gd name="T50" fmla="*/ 26 w 27"/>
                    <a:gd name="T51" fmla="*/ 19 h 47"/>
                    <a:gd name="T52" fmla="*/ 22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5"/>
                      </a:move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ubicBezTo>
                        <a:pt x="2" y="21"/>
                        <a:pt x="3" y="21"/>
                        <a:pt x="4" y="20"/>
                      </a:cubicBezTo>
                      <a:cubicBezTo>
                        <a:pt x="4" y="18"/>
                        <a:pt x="7" y="7"/>
                        <a:pt x="7" y="7"/>
                      </a:cubicBezTo>
                      <a:cubicBezTo>
                        <a:pt x="9" y="7"/>
                        <a:pt x="9" y="7"/>
                        <a:pt x="9" y="7"/>
                      </a:cubicBezTo>
                      <a:cubicBezTo>
                        <a:pt x="2" y="29"/>
                        <a:pt x="2" y="29"/>
                        <a:pt x="2" y="29"/>
                      </a:cubicBezTo>
                      <a:cubicBezTo>
                        <a:pt x="8" y="29"/>
                        <a:pt x="8" y="29"/>
                        <a:pt x="8" y="29"/>
                      </a:cubicBezTo>
                      <a:cubicBezTo>
                        <a:pt x="8" y="36"/>
                        <a:pt x="8" y="44"/>
                        <a:pt x="8" y="45"/>
                      </a:cubicBezTo>
                      <a:cubicBezTo>
                        <a:pt x="8" y="46"/>
                        <a:pt x="9" y="47"/>
                        <a:pt x="10"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7" y="47"/>
                        <a:pt x="18" y="46"/>
                        <a:pt x="18" y="45"/>
                      </a:cubicBezTo>
                      <a:cubicBezTo>
                        <a:pt x="18" y="44"/>
                        <a:pt x="18" y="36"/>
                        <a:pt x="18" y="29"/>
                      </a:cubicBezTo>
                      <a:cubicBezTo>
                        <a:pt x="24" y="29"/>
                        <a:pt x="24" y="29"/>
                        <a:pt x="24" y="29"/>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6" y="19"/>
                      </a:cubicBezTo>
                      <a:cubicBezTo>
                        <a:pt x="26" y="18"/>
                        <a:pt x="24" y="11"/>
                        <a:pt x="2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66" name="Oval 779"/>
                <p:cNvSpPr>
                  <a:spLocks noChangeArrowheads="1"/>
                </p:cNvSpPr>
                <p:nvPr/>
              </p:nvSpPr>
              <p:spPr bwMode="auto">
                <a:xfrm>
                  <a:off x="12711"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67" name="Oval 780"/>
                <p:cNvSpPr>
                  <a:spLocks noChangeArrowheads="1"/>
                </p:cNvSpPr>
                <p:nvPr/>
              </p:nvSpPr>
              <p:spPr bwMode="auto">
                <a:xfrm>
                  <a:off x="12711"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68" name="Oval 781"/>
                <p:cNvSpPr>
                  <a:spLocks noChangeArrowheads="1"/>
                </p:cNvSpPr>
                <p:nvPr/>
              </p:nvSpPr>
              <p:spPr bwMode="auto">
                <a:xfrm>
                  <a:off x="12841"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69" name="Freeform 782"/>
                <p:cNvSpPr>
                  <a:spLocks/>
                </p:cNvSpPr>
                <p:nvPr/>
              </p:nvSpPr>
              <p:spPr bwMode="auto">
                <a:xfrm>
                  <a:off x="12825" y="1296"/>
                  <a:ext cx="54"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6 w 23"/>
                    <a:gd name="T11" fmla="*/ 7 h 47"/>
                    <a:gd name="T12" fmla="*/ 6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7 h 47"/>
                    <a:gd name="T30" fmla="*/ 19 w 23"/>
                    <a:gd name="T31" fmla="*/ 7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4" y="23"/>
                        <a:pt x="4" y="22"/>
                        <a:pt x="4" y="21"/>
                      </a:cubicBezTo>
                      <a:cubicBezTo>
                        <a:pt x="4" y="19"/>
                        <a:pt x="4" y="7"/>
                        <a:pt x="4" y="7"/>
                      </a:cubicBezTo>
                      <a:cubicBezTo>
                        <a:pt x="4" y="7"/>
                        <a:pt x="4" y="7"/>
                        <a:pt x="6" y="7"/>
                      </a:cubicBezTo>
                      <a:cubicBezTo>
                        <a:pt x="6" y="7"/>
                        <a:pt x="6" y="42"/>
                        <a:pt x="6" y="44"/>
                      </a:cubicBezTo>
                      <a:cubicBezTo>
                        <a:pt x="6"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4" y="47"/>
                        <a:pt x="15" y="47"/>
                      </a:cubicBezTo>
                      <a:cubicBezTo>
                        <a:pt x="17" y="47"/>
                        <a:pt x="18" y="45"/>
                        <a:pt x="18" y="44"/>
                      </a:cubicBezTo>
                      <a:cubicBezTo>
                        <a:pt x="18" y="42"/>
                        <a:pt x="18" y="7"/>
                        <a:pt x="18" y="7"/>
                      </a:cubicBezTo>
                      <a:cubicBezTo>
                        <a:pt x="18" y="7"/>
                        <a:pt x="18" y="7"/>
                        <a:pt x="19" y="7"/>
                      </a:cubicBezTo>
                      <a:cubicBezTo>
                        <a:pt x="19" y="7"/>
                        <a:pt x="19" y="19"/>
                        <a:pt x="19" y="21"/>
                      </a:cubicBezTo>
                      <a:cubicBezTo>
                        <a:pt x="19" y="22"/>
                        <a:pt x="20"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70" name="Oval 783"/>
                <p:cNvSpPr>
                  <a:spLocks noChangeArrowheads="1"/>
                </p:cNvSpPr>
                <p:nvPr/>
              </p:nvSpPr>
              <p:spPr bwMode="auto">
                <a:xfrm>
                  <a:off x="12841"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71" name="Freeform 784"/>
                <p:cNvSpPr>
                  <a:spLocks/>
                </p:cNvSpPr>
                <p:nvPr/>
              </p:nvSpPr>
              <p:spPr bwMode="auto">
                <a:xfrm>
                  <a:off x="12754" y="1296"/>
                  <a:ext cx="66" cy="111"/>
                </a:xfrm>
                <a:custGeom>
                  <a:avLst/>
                  <a:gdLst>
                    <a:gd name="T0" fmla="*/ 27 w 28"/>
                    <a:gd name="T1" fmla="*/ 18 h 47"/>
                    <a:gd name="T2" fmla="*/ 23 w 28"/>
                    <a:gd name="T3" fmla="*/ 4 h 47"/>
                    <a:gd name="T4" fmla="*/ 18 w 28"/>
                    <a:gd name="T5" fmla="*/ 0 h 47"/>
                    <a:gd name="T6" fmla="*/ 10 w 28"/>
                    <a:gd name="T7" fmla="*/ 0 h 47"/>
                    <a:gd name="T8" fmla="*/ 5 w 28"/>
                    <a:gd name="T9" fmla="*/ 4 h 47"/>
                    <a:gd name="T10" fmla="*/ 1 w 28"/>
                    <a:gd name="T11" fmla="*/ 18 h 47"/>
                    <a:gd name="T12" fmla="*/ 2 w 28"/>
                    <a:gd name="T13" fmla="*/ 21 h 47"/>
                    <a:gd name="T14" fmla="*/ 4 w 28"/>
                    <a:gd name="T15" fmla="*/ 19 h 47"/>
                    <a:gd name="T16" fmla="*/ 8 w 28"/>
                    <a:gd name="T17" fmla="*/ 6 h 47"/>
                    <a:gd name="T18" fmla="*/ 9 w 28"/>
                    <a:gd name="T19" fmla="*/ 6 h 47"/>
                    <a:gd name="T20" fmla="*/ 3 w 28"/>
                    <a:gd name="T21" fmla="*/ 28 h 47"/>
                    <a:gd name="T22" fmla="*/ 9 w 28"/>
                    <a:gd name="T23" fmla="*/ 28 h 47"/>
                    <a:gd name="T24" fmla="*/ 9 w 28"/>
                    <a:gd name="T25" fmla="*/ 45 h 47"/>
                    <a:gd name="T26" fmla="*/ 11 w 28"/>
                    <a:gd name="T27" fmla="*/ 47 h 47"/>
                    <a:gd name="T28" fmla="*/ 13 w 28"/>
                    <a:gd name="T29" fmla="*/ 45 h 47"/>
                    <a:gd name="T30" fmla="*/ 13 w 28"/>
                    <a:gd name="T31" fmla="*/ 28 h 47"/>
                    <a:gd name="T32" fmla="*/ 15 w 28"/>
                    <a:gd name="T33" fmla="*/ 28 h 47"/>
                    <a:gd name="T34" fmla="*/ 15 w 28"/>
                    <a:gd name="T35" fmla="*/ 45 h 47"/>
                    <a:gd name="T36" fmla="*/ 17 w 28"/>
                    <a:gd name="T37" fmla="*/ 47 h 47"/>
                    <a:gd name="T38" fmla="*/ 19 w 28"/>
                    <a:gd name="T39" fmla="*/ 45 h 47"/>
                    <a:gd name="T40" fmla="*/ 19 w 28"/>
                    <a:gd name="T41" fmla="*/ 28 h 47"/>
                    <a:gd name="T42" fmla="*/ 25 w 28"/>
                    <a:gd name="T43" fmla="*/ 28 h 47"/>
                    <a:gd name="T44" fmla="*/ 19 w 28"/>
                    <a:gd name="T45" fmla="*/ 6 h 47"/>
                    <a:gd name="T46" fmla="*/ 20 w 28"/>
                    <a:gd name="T47" fmla="*/ 6 h 47"/>
                    <a:gd name="T48" fmla="*/ 24 w 28"/>
                    <a:gd name="T49" fmla="*/ 19 h 47"/>
                    <a:gd name="T50" fmla="*/ 26 w 28"/>
                    <a:gd name="T51" fmla="*/ 21 h 47"/>
                    <a:gd name="T52" fmla="*/ 27 w 28"/>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7" y="18"/>
                      </a:moveTo>
                      <a:cubicBezTo>
                        <a:pt x="27" y="18"/>
                        <a:pt x="25" y="10"/>
                        <a:pt x="23" y="4"/>
                      </a:cubicBezTo>
                      <a:cubicBezTo>
                        <a:pt x="22" y="2"/>
                        <a:pt x="20" y="0"/>
                        <a:pt x="18" y="0"/>
                      </a:cubicBezTo>
                      <a:cubicBezTo>
                        <a:pt x="17" y="0"/>
                        <a:pt x="11" y="0"/>
                        <a:pt x="10" y="0"/>
                      </a:cubicBezTo>
                      <a:cubicBezTo>
                        <a:pt x="8" y="0"/>
                        <a:pt x="6" y="2"/>
                        <a:pt x="5" y="4"/>
                      </a:cubicBezTo>
                      <a:cubicBezTo>
                        <a:pt x="3" y="10"/>
                        <a:pt x="1" y="18"/>
                        <a:pt x="1" y="18"/>
                      </a:cubicBezTo>
                      <a:cubicBezTo>
                        <a:pt x="0" y="19"/>
                        <a:pt x="1" y="20"/>
                        <a:pt x="2" y="21"/>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1"/>
                      </a:cubicBezTo>
                      <a:cubicBezTo>
                        <a:pt x="27" y="20"/>
                        <a:pt x="28"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72" name="Freeform 785"/>
                <p:cNvSpPr>
                  <a:spLocks/>
                </p:cNvSpPr>
                <p:nvPr/>
              </p:nvSpPr>
              <p:spPr bwMode="auto">
                <a:xfrm>
                  <a:off x="12820" y="1443"/>
                  <a:ext cx="64" cy="111"/>
                </a:xfrm>
                <a:custGeom>
                  <a:avLst/>
                  <a:gdLst>
                    <a:gd name="T0" fmla="*/ 23 w 27"/>
                    <a:gd name="T1" fmla="*/ 4 h 47"/>
                    <a:gd name="T2" fmla="*/ 17 w 27"/>
                    <a:gd name="T3" fmla="*/ 0 h 47"/>
                    <a:gd name="T4" fmla="*/ 10 w 27"/>
                    <a:gd name="T5" fmla="*/ 0 h 47"/>
                    <a:gd name="T6" fmla="*/ 4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2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9 w 27"/>
                    <a:gd name="T37" fmla="*/ 44 h 47"/>
                    <a:gd name="T38" fmla="*/ 19 w 27"/>
                    <a:gd name="T39" fmla="*/ 28 h 47"/>
                    <a:gd name="T40" fmla="*/ 25 w 27"/>
                    <a:gd name="T41" fmla="*/ 28 h 47"/>
                    <a:gd name="T42" fmla="*/ 18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7" y="0"/>
                      </a:cubicBezTo>
                      <a:cubicBezTo>
                        <a:pt x="16" y="0"/>
                        <a:pt x="11" y="0"/>
                        <a:pt x="10" y="0"/>
                      </a:cubicBezTo>
                      <a:cubicBezTo>
                        <a:pt x="8" y="0"/>
                        <a:pt x="5" y="2"/>
                        <a:pt x="4"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2" y="28"/>
                        <a:pt x="2" y="28"/>
                        <a:pt x="2"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73" name="Freeform 786"/>
                <p:cNvSpPr>
                  <a:spLocks/>
                </p:cNvSpPr>
                <p:nvPr/>
              </p:nvSpPr>
              <p:spPr bwMode="auto">
                <a:xfrm>
                  <a:off x="13083" y="1443"/>
                  <a:ext cx="63" cy="111"/>
                </a:xfrm>
                <a:custGeom>
                  <a:avLst/>
                  <a:gdLst>
                    <a:gd name="T0" fmla="*/ 23 w 27"/>
                    <a:gd name="T1" fmla="*/ 19 h 47"/>
                    <a:gd name="T2" fmla="*/ 25 w 27"/>
                    <a:gd name="T3" fmla="*/ 20 h 47"/>
                    <a:gd name="T4" fmla="*/ 27 w 27"/>
                    <a:gd name="T5" fmla="*/ 18 h 47"/>
                    <a:gd name="T6" fmla="*/ 23 w 27"/>
                    <a:gd name="T7" fmla="*/ 4 h 47"/>
                    <a:gd name="T8" fmla="*/ 17 w 27"/>
                    <a:gd name="T9" fmla="*/ 0 h 47"/>
                    <a:gd name="T10" fmla="*/ 10 w 27"/>
                    <a:gd name="T11" fmla="*/ 0 h 47"/>
                    <a:gd name="T12" fmla="*/ 4 w 27"/>
                    <a:gd name="T13" fmla="*/ 4 h 47"/>
                    <a:gd name="T14" fmla="*/ 0 w 27"/>
                    <a:gd name="T15" fmla="*/ 18 h 47"/>
                    <a:gd name="T16" fmla="*/ 1 w 27"/>
                    <a:gd name="T17" fmla="*/ 20 h 47"/>
                    <a:gd name="T18" fmla="*/ 4 w 27"/>
                    <a:gd name="T19" fmla="*/ 19 h 47"/>
                    <a:gd name="T20" fmla="*/ 8 w 27"/>
                    <a:gd name="T21" fmla="*/ 6 h 47"/>
                    <a:gd name="T22" fmla="*/ 9 w 27"/>
                    <a:gd name="T23" fmla="*/ 6 h 47"/>
                    <a:gd name="T24" fmla="*/ 2 w 27"/>
                    <a:gd name="T25" fmla="*/ 28 h 47"/>
                    <a:gd name="T26" fmla="*/ 8 w 27"/>
                    <a:gd name="T27" fmla="*/ 28 h 47"/>
                    <a:gd name="T28" fmla="*/ 8 w 27"/>
                    <a:gd name="T29" fmla="*/ 44 h 47"/>
                    <a:gd name="T30" fmla="*/ 11 w 27"/>
                    <a:gd name="T31" fmla="*/ 47 h 47"/>
                    <a:gd name="T32" fmla="*/ 13 w 27"/>
                    <a:gd name="T33" fmla="*/ 44 h 47"/>
                    <a:gd name="T34" fmla="*/ 13 w 27"/>
                    <a:gd name="T35" fmla="*/ 28 h 47"/>
                    <a:gd name="T36" fmla="*/ 14 w 27"/>
                    <a:gd name="T37" fmla="*/ 28 h 47"/>
                    <a:gd name="T38" fmla="*/ 14 w 27"/>
                    <a:gd name="T39" fmla="*/ 44 h 47"/>
                    <a:gd name="T40" fmla="*/ 16 w 27"/>
                    <a:gd name="T41" fmla="*/ 47 h 47"/>
                    <a:gd name="T42" fmla="*/ 18 w 27"/>
                    <a:gd name="T43" fmla="*/ 44 h 47"/>
                    <a:gd name="T44" fmla="*/ 18 w 27"/>
                    <a:gd name="T45" fmla="*/ 28 h 47"/>
                    <a:gd name="T46" fmla="*/ 25 w 27"/>
                    <a:gd name="T47" fmla="*/ 28 h 47"/>
                    <a:gd name="T48" fmla="*/ 18 w 27"/>
                    <a:gd name="T49" fmla="*/ 6 h 47"/>
                    <a:gd name="T50" fmla="*/ 19 w 27"/>
                    <a:gd name="T51" fmla="*/ 6 h 47"/>
                    <a:gd name="T52" fmla="*/ 23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19"/>
                      </a:moveTo>
                      <a:cubicBezTo>
                        <a:pt x="23" y="20"/>
                        <a:pt x="24" y="21"/>
                        <a:pt x="25" y="20"/>
                      </a:cubicBezTo>
                      <a:cubicBezTo>
                        <a:pt x="26" y="20"/>
                        <a:pt x="27" y="19"/>
                        <a:pt x="27" y="18"/>
                      </a:cubicBezTo>
                      <a:cubicBezTo>
                        <a:pt x="26" y="17"/>
                        <a:pt x="24" y="10"/>
                        <a:pt x="23" y="4"/>
                      </a:cubicBezTo>
                      <a:cubicBezTo>
                        <a:pt x="22" y="2"/>
                        <a:pt x="20" y="0"/>
                        <a:pt x="17" y="0"/>
                      </a:cubicBezTo>
                      <a:cubicBezTo>
                        <a:pt x="16" y="0"/>
                        <a:pt x="11" y="0"/>
                        <a:pt x="10" y="0"/>
                      </a:cubicBezTo>
                      <a:cubicBezTo>
                        <a:pt x="7" y="0"/>
                        <a:pt x="5" y="2"/>
                        <a:pt x="4" y="4"/>
                      </a:cubicBezTo>
                      <a:cubicBezTo>
                        <a:pt x="3" y="10"/>
                        <a:pt x="0" y="17"/>
                        <a:pt x="0" y="18"/>
                      </a:cubicBezTo>
                      <a:cubicBezTo>
                        <a:pt x="0" y="19"/>
                        <a:pt x="0" y="20"/>
                        <a:pt x="1" y="20"/>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74" name="Freeform 787"/>
                <p:cNvSpPr>
                  <a:spLocks/>
                </p:cNvSpPr>
                <p:nvPr/>
              </p:nvSpPr>
              <p:spPr bwMode="auto">
                <a:xfrm>
                  <a:off x="12387" y="1443"/>
                  <a:ext cx="35" cy="28"/>
                </a:xfrm>
                <a:custGeom>
                  <a:avLst/>
                  <a:gdLst>
                    <a:gd name="T0" fmla="*/ 9 w 15"/>
                    <a:gd name="T1" fmla="*/ 0 h 12"/>
                    <a:gd name="T2" fmla="*/ 0 w 15"/>
                    <a:gd name="T3" fmla="*/ 0 h 12"/>
                    <a:gd name="T4" fmla="*/ 10 w 15"/>
                    <a:gd name="T5" fmla="*/ 8 h 12"/>
                    <a:gd name="T6" fmla="*/ 10 w 15"/>
                    <a:gd name="T7" fmla="*/ 7 h 12"/>
                    <a:gd name="T8" fmla="*/ 11 w 15"/>
                    <a:gd name="T9" fmla="*/ 7 h 12"/>
                    <a:gd name="T10" fmla="*/ 11 w 15"/>
                    <a:gd name="T11" fmla="*/ 9 h 12"/>
                    <a:gd name="T12" fmla="*/ 15 w 15"/>
                    <a:gd name="T13" fmla="*/ 12 h 12"/>
                    <a:gd name="T14" fmla="*/ 15 w 15"/>
                    <a:gd name="T15" fmla="*/ 6 h 12"/>
                    <a:gd name="T16" fmla="*/ 9 w 15"/>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2">
                      <a:moveTo>
                        <a:pt x="9" y="0"/>
                      </a:moveTo>
                      <a:cubicBezTo>
                        <a:pt x="8" y="0"/>
                        <a:pt x="2" y="0"/>
                        <a:pt x="0" y="0"/>
                      </a:cubicBezTo>
                      <a:cubicBezTo>
                        <a:pt x="3" y="3"/>
                        <a:pt x="7" y="5"/>
                        <a:pt x="10" y="8"/>
                      </a:cubicBezTo>
                      <a:cubicBezTo>
                        <a:pt x="10" y="7"/>
                        <a:pt x="10" y="7"/>
                        <a:pt x="10" y="7"/>
                      </a:cubicBezTo>
                      <a:cubicBezTo>
                        <a:pt x="10" y="7"/>
                        <a:pt x="10" y="7"/>
                        <a:pt x="11" y="7"/>
                      </a:cubicBezTo>
                      <a:cubicBezTo>
                        <a:pt x="11" y="7"/>
                        <a:pt x="11" y="8"/>
                        <a:pt x="11" y="9"/>
                      </a:cubicBezTo>
                      <a:cubicBezTo>
                        <a:pt x="13" y="10"/>
                        <a:pt x="14" y="11"/>
                        <a:pt x="15" y="12"/>
                      </a:cubicBezTo>
                      <a:cubicBezTo>
                        <a:pt x="15" y="9"/>
                        <a:pt x="15" y="7"/>
                        <a:pt x="15" y="6"/>
                      </a:cubicBezTo>
                      <a:cubicBezTo>
                        <a:pt x="15" y="2"/>
                        <a:pt x="12" y="0"/>
                        <a:pt x="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75" name="Oval 788"/>
                <p:cNvSpPr>
                  <a:spLocks noChangeArrowheads="1"/>
                </p:cNvSpPr>
                <p:nvPr/>
              </p:nvSpPr>
              <p:spPr bwMode="auto">
                <a:xfrm>
                  <a:off x="12517"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76" name="Freeform 789"/>
                <p:cNvSpPr>
                  <a:spLocks/>
                </p:cNvSpPr>
                <p:nvPr/>
              </p:nvSpPr>
              <p:spPr bwMode="auto">
                <a:xfrm>
                  <a:off x="12432" y="1443"/>
                  <a:ext cx="61" cy="87"/>
                </a:xfrm>
                <a:custGeom>
                  <a:avLst/>
                  <a:gdLst>
                    <a:gd name="T0" fmla="*/ 24 w 26"/>
                    <a:gd name="T1" fmla="*/ 28 h 37"/>
                    <a:gd name="T2" fmla="*/ 17 w 26"/>
                    <a:gd name="T3" fmla="*/ 6 h 37"/>
                    <a:gd name="T4" fmla="*/ 19 w 26"/>
                    <a:gd name="T5" fmla="*/ 6 h 37"/>
                    <a:gd name="T6" fmla="*/ 22 w 26"/>
                    <a:gd name="T7" fmla="*/ 19 h 37"/>
                    <a:gd name="T8" fmla="*/ 25 w 26"/>
                    <a:gd name="T9" fmla="*/ 20 h 37"/>
                    <a:gd name="T10" fmla="*/ 26 w 26"/>
                    <a:gd name="T11" fmla="*/ 18 h 37"/>
                    <a:gd name="T12" fmla="*/ 22 w 26"/>
                    <a:gd name="T13" fmla="*/ 4 h 37"/>
                    <a:gd name="T14" fmla="*/ 16 w 26"/>
                    <a:gd name="T15" fmla="*/ 0 h 37"/>
                    <a:gd name="T16" fmla="*/ 9 w 26"/>
                    <a:gd name="T17" fmla="*/ 0 h 37"/>
                    <a:gd name="T18" fmla="*/ 3 w 26"/>
                    <a:gd name="T19" fmla="*/ 4 h 37"/>
                    <a:gd name="T20" fmla="*/ 0 w 26"/>
                    <a:gd name="T21" fmla="*/ 16 h 37"/>
                    <a:gd name="T22" fmla="*/ 3 w 26"/>
                    <a:gd name="T23" fmla="*/ 19 h 37"/>
                    <a:gd name="T24" fmla="*/ 7 w 26"/>
                    <a:gd name="T25" fmla="*/ 6 h 37"/>
                    <a:gd name="T26" fmla="*/ 8 w 26"/>
                    <a:gd name="T27" fmla="*/ 6 h 37"/>
                    <a:gd name="T28" fmla="*/ 4 w 26"/>
                    <a:gd name="T29" fmla="*/ 19 h 37"/>
                    <a:gd name="T30" fmla="*/ 12 w 26"/>
                    <a:gd name="T31" fmla="*/ 29 h 37"/>
                    <a:gd name="T32" fmla="*/ 12 w 26"/>
                    <a:gd name="T33" fmla="*/ 28 h 37"/>
                    <a:gd name="T34" fmla="*/ 13 w 26"/>
                    <a:gd name="T35" fmla="*/ 28 h 37"/>
                    <a:gd name="T36" fmla="*/ 13 w 26"/>
                    <a:gd name="T37" fmla="*/ 30 h 37"/>
                    <a:gd name="T38" fmla="*/ 18 w 26"/>
                    <a:gd name="T39" fmla="*/ 37 h 37"/>
                    <a:gd name="T40" fmla="*/ 18 w 26"/>
                    <a:gd name="T41" fmla="*/ 28 h 37"/>
                    <a:gd name="T42" fmla="*/ 24 w 26"/>
                    <a:gd name="T43" fmla="*/ 2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37">
                      <a:moveTo>
                        <a:pt x="24" y="28"/>
                      </a:moveTo>
                      <a:cubicBezTo>
                        <a:pt x="17" y="6"/>
                        <a:pt x="17" y="6"/>
                        <a:pt x="17" y="6"/>
                      </a:cubicBezTo>
                      <a:cubicBezTo>
                        <a:pt x="19" y="6"/>
                        <a:pt x="19" y="6"/>
                        <a:pt x="19" y="6"/>
                      </a:cubicBezTo>
                      <a:cubicBezTo>
                        <a:pt x="19" y="6"/>
                        <a:pt x="22" y="18"/>
                        <a:pt x="22" y="19"/>
                      </a:cubicBezTo>
                      <a:cubicBezTo>
                        <a:pt x="23" y="20"/>
                        <a:pt x="24" y="21"/>
                        <a:pt x="25" y="20"/>
                      </a:cubicBezTo>
                      <a:cubicBezTo>
                        <a:pt x="26" y="20"/>
                        <a:pt x="26" y="19"/>
                        <a:pt x="26" y="18"/>
                      </a:cubicBezTo>
                      <a:cubicBezTo>
                        <a:pt x="26" y="17"/>
                        <a:pt x="24" y="10"/>
                        <a:pt x="22" y="4"/>
                      </a:cubicBezTo>
                      <a:cubicBezTo>
                        <a:pt x="21" y="2"/>
                        <a:pt x="19" y="0"/>
                        <a:pt x="16" y="0"/>
                      </a:cubicBezTo>
                      <a:cubicBezTo>
                        <a:pt x="15" y="0"/>
                        <a:pt x="10" y="0"/>
                        <a:pt x="9" y="0"/>
                      </a:cubicBezTo>
                      <a:cubicBezTo>
                        <a:pt x="6" y="0"/>
                        <a:pt x="4" y="2"/>
                        <a:pt x="3" y="4"/>
                      </a:cubicBezTo>
                      <a:cubicBezTo>
                        <a:pt x="2" y="8"/>
                        <a:pt x="1" y="13"/>
                        <a:pt x="0" y="16"/>
                      </a:cubicBezTo>
                      <a:cubicBezTo>
                        <a:pt x="1" y="17"/>
                        <a:pt x="2" y="18"/>
                        <a:pt x="3" y="19"/>
                      </a:cubicBezTo>
                      <a:cubicBezTo>
                        <a:pt x="4" y="16"/>
                        <a:pt x="7" y="6"/>
                        <a:pt x="7" y="6"/>
                      </a:cubicBezTo>
                      <a:cubicBezTo>
                        <a:pt x="8" y="6"/>
                        <a:pt x="8" y="6"/>
                        <a:pt x="8" y="6"/>
                      </a:cubicBezTo>
                      <a:cubicBezTo>
                        <a:pt x="6" y="12"/>
                        <a:pt x="5" y="16"/>
                        <a:pt x="4" y="19"/>
                      </a:cubicBezTo>
                      <a:cubicBezTo>
                        <a:pt x="7" y="22"/>
                        <a:pt x="10" y="25"/>
                        <a:pt x="12" y="29"/>
                      </a:cubicBezTo>
                      <a:cubicBezTo>
                        <a:pt x="12" y="28"/>
                        <a:pt x="12" y="28"/>
                        <a:pt x="12" y="28"/>
                      </a:cubicBezTo>
                      <a:cubicBezTo>
                        <a:pt x="13" y="28"/>
                        <a:pt x="13" y="28"/>
                        <a:pt x="13" y="28"/>
                      </a:cubicBezTo>
                      <a:cubicBezTo>
                        <a:pt x="13" y="28"/>
                        <a:pt x="13" y="29"/>
                        <a:pt x="13" y="30"/>
                      </a:cubicBezTo>
                      <a:cubicBezTo>
                        <a:pt x="15" y="32"/>
                        <a:pt x="16" y="35"/>
                        <a:pt x="18" y="37"/>
                      </a:cubicBezTo>
                      <a:cubicBezTo>
                        <a:pt x="18" y="34"/>
                        <a:pt x="18" y="31"/>
                        <a:pt x="18" y="28"/>
                      </a:cubicBezTo>
                      <a:cubicBezTo>
                        <a:pt x="24" y="28"/>
                        <a:pt x="24" y="28"/>
                        <a:pt x="2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77" name="Freeform 790"/>
                <p:cNvSpPr>
                  <a:spLocks/>
                </p:cNvSpPr>
                <p:nvPr/>
              </p:nvSpPr>
              <p:spPr bwMode="auto">
                <a:xfrm>
                  <a:off x="12271" y="1296"/>
                  <a:ext cx="26" cy="50"/>
                </a:xfrm>
                <a:custGeom>
                  <a:avLst/>
                  <a:gdLst>
                    <a:gd name="T0" fmla="*/ 11 w 11"/>
                    <a:gd name="T1" fmla="*/ 18 h 21"/>
                    <a:gd name="T2" fmla="*/ 7 w 11"/>
                    <a:gd name="T3" fmla="*/ 4 h 21"/>
                    <a:gd name="T4" fmla="*/ 1 w 11"/>
                    <a:gd name="T5" fmla="*/ 0 h 21"/>
                    <a:gd name="T6" fmla="*/ 0 w 11"/>
                    <a:gd name="T7" fmla="*/ 0 h 21"/>
                    <a:gd name="T8" fmla="*/ 3 w 11"/>
                    <a:gd name="T9" fmla="*/ 7 h 21"/>
                    <a:gd name="T10" fmla="*/ 2 w 11"/>
                    <a:gd name="T11" fmla="*/ 6 h 21"/>
                    <a:gd name="T12" fmla="*/ 3 w 11"/>
                    <a:gd name="T13" fmla="*/ 6 h 21"/>
                    <a:gd name="T14" fmla="*/ 6 w 11"/>
                    <a:gd name="T15" fmla="*/ 13 h 21"/>
                    <a:gd name="T16" fmla="*/ 9 w 11"/>
                    <a:gd name="T17" fmla="*/ 21 h 21"/>
                    <a:gd name="T18" fmla="*/ 10 w 11"/>
                    <a:gd name="T19" fmla="*/ 21 h 21"/>
                    <a:gd name="T20" fmla="*/ 11 w 11"/>
                    <a:gd name="T21"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21">
                      <a:moveTo>
                        <a:pt x="11" y="18"/>
                      </a:moveTo>
                      <a:cubicBezTo>
                        <a:pt x="11" y="18"/>
                        <a:pt x="8" y="10"/>
                        <a:pt x="7" y="4"/>
                      </a:cubicBezTo>
                      <a:cubicBezTo>
                        <a:pt x="6" y="2"/>
                        <a:pt x="4" y="0"/>
                        <a:pt x="1" y="0"/>
                      </a:cubicBezTo>
                      <a:cubicBezTo>
                        <a:pt x="1" y="0"/>
                        <a:pt x="1" y="0"/>
                        <a:pt x="0" y="0"/>
                      </a:cubicBezTo>
                      <a:cubicBezTo>
                        <a:pt x="1" y="2"/>
                        <a:pt x="2" y="5"/>
                        <a:pt x="3" y="7"/>
                      </a:cubicBezTo>
                      <a:cubicBezTo>
                        <a:pt x="2" y="6"/>
                        <a:pt x="2" y="6"/>
                        <a:pt x="2" y="6"/>
                      </a:cubicBezTo>
                      <a:cubicBezTo>
                        <a:pt x="3" y="6"/>
                        <a:pt x="3" y="6"/>
                        <a:pt x="3" y="6"/>
                      </a:cubicBezTo>
                      <a:cubicBezTo>
                        <a:pt x="3" y="6"/>
                        <a:pt x="5" y="10"/>
                        <a:pt x="6" y="13"/>
                      </a:cubicBezTo>
                      <a:cubicBezTo>
                        <a:pt x="7" y="16"/>
                        <a:pt x="8" y="18"/>
                        <a:pt x="9" y="21"/>
                      </a:cubicBezTo>
                      <a:cubicBezTo>
                        <a:pt x="10" y="21"/>
                        <a:pt x="10" y="21"/>
                        <a:pt x="10" y="21"/>
                      </a:cubicBezTo>
                      <a:cubicBezTo>
                        <a:pt x="11" y="20"/>
                        <a:pt x="11"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78" name="Oval 791"/>
                <p:cNvSpPr>
                  <a:spLocks noChangeArrowheads="1"/>
                </p:cNvSpPr>
                <p:nvPr/>
              </p:nvSpPr>
              <p:spPr bwMode="auto">
                <a:xfrm>
                  <a:off x="12581"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79" name="Freeform 792"/>
                <p:cNvSpPr>
                  <a:spLocks/>
                </p:cNvSpPr>
                <p:nvPr/>
              </p:nvSpPr>
              <p:spPr bwMode="auto">
                <a:xfrm>
                  <a:off x="12500" y="1147"/>
                  <a:ext cx="55" cy="111"/>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7 w 23"/>
                    <a:gd name="T23" fmla="*/ 44 h 47"/>
                    <a:gd name="T24" fmla="*/ 17 w 23"/>
                    <a:gd name="T25" fmla="*/ 8 h 47"/>
                    <a:gd name="T26" fmla="*/ 19 w 23"/>
                    <a:gd name="T27" fmla="*/ 8 h 47"/>
                    <a:gd name="T28" fmla="*/ 19 w 23"/>
                    <a:gd name="T29" fmla="*/ 21 h 47"/>
                    <a:gd name="T30" fmla="*/ 21 w 23"/>
                    <a:gd name="T31" fmla="*/ 23 h 47"/>
                    <a:gd name="T32" fmla="*/ 23 w 23"/>
                    <a:gd name="T33" fmla="*/ 21 h 47"/>
                    <a:gd name="T34" fmla="*/ 23 w 23"/>
                    <a:gd name="T35" fmla="*/ 7 h 47"/>
                    <a:gd name="T36" fmla="*/ 16 w 23"/>
                    <a:gd name="T37" fmla="*/ 0 h 47"/>
                    <a:gd name="T38" fmla="*/ 6 w 23"/>
                    <a:gd name="T39" fmla="*/ 0 h 47"/>
                    <a:gd name="T40" fmla="*/ 0 w 23"/>
                    <a:gd name="T41" fmla="*/ 7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9" y="8"/>
                      </a:cubicBezTo>
                      <a:cubicBezTo>
                        <a:pt x="19" y="8"/>
                        <a:pt x="19" y="20"/>
                        <a:pt x="19" y="21"/>
                      </a:cubicBezTo>
                      <a:cubicBezTo>
                        <a:pt x="19" y="22"/>
                        <a:pt x="19" y="23"/>
                        <a:pt x="21" y="23"/>
                      </a:cubicBezTo>
                      <a:cubicBezTo>
                        <a:pt x="22" y="23"/>
                        <a:pt x="23" y="22"/>
                        <a:pt x="23" y="21"/>
                      </a:cubicBezTo>
                      <a:cubicBezTo>
                        <a:pt x="23" y="20"/>
                        <a:pt x="23" y="8"/>
                        <a:pt x="23" y="7"/>
                      </a:cubicBezTo>
                      <a:cubicBezTo>
                        <a:pt x="23" y="3"/>
                        <a:pt x="20" y="0"/>
                        <a:pt x="16" y="0"/>
                      </a:cubicBezTo>
                      <a:cubicBezTo>
                        <a:pt x="15" y="0"/>
                        <a:pt x="8" y="0"/>
                        <a:pt x="6" y="0"/>
                      </a:cubicBezTo>
                      <a:cubicBezTo>
                        <a:pt x="3"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80" name="Oval 793"/>
                <p:cNvSpPr>
                  <a:spLocks noChangeArrowheads="1"/>
                </p:cNvSpPr>
                <p:nvPr/>
              </p:nvSpPr>
              <p:spPr bwMode="auto">
                <a:xfrm>
                  <a:off x="12517"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81" name="Freeform 794"/>
                <p:cNvSpPr>
                  <a:spLocks/>
                </p:cNvSpPr>
                <p:nvPr/>
              </p:nvSpPr>
              <p:spPr bwMode="auto">
                <a:xfrm>
                  <a:off x="12304" y="1296"/>
                  <a:ext cx="54" cy="109"/>
                </a:xfrm>
                <a:custGeom>
                  <a:avLst/>
                  <a:gdLst>
                    <a:gd name="T0" fmla="*/ 17 w 23"/>
                    <a:gd name="T1" fmla="*/ 44 h 46"/>
                    <a:gd name="T2" fmla="*/ 17 w 23"/>
                    <a:gd name="T3" fmla="*/ 7 h 46"/>
                    <a:gd name="T4" fmla="*/ 18 w 23"/>
                    <a:gd name="T5" fmla="*/ 7 h 46"/>
                    <a:gd name="T6" fmla="*/ 18 w 23"/>
                    <a:gd name="T7" fmla="*/ 21 h 46"/>
                    <a:gd name="T8" fmla="*/ 21 w 23"/>
                    <a:gd name="T9" fmla="*/ 23 h 46"/>
                    <a:gd name="T10" fmla="*/ 23 w 23"/>
                    <a:gd name="T11" fmla="*/ 21 h 46"/>
                    <a:gd name="T12" fmla="*/ 23 w 23"/>
                    <a:gd name="T13" fmla="*/ 6 h 46"/>
                    <a:gd name="T14" fmla="*/ 17 w 23"/>
                    <a:gd name="T15" fmla="*/ 0 h 46"/>
                    <a:gd name="T16" fmla="*/ 6 w 23"/>
                    <a:gd name="T17" fmla="*/ 0 h 46"/>
                    <a:gd name="T18" fmla="*/ 0 w 23"/>
                    <a:gd name="T19" fmla="*/ 6 h 46"/>
                    <a:gd name="T20" fmla="*/ 0 w 23"/>
                    <a:gd name="T21" fmla="*/ 21 h 46"/>
                    <a:gd name="T22" fmla="*/ 2 w 23"/>
                    <a:gd name="T23" fmla="*/ 23 h 46"/>
                    <a:gd name="T24" fmla="*/ 4 w 23"/>
                    <a:gd name="T25" fmla="*/ 21 h 46"/>
                    <a:gd name="T26" fmla="*/ 4 w 23"/>
                    <a:gd name="T27" fmla="*/ 7 h 46"/>
                    <a:gd name="T28" fmla="*/ 5 w 23"/>
                    <a:gd name="T29" fmla="*/ 7 h 46"/>
                    <a:gd name="T30" fmla="*/ 5 w 23"/>
                    <a:gd name="T31" fmla="*/ 35 h 46"/>
                    <a:gd name="T32" fmla="*/ 11 w 23"/>
                    <a:gd name="T33" fmla="*/ 42 h 46"/>
                    <a:gd name="T34" fmla="*/ 11 w 23"/>
                    <a:gd name="T35" fmla="*/ 23 h 46"/>
                    <a:gd name="T36" fmla="*/ 12 w 23"/>
                    <a:gd name="T37" fmla="*/ 23 h 46"/>
                    <a:gd name="T38" fmla="*/ 12 w 23"/>
                    <a:gd name="T39" fmla="*/ 43 h 46"/>
                    <a:gd name="T40" fmla="*/ 15 w 23"/>
                    <a:gd name="T41" fmla="*/ 46 h 46"/>
                    <a:gd name="T42" fmla="*/ 17 w 23"/>
                    <a:gd name="T43" fmla="*/ 4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46">
                      <a:moveTo>
                        <a:pt x="17" y="44"/>
                      </a:moveTo>
                      <a:cubicBezTo>
                        <a:pt x="17" y="42"/>
                        <a:pt x="17" y="7"/>
                        <a:pt x="17" y="7"/>
                      </a:cubicBezTo>
                      <a:cubicBezTo>
                        <a:pt x="17" y="7"/>
                        <a:pt x="17" y="7"/>
                        <a:pt x="18" y="7"/>
                      </a:cubicBezTo>
                      <a:cubicBezTo>
                        <a:pt x="18" y="7"/>
                        <a:pt x="18" y="19"/>
                        <a:pt x="18" y="21"/>
                      </a:cubicBezTo>
                      <a:cubicBezTo>
                        <a:pt x="18" y="22"/>
                        <a:pt x="19"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24"/>
                        <a:pt x="5" y="35"/>
                      </a:cubicBezTo>
                      <a:cubicBezTo>
                        <a:pt x="7" y="37"/>
                        <a:pt x="9" y="39"/>
                        <a:pt x="11" y="42"/>
                      </a:cubicBezTo>
                      <a:cubicBezTo>
                        <a:pt x="11" y="36"/>
                        <a:pt x="11" y="23"/>
                        <a:pt x="11" y="23"/>
                      </a:cubicBezTo>
                      <a:cubicBezTo>
                        <a:pt x="11" y="23"/>
                        <a:pt x="11" y="23"/>
                        <a:pt x="12" y="23"/>
                      </a:cubicBezTo>
                      <a:cubicBezTo>
                        <a:pt x="12" y="23"/>
                        <a:pt x="12" y="38"/>
                        <a:pt x="12" y="43"/>
                      </a:cubicBezTo>
                      <a:cubicBezTo>
                        <a:pt x="13" y="44"/>
                        <a:pt x="14" y="45"/>
                        <a:pt x="15" y="46"/>
                      </a:cubicBezTo>
                      <a:cubicBezTo>
                        <a:pt x="17" y="46"/>
                        <a:pt x="17" y="45"/>
                        <a:pt x="17"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82" name="Freeform 795"/>
                <p:cNvSpPr>
                  <a:spLocks/>
                </p:cNvSpPr>
                <p:nvPr/>
              </p:nvSpPr>
              <p:spPr bwMode="auto">
                <a:xfrm>
                  <a:off x="12304" y="1159"/>
                  <a:ext cx="59" cy="99"/>
                </a:xfrm>
                <a:custGeom>
                  <a:avLst/>
                  <a:gdLst>
                    <a:gd name="T0" fmla="*/ 0 w 25"/>
                    <a:gd name="T1" fmla="*/ 24 h 42"/>
                    <a:gd name="T2" fmla="*/ 6 w 25"/>
                    <a:gd name="T3" fmla="*/ 24 h 42"/>
                    <a:gd name="T4" fmla="*/ 6 w 25"/>
                    <a:gd name="T5" fmla="*/ 40 h 42"/>
                    <a:gd name="T6" fmla="*/ 8 w 25"/>
                    <a:gd name="T7" fmla="*/ 42 h 42"/>
                    <a:gd name="T8" fmla="*/ 11 w 25"/>
                    <a:gd name="T9" fmla="*/ 40 h 42"/>
                    <a:gd name="T10" fmla="*/ 11 w 25"/>
                    <a:gd name="T11" fmla="*/ 24 h 42"/>
                    <a:gd name="T12" fmla="*/ 12 w 25"/>
                    <a:gd name="T13" fmla="*/ 24 h 42"/>
                    <a:gd name="T14" fmla="*/ 12 w 25"/>
                    <a:gd name="T15" fmla="*/ 40 h 42"/>
                    <a:gd name="T16" fmla="*/ 14 w 25"/>
                    <a:gd name="T17" fmla="*/ 42 h 42"/>
                    <a:gd name="T18" fmla="*/ 16 w 25"/>
                    <a:gd name="T19" fmla="*/ 40 h 42"/>
                    <a:gd name="T20" fmla="*/ 16 w 25"/>
                    <a:gd name="T21" fmla="*/ 24 h 42"/>
                    <a:gd name="T22" fmla="*/ 22 w 25"/>
                    <a:gd name="T23" fmla="*/ 24 h 42"/>
                    <a:gd name="T24" fmla="*/ 16 w 25"/>
                    <a:gd name="T25" fmla="*/ 2 h 42"/>
                    <a:gd name="T26" fmla="*/ 17 w 25"/>
                    <a:gd name="T27" fmla="*/ 2 h 42"/>
                    <a:gd name="T28" fmla="*/ 21 w 25"/>
                    <a:gd name="T29" fmla="*/ 15 h 42"/>
                    <a:gd name="T30" fmla="*/ 23 w 25"/>
                    <a:gd name="T31" fmla="*/ 16 h 42"/>
                    <a:gd name="T32" fmla="*/ 24 w 25"/>
                    <a:gd name="T33" fmla="*/ 14 h 42"/>
                    <a:gd name="T34" fmla="*/ 20 w 25"/>
                    <a:gd name="T35" fmla="*/ 0 h 42"/>
                    <a:gd name="T36" fmla="*/ 5 w 25"/>
                    <a:gd name="T37" fmla="*/ 6 h 42"/>
                    <a:gd name="T38" fmla="*/ 0 w 25"/>
                    <a:gd name="T39" fmla="*/ 2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42">
                      <a:moveTo>
                        <a:pt x="0" y="24"/>
                      </a:moveTo>
                      <a:cubicBezTo>
                        <a:pt x="6" y="24"/>
                        <a:pt x="6" y="24"/>
                        <a:pt x="6" y="24"/>
                      </a:cubicBezTo>
                      <a:cubicBezTo>
                        <a:pt x="6" y="31"/>
                        <a:pt x="6" y="39"/>
                        <a:pt x="6" y="40"/>
                      </a:cubicBezTo>
                      <a:cubicBezTo>
                        <a:pt x="6" y="41"/>
                        <a:pt x="7" y="42"/>
                        <a:pt x="8" y="42"/>
                      </a:cubicBezTo>
                      <a:cubicBezTo>
                        <a:pt x="10" y="42"/>
                        <a:pt x="11" y="41"/>
                        <a:pt x="11" y="40"/>
                      </a:cubicBezTo>
                      <a:cubicBezTo>
                        <a:pt x="11" y="38"/>
                        <a:pt x="11" y="24"/>
                        <a:pt x="11" y="24"/>
                      </a:cubicBezTo>
                      <a:cubicBezTo>
                        <a:pt x="12" y="24"/>
                        <a:pt x="12" y="24"/>
                        <a:pt x="12" y="24"/>
                      </a:cubicBezTo>
                      <a:cubicBezTo>
                        <a:pt x="12" y="24"/>
                        <a:pt x="12" y="38"/>
                        <a:pt x="12" y="40"/>
                      </a:cubicBezTo>
                      <a:cubicBezTo>
                        <a:pt x="12" y="41"/>
                        <a:pt x="13" y="42"/>
                        <a:pt x="14" y="42"/>
                      </a:cubicBezTo>
                      <a:cubicBezTo>
                        <a:pt x="15" y="42"/>
                        <a:pt x="16" y="41"/>
                        <a:pt x="16" y="40"/>
                      </a:cubicBezTo>
                      <a:cubicBezTo>
                        <a:pt x="16" y="39"/>
                        <a:pt x="16" y="31"/>
                        <a:pt x="16" y="24"/>
                      </a:cubicBezTo>
                      <a:cubicBezTo>
                        <a:pt x="22" y="24"/>
                        <a:pt x="22" y="24"/>
                        <a:pt x="22" y="24"/>
                      </a:cubicBezTo>
                      <a:cubicBezTo>
                        <a:pt x="16" y="2"/>
                        <a:pt x="16" y="2"/>
                        <a:pt x="16" y="2"/>
                      </a:cubicBezTo>
                      <a:cubicBezTo>
                        <a:pt x="17" y="2"/>
                        <a:pt x="17" y="2"/>
                        <a:pt x="17" y="2"/>
                      </a:cubicBezTo>
                      <a:cubicBezTo>
                        <a:pt x="17" y="2"/>
                        <a:pt x="20" y="13"/>
                        <a:pt x="21" y="15"/>
                      </a:cubicBezTo>
                      <a:cubicBezTo>
                        <a:pt x="21" y="16"/>
                        <a:pt x="22" y="16"/>
                        <a:pt x="23" y="16"/>
                      </a:cubicBezTo>
                      <a:cubicBezTo>
                        <a:pt x="24" y="16"/>
                        <a:pt x="25" y="15"/>
                        <a:pt x="24" y="14"/>
                      </a:cubicBezTo>
                      <a:cubicBezTo>
                        <a:pt x="24" y="13"/>
                        <a:pt x="22" y="6"/>
                        <a:pt x="20" y="0"/>
                      </a:cubicBezTo>
                      <a:cubicBezTo>
                        <a:pt x="15" y="2"/>
                        <a:pt x="10" y="3"/>
                        <a:pt x="5" y="6"/>
                      </a:cubicBezTo>
                      <a:cubicBezTo>
                        <a:pt x="0" y="24"/>
                        <a:pt x="0" y="24"/>
                        <a:pt x="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83" name="Freeform 796"/>
                <p:cNvSpPr>
                  <a:spLocks/>
                </p:cNvSpPr>
                <p:nvPr/>
              </p:nvSpPr>
              <p:spPr bwMode="auto">
                <a:xfrm>
                  <a:off x="12370" y="1147"/>
                  <a:ext cx="52" cy="111"/>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8 w 22"/>
                    <a:gd name="T13" fmla="*/ 47 h 47"/>
                    <a:gd name="T14" fmla="*/ 10 w 22"/>
                    <a:gd name="T15" fmla="*/ 44 h 47"/>
                    <a:gd name="T16" fmla="*/ 10 w 22"/>
                    <a:gd name="T17" fmla="*/ 23 h 47"/>
                    <a:gd name="T18" fmla="*/ 11 w 22"/>
                    <a:gd name="T19" fmla="*/ 23 h 47"/>
                    <a:gd name="T20" fmla="*/ 11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7 h 47"/>
                    <a:gd name="T38" fmla="*/ 16 w 22"/>
                    <a:gd name="T39" fmla="*/ 0 h 47"/>
                    <a:gd name="T40" fmla="*/ 14 w 22"/>
                    <a:gd name="T41" fmla="*/ 0 h 47"/>
                    <a:gd name="T42" fmla="*/ 1 w 22"/>
                    <a:gd name="T43" fmla="*/ 3 h 47"/>
                    <a:gd name="T44" fmla="*/ 0 w 22"/>
                    <a:gd name="T45" fmla="*/ 7 h 47"/>
                    <a:gd name="T46" fmla="*/ 0 w 22"/>
                    <a:gd name="T47"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47">
                      <a:moveTo>
                        <a:pt x="0" y="21"/>
                      </a:moveTo>
                      <a:cubicBezTo>
                        <a:pt x="0" y="22"/>
                        <a:pt x="0"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7"/>
                      </a:cubicBezTo>
                      <a:cubicBezTo>
                        <a:pt x="22" y="3"/>
                        <a:pt x="19" y="0"/>
                        <a:pt x="16" y="0"/>
                      </a:cubicBezTo>
                      <a:cubicBezTo>
                        <a:pt x="16" y="0"/>
                        <a:pt x="15" y="0"/>
                        <a:pt x="14" y="0"/>
                      </a:cubicBezTo>
                      <a:cubicBezTo>
                        <a:pt x="9" y="1"/>
                        <a:pt x="5" y="2"/>
                        <a:pt x="1" y="3"/>
                      </a:cubicBezTo>
                      <a:cubicBezTo>
                        <a:pt x="0" y="4"/>
                        <a:pt x="0" y="5"/>
                        <a:pt x="0" y="7"/>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84" name="Freeform 797"/>
                <p:cNvSpPr>
                  <a:spLocks/>
                </p:cNvSpPr>
                <p:nvPr/>
              </p:nvSpPr>
              <p:spPr bwMode="auto">
                <a:xfrm>
                  <a:off x="12299" y="1173"/>
                  <a:ext cx="14" cy="24"/>
                </a:xfrm>
                <a:custGeom>
                  <a:avLst/>
                  <a:gdLst>
                    <a:gd name="T0" fmla="*/ 1 w 6"/>
                    <a:gd name="T1" fmla="*/ 10 h 10"/>
                    <a:gd name="T2" fmla="*/ 3 w 6"/>
                    <a:gd name="T3" fmla="*/ 9 h 10"/>
                    <a:gd name="T4" fmla="*/ 6 w 6"/>
                    <a:gd name="T5" fmla="*/ 0 h 10"/>
                    <a:gd name="T6" fmla="*/ 1 w 6"/>
                    <a:gd name="T7" fmla="*/ 3 h 10"/>
                    <a:gd name="T8" fmla="*/ 0 w 6"/>
                    <a:gd name="T9" fmla="*/ 8 h 10"/>
                    <a:gd name="T10" fmla="*/ 1 w 6"/>
                    <a:gd name="T11" fmla="*/ 10 h 10"/>
                  </a:gdLst>
                  <a:ahLst/>
                  <a:cxnLst>
                    <a:cxn ang="0">
                      <a:pos x="T0" y="T1"/>
                    </a:cxn>
                    <a:cxn ang="0">
                      <a:pos x="T2" y="T3"/>
                    </a:cxn>
                    <a:cxn ang="0">
                      <a:pos x="T4" y="T5"/>
                    </a:cxn>
                    <a:cxn ang="0">
                      <a:pos x="T6" y="T7"/>
                    </a:cxn>
                    <a:cxn ang="0">
                      <a:pos x="T8" y="T9"/>
                    </a:cxn>
                    <a:cxn ang="0">
                      <a:pos x="T10" y="T11"/>
                    </a:cxn>
                  </a:cxnLst>
                  <a:rect l="0" t="0" r="r" b="b"/>
                  <a:pathLst>
                    <a:path w="6" h="10">
                      <a:moveTo>
                        <a:pt x="1" y="10"/>
                      </a:moveTo>
                      <a:cubicBezTo>
                        <a:pt x="2" y="10"/>
                        <a:pt x="3" y="10"/>
                        <a:pt x="3" y="9"/>
                      </a:cubicBezTo>
                      <a:cubicBezTo>
                        <a:pt x="4" y="8"/>
                        <a:pt x="5" y="4"/>
                        <a:pt x="6" y="0"/>
                      </a:cubicBezTo>
                      <a:cubicBezTo>
                        <a:pt x="4" y="1"/>
                        <a:pt x="3" y="2"/>
                        <a:pt x="1" y="3"/>
                      </a:cubicBezTo>
                      <a:cubicBezTo>
                        <a:pt x="1" y="5"/>
                        <a:pt x="0" y="7"/>
                        <a:pt x="0" y="8"/>
                      </a:cubicBezTo>
                      <a:cubicBezTo>
                        <a:pt x="0" y="9"/>
                        <a:pt x="0" y="10"/>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85" name="Freeform 798"/>
                <p:cNvSpPr>
                  <a:spLocks/>
                </p:cNvSpPr>
                <p:nvPr/>
              </p:nvSpPr>
              <p:spPr bwMode="auto">
                <a:xfrm>
                  <a:off x="12264" y="1270"/>
                  <a:ext cx="12" cy="21"/>
                </a:xfrm>
                <a:custGeom>
                  <a:avLst/>
                  <a:gdLst>
                    <a:gd name="T0" fmla="*/ 5 w 5"/>
                    <a:gd name="T1" fmla="*/ 5 h 9"/>
                    <a:gd name="T2" fmla="*/ 1 w 5"/>
                    <a:gd name="T3" fmla="*/ 0 h 9"/>
                    <a:gd name="T4" fmla="*/ 0 w 5"/>
                    <a:gd name="T5" fmla="*/ 0 h 9"/>
                    <a:gd name="T6" fmla="*/ 2 w 5"/>
                    <a:gd name="T7" fmla="*/ 9 h 9"/>
                    <a:gd name="T8" fmla="*/ 5 w 5"/>
                    <a:gd name="T9" fmla="*/ 5 h 9"/>
                  </a:gdLst>
                  <a:ahLst/>
                  <a:cxnLst>
                    <a:cxn ang="0">
                      <a:pos x="T0" y="T1"/>
                    </a:cxn>
                    <a:cxn ang="0">
                      <a:pos x="T2" y="T3"/>
                    </a:cxn>
                    <a:cxn ang="0">
                      <a:pos x="T4" y="T5"/>
                    </a:cxn>
                    <a:cxn ang="0">
                      <a:pos x="T6" y="T7"/>
                    </a:cxn>
                    <a:cxn ang="0">
                      <a:pos x="T8" y="T9"/>
                    </a:cxn>
                  </a:cxnLst>
                  <a:rect l="0" t="0" r="r" b="b"/>
                  <a:pathLst>
                    <a:path w="5" h="9">
                      <a:moveTo>
                        <a:pt x="5" y="5"/>
                      </a:moveTo>
                      <a:cubicBezTo>
                        <a:pt x="5" y="2"/>
                        <a:pt x="3" y="0"/>
                        <a:pt x="1" y="0"/>
                      </a:cubicBezTo>
                      <a:cubicBezTo>
                        <a:pt x="0" y="0"/>
                        <a:pt x="0" y="0"/>
                        <a:pt x="0" y="0"/>
                      </a:cubicBezTo>
                      <a:cubicBezTo>
                        <a:pt x="1" y="3"/>
                        <a:pt x="1" y="6"/>
                        <a:pt x="2" y="9"/>
                      </a:cubicBezTo>
                      <a:cubicBezTo>
                        <a:pt x="4" y="9"/>
                        <a:pt x="5" y="7"/>
                        <a:pt x="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86" name="Freeform 799"/>
                <p:cNvSpPr>
                  <a:spLocks/>
                </p:cNvSpPr>
                <p:nvPr/>
              </p:nvSpPr>
              <p:spPr bwMode="auto">
                <a:xfrm>
                  <a:off x="12261" y="1230"/>
                  <a:ext cx="3" cy="26"/>
                </a:xfrm>
                <a:custGeom>
                  <a:avLst/>
                  <a:gdLst>
                    <a:gd name="T0" fmla="*/ 1 w 1"/>
                    <a:gd name="T1" fmla="*/ 0 h 11"/>
                    <a:gd name="T2" fmla="*/ 0 w 1"/>
                    <a:gd name="T3" fmla="*/ 11 h 11"/>
                    <a:gd name="T4" fmla="*/ 1 w 1"/>
                    <a:gd name="T5" fmla="*/ 9 h 11"/>
                    <a:gd name="T6" fmla="*/ 1 w 1"/>
                    <a:gd name="T7" fmla="*/ 0 h 11"/>
                  </a:gdLst>
                  <a:ahLst/>
                  <a:cxnLst>
                    <a:cxn ang="0">
                      <a:pos x="T0" y="T1"/>
                    </a:cxn>
                    <a:cxn ang="0">
                      <a:pos x="T2" y="T3"/>
                    </a:cxn>
                    <a:cxn ang="0">
                      <a:pos x="T4" y="T5"/>
                    </a:cxn>
                    <a:cxn ang="0">
                      <a:pos x="T6" y="T7"/>
                    </a:cxn>
                  </a:cxnLst>
                  <a:rect l="0" t="0" r="r" b="b"/>
                  <a:pathLst>
                    <a:path w="1" h="11">
                      <a:moveTo>
                        <a:pt x="1" y="0"/>
                      </a:moveTo>
                      <a:cubicBezTo>
                        <a:pt x="0" y="3"/>
                        <a:pt x="0" y="7"/>
                        <a:pt x="0" y="11"/>
                      </a:cubicBezTo>
                      <a:cubicBezTo>
                        <a:pt x="1" y="11"/>
                        <a:pt x="1" y="10"/>
                        <a:pt x="1" y="9"/>
                      </a:cubicBezTo>
                      <a:cubicBezTo>
                        <a:pt x="1" y="8"/>
                        <a:pt x="1" y="4"/>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687" name="Freeform 800"/>
                <p:cNvSpPr>
                  <a:spLocks/>
                </p:cNvSpPr>
                <p:nvPr/>
              </p:nvSpPr>
              <p:spPr bwMode="auto">
                <a:xfrm>
                  <a:off x="12451" y="1133"/>
                  <a:ext cx="21" cy="12"/>
                </a:xfrm>
                <a:custGeom>
                  <a:avLst/>
                  <a:gdLst>
                    <a:gd name="T0" fmla="*/ 5 w 9"/>
                    <a:gd name="T1" fmla="*/ 5 h 5"/>
                    <a:gd name="T2" fmla="*/ 9 w 9"/>
                    <a:gd name="T3" fmla="*/ 1 h 5"/>
                    <a:gd name="T4" fmla="*/ 9 w 9"/>
                    <a:gd name="T5" fmla="*/ 0 h 5"/>
                    <a:gd name="T6" fmla="*/ 0 w 9"/>
                    <a:gd name="T7" fmla="*/ 2 h 5"/>
                    <a:gd name="T8" fmla="*/ 5 w 9"/>
                    <a:gd name="T9" fmla="*/ 5 h 5"/>
                  </a:gdLst>
                  <a:ahLst/>
                  <a:cxnLst>
                    <a:cxn ang="0">
                      <a:pos x="T0" y="T1"/>
                    </a:cxn>
                    <a:cxn ang="0">
                      <a:pos x="T2" y="T3"/>
                    </a:cxn>
                    <a:cxn ang="0">
                      <a:pos x="T4" y="T5"/>
                    </a:cxn>
                    <a:cxn ang="0">
                      <a:pos x="T6" y="T7"/>
                    </a:cxn>
                    <a:cxn ang="0">
                      <a:pos x="T8" y="T9"/>
                    </a:cxn>
                  </a:cxnLst>
                  <a:rect l="0" t="0" r="r" b="b"/>
                  <a:pathLst>
                    <a:path w="9" h="5">
                      <a:moveTo>
                        <a:pt x="5" y="5"/>
                      </a:moveTo>
                      <a:cubicBezTo>
                        <a:pt x="7" y="5"/>
                        <a:pt x="9" y="3"/>
                        <a:pt x="9" y="1"/>
                      </a:cubicBezTo>
                      <a:cubicBezTo>
                        <a:pt x="9" y="0"/>
                        <a:pt x="9" y="0"/>
                        <a:pt x="9" y="0"/>
                      </a:cubicBezTo>
                      <a:cubicBezTo>
                        <a:pt x="6" y="1"/>
                        <a:pt x="3" y="1"/>
                        <a:pt x="0" y="2"/>
                      </a:cubicBezTo>
                      <a:cubicBezTo>
                        <a:pt x="1" y="4"/>
                        <a:pt x="3" y="5"/>
                        <a:pt x="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grpSp>
            <p:nvGrpSpPr>
              <p:cNvPr id="327" name="Group 1002"/>
              <p:cNvGrpSpPr>
                <a:grpSpLocks/>
              </p:cNvGrpSpPr>
              <p:nvPr/>
            </p:nvGrpSpPr>
            <p:grpSpPr bwMode="auto">
              <a:xfrm>
                <a:off x="19472276" y="528638"/>
                <a:ext cx="4267200" cy="2633663"/>
                <a:chOff x="12266" y="333"/>
                <a:chExt cx="2688" cy="1659"/>
              </a:xfrm>
              <a:grpFill/>
            </p:grpSpPr>
            <p:sp>
              <p:nvSpPr>
                <p:cNvPr id="1288" name="Freeform 802"/>
                <p:cNvSpPr>
                  <a:spLocks/>
                </p:cNvSpPr>
                <p:nvPr/>
              </p:nvSpPr>
              <p:spPr bwMode="auto">
                <a:xfrm>
                  <a:off x="12266" y="1197"/>
                  <a:ext cx="14" cy="61"/>
                </a:xfrm>
                <a:custGeom>
                  <a:avLst/>
                  <a:gdLst>
                    <a:gd name="T0" fmla="*/ 0 w 6"/>
                    <a:gd name="T1" fmla="*/ 23 h 26"/>
                    <a:gd name="T2" fmla="*/ 3 w 6"/>
                    <a:gd name="T3" fmla="*/ 26 h 26"/>
                    <a:gd name="T4" fmla="*/ 6 w 6"/>
                    <a:gd name="T5" fmla="*/ 23 h 26"/>
                    <a:gd name="T6" fmla="*/ 6 w 6"/>
                    <a:gd name="T7" fmla="*/ 0 h 26"/>
                    <a:gd name="T8" fmla="*/ 0 w 6"/>
                    <a:gd name="T9" fmla="*/ 10 h 26"/>
                    <a:gd name="T10" fmla="*/ 0 w 6"/>
                    <a:gd name="T11" fmla="*/ 23 h 26"/>
                  </a:gdLst>
                  <a:ahLst/>
                  <a:cxnLst>
                    <a:cxn ang="0">
                      <a:pos x="T0" y="T1"/>
                    </a:cxn>
                    <a:cxn ang="0">
                      <a:pos x="T2" y="T3"/>
                    </a:cxn>
                    <a:cxn ang="0">
                      <a:pos x="T4" y="T5"/>
                    </a:cxn>
                    <a:cxn ang="0">
                      <a:pos x="T6" y="T7"/>
                    </a:cxn>
                    <a:cxn ang="0">
                      <a:pos x="T8" y="T9"/>
                    </a:cxn>
                    <a:cxn ang="0">
                      <a:pos x="T10" y="T11"/>
                    </a:cxn>
                  </a:cxnLst>
                  <a:rect l="0" t="0" r="r" b="b"/>
                  <a:pathLst>
                    <a:path w="6" h="26">
                      <a:moveTo>
                        <a:pt x="0" y="23"/>
                      </a:moveTo>
                      <a:cubicBezTo>
                        <a:pt x="0" y="25"/>
                        <a:pt x="1" y="26"/>
                        <a:pt x="3" y="26"/>
                      </a:cubicBezTo>
                      <a:cubicBezTo>
                        <a:pt x="4" y="26"/>
                        <a:pt x="6" y="25"/>
                        <a:pt x="6" y="23"/>
                      </a:cubicBezTo>
                      <a:cubicBezTo>
                        <a:pt x="6" y="22"/>
                        <a:pt x="6" y="10"/>
                        <a:pt x="6" y="0"/>
                      </a:cubicBezTo>
                      <a:cubicBezTo>
                        <a:pt x="3" y="3"/>
                        <a:pt x="1" y="7"/>
                        <a:pt x="0" y="10"/>
                      </a:cubicBezTo>
                      <a:cubicBezTo>
                        <a:pt x="0" y="16"/>
                        <a:pt x="0" y="22"/>
                        <a:pt x="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89" name="Freeform 803"/>
                <p:cNvSpPr>
                  <a:spLocks/>
                </p:cNvSpPr>
                <p:nvPr/>
              </p:nvSpPr>
              <p:spPr bwMode="auto">
                <a:xfrm>
                  <a:off x="12283" y="1187"/>
                  <a:ext cx="9" cy="14"/>
                </a:xfrm>
                <a:custGeom>
                  <a:avLst/>
                  <a:gdLst>
                    <a:gd name="T0" fmla="*/ 0 w 4"/>
                    <a:gd name="T1" fmla="*/ 3 h 6"/>
                    <a:gd name="T2" fmla="*/ 0 w 4"/>
                    <a:gd name="T3" fmla="*/ 4 h 6"/>
                    <a:gd name="T4" fmla="*/ 2 w 4"/>
                    <a:gd name="T5" fmla="*/ 6 h 6"/>
                    <a:gd name="T6" fmla="*/ 4 w 4"/>
                    <a:gd name="T7" fmla="*/ 4 h 6"/>
                    <a:gd name="T8" fmla="*/ 4 w 4"/>
                    <a:gd name="T9" fmla="*/ 0 h 6"/>
                    <a:gd name="T10" fmla="*/ 1 w 4"/>
                    <a:gd name="T11" fmla="*/ 2 h 6"/>
                    <a:gd name="T12" fmla="*/ 0 w 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3"/>
                      </a:moveTo>
                      <a:cubicBezTo>
                        <a:pt x="0" y="4"/>
                        <a:pt x="0" y="4"/>
                        <a:pt x="0" y="4"/>
                      </a:cubicBezTo>
                      <a:cubicBezTo>
                        <a:pt x="0" y="5"/>
                        <a:pt x="1" y="6"/>
                        <a:pt x="2" y="6"/>
                      </a:cubicBezTo>
                      <a:cubicBezTo>
                        <a:pt x="3" y="6"/>
                        <a:pt x="4" y="5"/>
                        <a:pt x="4" y="4"/>
                      </a:cubicBezTo>
                      <a:cubicBezTo>
                        <a:pt x="4" y="4"/>
                        <a:pt x="4" y="2"/>
                        <a:pt x="4" y="0"/>
                      </a:cubicBezTo>
                      <a:cubicBezTo>
                        <a:pt x="3" y="0"/>
                        <a:pt x="2" y="1"/>
                        <a:pt x="1" y="2"/>
                      </a:cubicBezTo>
                      <a:cubicBezTo>
                        <a:pt x="1" y="2"/>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90" name="Freeform 804"/>
                <p:cNvSpPr>
                  <a:spLocks/>
                </p:cNvSpPr>
                <p:nvPr/>
              </p:nvSpPr>
              <p:spPr bwMode="auto">
                <a:xfrm>
                  <a:off x="12560" y="1443"/>
                  <a:ext cx="63" cy="111"/>
                </a:xfrm>
                <a:custGeom>
                  <a:avLst/>
                  <a:gdLst>
                    <a:gd name="T0" fmla="*/ 23 w 27"/>
                    <a:gd name="T1" fmla="*/ 4 h 47"/>
                    <a:gd name="T2" fmla="*/ 18 w 27"/>
                    <a:gd name="T3" fmla="*/ 0 h 47"/>
                    <a:gd name="T4" fmla="*/ 10 w 27"/>
                    <a:gd name="T5" fmla="*/ 0 h 47"/>
                    <a:gd name="T6" fmla="*/ 5 w 27"/>
                    <a:gd name="T7" fmla="*/ 4 h 47"/>
                    <a:gd name="T8" fmla="*/ 1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4 w 27"/>
                    <a:gd name="T27" fmla="*/ 44 h 47"/>
                    <a:gd name="T28" fmla="*/ 14 w 27"/>
                    <a:gd name="T29" fmla="*/ 28 h 47"/>
                    <a:gd name="T30" fmla="*/ 15 w 27"/>
                    <a:gd name="T31" fmla="*/ 28 h 47"/>
                    <a:gd name="T32" fmla="*/ 15 w 27"/>
                    <a:gd name="T33" fmla="*/ 44 h 47"/>
                    <a:gd name="T34" fmla="*/ 17 w 27"/>
                    <a:gd name="T35" fmla="*/ 47 h 47"/>
                    <a:gd name="T36" fmla="*/ 19 w 27"/>
                    <a:gd name="T37" fmla="*/ 44 h 47"/>
                    <a:gd name="T38" fmla="*/ 19 w 27"/>
                    <a:gd name="T39" fmla="*/ 28 h 47"/>
                    <a:gd name="T40" fmla="*/ 25 w 27"/>
                    <a:gd name="T41" fmla="*/ 28 h 47"/>
                    <a:gd name="T42" fmla="*/ 19 w 27"/>
                    <a:gd name="T43" fmla="*/ 6 h 47"/>
                    <a:gd name="T44" fmla="*/ 20 w 27"/>
                    <a:gd name="T45" fmla="*/ 6 h 47"/>
                    <a:gd name="T46" fmla="*/ 24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3"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4" y="46"/>
                        <a:pt x="14" y="44"/>
                      </a:cubicBezTo>
                      <a:cubicBezTo>
                        <a:pt x="14" y="43"/>
                        <a:pt x="14" y="28"/>
                        <a:pt x="14" y="28"/>
                      </a:cubicBezTo>
                      <a:cubicBezTo>
                        <a:pt x="15" y="28"/>
                        <a:pt x="15" y="28"/>
                        <a:pt x="15" y="28"/>
                      </a:cubicBezTo>
                      <a:cubicBezTo>
                        <a:pt x="15" y="28"/>
                        <a:pt x="15" y="43"/>
                        <a:pt x="15" y="44"/>
                      </a:cubicBezTo>
                      <a:cubicBezTo>
                        <a:pt x="15"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91" name="Freeform 805"/>
                <p:cNvSpPr>
                  <a:spLocks/>
                </p:cNvSpPr>
                <p:nvPr/>
              </p:nvSpPr>
              <p:spPr bwMode="auto">
                <a:xfrm>
                  <a:off x="12496"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1 w 27"/>
                    <a:gd name="T13" fmla="*/ 21 h 47"/>
                    <a:gd name="T14" fmla="*/ 4 w 27"/>
                    <a:gd name="T15" fmla="*/ 19 h 47"/>
                    <a:gd name="T16" fmla="*/ 7 w 27"/>
                    <a:gd name="T17" fmla="*/ 6 h 47"/>
                    <a:gd name="T18" fmla="*/ 9 w 27"/>
                    <a:gd name="T19" fmla="*/ 6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5 w 27"/>
                    <a:gd name="T43" fmla="*/ 28 h 47"/>
                    <a:gd name="T44" fmla="*/ 18 w 27"/>
                    <a:gd name="T45" fmla="*/ 6 h 47"/>
                    <a:gd name="T46" fmla="*/ 19 w 27"/>
                    <a:gd name="T47" fmla="*/ 6 h 47"/>
                    <a:gd name="T48" fmla="*/ 23 w 27"/>
                    <a:gd name="T49" fmla="*/ 19 h 47"/>
                    <a:gd name="T50" fmla="*/ 25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6" y="18"/>
                        <a:pt x="24" y="10"/>
                        <a:pt x="23" y="4"/>
                      </a:cubicBezTo>
                      <a:cubicBezTo>
                        <a:pt x="22" y="2"/>
                        <a:pt x="19" y="0"/>
                        <a:pt x="17" y="0"/>
                      </a:cubicBezTo>
                      <a:cubicBezTo>
                        <a:pt x="16" y="0"/>
                        <a:pt x="11" y="0"/>
                        <a:pt x="10" y="0"/>
                      </a:cubicBezTo>
                      <a:cubicBezTo>
                        <a:pt x="7" y="0"/>
                        <a:pt x="5" y="2"/>
                        <a:pt x="4" y="4"/>
                      </a:cubicBezTo>
                      <a:cubicBezTo>
                        <a:pt x="2" y="10"/>
                        <a:pt x="0" y="18"/>
                        <a:pt x="0" y="18"/>
                      </a:cubicBezTo>
                      <a:cubicBezTo>
                        <a:pt x="0" y="19"/>
                        <a:pt x="0" y="20"/>
                        <a:pt x="1" y="21"/>
                      </a:cubicBezTo>
                      <a:cubicBezTo>
                        <a:pt x="2" y="21"/>
                        <a:pt x="3" y="20"/>
                        <a:pt x="4" y="19"/>
                      </a:cubicBezTo>
                      <a:cubicBezTo>
                        <a:pt x="4" y="18"/>
                        <a:pt x="7" y="6"/>
                        <a:pt x="7"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1"/>
                      </a:cubicBezTo>
                      <a:cubicBezTo>
                        <a:pt x="26"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92" name="Freeform 806"/>
                <p:cNvSpPr>
                  <a:spLocks/>
                </p:cNvSpPr>
                <p:nvPr/>
              </p:nvSpPr>
              <p:spPr bwMode="auto">
                <a:xfrm>
                  <a:off x="12567" y="1296"/>
                  <a:ext cx="52" cy="111"/>
                </a:xfrm>
                <a:custGeom>
                  <a:avLst/>
                  <a:gdLst>
                    <a:gd name="T0" fmla="*/ 0 w 22"/>
                    <a:gd name="T1" fmla="*/ 6 h 47"/>
                    <a:gd name="T2" fmla="*/ 0 w 22"/>
                    <a:gd name="T3" fmla="*/ 21 h 47"/>
                    <a:gd name="T4" fmla="*/ 2 w 22"/>
                    <a:gd name="T5" fmla="*/ 23 h 47"/>
                    <a:gd name="T6" fmla="*/ 4 w 22"/>
                    <a:gd name="T7" fmla="*/ 21 h 47"/>
                    <a:gd name="T8" fmla="*/ 4 w 22"/>
                    <a:gd name="T9" fmla="*/ 7 h 47"/>
                    <a:gd name="T10" fmla="*/ 5 w 22"/>
                    <a:gd name="T11" fmla="*/ 7 h 47"/>
                    <a:gd name="T12" fmla="*/ 5 w 22"/>
                    <a:gd name="T13" fmla="*/ 44 h 47"/>
                    <a:gd name="T14" fmla="*/ 8 w 22"/>
                    <a:gd name="T15" fmla="*/ 47 h 47"/>
                    <a:gd name="T16" fmla="*/ 10 w 22"/>
                    <a:gd name="T17" fmla="*/ 44 h 47"/>
                    <a:gd name="T18" fmla="*/ 10 w 22"/>
                    <a:gd name="T19" fmla="*/ 23 h 47"/>
                    <a:gd name="T20" fmla="*/ 12 w 22"/>
                    <a:gd name="T21" fmla="*/ 23 h 47"/>
                    <a:gd name="T22" fmla="*/ 12 w 22"/>
                    <a:gd name="T23" fmla="*/ 44 h 47"/>
                    <a:gd name="T24" fmla="*/ 14 w 22"/>
                    <a:gd name="T25" fmla="*/ 47 h 47"/>
                    <a:gd name="T26" fmla="*/ 17 w 22"/>
                    <a:gd name="T27" fmla="*/ 44 h 47"/>
                    <a:gd name="T28" fmla="*/ 17 w 22"/>
                    <a:gd name="T29" fmla="*/ 7 h 47"/>
                    <a:gd name="T30" fmla="*/ 18 w 22"/>
                    <a:gd name="T31" fmla="*/ 7 h 47"/>
                    <a:gd name="T32" fmla="*/ 18 w 22"/>
                    <a:gd name="T33" fmla="*/ 21 h 47"/>
                    <a:gd name="T34" fmla="*/ 20 w 22"/>
                    <a:gd name="T35" fmla="*/ 23 h 47"/>
                    <a:gd name="T36" fmla="*/ 22 w 22"/>
                    <a:gd name="T37" fmla="*/ 21 h 47"/>
                    <a:gd name="T38" fmla="*/ 22 w 22"/>
                    <a:gd name="T39" fmla="*/ 6 h 47"/>
                    <a:gd name="T40" fmla="*/ 16 w 22"/>
                    <a:gd name="T41" fmla="*/ 0 h 47"/>
                    <a:gd name="T42" fmla="*/ 6 w 22"/>
                    <a:gd name="T43" fmla="*/ 0 h 47"/>
                    <a:gd name="T44" fmla="*/ 0 w 22"/>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2"/>
                        <a:pt x="10" y="23"/>
                        <a:pt x="10" y="23"/>
                      </a:cubicBezTo>
                      <a:cubicBezTo>
                        <a:pt x="10" y="23"/>
                        <a:pt x="10" y="23"/>
                        <a:pt x="12" y="23"/>
                      </a:cubicBezTo>
                      <a:cubicBezTo>
                        <a:pt x="12" y="23"/>
                        <a:pt x="12" y="42"/>
                        <a:pt x="12" y="44"/>
                      </a:cubicBezTo>
                      <a:cubicBezTo>
                        <a:pt x="12"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ubicBezTo>
                        <a:pt x="21" y="23"/>
                        <a:pt x="22" y="22"/>
                        <a:pt x="22" y="21"/>
                      </a:cubicBezTo>
                      <a:cubicBezTo>
                        <a:pt x="22" y="19"/>
                        <a:pt x="22" y="8"/>
                        <a:pt x="22" y="6"/>
                      </a:cubicBezTo>
                      <a:cubicBezTo>
                        <a:pt x="22" y="3"/>
                        <a:pt x="20" y="0"/>
                        <a:pt x="16" y="0"/>
                      </a:cubicBezTo>
                      <a:cubicBezTo>
                        <a:pt x="15" y="0"/>
                        <a:pt x="7" y="0"/>
                        <a:pt x="6" y="0"/>
                      </a:cubicBezTo>
                      <a:cubicBezTo>
                        <a:pt x="2"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93" name="Freeform 807"/>
                <p:cNvSpPr>
                  <a:spLocks/>
                </p:cNvSpPr>
                <p:nvPr/>
              </p:nvSpPr>
              <p:spPr bwMode="auto">
                <a:xfrm>
                  <a:off x="12560" y="1147"/>
                  <a:ext cx="63" cy="111"/>
                </a:xfrm>
                <a:custGeom>
                  <a:avLst/>
                  <a:gdLst>
                    <a:gd name="T0" fmla="*/ 23 w 27"/>
                    <a:gd name="T1" fmla="*/ 5 h 47"/>
                    <a:gd name="T2" fmla="*/ 18 w 27"/>
                    <a:gd name="T3" fmla="*/ 0 h 47"/>
                    <a:gd name="T4" fmla="*/ 10 w 27"/>
                    <a:gd name="T5" fmla="*/ 0 h 47"/>
                    <a:gd name="T6" fmla="*/ 5 w 27"/>
                    <a:gd name="T7" fmla="*/ 5 h 47"/>
                    <a:gd name="T8" fmla="*/ 1 w 27"/>
                    <a:gd name="T9" fmla="*/ 19 h 47"/>
                    <a:gd name="T10" fmla="*/ 2 w 27"/>
                    <a:gd name="T11" fmla="*/ 21 h 47"/>
                    <a:gd name="T12" fmla="*/ 4 w 27"/>
                    <a:gd name="T13" fmla="*/ 20 h 47"/>
                    <a:gd name="T14" fmla="*/ 8 w 27"/>
                    <a:gd name="T15" fmla="*/ 7 h 47"/>
                    <a:gd name="T16" fmla="*/ 9 w 27"/>
                    <a:gd name="T17" fmla="*/ 7 h 47"/>
                    <a:gd name="T18" fmla="*/ 3 w 27"/>
                    <a:gd name="T19" fmla="*/ 29 h 47"/>
                    <a:gd name="T20" fmla="*/ 9 w 27"/>
                    <a:gd name="T21" fmla="*/ 29 h 47"/>
                    <a:gd name="T22" fmla="*/ 9 w 27"/>
                    <a:gd name="T23" fmla="*/ 45 h 47"/>
                    <a:gd name="T24" fmla="*/ 11 w 27"/>
                    <a:gd name="T25" fmla="*/ 47 h 47"/>
                    <a:gd name="T26" fmla="*/ 14 w 27"/>
                    <a:gd name="T27" fmla="*/ 45 h 47"/>
                    <a:gd name="T28" fmla="*/ 14 w 27"/>
                    <a:gd name="T29" fmla="*/ 29 h 47"/>
                    <a:gd name="T30" fmla="*/ 15 w 27"/>
                    <a:gd name="T31" fmla="*/ 29 h 47"/>
                    <a:gd name="T32" fmla="*/ 15 w 27"/>
                    <a:gd name="T33" fmla="*/ 45 h 47"/>
                    <a:gd name="T34" fmla="*/ 17 w 27"/>
                    <a:gd name="T35" fmla="*/ 47 h 47"/>
                    <a:gd name="T36" fmla="*/ 19 w 27"/>
                    <a:gd name="T37" fmla="*/ 45 h 47"/>
                    <a:gd name="T38" fmla="*/ 19 w 27"/>
                    <a:gd name="T39" fmla="*/ 29 h 47"/>
                    <a:gd name="T40" fmla="*/ 25 w 27"/>
                    <a:gd name="T41" fmla="*/ 29 h 47"/>
                    <a:gd name="T42" fmla="*/ 19 w 27"/>
                    <a:gd name="T43" fmla="*/ 7 h 47"/>
                    <a:gd name="T44" fmla="*/ 20 w 27"/>
                    <a:gd name="T45" fmla="*/ 7 h 47"/>
                    <a:gd name="T46" fmla="*/ 24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3"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4" y="46"/>
                        <a:pt x="14" y="45"/>
                      </a:cubicBezTo>
                      <a:cubicBezTo>
                        <a:pt x="14" y="43"/>
                        <a:pt x="14" y="29"/>
                        <a:pt x="14" y="29"/>
                      </a:cubicBezTo>
                      <a:cubicBezTo>
                        <a:pt x="15" y="29"/>
                        <a:pt x="15" y="29"/>
                        <a:pt x="15" y="29"/>
                      </a:cubicBezTo>
                      <a:cubicBezTo>
                        <a:pt x="15" y="29"/>
                        <a:pt x="15" y="43"/>
                        <a:pt x="15" y="45"/>
                      </a:cubicBezTo>
                      <a:cubicBezTo>
                        <a:pt x="15" y="46"/>
                        <a:pt x="16"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94" name="Oval 808"/>
                <p:cNvSpPr>
                  <a:spLocks noChangeArrowheads="1"/>
                </p:cNvSpPr>
                <p:nvPr/>
              </p:nvSpPr>
              <p:spPr bwMode="auto">
                <a:xfrm>
                  <a:off x="12581"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95" name="Oval 809"/>
                <p:cNvSpPr>
                  <a:spLocks noChangeArrowheads="1"/>
                </p:cNvSpPr>
                <p:nvPr/>
              </p:nvSpPr>
              <p:spPr bwMode="auto">
                <a:xfrm>
                  <a:off x="12517"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96" name="Oval 810"/>
                <p:cNvSpPr>
                  <a:spLocks noChangeArrowheads="1"/>
                </p:cNvSpPr>
                <p:nvPr/>
              </p:nvSpPr>
              <p:spPr bwMode="auto">
                <a:xfrm>
                  <a:off x="12581"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97" name="Oval 811"/>
                <p:cNvSpPr>
                  <a:spLocks noChangeArrowheads="1"/>
                </p:cNvSpPr>
                <p:nvPr/>
              </p:nvSpPr>
              <p:spPr bwMode="auto">
                <a:xfrm>
                  <a:off x="12384"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98" name="Freeform 812"/>
                <p:cNvSpPr>
                  <a:spLocks/>
                </p:cNvSpPr>
                <p:nvPr/>
              </p:nvSpPr>
              <p:spPr bwMode="auto">
                <a:xfrm>
                  <a:off x="12363" y="1296"/>
                  <a:ext cx="64" cy="111"/>
                </a:xfrm>
                <a:custGeom>
                  <a:avLst/>
                  <a:gdLst>
                    <a:gd name="T0" fmla="*/ 23 w 27"/>
                    <a:gd name="T1" fmla="*/ 4 h 47"/>
                    <a:gd name="T2" fmla="*/ 18 w 27"/>
                    <a:gd name="T3" fmla="*/ 0 h 47"/>
                    <a:gd name="T4" fmla="*/ 10 w 27"/>
                    <a:gd name="T5" fmla="*/ 0 h 47"/>
                    <a:gd name="T6" fmla="*/ 5 w 27"/>
                    <a:gd name="T7" fmla="*/ 4 h 47"/>
                    <a:gd name="T8" fmla="*/ 1 w 27"/>
                    <a:gd name="T9" fmla="*/ 18 h 47"/>
                    <a:gd name="T10" fmla="*/ 2 w 27"/>
                    <a:gd name="T11" fmla="*/ 21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5 w 27"/>
                    <a:gd name="T31" fmla="*/ 28 h 47"/>
                    <a:gd name="T32" fmla="*/ 15 w 27"/>
                    <a:gd name="T33" fmla="*/ 45 h 47"/>
                    <a:gd name="T34" fmla="*/ 17 w 27"/>
                    <a:gd name="T35" fmla="*/ 47 h 47"/>
                    <a:gd name="T36" fmla="*/ 19 w 27"/>
                    <a:gd name="T37" fmla="*/ 45 h 47"/>
                    <a:gd name="T38" fmla="*/ 19 w 27"/>
                    <a:gd name="T39" fmla="*/ 28 h 47"/>
                    <a:gd name="T40" fmla="*/ 25 w 27"/>
                    <a:gd name="T41" fmla="*/ 28 h 47"/>
                    <a:gd name="T42" fmla="*/ 19 w 27"/>
                    <a:gd name="T43" fmla="*/ 6 h 47"/>
                    <a:gd name="T44" fmla="*/ 20 w 27"/>
                    <a:gd name="T45" fmla="*/ 6 h 47"/>
                    <a:gd name="T46" fmla="*/ 24 w 27"/>
                    <a:gd name="T47" fmla="*/ 19 h 47"/>
                    <a:gd name="T48" fmla="*/ 26 w 27"/>
                    <a:gd name="T49" fmla="*/ 21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7" y="0"/>
                        <a:pt x="11" y="0"/>
                        <a:pt x="10" y="0"/>
                      </a:cubicBezTo>
                      <a:cubicBezTo>
                        <a:pt x="8" y="0"/>
                        <a:pt x="5" y="2"/>
                        <a:pt x="5" y="4"/>
                      </a:cubicBezTo>
                      <a:cubicBezTo>
                        <a:pt x="3" y="10"/>
                        <a:pt x="1" y="18"/>
                        <a:pt x="1" y="18"/>
                      </a:cubicBezTo>
                      <a:cubicBezTo>
                        <a:pt x="0" y="19"/>
                        <a:pt x="1" y="20"/>
                        <a:pt x="2" y="21"/>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1"/>
                      </a:cubicBezTo>
                      <a:cubicBezTo>
                        <a:pt x="27" y="20"/>
                        <a:pt x="27" y="19"/>
                        <a:pt x="27" y="18"/>
                      </a:cubicBezTo>
                      <a:cubicBezTo>
                        <a:pt x="27" y="18"/>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99" name="Freeform 813"/>
                <p:cNvSpPr>
                  <a:spLocks/>
                </p:cNvSpPr>
                <p:nvPr/>
              </p:nvSpPr>
              <p:spPr bwMode="auto">
                <a:xfrm>
                  <a:off x="12500" y="1443"/>
                  <a:ext cx="55" cy="109"/>
                </a:xfrm>
                <a:custGeom>
                  <a:avLst/>
                  <a:gdLst>
                    <a:gd name="T0" fmla="*/ 16 w 23"/>
                    <a:gd name="T1" fmla="*/ 0 h 46"/>
                    <a:gd name="T2" fmla="*/ 6 w 23"/>
                    <a:gd name="T3" fmla="*/ 0 h 46"/>
                    <a:gd name="T4" fmla="*/ 0 w 23"/>
                    <a:gd name="T5" fmla="*/ 6 h 46"/>
                    <a:gd name="T6" fmla="*/ 0 w 23"/>
                    <a:gd name="T7" fmla="*/ 20 h 46"/>
                    <a:gd name="T8" fmla="*/ 2 w 23"/>
                    <a:gd name="T9" fmla="*/ 23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7 w 23"/>
                    <a:gd name="T31" fmla="*/ 44 h 46"/>
                    <a:gd name="T32" fmla="*/ 17 w 23"/>
                    <a:gd name="T33" fmla="*/ 7 h 46"/>
                    <a:gd name="T34" fmla="*/ 19 w 23"/>
                    <a:gd name="T35" fmla="*/ 7 h 46"/>
                    <a:gd name="T36" fmla="*/ 19 w 23"/>
                    <a:gd name="T37" fmla="*/ 20 h 46"/>
                    <a:gd name="T38" fmla="*/ 21 w 23"/>
                    <a:gd name="T39" fmla="*/ 23 h 46"/>
                    <a:gd name="T40" fmla="*/ 23 w 23"/>
                    <a:gd name="T41" fmla="*/ 20 h 46"/>
                    <a:gd name="T42" fmla="*/ 23 w 23"/>
                    <a:gd name="T43" fmla="*/ 6 h 46"/>
                    <a:gd name="T44" fmla="*/ 16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6" y="0"/>
                      </a:moveTo>
                      <a:cubicBezTo>
                        <a:pt x="15" y="0"/>
                        <a:pt x="8" y="0"/>
                        <a:pt x="6" y="0"/>
                      </a:cubicBezTo>
                      <a:cubicBezTo>
                        <a:pt x="3" y="0"/>
                        <a:pt x="0" y="2"/>
                        <a:pt x="0" y="6"/>
                      </a:cubicBez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19" y="23"/>
                        <a:pt x="21" y="23"/>
                      </a:cubicBezTo>
                      <a:cubicBezTo>
                        <a:pt x="22" y="23"/>
                        <a:pt x="23" y="22"/>
                        <a:pt x="23" y="20"/>
                      </a:cubicBezTo>
                      <a:cubicBezTo>
                        <a:pt x="23" y="19"/>
                        <a:pt x="23" y="8"/>
                        <a:pt x="23" y="6"/>
                      </a:cubicBezTo>
                      <a:cubicBezTo>
                        <a:pt x="23" y="2"/>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00" name="Oval 814"/>
                <p:cNvSpPr>
                  <a:spLocks noChangeArrowheads="1"/>
                </p:cNvSpPr>
                <p:nvPr/>
              </p:nvSpPr>
              <p:spPr bwMode="auto">
                <a:xfrm>
                  <a:off x="12451"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01" name="Oval 815"/>
                <p:cNvSpPr>
                  <a:spLocks noChangeArrowheads="1"/>
                </p:cNvSpPr>
                <p:nvPr/>
              </p:nvSpPr>
              <p:spPr bwMode="auto">
                <a:xfrm>
                  <a:off x="12384"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02" name="Freeform 816"/>
                <p:cNvSpPr>
                  <a:spLocks/>
                </p:cNvSpPr>
                <p:nvPr/>
              </p:nvSpPr>
              <p:spPr bwMode="auto">
                <a:xfrm>
                  <a:off x="12429" y="1147"/>
                  <a:ext cx="64" cy="111"/>
                </a:xfrm>
                <a:custGeom>
                  <a:avLst/>
                  <a:gdLst>
                    <a:gd name="T0" fmla="*/ 23 w 27"/>
                    <a:gd name="T1" fmla="*/ 5 h 47"/>
                    <a:gd name="T2" fmla="*/ 17 w 27"/>
                    <a:gd name="T3" fmla="*/ 0 h 47"/>
                    <a:gd name="T4" fmla="*/ 10 w 27"/>
                    <a:gd name="T5" fmla="*/ 0 h 47"/>
                    <a:gd name="T6" fmla="*/ 4 w 27"/>
                    <a:gd name="T7" fmla="*/ 5 h 47"/>
                    <a:gd name="T8" fmla="*/ 0 w 27"/>
                    <a:gd name="T9" fmla="*/ 19 h 47"/>
                    <a:gd name="T10" fmla="*/ 2 w 27"/>
                    <a:gd name="T11" fmla="*/ 21 h 47"/>
                    <a:gd name="T12" fmla="*/ 4 w 27"/>
                    <a:gd name="T13" fmla="*/ 20 h 47"/>
                    <a:gd name="T14" fmla="*/ 8 w 27"/>
                    <a:gd name="T15" fmla="*/ 7 h 47"/>
                    <a:gd name="T16" fmla="*/ 9 w 27"/>
                    <a:gd name="T17" fmla="*/ 7 h 47"/>
                    <a:gd name="T18" fmla="*/ 2 w 27"/>
                    <a:gd name="T19" fmla="*/ 29 h 47"/>
                    <a:gd name="T20" fmla="*/ 9 w 27"/>
                    <a:gd name="T21" fmla="*/ 29 h 47"/>
                    <a:gd name="T22" fmla="*/ 9 w 27"/>
                    <a:gd name="T23" fmla="*/ 45 h 47"/>
                    <a:gd name="T24" fmla="*/ 11 w 27"/>
                    <a:gd name="T25" fmla="*/ 47 h 47"/>
                    <a:gd name="T26" fmla="*/ 13 w 27"/>
                    <a:gd name="T27" fmla="*/ 45 h 47"/>
                    <a:gd name="T28" fmla="*/ 13 w 27"/>
                    <a:gd name="T29" fmla="*/ 29 h 47"/>
                    <a:gd name="T30" fmla="*/ 14 w 27"/>
                    <a:gd name="T31" fmla="*/ 29 h 47"/>
                    <a:gd name="T32" fmla="*/ 14 w 27"/>
                    <a:gd name="T33" fmla="*/ 45 h 47"/>
                    <a:gd name="T34" fmla="*/ 16 w 27"/>
                    <a:gd name="T35" fmla="*/ 47 h 47"/>
                    <a:gd name="T36" fmla="*/ 19 w 27"/>
                    <a:gd name="T37" fmla="*/ 45 h 47"/>
                    <a:gd name="T38" fmla="*/ 19 w 27"/>
                    <a:gd name="T39" fmla="*/ 29 h 47"/>
                    <a:gd name="T40" fmla="*/ 25 w 27"/>
                    <a:gd name="T41" fmla="*/ 29 h 47"/>
                    <a:gd name="T42" fmla="*/ 18 w 27"/>
                    <a:gd name="T43" fmla="*/ 7 h 47"/>
                    <a:gd name="T44" fmla="*/ 20 w 27"/>
                    <a:gd name="T45" fmla="*/ 7 h 47"/>
                    <a:gd name="T46" fmla="*/ 23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7" y="0"/>
                        <a:pt x="5" y="3"/>
                        <a:pt x="4"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2" y="29"/>
                        <a:pt x="2" y="29"/>
                        <a:pt x="2"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03" name="Oval 817"/>
                <p:cNvSpPr>
                  <a:spLocks noChangeArrowheads="1"/>
                </p:cNvSpPr>
                <p:nvPr/>
              </p:nvSpPr>
              <p:spPr bwMode="auto">
                <a:xfrm>
                  <a:off x="12451"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04" name="Freeform 818"/>
                <p:cNvSpPr>
                  <a:spLocks/>
                </p:cNvSpPr>
                <p:nvPr/>
              </p:nvSpPr>
              <p:spPr bwMode="auto">
                <a:xfrm>
                  <a:off x="12434" y="1296"/>
                  <a:ext cx="55"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7 h 47"/>
                    <a:gd name="T14" fmla="*/ 5 w 23"/>
                    <a:gd name="T15" fmla="*/ 7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7 h 47"/>
                    <a:gd name="T34" fmla="*/ 19 w 23"/>
                    <a:gd name="T35" fmla="*/ 7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19"/>
                        <a:pt x="0" y="21"/>
                      </a:cubicBezTo>
                      <a:cubicBezTo>
                        <a:pt x="0" y="22"/>
                        <a:pt x="1" y="23"/>
                        <a:pt x="2" y="23"/>
                      </a:cubicBezTo>
                      <a:cubicBezTo>
                        <a:pt x="4" y="23"/>
                        <a:pt x="4" y="22"/>
                        <a:pt x="4" y="21"/>
                      </a:cubicBezTo>
                      <a:cubicBezTo>
                        <a:pt x="4" y="19"/>
                        <a:pt x="4" y="7"/>
                        <a:pt x="4" y="7"/>
                      </a:cubicBezTo>
                      <a:cubicBezTo>
                        <a:pt x="4" y="7"/>
                        <a:pt x="4" y="7"/>
                        <a:pt x="5" y="7"/>
                      </a:cubicBezTo>
                      <a:cubicBezTo>
                        <a:pt x="5" y="7"/>
                        <a:pt x="5" y="42"/>
                        <a:pt x="5" y="44"/>
                      </a:cubicBezTo>
                      <a:cubicBezTo>
                        <a:pt x="5"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8" y="45"/>
                        <a:pt x="18" y="44"/>
                      </a:cubicBezTo>
                      <a:cubicBezTo>
                        <a:pt x="18" y="42"/>
                        <a:pt x="18" y="7"/>
                        <a:pt x="18" y="7"/>
                      </a:cubicBezTo>
                      <a:cubicBezTo>
                        <a:pt x="18" y="7"/>
                        <a:pt x="18" y="7"/>
                        <a:pt x="19" y="7"/>
                      </a:cubicBezTo>
                      <a:cubicBezTo>
                        <a:pt x="19" y="7"/>
                        <a:pt x="19" y="19"/>
                        <a:pt x="19" y="21"/>
                      </a:cubicBezTo>
                      <a:cubicBezTo>
                        <a:pt x="19" y="22"/>
                        <a:pt x="20" y="23"/>
                        <a:pt x="21" y="23"/>
                      </a:cubicBezTo>
                      <a:cubicBezTo>
                        <a:pt x="22" y="23"/>
                        <a:pt x="23" y="22"/>
                        <a:pt x="23" y="21"/>
                      </a:cubicBezTo>
                      <a:cubicBezTo>
                        <a:pt x="23" y="19"/>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05" name="Oval 819"/>
                <p:cNvSpPr>
                  <a:spLocks noChangeArrowheads="1"/>
                </p:cNvSpPr>
                <p:nvPr/>
              </p:nvSpPr>
              <p:spPr bwMode="auto">
                <a:xfrm>
                  <a:off x="12321"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06" name="Oval 820"/>
                <p:cNvSpPr>
                  <a:spLocks noChangeArrowheads="1"/>
                </p:cNvSpPr>
                <p:nvPr/>
              </p:nvSpPr>
              <p:spPr bwMode="auto">
                <a:xfrm>
                  <a:off x="14207" y="1857"/>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07" name="Oval 821"/>
                <p:cNvSpPr>
                  <a:spLocks noChangeArrowheads="1"/>
                </p:cNvSpPr>
                <p:nvPr/>
              </p:nvSpPr>
              <p:spPr bwMode="auto">
                <a:xfrm>
                  <a:off x="14207"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08" name="Freeform 822"/>
                <p:cNvSpPr>
                  <a:spLocks/>
                </p:cNvSpPr>
                <p:nvPr/>
              </p:nvSpPr>
              <p:spPr bwMode="auto">
                <a:xfrm>
                  <a:off x="14185" y="1736"/>
                  <a:ext cx="64" cy="111"/>
                </a:xfrm>
                <a:custGeom>
                  <a:avLst/>
                  <a:gdLst>
                    <a:gd name="T0" fmla="*/ 23 w 27"/>
                    <a:gd name="T1" fmla="*/ 4 h 47"/>
                    <a:gd name="T2" fmla="*/ 18 w 27"/>
                    <a:gd name="T3" fmla="*/ 0 h 47"/>
                    <a:gd name="T4" fmla="*/ 10 w 27"/>
                    <a:gd name="T5" fmla="*/ 0 h 47"/>
                    <a:gd name="T6" fmla="*/ 5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7 w 27"/>
                    <a:gd name="T35" fmla="*/ 47 h 47"/>
                    <a:gd name="T36" fmla="*/ 19 w 27"/>
                    <a:gd name="T37" fmla="*/ 44 h 47"/>
                    <a:gd name="T38" fmla="*/ 19 w 27"/>
                    <a:gd name="T39" fmla="*/ 28 h 47"/>
                    <a:gd name="T40" fmla="*/ 25 w 27"/>
                    <a:gd name="T41" fmla="*/ 28 h 47"/>
                    <a:gd name="T42" fmla="*/ 19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09" name="Oval 823"/>
                <p:cNvSpPr>
                  <a:spLocks noChangeArrowheads="1"/>
                </p:cNvSpPr>
                <p:nvPr/>
              </p:nvSpPr>
              <p:spPr bwMode="auto">
                <a:xfrm>
                  <a:off x="14337" y="1857"/>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10" name="Freeform 824"/>
                <p:cNvSpPr>
                  <a:spLocks/>
                </p:cNvSpPr>
                <p:nvPr/>
              </p:nvSpPr>
              <p:spPr bwMode="auto">
                <a:xfrm>
                  <a:off x="14190" y="1587"/>
                  <a:ext cx="55" cy="111"/>
                </a:xfrm>
                <a:custGeom>
                  <a:avLst/>
                  <a:gdLst>
                    <a:gd name="T0" fmla="*/ 0 w 23"/>
                    <a:gd name="T1" fmla="*/ 21 h 47"/>
                    <a:gd name="T2" fmla="*/ 2 w 23"/>
                    <a:gd name="T3" fmla="*/ 23 h 47"/>
                    <a:gd name="T4" fmla="*/ 5 w 23"/>
                    <a:gd name="T5" fmla="*/ 21 h 47"/>
                    <a:gd name="T6" fmla="*/ 5 w 23"/>
                    <a:gd name="T7" fmla="*/ 8 h 47"/>
                    <a:gd name="T8" fmla="*/ 6 w 23"/>
                    <a:gd name="T9" fmla="*/ 8 h 47"/>
                    <a:gd name="T10" fmla="*/ 6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8 w 23"/>
                    <a:gd name="T25" fmla="*/ 44 h 47"/>
                    <a:gd name="T26" fmla="*/ 18 w 23"/>
                    <a:gd name="T27" fmla="*/ 8 h 47"/>
                    <a:gd name="T28" fmla="*/ 19 w 23"/>
                    <a:gd name="T29" fmla="*/ 8 h 47"/>
                    <a:gd name="T30" fmla="*/ 19 w 23"/>
                    <a:gd name="T31" fmla="*/ 21 h 47"/>
                    <a:gd name="T32" fmla="*/ 21 w 23"/>
                    <a:gd name="T33" fmla="*/ 23 h 47"/>
                    <a:gd name="T34" fmla="*/ 23 w 23"/>
                    <a:gd name="T35" fmla="*/ 21 h 47"/>
                    <a:gd name="T36" fmla="*/ 23 w 23"/>
                    <a:gd name="T37" fmla="*/ 6 h 47"/>
                    <a:gd name="T38" fmla="*/ 17 w 23"/>
                    <a:gd name="T39" fmla="*/ 0 h 47"/>
                    <a:gd name="T40" fmla="*/ 7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7" y="0"/>
                      </a:cubicBezTo>
                      <a:cubicBezTo>
                        <a:pt x="3"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11" name="Freeform 825"/>
                <p:cNvSpPr>
                  <a:spLocks/>
                </p:cNvSpPr>
                <p:nvPr/>
              </p:nvSpPr>
              <p:spPr bwMode="auto">
                <a:xfrm>
                  <a:off x="14252" y="1883"/>
                  <a:ext cx="64" cy="109"/>
                </a:xfrm>
                <a:custGeom>
                  <a:avLst/>
                  <a:gdLst>
                    <a:gd name="T0" fmla="*/ 4 w 27"/>
                    <a:gd name="T1" fmla="*/ 19 h 46"/>
                    <a:gd name="T2" fmla="*/ 8 w 27"/>
                    <a:gd name="T3" fmla="*/ 6 h 46"/>
                    <a:gd name="T4" fmla="*/ 9 w 27"/>
                    <a:gd name="T5" fmla="*/ 6 h 46"/>
                    <a:gd name="T6" fmla="*/ 2 w 27"/>
                    <a:gd name="T7" fmla="*/ 28 h 46"/>
                    <a:gd name="T8" fmla="*/ 8 w 27"/>
                    <a:gd name="T9" fmla="*/ 28 h 46"/>
                    <a:gd name="T10" fmla="*/ 8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6 w 27"/>
                    <a:gd name="T23" fmla="*/ 46 h 46"/>
                    <a:gd name="T24" fmla="*/ 18 w 27"/>
                    <a:gd name="T25" fmla="*/ 44 h 46"/>
                    <a:gd name="T26" fmla="*/ 18 w 27"/>
                    <a:gd name="T27" fmla="*/ 28 h 46"/>
                    <a:gd name="T28" fmla="*/ 25 w 27"/>
                    <a:gd name="T29" fmla="*/ 28 h 46"/>
                    <a:gd name="T30" fmla="*/ 18 w 27"/>
                    <a:gd name="T31" fmla="*/ 6 h 46"/>
                    <a:gd name="T32" fmla="*/ 19 w 27"/>
                    <a:gd name="T33" fmla="*/ 6 h 46"/>
                    <a:gd name="T34" fmla="*/ 23 w 27"/>
                    <a:gd name="T35" fmla="*/ 19 h 46"/>
                    <a:gd name="T36" fmla="*/ 25 w 27"/>
                    <a:gd name="T37" fmla="*/ 20 h 46"/>
                    <a:gd name="T38" fmla="*/ 27 w 27"/>
                    <a:gd name="T39" fmla="*/ 18 h 46"/>
                    <a:gd name="T40" fmla="*/ 23 w 27"/>
                    <a:gd name="T41" fmla="*/ 4 h 46"/>
                    <a:gd name="T42" fmla="*/ 17 w 27"/>
                    <a:gd name="T43" fmla="*/ 0 h 46"/>
                    <a:gd name="T44" fmla="*/ 10 w 27"/>
                    <a:gd name="T45" fmla="*/ 0 h 46"/>
                    <a:gd name="T46" fmla="*/ 4 w 27"/>
                    <a:gd name="T47" fmla="*/ 4 h 46"/>
                    <a:gd name="T48" fmla="*/ 0 w 27"/>
                    <a:gd name="T49" fmla="*/ 18 h 46"/>
                    <a:gd name="T50" fmla="*/ 1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5"/>
                        <a:pt x="9"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6" y="46"/>
                      </a:cubicBezTo>
                      <a:cubicBezTo>
                        <a:pt x="18" y="46"/>
                        <a:pt x="18" y="45"/>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3" y="4"/>
                      </a:cubicBezTo>
                      <a:cubicBezTo>
                        <a:pt x="22" y="2"/>
                        <a:pt x="20"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12" name="Freeform 826"/>
                <p:cNvSpPr>
                  <a:spLocks/>
                </p:cNvSpPr>
                <p:nvPr/>
              </p:nvSpPr>
              <p:spPr bwMode="auto">
                <a:xfrm>
                  <a:off x="14323" y="1883"/>
                  <a:ext cx="52" cy="109"/>
                </a:xfrm>
                <a:custGeom>
                  <a:avLst/>
                  <a:gdLst>
                    <a:gd name="T0" fmla="*/ 4 w 22"/>
                    <a:gd name="T1" fmla="*/ 20 h 46"/>
                    <a:gd name="T2" fmla="*/ 4 w 22"/>
                    <a:gd name="T3" fmla="*/ 7 h 46"/>
                    <a:gd name="T4" fmla="*/ 5 w 22"/>
                    <a:gd name="T5" fmla="*/ 7 h 46"/>
                    <a:gd name="T6" fmla="*/ 5 w 22"/>
                    <a:gd name="T7" fmla="*/ 44 h 46"/>
                    <a:gd name="T8" fmla="*/ 8 w 22"/>
                    <a:gd name="T9" fmla="*/ 46 h 46"/>
                    <a:gd name="T10" fmla="*/ 11 w 22"/>
                    <a:gd name="T11" fmla="*/ 44 h 46"/>
                    <a:gd name="T12" fmla="*/ 11 w 22"/>
                    <a:gd name="T13" fmla="*/ 22 h 46"/>
                    <a:gd name="T14" fmla="*/ 12 w 22"/>
                    <a:gd name="T15" fmla="*/ 22 h 46"/>
                    <a:gd name="T16" fmla="*/ 12 w 22"/>
                    <a:gd name="T17" fmla="*/ 44 h 46"/>
                    <a:gd name="T18" fmla="*/ 14 w 22"/>
                    <a:gd name="T19" fmla="*/ 46 h 46"/>
                    <a:gd name="T20" fmla="*/ 17 w 22"/>
                    <a:gd name="T21" fmla="*/ 44 h 46"/>
                    <a:gd name="T22" fmla="*/ 17 w 22"/>
                    <a:gd name="T23" fmla="*/ 7 h 46"/>
                    <a:gd name="T24" fmla="*/ 18 w 22"/>
                    <a:gd name="T25" fmla="*/ 7 h 46"/>
                    <a:gd name="T26" fmla="*/ 18 w 22"/>
                    <a:gd name="T27" fmla="*/ 20 h 46"/>
                    <a:gd name="T28" fmla="*/ 20 w 22"/>
                    <a:gd name="T29" fmla="*/ 22 h 46"/>
                    <a:gd name="T30" fmla="*/ 22 w 22"/>
                    <a:gd name="T31" fmla="*/ 20 h 46"/>
                    <a:gd name="T32" fmla="*/ 22 w 22"/>
                    <a:gd name="T33" fmla="*/ 6 h 46"/>
                    <a:gd name="T34" fmla="*/ 16 w 22"/>
                    <a:gd name="T35" fmla="*/ 0 h 46"/>
                    <a:gd name="T36" fmla="*/ 6 w 22"/>
                    <a:gd name="T37" fmla="*/ 0 h 46"/>
                    <a:gd name="T38" fmla="*/ 0 w 22"/>
                    <a:gd name="T39" fmla="*/ 6 h 46"/>
                    <a:gd name="T40" fmla="*/ 0 w 22"/>
                    <a:gd name="T41" fmla="*/ 20 h 46"/>
                    <a:gd name="T42" fmla="*/ 2 w 22"/>
                    <a:gd name="T43" fmla="*/ 22 h 46"/>
                    <a:gd name="T44" fmla="*/ 4 w 22"/>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4" y="20"/>
                      </a:move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2"/>
                        <a:pt x="11" y="22"/>
                      </a:cubicBezTo>
                      <a:cubicBezTo>
                        <a:pt x="11" y="22"/>
                        <a:pt x="11" y="22"/>
                        <a:pt x="12" y="22"/>
                      </a:cubicBezTo>
                      <a:cubicBezTo>
                        <a:pt x="12" y="22"/>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1"/>
                        <a:pt x="19" y="22"/>
                        <a:pt x="20" y="22"/>
                      </a:cubicBezTo>
                      <a:cubicBezTo>
                        <a:pt x="21" y="22"/>
                        <a:pt x="22" y="21"/>
                        <a:pt x="22" y="20"/>
                      </a:cubicBezTo>
                      <a:cubicBezTo>
                        <a:pt x="22" y="19"/>
                        <a:pt x="22" y="7"/>
                        <a:pt x="22" y="6"/>
                      </a:cubicBezTo>
                      <a:cubicBezTo>
                        <a:pt x="22" y="2"/>
                        <a:pt x="20" y="0"/>
                        <a:pt x="16" y="0"/>
                      </a:cubicBezTo>
                      <a:cubicBezTo>
                        <a:pt x="15" y="0"/>
                        <a:pt x="7" y="0"/>
                        <a:pt x="6" y="0"/>
                      </a:cubicBezTo>
                      <a:cubicBezTo>
                        <a:pt x="2" y="0"/>
                        <a:pt x="0" y="2"/>
                        <a:pt x="0" y="6"/>
                      </a:cubicBezTo>
                      <a:cubicBezTo>
                        <a:pt x="0" y="7"/>
                        <a:pt x="0" y="19"/>
                        <a:pt x="0" y="20"/>
                      </a:cubicBezTo>
                      <a:cubicBezTo>
                        <a:pt x="0" y="21"/>
                        <a:pt x="1" y="22"/>
                        <a:pt x="2" y="22"/>
                      </a:cubicBezTo>
                      <a:cubicBezTo>
                        <a:pt x="3" y="22"/>
                        <a:pt x="4" y="21"/>
                        <a:pt x="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13" name="Freeform 827"/>
                <p:cNvSpPr>
                  <a:spLocks/>
                </p:cNvSpPr>
                <p:nvPr/>
              </p:nvSpPr>
              <p:spPr bwMode="auto">
                <a:xfrm>
                  <a:off x="14453" y="1587"/>
                  <a:ext cx="42" cy="111"/>
                </a:xfrm>
                <a:custGeom>
                  <a:avLst/>
                  <a:gdLst>
                    <a:gd name="T0" fmla="*/ 0 w 18"/>
                    <a:gd name="T1" fmla="*/ 6 h 47"/>
                    <a:gd name="T2" fmla="*/ 0 w 18"/>
                    <a:gd name="T3" fmla="*/ 21 h 47"/>
                    <a:gd name="T4" fmla="*/ 2 w 18"/>
                    <a:gd name="T5" fmla="*/ 23 h 47"/>
                    <a:gd name="T6" fmla="*/ 4 w 18"/>
                    <a:gd name="T7" fmla="*/ 21 h 47"/>
                    <a:gd name="T8" fmla="*/ 4 w 18"/>
                    <a:gd name="T9" fmla="*/ 8 h 47"/>
                    <a:gd name="T10" fmla="*/ 5 w 18"/>
                    <a:gd name="T11" fmla="*/ 8 h 47"/>
                    <a:gd name="T12" fmla="*/ 5 w 18"/>
                    <a:gd name="T13" fmla="*/ 44 h 47"/>
                    <a:gd name="T14" fmla="*/ 8 w 18"/>
                    <a:gd name="T15" fmla="*/ 47 h 47"/>
                    <a:gd name="T16" fmla="*/ 11 w 18"/>
                    <a:gd name="T17" fmla="*/ 44 h 47"/>
                    <a:gd name="T18" fmla="*/ 11 w 18"/>
                    <a:gd name="T19" fmla="*/ 23 h 47"/>
                    <a:gd name="T20" fmla="*/ 12 w 18"/>
                    <a:gd name="T21" fmla="*/ 23 h 47"/>
                    <a:gd name="T22" fmla="*/ 12 w 18"/>
                    <a:gd name="T23" fmla="*/ 44 h 47"/>
                    <a:gd name="T24" fmla="*/ 15 w 18"/>
                    <a:gd name="T25" fmla="*/ 47 h 47"/>
                    <a:gd name="T26" fmla="*/ 18 w 18"/>
                    <a:gd name="T27" fmla="*/ 44 h 47"/>
                    <a:gd name="T28" fmla="*/ 18 w 18"/>
                    <a:gd name="T29" fmla="*/ 13 h 47"/>
                    <a:gd name="T30" fmla="*/ 7 w 18"/>
                    <a:gd name="T31" fmla="*/ 0 h 47"/>
                    <a:gd name="T32" fmla="*/ 6 w 18"/>
                    <a:gd name="T33" fmla="*/ 0 h 47"/>
                    <a:gd name="T34" fmla="*/ 0 w 18"/>
                    <a:gd name="T3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7">
                      <a:moveTo>
                        <a:pt x="0" y="6"/>
                      </a:move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22"/>
                        <a:pt x="18" y="13"/>
                      </a:cubicBezTo>
                      <a:cubicBezTo>
                        <a:pt x="15" y="9"/>
                        <a:pt x="11" y="4"/>
                        <a:pt x="7" y="0"/>
                      </a:cubicBezTo>
                      <a:cubicBezTo>
                        <a:pt x="7" y="0"/>
                        <a:pt x="7"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14" name="Oval 828"/>
                <p:cNvSpPr>
                  <a:spLocks noChangeArrowheads="1"/>
                </p:cNvSpPr>
                <p:nvPr/>
              </p:nvSpPr>
              <p:spPr bwMode="auto">
                <a:xfrm>
                  <a:off x="14207" y="171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15" name="Freeform 829"/>
                <p:cNvSpPr>
                  <a:spLocks/>
                </p:cNvSpPr>
                <p:nvPr/>
              </p:nvSpPr>
              <p:spPr bwMode="auto">
                <a:xfrm>
                  <a:off x="14190" y="1883"/>
                  <a:ext cx="55" cy="109"/>
                </a:xfrm>
                <a:custGeom>
                  <a:avLst/>
                  <a:gdLst>
                    <a:gd name="T0" fmla="*/ 5 w 23"/>
                    <a:gd name="T1" fmla="*/ 20 h 46"/>
                    <a:gd name="T2" fmla="*/ 5 w 23"/>
                    <a:gd name="T3" fmla="*/ 7 h 46"/>
                    <a:gd name="T4" fmla="*/ 6 w 23"/>
                    <a:gd name="T5" fmla="*/ 7 h 46"/>
                    <a:gd name="T6" fmla="*/ 6 w 23"/>
                    <a:gd name="T7" fmla="*/ 44 h 46"/>
                    <a:gd name="T8" fmla="*/ 8 w 23"/>
                    <a:gd name="T9" fmla="*/ 46 h 46"/>
                    <a:gd name="T10" fmla="*/ 11 w 23"/>
                    <a:gd name="T11" fmla="*/ 44 h 46"/>
                    <a:gd name="T12" fmla="*/ 11 w 23"/>
                    <a:gd name="T13" fmla="*/ 22 h 46"/>
                    <a:gd name="T14" fmla="*/ 12 w 23"/>
                    <a:gd name="T15" fmla="*/ 22 h 46"/>
                    <a:gd name="T16" fmla="*/ 12 w 23"/>
                    <a:gd name="T17" fmla="*/ 44 h 46"/>
                    <a:gd name="T18" fmla="*/ 15 w 23"/>
                    <a:gd name="T19" fmla="*/ 46 h 46"/>
                    <a:gd name="T20" fmla="*/ 18 w 23"/>
                    <a:gd name="T21" fmla="*/ 44 h 46"/>
                    <a:gd name="T22" fmla="*/ 18 w 23"/>
                    <a:gd name="T23" fmla="*/ 7 h 46"/>
                    <a:gd name="T24" fmla="*/ 19 w 23"/>
                    <a:gd name="T25" fmla="*/ 7 h 46"/>
                    <a:gd name="T26" fmla="*/ 19 w 23"/>
                    <a:gd name="T27" fmla="*/ 20 h 46"/>
                    <a:gd name="T28" fmla="*/ 21 w 23"/>
                    <a:gd name="T29" fmla="*/ 22 h 46"/>
                    <a:gd name="T30" fmla="*/ 23 w 23"/>
                    <a:gd name="T31" fmla="*/ 20 h 46"/>
                    <a:gd name="T32" fmla="*/ 23 w 23"/>
                    <a:gd name="T33" fmla="*/ 6 h 46"/>
                    <a:gd name="T34" fmla="*/ 17 w 23"/>
                    <a:gd name="T35" fmla="*/ 0 h 46"/>
                    <a:gd name="T36" fmla="*/ 7 w 23"/>
                    <a:gd name="T37" fmla="*/ 0 h 46"/>
                    <a:gd name="T38" fmla="*/ 0 w 23"/>
                    <a:gd name="T39" fmla="*/ 6 h 46"/>
                    <a:gd name="T40" fmla="*/ 0 w 23"/>
                    <a:gd name="T41" fmla="*/ 20 h 46"/>
                    <a:gd name="T42" fmla="*/ 2 w 23"/>
                    <a:gd name="T43" fmla="*/ 22 h 46"/>
                    <a:gd name="T44" fmla="*/ 5 w 23"/>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5" y="20"/>
                      </a:move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2"/>
                        <a:pt x="11" y="22"/>
                      </a:cubicBezTo>
                      <a:cubicBezTo>
                        <a:pt x="11" y="22"/>
                        <a:pt x="11" y="22"/>
                        <a:pt x="12" y="22"/>
                      </a:cubicBezTo>
                      <a:cubicBezTo>
                        <a:pt x="12" y="22"/>
                        <a:pt x="12" y="41"/>
                        <a:pt x="12" y="44"/>
                      </a:cubicBezTo>
                      <a:cubicBezTo>
                        <a:pt x="12" y="45"/>
                        <a:pt x="14"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1"/>
                        <a:pt x="20" y="22"/>
                        <a:pt x="21" y="22"/>
                      </a:cubicBezTo>
                      <a:cubicBezTo>
                        <a:pt x="22" y="22"/>
                        <a:pt x="23" y="21"/>
                        <a:pt x="23" y="20"/>
                      </a:cubicBezTo>
                      <a:cubicBezTo>
                        <a:pt x="23" y="19"/>
                        <a:pt x="23" y="7"/>
                        <a:pt x="23" y="6"/>
                      </a:cubicBezTo>
                      <a:cubicBezTo>
                        <a:pt x="23" y="2"/>
                        <a:pt x="20" y="0"/>
                        <a:pt x="17" y="0"/>
                      </a:cubicBezTo>
                      <a:cubicBezTo>
                        <a:pt x="15" y="0"/>
                        <a:pt x="8" y="0"/>
                        <a:pt x="7" y="0"/>
                      </a:cubicBezTo>
                      <a:cubicBezTo>
                        <a:pt x="3" y="0"/>
                        <a:pt x="0" y="2"/>
                        <a:pt x="0" y="6"/>
                      </a:cubicBezTo>
                      <a:cubicBezTo>
                        <a:pt x="0" y="7"/>
                        <a:pt x="0" y="19"/>
                        <a:pt x="0" y="20"/>
                      </a:cubicBezTo>
                      <a:cubicBezTo>
                        <a:pt x="0" y="21"/>
                        <a:pt x="1" y="22"/>
                        <a:pt x="2" y="22"/>
                      </a:cubicBezTo>
                      <a:cubicBezTo>
                        <a:pt x="4" y="22"/>
                        <a:pt x="5" y="21"/>
                        <a:pt x="5"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16" name="Line 830"/>
                <p:cNvSpPr>
                  <a:spLocks noChangeShapeType="1"/>
                </p:cNvSpPr>
                <p:nvPr/>
              </p:nvSpPr>
              <p:spPr bwMode="auto">
                <a:xfrm>
                  <a:off x="14469" y="1722"/>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17" name="Line 831"/>
                <p:cNvSpPr>
                  <a:spLocks noChangeShapeType="1"/>
                </p:cNvSpPr>
                <p:nvPr/>
              </p:nvSpPr>
              <p:spPr bwMode="auto">
                <a:xfrm>
                  <a:off x="14469" y="1722"/>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18" name="Line 832"/>
                <p:cNvSpPr>
                  <a:spLocks noChangeShapeType="1"/>
                </p:cNvSpPr>
                <p:nvPr/>
              </p:nvSpPr>
              <p:spPr bwMode="auto">
                <a:xfrm>
                  <a:off x="14491" y="1722"/>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19" name="Line 833"/>
                <p:cNvSpPr>
                  <a:spLocks noChangeShapeType="1"/>
                </p:cNvSpPr>
                <p:nvPr/>
              </p:nvSpPr>
              <p:spPr bwMode="auto">
                <a:xfrm>
                  <a:off x="14491" y="1722"/>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20" name="Oval 834"/>
                <p:cNvSpPr>
                  <a:spLocks noChangeArrowheads="1"/>
                </p:cNvSpPr>
                <p:nvPr/>
              </p:nvSpPr>
              <p:spPr bwMode="auto">
                <a:xfrm>
                  <a:off x="14469" y="1857"/>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21" name="Freeform 835"/>
                <p:cNvSpPr>
                  <a:spLocks/>
                </p:cNvSpPr>
                <p:nvPr/>
              </p:nvSpPr>
              <p:spPr bwMode="auto">
                <a:xfrm>
                  <a:off x="14453" y="1883"/>
                  <a:ext cx="54" cy="109"/>
                </a:xfrm>
                <a:custGeom>
                  <a:avLst/>
                  <a:gdLst>
                    <a:gd name="T0" fmla="*/ 17 w 23"/>
                    <a:gd name="T1" fmla="*/ 0 h 46"/>
                    <a:gd name="T2" fmla="*/ 6 w 23"/>
                    <a:gd name="T3" fmla="*/ 0 h 46"/>
                    <a:gd name="T4" fmla="*/ 0 w 23"/>
                    <a:gd name="T5" fmla="*/ 6 h 46"/>
                    <a:gd name="T6" fmla="*/ 0 w 23"/>
                    <a:gd name="T7" fmla="*/ 20 h 46"/>
                    <a:gd name="T8" fmla="*/ 2 w 23"/>
                    <a:gd name="T9" fmla="*/ 22 h 46"/>
                    <a:gd name="T10" fmla="*/ 4 w 23"/>
                    <a:gd name="T11" fmla="*/ 20 h 46"/>
                    <a:gd name="T12" fmla="*/ 4 w 23"/>
                    <a:gd name="T13" fmla="*/ 7 h 46"/>
                    <a:gd name="T14" fmla="*/ 5 w 23"/>
                    <a:gd name="T15" fmla="*/ 7 h 46"/>
                    <a:gd name="T16" fmla="*/ 5 w 23"/>
                    <a:gd name="T17" fmla="*/ 44 h 46"/>
                    <a:gd name="T18" fmla="*/ 8 w 23"/>
                    <a:gd name="T19" fmla="*/ 46 h 46"/>
                    <a:gd name="T20" fmla="*/ 9 w 23"/>
                    <a:gd name="T21" fmla="*/ 46 h 46"/>
                    <a:gd name="T22" fmla="*/ 11 w 23"/>
                    <a:gd name="T23" fmla="*/ 43 h 46"/>
                    <a:gd name="T24" fmla="*/ 11 w 23"/>
                    <a:gd name="T25" fmla="*/ 22 h 46"/>
                    <a:gd name="T26" fmla="*/ 12 w 23"/>
                    <a:gd name="T27" fmla="*/ 22 h 46"/>
                    <a:gd name="T28" fmla="*/ 12 w 23"/>
                    <a:gd name="T29" fmla="*/ 40 h 46"/>
                    <a:gd name="T30" fmla="*/ 18 w 23"/>
                    <a:gd name="T31" fmla="*/ 28 h 46"/>
                    <a:gd name="T32" fmla="*/ 18 w 23"/>
                    <a:gd name="T33" fmla="*/ 7 h 46"/>
                    <a:gd name="T34" fmla="*/ 19 w 23"/>
                    <a:gd name="T35" fmla="*/ 7 h 46"/>
                    <a:gd name="T36" fmla="*/ 19 w 23"/>
                    <a:gd name="T37" fmla="*/ 20 h 46"/>
                    <a:gd name="T38" fmla="*/ 20 w 23"/>
                    <a:gd name="T39" fmla="*/ 22 h 46"/>
                    <a:gd name="T40" fmla="*/ 23 w 23"/>
                    <a:gd name="T41" fmla="*/ 15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7"/>
                        <a:pt x="0" y="19"/>
                        <a:pt x="0" y="20"/>
                      </a:cubicBezTo>
                      <a:cubicBezTo>
                        <a:pt x="0" y="21"/>
                        <a:pt x="1" y="22"/>
                        <a:pt x="2" y="22"/>
                      </a:cubicBezTo>
                      <a:cubicBezTo>
                        <a:pt x="3" y="22"/>
                        <a:pt x="4" y="21"/>
                        <a:pt x="4" y="20"/>
                      </a:cubicBezTo>
                      <a:cubicBezTo>
                        <a:pt x="4" y="19"/>
                        <a:pt x="4" y="7"/>
                        <a:pt x="4" y="7"/>
                      </a:cubicBezTo>
                      <a:cubicBezTo>
                        <a:pt x="4" y="7"/>
                        <a:pt x="4" y="7"/>
                        <a:pt x="5" y="7"/>
                      </a:cubicBezTo>
                      <a:cubicBezTo>
                        <a:pt x="5" y="7"/>
                        <a:pt x="5" y="41"/>
                        <a:pt x="5" y="44"/>
                      </a:cubicBezTo>
                      <a:cubicBezTo>
                        <a:pt x="5" y="45"/>
                        <a:pt x="7" y="46"/>
                        <a:pt x="8" y="46"/>
                      </a:cubicBezTo>
                      <a:cubicBezTo>
                        <a:pt x="9" y="46"/>
                        <a:pt x="9" y="46"/>
                        <a:pt x="9" y="46"/>
                      </a:cubicBezTo>
                      <a:cubicBezTo>
                        <a:pt x="10" y="45"/>
                        <a:pt x="10" y="44"/>
                        <a:pt x="11" y="43"/>
                      </a:cubicBezTo>
                      <a:cubicBezTo>
                        <a:pt x="11" y="38"/>
                        <a:pt x="11" y="22"/>
                        <a:pt x="11" y="22"/>
                      </a:cubicBezTo>
                      <a:cubicBezTo>
                        <a:pt x="11" y="22"/>
                        <a:pt x="11" y="22"/>
                        <a:pt x="12" y="22"/>
                      </a:cubicBezTo>
                      <a:cubicBezTo>
                        <a:pt x="12" y="22"/>
                        <a:pt x="12" y="34"/>
                        <a:pt x="12" y="40"/>
                      </a:cubicBezTo>
                      <a:cubicBezTo>
                        <a:pt x="14" y="36"/>
                        <a:pt x="16" y="32"/>
                        <a:pt x="18" y="28"/>
                      </a:cubicBezTo>
                      <a:cubicBezTo>
                        <a:pt x="18" y="18"/>
                        <a:pt x="18" y="7"/>
                        <a:pt x="18" y="7"/>
                      </a:cubicBezTo>
                      <a:cubicBezTo>
                        <a:pt x="18" y="7"/>
                        <a:pt x="18" y="7"/>
                        <a:pt x="19" y="7"/>
                      </a:cubicBezTo>
                      <a:cubicBezTo>
                        <a:pt x="19" y="7"/>
                        <a:pt x="19" y="19"/>
                        <a:pt x="19" y="20"/>
                      </a:cubicBezTo>
                      <a:cubicBezTo>
                        <a:pt x="19" y="21"/>
                        <a:pt x="19" y="22"/>
                        <a:pt x="20" y="22"/>
                      </a:cubicBezTo>
                      <a:cubicBezTo>
                        <a:pt x="21" y="20"/>
                        <a:pt x="22" y="17"/>
                        <a:pt x="23" y="15"/>
                      </a:cubicBezTo>
                      <a:cubicBezTo>
                        <a:pt x="23" y="11"/>
                        <a:pt x="23" y="7"/>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22" name="Freeform 836"/>
                <p:cNvSpPr>
                  <a:spLocks/>
                </p:cNvSpPr>
                <p:nvPr/>
              </p:nvSpPr>
              <p:spPr bwMode="auto">
                <a:xfrm>
                  <a:off x="14382" y="1883"/>
                  <a:ext cx="64" cy="109"/>
                </a:xfrm>
                <a:custGeom>
                  <a:avLst/>
                  <a:gdLst>
                    <a:gd name="T0" fmla="*/ 4 w 27"/>
                    <a:gd name="T1" fmla="*/ 19 h 46"/>
                    <a:gd name="T2" fmla="*/ 8 w 27"/>
                    <a:gd name="T3" fmla="*/ 6 h 46"/>
                    <a:gd name="T4" fmla="*/ 9 w 27"/>
                    <a:gd name="T5" fmla="*/ 6 h 46"/>
                    <a:gd name="T6" fmla="*/ 3 w 27"/>
                    <a:gd name="T7" fmla="*/ 28 h 46"/>
                    <a:gd name="T8" fmla="*/ 9 w 27"/>
                    <a:gd name="T9" fmla="*/ 28 h 46"/>
                    <a:gd name="T10" fmla="*/ 9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7 w 27"/>
                    <a:gd name="T23" fmla="*/ 46 h 46"/>
                    <a:gd name="T24" fmla="*/ 19 w 27"/>
                    <a:gd name="T25" fmla="*/ 44 h 46"/>
                    <a:gd name="T26" fmla="*/ 19 w 27"/>
                    <a:gd name="T27" fmla="*/ 28 h 46"/>
                    <a:gd name="T28" fmla="*/ 25 w 27"/>
                    <a:gd name="T29" fmla="*/ 28 h 46"/>
                    <a:gd name="T30" fmla="*/ 19 w 27"/>
                    <a:gd name="T31" fmla="*/ 6 h 46"/>
                    <a:gd name="T32" fmla="*/ 20 w 27"/>
                    <a:gd name="T33" fmla="*/ 6 h 46"/>
                    <a:gd name="T34" fmla="*/ 24 w 27"/>
                    <a:gd name="T35" fmla="*/ 19 h 46"/>
                    <a:gd name="T36" fmla="*/ 26 w 27"/>
                    <a:gd name="T37" fmla="*/ 20 h 46"/>
                    <a:gd name="T38" fmla="*/ 27 w 27"/>
                    <a:gd name="T39" fmla="*/ 18 h 46"/>
                    <a:gd name="T40" fmla="*/ 23 w 27"/>
                    <a:gd name="T41" fmla="*/ 4 h 46"/>
                    <a:gd name="T42" fmla="*/ 18 w 27"/>
                    <a:gd name="T43" fmla="*/ 0 h 46"/>
                    <a:gd name="T44" fmla="*/ 10 w 27"/>
                    <a:gd name="T45" fmla="*/ 0 h 46"/>
                    <a:gd name="T46" fmla="*/ 5 w 27"/>
                    <a:gd name="T47" fmla="*/ 4 h 46"/>
                    <a:gd name="T48" fmla="*/ 1 w 27"/>
                    <a:gd name="T49" fmla="*/ 18 h 46"/>
                    <a:gd name="T50" fmla="*/ 2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5"/>
                        <a:pt x="10"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7" y="46"/>
                      </a:cubicBezTo>
                      <a:cubicBezTo>
                        <a:pt x="18" y="46"/>
                        <a:pt x="19" y="45"/>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ubicBezTo>
                        <a:pt x="22" y="2"/>
                        <a:pt x="20" y="0"/>
                        <a:pt x="18" y="0"/>
                      </a:cubicBezTo>
                      <a:cubicBezTo>
                        <a:pt x="16" y="0"/>
                        <a:pt x="11" y="0"/>
                        <a:pt x="10" y="0"/>
                      </a:cubicBezTo>
                      <a:cubicBezTo>
                        <a:pt x="8" y="0"/>
                        <a:pt x="5" y="2"/>
                        <a:pt x="5" y="4"/>
                      </a:cubicBezTo>
                      <a:cubicBezTo>
                        <a:pt x="3" y="10"/>
                        <a:pt x="1" y="17"/>
                        <a:pt x="1" y="18"/>
                      </a:cubicBezTo>
                      <a:cubicBezTo>
                        <a:pt x="0" y="19"/>
                        <a:pt x="1" y="20"/>
                        <a:pt x="2" y="20"/>
                      </a:cubicBezTo>
                      <a:cubicBezTo>
                        <a:pt x="3" y="21"/>
                        <a:pt x="4" y="20"/>
                        <a:pt x="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23" name="Freeform 837"/>
                <p:cNvSpPr>
                  <a:spLocks/>
                </p:cNvSpPr>
                <p:nvPr/>
              </p:nvSpPr>
              <p:spPr bwMode="auto">
                <a:xfrm>
                  <a:off x="14498" y="1620"/>
                  <a:ext cx="7" cy="21"/>
                </a:xfrm>
                <a:custGeom>
                  <a:avLst/>
                  <a:gdLst>
                    <a:gd name="T0" fmla="*/ 0 w 3"/>
                    <a:gd name="T1" fmla="*/ 0 h 9"/>
                    <a:gd name="T2" fmla="*/ 0 w 3"/>
                    <a:gd name="T3" fmla="*/ 7 h 9"/>
                    <a:gd name="T4" fmla="*/ 2 w 3"/>
                    <a:gd name="T5" fmla="*/ 9 h 9"/>
                    <a:gd name="T6" fmla="*/ 3 w 3"/>
                    <a:gd name="T7" fmla="*/ 9 h 9"/>
                    <a:gd name="T8" fmla="*/ 1 w 3"/>
                    <a:gd name="T9" fmla="*/ 2 h 9"/>
                    <a:gd name="T10" fmla="*/ 0 w 3"/>
                    <a:gd name="T11" fmla="*/ 0 h 9"/>
                  </a:gdLst>
                  <a:ahLst/>
                  <a:cxnLst>
                    <a:cxn ang="0">
                      <a:pos x="T0" y="T1"/>
                    </a:cxn>
                    <a:cxn ang="0">
                      <a:pos x="T2" y="T3"/>
                    </a:cxn>
                    <a:cxn ang="0">
                      <a:pos x="T4" y="T5"/>
                    </a:cxn>
                    <a:cxn ang="0">
                      <a:pos x="T6" y="T7"/>
                    </a:cxn>
                    <a:cxn ang="0">
                      <a:pos x="T8" y="T9"/>
                    </a:cxn>
                    <a:cxn ang="0">
                      <a:pos x="T10" y="T11"/>
                    </a:cxn>
                  </a:cxnLst>
                  <a:rect l="0" t="0" r="r" b="b"/>
                  <a:pathLst>
                    <a:path w="3" h="9">
                      <a:moveTo>
                        <a:pt x="0" y="0"/>
                      </a:moveTo>
                      <a:cubicBezTo>
                        <a:pt x="0" y="3"/>
                        <a:pt x="0" y="6"/>
                        <a:pt x="0" y="7"/>
                      </a:cubicBezTo>
                      <a:cubicBezTo>
                        <a:pt x="0" y="8"/>
                        <a:pt x="1" y="9"/>
                        <a:pt x="2" y="9"/>
                      </a:cubicBezTo>
                      <a:cubicBezTo>
                        <a:pt x="2" y="9"/>
                        <a:pt x="3" y="9"/>
                        <a:pt x="3" y="9"/>
                      </a:cubicBezTo>
                      <a:cubicBezTo>
                        <a:pt x="3" y="6"/>
                        <a:pt x="2" y="4"/>
                        <a:pt x="1" y="2"/>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24" name="Freeform 838"/>
                <p:cNvSpPr>
                  <a:spLocks/>
                </p:cNvSpPr>
                <p:nvPr/>
              </p:nvSpPr>
              <p:spPr bwMode="auto">
                <a:xfrm>
                  <a:off x="14318" y="1736"/>
                  <a:ext cx="64" cy="111"/>
                </a:xfrm>
                <a:custGeom>
                  <a:avLst/>
                  <a:gdLst>
                    <a:gd name="T0" fmla="*/ 22 w 27"/>
                    <a:gd name="T1" fmla="*/ 4 h 47"/>
                    <a:gd name="T2" fmla="*/ 17 w 27"/>
                    <a:gd name="T3" fmla="*/ 0 h 47"/>
                    <a:gd name="T4" fmla="*/ 9 w 27"/>
                    <a:gd name="T5" fmla="*/ 0 h 47"/>
                    <a:gd name="T6" fmla="*/ 4 w 27"/>
                    <a:gd name="T7" fmla="*/ 4 h 47"/>
                    <a:gd name="T8" fmla="*/ 0 w 27"/>
                    <a:gd name="T9" fmla="*/ 18 h 47"/>
                    <a:gd name="T10" fmla="*/ 1 w 27"/>
                    <a:gd name="T11" fmla="*/ 20 h 47"/>
                    <a:gd name="T12" fmla="*/ 3 w 27"/>
                    <a:gd name="T13" fmla="*/ 19 h 47"/>
                    <a:gd name="T14" fmla="*/ 7 w 27"/>
                    <a:gd name="T15" fmla="*/ 6 h 47"/>
                    <a:gd name="T16" fmla="*/ 8 w 27"/>
                    <a:gd name="T17" fmla="*/ 6 h 47"/>
                    <a:gd name="T18" fmla="*/ 2 w 27"/>
                    <a:gd name="T19" fmla="*/ 28 h 47"/>
                    <a:gd name="T20" fmla="*/ 8 w 27"/>
                    <a:gd name="T21" fmla="*/ 28 h 47"/>
                    <a:gd name="T22" fmla="*/ 8 w 27"/>
                    <a:gd name="T23" fmla="*/ 44 h 47"/>
                    <a:gd name="T24" fmla="*/ 10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4 w 27"/>
                    <a:gd name="T41" fmla="*/ 28 h 47"/>
                    <a:gd name="T42" fmla="*/ 18 w 27"/>
                    <a:gd name="T43" fmla="*/ 6 h 47"/>
                    <a:gd name="T44" fmla="*/ 19 w 27"/>
                    <a:gd name="T45" fmla="*/ 6 h 47"/>
                    <a:gd name="T46" fmla="*/ 23 w 27"/>
                    <a:gd name="T47" fmla="*/ 19 h 47"/>
                    <a:gd name="T48" fmla="*/ 25 w 27"/>
                    <a:gd name="T49" fmla="*/ 20 h 47"/>
                    <a:gd name="T50" fmla="*/ 26 w 27"/>
                    <a:gd name="T51" fmla="*/ 18 h 47"/>
                    <a:gd name="T52" fmla="*/ 22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4"/>
                      </a:move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5"/>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25" name="Oval 839"/>
                <p:cNvSpPr>
                  <a:spLocks noChangeArrowheads="1"/>
                </p:cNvSpPr>
                <p:nvPr/>
              </p:nvSpPr>
              <p:spPr bwMode="auto">
                <a:xfrm>
                  <a:off x="14403" y="1857"/>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26" name="Oval 840"/>
                <p:cNvSpPr>
                  <a:spLocks noChangeArrowheads="1"/>
                </p:cNvSpPr>
                <p:nvPr/>
              </p:nvSpPr>
              <p:spPr bwMode="auto">
                <a:xfrm>
                  <a:off x="14273" y="1857"/>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27" name="Oval 841"/>
                <p:cNvSpPr>
                  <a:spLocks noChangeArrowheads="1"/>
                </p:cNvSpPr>
                <p:nvPr/>
              </p:nvSpPr>
              <p:spPr bwMode="auto">
                <a:xfrm>
                  <a:off x="14403" y="171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28" name="Freeform 842"/>
                <p:cNvSpPr>
                  <a:spLocks/>
                </p:cNvSpPr>
                <p:nvPr/>
              </p:nvSpPr>
              <p:spPr bwMode="auto">
                <a:xfrm>
                  <a:off x="14256" y="1736"/>
                  <a:ext cx="55" cy="109"/>
                </a:xfrm>
                <a:custGeom>
                  <a:avLst/>
                  <a:gdLst>
                    <a:gd name="T0" fmla="*/ 21 w 23"/>
                    <a:gd name="T1" fmla="*/ 22 h 46"/>
                    <a:gd name="T2" fmla="*/ 23 w 23"/>
                    <a:gd name="T3" fmla="*/ 20 h 46"/>
                    <a:gd name="T4" fmla="*/ 23 w 23"/>
                    <a:gd name="T5" fmla="*/ 6 h 46"/>
                    <a:gd name="T6" fmla="*/ 17 w 23"/>
                    <a:gd name="T7" fmla="*/ 0 h 46"/>
                    <a:gd name="T8" fmla="*/ 6 w 23"/>
                    <a:gd name="T9" fmla="*/ 0 h 46"/>
                    <a:gd name="T10" fmla="*/ 0 w 23"/>
                    <a:gd name="T11" fmla="*/ 6 h 46"/>
                    <a:gd name="T12" fmla="*/ 0 w 23"/>
                    <a:gd name="T13" fmla="*/ 20 h 46"/>
                    <a:gd name="T14" fmla="*/ 2 w 23"/>
                    <a:gd name="T15" fmla="*/ 22 h 46"/>
                    <a:gd name="T16" fmla="*/ 4 w 23"/>
                    <a:gd name="T17" fmla="*/ 20 h 46"/>
                    <a:gd name="T18" fmla="*/ 4 w 23"/>
                    <a:gd name="T19" fmla="*/ 7 h 46"/>
                    <a:gd name="T20" fmla="*/ 5 w 23"/>
                    <a:gd name="T21" fmla="*/ 7 h 46"/>
                    <a:gd name="T22" fmla="*/ 5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8 w 23"/>
                    <a:gd name="T37" fmla="*/ 44 h 46"/>
                    <a:gd name="T38" fmla="*/ 18 w 23"/>
                    <a:gd name="T39" fmla="*/ 7 h 46"/>
                    <a:gd name="T40" fmla="*/ 19 w 23"/>
                    <a:gd name="T41" fmla="*/ 7 h 46"/>
                    <a:gd name="T42" fmla="*/ 19 w 23"/>
                    <a:gd name="T43" fmla="*/ 20 h 46"/>
                    <a:gd name="T44" fmla="*/ 21 w 23"/>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2"/>
                      </a:moveTo>
                      <a:cubicBezTo>
                        <a:pt x="22" y="22"/>
                        <a:pt x="23" y="22"/>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2"/>
                        <a:pt x="2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29" name="Oval 843"/>
                <p:cNvSpPr>
                  <a:spLocks noChangeArrowheads="1"/>
                </p:cNvSpPr>
                <p:nvPr/>
              </p:nvSpPr>
              <p:spPr bwMode="auto">
                <a:xfrm>
                  <a:off x="14273" y="171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30" name="Oval 844"/>
                <p:cNvSpPr>
                  <a:spLocks noChangeArrowheads="1"/>
                </p:cNvSpPr>
                <p:nvPr/>
              </p:nvSpPr>
              <p:spPr bwMode="auto">
                <a:xfrm>
                  <a:off x="14273"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31" name="Freeform 845"/>
                <p:cNvSpPr>
                  <a:spLocks/>
                </p:cNvSpPr>
                <p:nvPr/>
              </p:nvSpPr>
              <p:spPr bwMode="auto">
                <a:xfrm>
                  <a:off x="14252" y="1587"/>
                  <a:ext cx="64" cy="111"/>
                </a:xfrm>
                <a:custGeom>
                  <a:avLst/>
                  <a:gdLst>
                    <a:gd name="T0" fmla="*/ 23 w 27"/>
                    <a:gd name="T1" fmla="*/ 20 h 47"/>
                    <a:gd name="T2" fmla="*/ 25 w 27"/>
                    <a:gd name="T3" fmla="*/ 21 h 47"/>
                    <a:gd name="T4" fmla="*/ 27 w 27"/>
                    <a:gd name="T5" fmla="*/ 19 h 47"/>
                    <a:gd name="T6" fmla="*/ 23 w 27"/>
                    <a:gd name="T7" fmla="*/ 5 h 47"/>
                    <a:gd name="T8" fmla="*/ 17 w 27"/>
                    <a:gd name="T9" fmla="*/ 0 h 47"/>
                    <a:gd name="T10" fmla="*/ 10 w 27"/>
                    <a:gd name="T11" fmla="*/ 0 h 47"/>
                    <a:gd name="T12" fmla="*/ 4 w 27"/>
                    <a:gd name="T13" fmla="*/ 5 h 47"/>
                    <a:gd name="T14" fmla="*/ 0 w 27"/>
                    <a:gd name="T15" fmla="*/ 19 h 47"/>
                    <a:gd name="T16" fmla="*/ 1 w 27"/>
                    <a:gd name="T17" fmla="*/ 21 h 47"/>
                    <a:gd name="T18" fmla="*/ 4 w 27"/>
                    <a:gd name="T19" fmla="*/ 20 h 47"/>
                    <a:gd name="T20" fmla="*/ 8 w 27"/>
                    <a:gd name="T21" fmla="*/ 7 h 47"/>
                    <a:gd name="T22" fmla="*/ 9 w 27"/>
                    <a:gd name="T23" fmla="*/ 7 h 47"/>
                    <a:gd name="T24" fmla="*/ 2 w 27"/>
                    <a:gd name="T25" fmla="*/ 28 h 47"/>
                    <a:gd name="T26" fmla="*/ 8 w 27"/>
                    <a:gd name="T27" fmla="*/ 28 h 47"/>
                    <a:gd name="T28" fmla="*/ 8 w 27"/>
                    <a:gd name="T29" fmla="*/ 45 h 47"/>
                    <a:gd name="T30" fmla="*/ 11 w 27"/>
                    <a:gd name="T31" fmla="*/ 47 h 47"/>
                    <a:gd name="T32" fmla="*/ 13 w 27"/>
                    <a:gd name="T33" fmla="*/ 45 h 47"/>
                    <a:gd name="T34" fmla="*/ 13 w 27"/>
                    <a:gd name="T35" fmla="*/ 28 h 47"/>
                    <a:gd name="T36" fmla="*/ 14 w 27"/>
                    <a:gd name="T37" fmla="*/ 28 h 47"/>
                    <a:gd name="T38" fmla="*/ 14 w 27"/>
                    <a:gd name="T39" fmla="*/ 45 h 47"/>
                    <a:gd name="T40" fmla="*/ 16 w 27"/>
                    <a:gd name="T41" fmla="*/ 47 h 47"/>
                    <a:gd name="T42" fmla="*/ 18 w 27"/>
                    <a:gd name="T43" fmla="*/ 45 h 47"/>
                    <a:gd name="T44" fmla="*/ 18 w 27"/>
                    <a:gd name="T45" fmla="*/ 28 h 47"/>
                    <a:gd name="T46" fmla="*/ 25 w 27"/>
                    <a:gd name="T47" fmla="*/ 28 h 47"/>
                    <a:gd name="T48" fmla="*/ 18 w 27"/>
                    <a:gd name="T49" fmla="*/ 7 h 47"/>
                    <a:gd name="T50" fmla="*/ 19 w 27"/>
                    <a:gd name="T51" fmla="*/ 7 h 47"/>
                    <a:gd name="T52" fmla="*/ 23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20"/>
                      </a:moveTo>
                      <a:cubicBezTo>
                        <a:pt x="23" y="21"/>
                        <a:pt x="24" y="21"/>
                        <a:pt x="25"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2" y="11"/>
                        <a:pt x="0" y="18"/>
                        <a:pt x="0" y="19"/>
                      </a:cubicBezTo>
                      <a:cubicBezTo>
                        <a:pt x="0" y="20"/>
                        <a:pt x="0" y="21"/>
                        <a:pt x="1" y="21"/>
                      </a:cubicBezTo>
                      <a:cubicBezTo>
                        <a:pt x="2" y="21"/>
                        <a:pt x="3" y="21"/>
                        <a:pt x="4" y="20"/>
                      </a:cubicBezTo>
                      <a:cubicBezTo>
                        <a:pt x="4" y="18"/>
                        <a:pt x="8" y="7"/>
                        <a:pt x="8"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32" name="Freeform 846"/>
                <p:cNvSpPr>
                  <a:spLocks/>
                </p:cNvSpPr>
                <p:nvPr/>
              </p:nvSpPr>
              <p:spPr bwMode="auto">
                <a:xfrm>
                  <a:off x="14382" y="1587"/>
                  <a:ext cx="64" cy="111"/>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1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1"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33" name="Oval 847"/>
                <p:cNvSpPr>
                  <a:spLocks noChangeArrowheads="1"/>
                </p:cNvSpPr>
                <p:nvPr/>
              </p:nvSpPr>
              <p:spPr bwMode="auto">
                <a:xfrm>
                  <a:off x="14337" y="171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34" name="Oval 848"/>
                <p:cNvSpPr>
                  <a:spLocks noChangeArrowheads="1"/>
                </p:cNvSpPr>
                <p:nvPr/>
              </p:nvSpPr>
              <p:spPr bwMode="auto">
                <a:xfrm>
                  <a:off x="14337" y="156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35" name="Oval 849"/>
                <p:cNvSpPr>
                  <a:spLocks noChangeArrowheads="1"/>
                </p:cNvSpPr>
                <p:nvPr/>
              </p:nvSpPr>
              <p:spPr bwMode="auto">
                <a:xfrm>
                  <a:off x="14403" y="156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36" name="Freeform 850"/>
                <p:cNvSpPr>
                  <a:spLocks/>
                </p:cNvSpPr>
                <p:nvPr/>
              </p:nvSpPr>
              <p:spPr bwMode="auto">
                <a:xfrm>
                  <a:off x="14323" y="1587"/>
                  <a:ext cx="52" cy="111"/>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8 w 22"/>
                    <a:gd name="T13" fmla="*/ 47 h 47"/>
                    <a:gd name="T14" fmla="*/ 11 w 22"/>
                    <a:gd name="T15" fmla="*/ 44 h 47"/>
                    <a:gd name="T16" fmla="*/ 11 w 22"/>
                    <a:gd name="T17" fmla="*/ 23 h 47"/>
                    <a:gd name="T18" fmla="*/ 12 w 22"/>
                    <a:gd name="T19" fmla="*/ 23 h 47"/>
                    <a:gd name="T20" fmla="*/ 12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6 h 47"/>
                    <a:gd name="T38" fmla="*/ 16 w 22"/>
                    <a:gd name="T39" fmla="*/ 0 h 47"/>
                    <a:gd name="T40" fmla="*/ 6 w 22"/>
                    <a:gd name="T41" fmla="*/ 0 h 47"/>
                    <a:gd name="T42" fmla="*/ 0 w 22"/>
                    <a:gd name="T43" fmla="*/ 6 h 47"/>
                    <a:gd name="T44" fmla="*/ 0 w 22"/>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37" name="Freeform 851"/>
                <p:cNvSpPr>
                  <a:spLocks/>
                </p:cNvSpPr>
                <p:nvPr/>
              </p:nvSpPr>
              <p:spPr bwMode="auto">
                <a:xfrm>
                  <a:off x="14389" y="1736"/>
                  <a:ext cx="52" cy="109"/>
                </a:xfrm>
                <a:custGeom>
                  <a:avLst/>
                  <a:gdLst>
                    <a:gd name="T0" fmla="*/ 20 w 22"/>
                    <a:gd name="T1" fmla="*/ 22 h 46"/>
                    <a:gd name="T2" fmla="*/ 22 w 22"/>
                    <a:gd name="T3" fmla="*/ 20 h 46"/>
                    <a:gd name="T4" fmla="*/ 22 w 22"/>
                    <a:gd name="T5" fmla="*/ 6 h 46"/>
                    <a:gd name="T6" fmla="*/ 16 w 22"/>
                    <a:gd name="T7" fmla="*/ 0 h 46"/>
                    <a:gd name="T8" fmla="*/ 6 w 22"/>
                    <a:gd name="T9" fmla="*/ 0 h 46"/>
                    <a:gd name="T10" fmla="*/ 0 w 22"/>
                    <a:gd name="T11" fmla="*/ 6 h 46"/>
                    <a:gd name="T12" fmla="*/ 0 w 22"/>
                    <a:gd name="T13" fmla="*/ 20 h 46"/>
                    <a:gd name="T14" fmla="*/ 2 w 22"/>
                    <a:gd name="T15" fmla="*/ 22 h 46"/>
                    <a:gd name="T16" fmla="*/ 4 w 22"/>
                    <a:gd name="T17" fmla="*/ 20 h 46"/>
                    <a:gd name="T18" fmla="*/ 4 w 22"/>
                    <a:gd name="T19" fmla="*/ 7 h 46"/>
                    <a:gd name="T20" fmla="*/ 5 w 22"/>
                    <a:gd name="T21" fmla="*/ 7 h 46"/>
                    <a:gd name="T22" fmla="*/ 5 w 22"/>
                    <a:gd name="T23" fmla="*/ 44 h 46"/>
                    <a:gd name="T24" fmla="*/ 8 w 22"/>
                    <a:gd name="T25" fmla="*/ 46 h 46"/>
                    <a:gd name="T26" fmla="*/ 10 w 22"/>
                    <a:gd name="T27" fmla="*/ 44 h 46"/>
                    <a:gd name="T28" fmla="*/ 10 w 22"/>
                    <a:gd name="T29" fmla="*/ 23 h 46"/>
                    <a:gd name="T30" fmla="*/ 11 w 22"/>
                    <a:gd name="T31" fmla="*/ 23 h 46"/>
                    <a:gd name="T32" fmla="*/ 11 w 22"/>
                    <a:gd name="T33" fmla="*/ 44 h 46"/>
                    <a:gd name="T34" fmla="*/ 14 w 22"/>
                    <a:gd name="T35" fmla="*/ 46 h 46"/>
                    <a:gd name="T36" fmla="*/ 17 w 22"/>
                    <a:gd name="T37" fmla="*/ 44 h 46"/>
                    <a:gd name="T38" fmla="*/ 17 w 22"/>
                    <a:gd name="T39" fmla="*/ 7 h 46"/>
                    <a:gd name="T40" fmla="*/ 18 w 22"/>
                    <a:gd name="T41" fmla="*/ 7 h 46"/>
                    <a:gd name="T42" fmla="*/ 18 w 22"/>
                    <a:gd name="T43" fmla="*/ 20 h 46"/>
                    <a:gd name="T44" fmla="*/ 20 w 22"/>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0" y="22"/>
                      </a:moveTo>
                      <a:cubicBezTo>
                        <a:pt x="21" y="22"/>
                        <a:pt x="22" y="22"/>
                        <a:pt x="22" y="20"/>
                      </a:cubicBezTo>
                      <a:cubicBezTo>
                        <a:pt x="22" y="19"/>
                        <a:pt x="22" y="7"/>
                        <a:pt x="22" y="6"/>
                      </a:cubicBezTo>
                      <a:cubicBezTo>
                        <a:pt x="22" y="2"/>
                        <a:pt x="19" y="0"/>
                        <a:pt x="16" y="0"/>
                      </a:cubicBezTo>
                      <a:cubicBezTo>
                        <a:pt x="14" y="0"/>
                        <a:pt x="7" y="0"/>
                        <a:pt x="6" y="0"/>
                      </a:cubicBezTo>
                      <a:cubicBezTo>
                        <a:pt x="2" y="0"/>
                        <a:pt x="0" y="2"/>
                        <a:pt x="0" y="6"/>
                      </a:cubicBezTo>
                      <a:cubicBezTo>
                        <a:pt x="0" y="7"/>
                        <a:pt x="0" y="19"/>
                        <a:pt x="0" y="20"/>
                      </a:cubicBezTo>
                      <a:cubicBezTo>
                        <a:pt x="0" y="22"/>
                        <a:pt x="0" y="22"/>
                        <a:pt x="2" y="22"/>
                      </a:cubicBezTo>
                      <a:cubicBezTo>
                        <a:pt x="3" y="22"/>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1" y="23"/>
                      </a:cubicBezTo>
                      <a:cubicBezTo>
                        <a:pt x="11" y="23"/>
                        <a:pt x="11" y="41"/>
                        <a:pt x="11" y="44"/>
                      </a:cubicBezTo>
                      <a:cubicBezTo>
                        <a:pt x="11"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2"/>
                        <a:pt x="2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38" name="Oval 852"/>
                <p:cNvSpPr>
                  <a:spLocks noChangeArrowheads="1"/>
                </p:cNvSpPr>
                <p:nvPr/>
              </p:nvSpPr>
              <p:spPr bwMode="auto">
                <a:xfrm>
                  <a:off x="13686"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39" name="Freeform 853"/>
                <p:cNvSpPr>
                  <a:spLocks/>
                </p:cNvSpPr>
                <p:nvPr/>
              </p:nvSpPr>
              <p:spPr bwMode="auto">
                <a:xfrm>
                  <a:off x="13800" y="1883"/>
                  <a:ext cx="54" cy="109"/>
                </a:xfrm>
                <a:custGeom>
                  <a:avLst/>
                  <a:gdLst>
                    <a:gd name="T0" fmla="*/ 4 w 23"/>
                    <a:gd name="T1" fmla="*/ 20 h 46"/>
                    <a:gd name="T2" fmla="*/ 4 w 23"/>
                    <a:gd name="T3" fmla="*/ 7 h 46"/>
                    <a:gd name="T4" fmla="*/ 6 w 23"/>
                    <a:gd name="T5" fmla="*/ 7 h 46"/>
                    <a:gd name="T6" fmla="*/ 6 w 23"/>
                    <a:gd name="T7" fmla="*/ 44 h 46"/>
                    <a:gd name="T8" fmla="*/ 8 w 23"/>
                    <a:gd name="T9" fmla="*/ 46 h 46"/>
                    <a:gd name="T10" fmla="*/ 11 w 23"/>
                    <a:gd name="T11" fmla="*/ 44 h 46"/>
                    <a:gd name="T12" fmla="*/ 11 w 23"/>
                    <a:gd name="T13" fmla="*/ 22 h 46"/>
                    <a:gd name="T14" fmla="*/ 12 w 23"/>
                    <a:gd name="T15" fmla="*/ 22 h 46"/>
                    <a:gd name="T16" fmla="*/ 12 w 23"/>
                    <a:gd name="T17" fmla="*/ 44 h 46"/>
                    <a:gd name="T18" fmla="*/ 15 w 23"/>
                    <a:gd name="T19" fmla="*/ 46 h 46"/>
                    <a:gd name="T20" fmla="*/ 18 w 23"/>
                    <a:gd name="T21" fmla="*/ 44 h 46"/>
                    <a:gd name="T22" fmla="*/ 18 w 23"/>
                    <a:gd name="T23" fmla="*/ 7 h 46"/>
                    <a:gd name="T24" fmla="*/ 19 w 23"/>
                    <a:gd name="T25" fmla="*/ 7 h 46"/>
                    <a:gd name="T26" fmla="*/ 19 w 23"/>
                    <a:gd name="T27" fmla="*/ 20 h 46"/>
                    <a:gd name="T28" fmla="*/ 21 w 23"/>
                    <a:gd name="T29" fmla="*/ 22 h 46"/>
                    <a:gd name="T30" fmla="*/ 23 w 23"/>
                    <a:gd name="T31" fmla="*/ 20 h 46"/>
                    <a:gd name="T32" fmla="*/ 23 w 23"/>
                    <a:gd name="T33" fmla="*/ 6 h 46"/>
                    <a:gd name="T34" fmla="*/ 17 w 23"/>
                    <a:gd name="T35" fmla="*/ 0 h 46"/>
                    <a:gd name="T36" fmla="*/ 6 w 23"/>
                    <a:gd name="T37" fmla="*/ 0 h 46"/>
                    <a:gd name="T38" fmla="*/ 0 w 23"/>
                    <a:gd name="T39" fmla="*/ 6 h 46"/>
                    <a:gd name="T40" fmla="*/ 0 w 23"/>
                    <a:gd name="T41" fmla="*/ 20 h 46"/>
                    <a:gd name="T42" fmla="*/ 2 w 23"/>
                    <a:gd name="T43" fmla="*/ 22 h 46"/>
                    <a:gd name="T44" fmla="*/ 4 w 23"/>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4" y="20"/>
                      </a:moveTo>
                      <a:cubicBezTo>
                        <a:pt x="4" y="19"/>
                        <a:pt x="4" y="7"/>
                        <a:pt x="4" y="7"/>
                      </a:cubicBezTo>
                      <a:cubicBezTo>
                        <a:pt x="4" y="7"/>
                        <a:pt x="4" y="7"/>
                        <a:pt x="6" y="7"/>
                      </a:cubicBezTo>
                      <a:cubicBezTo>
                        <a:pt x="6" y="7"/>
                        <a:pt x="6" y="41"/>
                        <a:pt x="6" y="44"/>
                      </a:cubicBezTo>
                      <a:cubicBezTo>
                        <a:pt x="6" y="45"/>
                        <a:pt x="7" y="46"/>
                        <a:pt x="8" y="46"/>
                      </a:cubicBezTo>
                      <a:cubicBezTo>
                        <a:pt x="10" y="46"/>
                        <a:pt x="11" y="45"/>
                        <a:pt x="11" y="44"/>
                      </a:cubicBezTo>
                      <a:cubicBezTo>
                        <a:pt x="11" y="41"/>
                        <a:pt x="11" y="22"/>
                        <a:pt x="11" y="22"/>
                      </a:cubicBezTo>
                      <a:cubicBezTo>
                        <a:pt x="11" y="22"/>
                        <a:pt x="11" y="22"/>
                        <a:pt x="12" y="22"/>
                      </a:cubicBezTo>
                      <a:cubicBezTo>
                        <a:pt x="12" y="22"/>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1"/>
                        <a:pt x="20" y="22"/>
                        <a:pt x="21" y="22"/>
                      </a:cubicBezTo>
                      <a:cubicBezTo>
                        <a:pt x="22" y="22"/>
                        <a:pt x="23" y="21"/>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1"/>
                        <a:pt x="1" y="22"/>
                        <a:pt x="2" y="22"/>
                      </a:cubicBezTo>
                      <a:cubicBezTo>
                        <a:pt x="4" y="22"/>
                        <a:pt x="4" y="21"/>
                        <a:pt x="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40" name="Freeform 854"/>
                <p:cNvSpPr>
                  <a:spLocks/>
                </p:cNvSpPr>
                <p:nvPr/>
              </p:nvSpPr>
              <p:spPr bwMode="auto">
                <a:xfrm>
                  <a:off x="13669" y="1587"/>
                  <a:ext cx="55" cy="111"/>
                </a:xfrm>
                <a:custGeom>
                  <a:avLst/>
                  <a:gdLst>
                    <a:gd name="T0" fmla="*/ 0 w 23"/>
                    <a:gd name="T1" fmla="*/ 21 h 47"/>
                    <a:gd name="T2" fmla="*/ 2 w 23"/>
                    <a:gd name="T3" fmla="*/ 23 h 47"/>
                    <a:gd name="T4" fmla="*/ 4 w 23"/>
                    <a:gd name="T5" fmla="*/ 21 h 47"/>
                    <a:gd name="T6" fmla="*/ 4 w 23"/>
                    <a:gd name="T7" fmla="*/ 8 h 47"/>
                    <a:gd name="T8" fmla="*/ 5 w 23"/>
                    <a:gd name="T9" fmla="*/ 8 h 47"/>
                    <a:gd name="T10" fmla="*/ 5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7 w 23"/>
                    <a:gd name="T25" fmla="*/ 44 h 47"/>
                    <a:gd name="T26" fmla="*/ 17 w 23"/>
                    <a:gd name="T27" fmla="*/ 8 h 47"/>
                    <a:gd name="T28" fmla="*/ 18 w 23"/>
                    <a:gd name="T29" fmla="*/ 8 h 47"/>
                    <a:gd name="T30" fmla="*/ 18 w 23"/>
                    <a:gd name="T31" fmla="*/ 21 h 47"/>
                    <a:gd name="T32" fmla="*/ 21 w 23"/>
                    <a:gd name="T33" fmla="*/ 23 h 47"/>
                    <a:gd name="T34" fmla="*/ 23 w 23"/>
                    <a:gd name="T35" fmla="*/ 21 h 47"/>
                    <a:gd name="T36" fmla="*/ 23 w 23"/>
                    <a:gd name="T37" fmla="*/ 6 h 47"/>
                    <a:gd name="T38" fmla="*/ 17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41" name="Oval 855"/>
                <p:cNvSpPr>
                  <a:spLocks noChangeArrowheads="1"/>
                </p:cNvSpPr>
                <p:nvPr/>
              </p:nvSpPr>
              <p:spPr bwMode="auto">
                <a:xfrm>
                  <a:off x="13686" y="171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42" name="Oval 856"/>
                <p:cNvSpPr>
                  <a:spLocks noChangeArrowheads="1"/>
                </p:cNvSpPr>
                <p:nvPr/>
              </p:nvSpPr>
              <p:spPr bwMode="auto">
                <a:xfrm>
                  <a:off x="13816" y="171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43" name="Oval 857"/>
                <p:cNvSpPr>
                  <a:spLocks noChangeArrowheads="1"/>
                </p:cNvSpPr>
                <p:nvPr/>
              </p:nvSpPr>
              <p:spPr bwMode="auto">
                <a:xfrm>
                  <a:off x="13816" y="156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44" name="Freeform 858"/>
                <p:cNvSpPr>
                  <a:spLocks/>
                </p:cNvSpPr>
                <p:nvPr/>
              </p:nvSpPr>
              <p:spPr bwMode="auto">
                <a:xfrm>
                  <a:off x="13795" y="1736"/>
                  <a:ext cx="64" cy="111"/>
                </a:xfrm>
                <a:custGeom>
                  <a:avLst/>
                  <a:gdLst>
                    <a:gd name="T0" fmla="*/ 23 w 27"/>
                    <a:gd name="T1" fmla="*/ 4 h 47"/>
                    <a:gd name="T2" fmla="*/ 18 w 27"/>
                    <a:gd name="T3" fmla="*/ 0 h 47"/>
                    <a:gd name="T4" fmla="*/ 10 w 27"/>
                    <a:gd name="T5" fmla="*/ 0 h 47"/>
                    <a:gd name="T6" fmla="*/ 5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7 w 27"/>
                    <a:gd name="T35" fmla="*/ 47 h 47"/>
                    <a:gd name="T36" fmla="*/ 19 w 27"/>
                    <a:gd name="T37" fmla="*/ 44 h 47"/>
                    <a:gd name="T38" fmla="*/ 19 w 27"/>
                    <a:gd name="T39" fmla="*/ 28 h 47"/>
                    <a:gd name="T40" fmla="*/ 25 w 27"/>
                    <a:gd name="T41" fmla="*/ 28 h 47"/>
                    <a:gd name="T42" fmla="*/ 18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45" name="Oval 859"/>
                <p:cNvSpPr>
                  <a:spLocks noChangeArrowheads="1"/>
                </p:cNvSpPr>
                <p:nvPr/>
              </p:nvSpPr>
              <p:spPr bwMode="auto">
                <a:xfrm>
                  <a:off x="13816" y="1857"/>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46" name="Freeform 860"/>
                <p:cNvSpPr>
                  <a:spLocks/>
                </p:cNvSpPr>
                <p:nvPr/>
              </p:nvSpPr>
              <p:spPr bwMode="auto">
                <a:xfrm>
                  <a:off x="13800" y="1587"/>
                  <a:ext cx="54" cy="111"/>
                </a:xfrm>
                <a:custGeom>
                  <a:avLst/>
                  <a:gdLst>
                    <a:gd name="T0" fmla="*/ 0 w 23"/>
                    <a:gd name="T1" fmla="*/ 21 h 47"/>
                    <a:gd name="T2" fmla="*/ 2 w 23"/>
                    <a:gd name="T3" fmla="*/ 23 h 47"/>
                    <a:gd name="T4" fmla="*/ 4 w 23"/>
                    <a:gd name="T5" fmla="*/ 21 h 47"/>
                    <a:gd name="T6" fmla="*/ 4 w 23"/>
                    <a:gd name="T7" fmla="*/ 8 h 47"/>
                    <a:gd name="T8" fmla="*/ 6 w 23"/>
                    <a:gd name="T9" fmla="*/ 8 h 47"/>
                    <a:gd name="T10" fmla="*/ 6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8 w 23"/>
                    <a:gd name="T25" fmla="*/ 44 h 47"/>
                    <a:gd name="T26" fmla="*/ 18 w 23"/>
                    <a:gd name="T27" fmla="*/ 8 h 47"/>
                    <a:gd name="T28" fmla="*/ 19 w 23"/>
                    <a:gd name="T29" fmla="*/ 8 h 47"/>
                    <a:gd name="T30" fmla="*/ 19 w 23"/>
                    <a:gd name="T31" fmla="*/ 21 h 47"/>
                    <a:gd name="T32" fmla="*/ 21 w 23"/>
                    <a:gd name="T33" fmla="*/ 23 h 47"/>
                    <a:gd name="T34" fmla="*/ 23 w 23"/>
                    <a:gd name="T35" fmla="*/ 21 h 47"/>
                    <a:gd name="T36" fmla="*/ 23 w 23"/>
                    <a:gd name="T37" fmla="*/ 6 h 47"/>
                    <a:gd name="T38" fmla="*/ 17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4"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47" name="Freeform 861"/>
                <p:cNvSpPr>
                  <a:spLocks/>
                </p:cNvSpPr>
                <p:nvPr/>
              </p:nvSpPr>
              <p:spPr bwMode="auto">
                <a:xfrm>
                  <a:off x="13729" y="1883"/>
                  <a:ext cx="64" cy="109"/>
                </a:xfrm>
                <a:custGeom>
                  <a:avLst/>
                  <a:gdLst>
                    <a:gd name="T0" fmla="*/ 4 w 27"/>
                    <a:gd name="T1" fmla="*/ 19 h 46"/>
                    <a:gd name="T2" fmla="*/ 8 w 27"/>
                    <a:gd name="T3" fmla="*/ 6 h 46"/>
                    <a:gd name="T4" fmla="*/ 9 w 27"/>
                    <a:gd name="T5" fmla="*/ 6 h 46"/>
                    <a:gd name="T6" fmla="*/ 3 w 27"/>
                    <a:gd name="T7" fmla="*/ 28 h 46"/>
                    <a:gd name="T8" fmla="*/ 9 w 27"/>
                    <a:gd name="T9" fmla="*/ 28 h 46"/>
                    <a:gd name="T10" fmla="*/ 9 w 27"/>
                    <a:gd name="T11" fmla="*/ 44 h 46"/>
                    <a:gd name="T12" fmla="*/ 11 w 27"/>
                    <a:gd name="T13" fmla="*/ 46 h 46"/>
                    <a:gd name="T14" fmla="*/ 14 w 27"/>
                    <a:gd name="T15" fmla="*/ 44 h 46"/>
                    <a:gd name="T16" fmla="*/ 14 w 27"/>
                    <a:gd name="T17" fmla="*/ 28 h 46"/>
                    <a:gd name="T18" fmla="*/ 15 w 27"/>
                    <a:gd name="T19" fmla="*/ 28 h 46"/>
                    <a:gd name="T20" fmla="*/ 15 w 27"/>
                    <a:gd name="T21" fmla="*/ 44 h 46"/>
                    <a:gd name="T22" fmla="*/ 17 w 27"/>
                    <a:gd name="T23" fmla="*/ 46 h 46"/>
                    <a:gd name="T24" fmla="*/ 19 w 27"/>
                    <a:gd name="T25" fmla="*/ 44 h 46"/>
                    <a:gd name="T26" fmla="*/ 19 w 27"/>
                    <a:gd name="T27" fmla="*/ 28 h 46"/>
                    <a:gd name="T28" fmla="*/ 25 w 27"/>
                    <a:gd name="T29" fmla="*/ 28 h 46"/>
                    <a:gd name="T30" fmla="*/ 19 w 27"/>
                    <a:gd name="T31" fmla="*/ 6 h 46"/>
                    <a:gd name="T32" fmla="*/ 20 w 27"/>
                    <a:gd name="T33" fmla="*/ 6 h 46"/>
                    <a:gd name="T34" fmla="*/ 24 w 27"/>
                    <a:gd name="T35" fmla="*/ 19 h 46"/>
                    <a:gd name="T36" fmla="*/ 26 w 27"/>
                    <a:gd name="T37" fmla="*/ 20 h 46"/>
                    <a:gd name="T38" fmla="*/ 27 w 27"/>
                    <a:gd name="T39" fmla="*/ 18 h 46"/>
                    <a:gd name="T40" fmla="*/ 23 w 27"/>
                    <a:gd name="T41" fmla="*/ 4 h 46"/>
                    <a:gd name="T42" fmla="*/ 18 w 27"/>
                    <a:gd name="T43" fmla="*/ 0 h 46"/>
                    <a:gd name="T44" fmla="*/ 10 w 27"/>
                    <a:gd name="T45" fmla="*/ 0 h 46"/>
                    <a:gd name="T46" fmla="*/ 5 w 27"/>
                    <a:gd name="T47" fmla="*/ 4 h 46"/>
                    <a:gd name="T48" fmla="*/ 1 w 27"/>
                    <a:gd name="T49" fmla="*/ 18 h 46"/>
                    <a:gd name="T50" fmla="*/ 2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5"/>
                        <a:pt x="10" y="46"/>
                        <a:pt x="11" y="46"/>
                      </a:cubicBezTo>
                      <a:cubicBezTo>
                        <a:pt x="12" y="46"/>
                        <a:pt x="14" y="45"/>
                        <a:pt x="14" y="44"/>
                      </a:cubicBezTo>
                      <a:cubicBezTo>
                        <a:pt x="14" y="42"/>
                        <a:pt x="14" y="28"/>
                        <a:pt x="14" y="28"/>
                      </a:cubicBezTo>
                      <a:cubicBezTo>
                        <a:pt x="15" y="28"/>
                        <a:pt x="15" y="28"/>
                        <a:pt x="15" y="28"/>
                      </a:cubicBezTo>
                      <a:cubicBezTo>
                        <a:pt x="15" y="28"/>
                        <a:pt x="15" y="42"/>
                        <a:pt x="15" y="44"/>
                      </a:cubicBezTo>
                      <a:cubicBezTo>
                        <a:pt x="15" y="45"/>
                        <a:pt x="16" y="46"/>
                        <a:pt x="17" y="46"/>
                      </a:cubicBezTo>
                      <a:cubicBezTo>
                        <a:pt x="18" y="46"/>
                        <a:pt x="19" y="45"/>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ubicBezTo>
                        <a:pt x="23"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48" name="Freeform 862"/>
                <p:cNvSpPr>
                  <a:spLocks/>
                </p:cNvSpPr>
                <p:nvPr/>
              </p:nvSpPr>
              <p:spPr bwMode="auto">
                <a:xfrm>
                  <a:off x="14062" y="1587"/>
                  <a:ext cx="55" cy="111"/>
                </a:xfrm>
                <a:custGeom>
                  <a:avLst/>
                  <a:gdLst>
                    <a:gd name="T0" fmla="*/ 0 w 23"/>
                    <a:gd name="T1" fmla="*/ 21 h 47"/>
                    <a:gd name="T2" fmla="*/ 2 w 23"/>
                    <a:gd name="T3" fmla="*/ 23 h 47"/>
                    <a:gd name="T4" fmla="*/ 4 w 23"/>
                    <a:gd name="T5" fmla="*/ 21 h 47"/>
                    <a:gd name="T6" fmla="*/ 4 w 23"/>
                    <a:gd name="T7" fmla="*/ 8 h 47"/>
                    <a:gd name="T8" fmla="*/ 5 w 23"/>
                    <a:gd name="T9" fmla="*/ 8 h 47"/>
                    <a:gd name="T10" fmla="*/ 5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8 w 23"/>
                    <a:gd name="T25" fmla="*/ 44 h 47"/>
                    <a:gd name="T26" fmla="*/ 18 w 23"/>
                    <a:gd name="T27" fmla="*/ 8 h 47"/>
                    <a:gd name="T28" fmla="*/ 19 w 23"/>
                    <a:gd name="T29" fmla="*/ 8 h 47"/>
                    <a:gd name="T30" fmla="*/ 19 w 23"/>
                    <a:gd name="T31" fmla="*/ 21 h 47"/>
                    <a:gd name="T32" fmla="*/ 21 w 23"/>
                    <a:gd name="T33" fmla="*/ 23 h 47"/>
                    <a:gd name="T34" fmla="*/ 23 w 23"/>
                    <a:gd name="T35" fmla="*/ 21 h 47"/>
                    <a:gd name="T36" fmla="*/ 23 w 23"/>
                    <a:gd name="T37" fmla="*/ 6 h 47"/>
                    <a:gd name="T38" fmla="*/ 17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49" name="Freeform 863"/>
                <p:cNvSpPr>
                  <a:spLocks/>
                </p:cNvSpPr>
                <p:nvPr/>
              </p:nvSpPr>
              <p:spPr bwMode="auto">
                <a:xfrm>
                  <a:off x="14124" y="1883"/>
                  <a:ext cx="64" cy="109"/>
                </a:xfrm>
                <a:custGeom>
                  <a:avLst/>
                  <a:gdLst>
                    <a:gd name="T0" fmla="*/ 3 w 27"/>
                    <a:gd name="T1" fmla="*/ 19 h 46"/>
                    <a:gd name="T2" fmla="*/ 7 w 27"/>
                    <a:gd name="T3" fmla="*/ 6 h 46"/>
                    <a:gd name="T4" fmla="*/ 8 w 27"/>
                    <a:gd name="T5" fmla="*/ 6 h 46"/>
                    <a:gd name="T6" fmla="*/ 2 w 27"/>
                    <a:gd name="T7" fmla="*/ 28 h 46"/>
                    <a:gd name="T8" fmla="*/ 8 w 27"/>
                    <a:gd name="T9" fmla="*/ 28 h 46"/>
                    <a:gd name="T10" fmla="*/ 8 w 27"/>
                    <a:gd name="T11" fmla="*/ 44 h 46"/>
                    <a:gd name="T12" fmla="*/ 10 w 27"/>
                    <a:gd name="T13" fmla="*/ 46 h 46"/>
                    <a:gd name="T14" fmla="*/ 13 w 27"/>
                    <a:gd name="T15" fmla="*/ 44 h 46"/>
                    <a:gd name="T16" fmla="*/ 13 w 27"/>
                    <a:gd name="T17" fmla="*/ 28 h 46"/>
                    <a:gd name="T18" fmla="*/ 14 w 27"/>
                    <a:gd name="T19" fmla="*/ 28 h 46"/>
                    <a:gd name="T20" fmla="*/ 14 w 27"/>
                    <a:gd name="T21" fmla="*/ 44 h 46"/>
                    <a:gd name="T22" fmla="*/ 16 w 27"/>
                    <a:gd name="T23" fmla="*/ 46 h 46"/>
                    <a:gd name="T24" fmla="*/ 18 w 27"/>
                    <a:gd name="T25" fmla="*/ 44 h 46"/>
                    <a:gd name="T26" fmla="*/ 18 w 27"/>
                    <a:gd name="T27" fmla="*/ 28 h 46"/>
                    <a:gd name="T28" fmla="*/ 24 w 27"/>
                    <a:gd name="T29" fmla="*/ 28 h 46"/>
                    <a:gd name="T30" fmla="*/ 18 w 27"/>
                    <a:gd name="T31" fmla="*/ 6 h 46"/>
                    <a:gd name="T32" fmla="*/ 19 w 27"/>
                    <a:gd name="T33" fmla="*/ 6 h 46"/>
                    <a:gd name="T34" fmla="*/ 23 w 27"/>
                    <a:gd name="T35" fmla="*/ 19 h 46"/>
                    <a:gd name="T36" fmla="*/ 25 w 27"/>
                    <a:gd name="T37" fmla="*/ 20 h 46"/>
                    <a:gd name="T38" fmla="*/ 26 w 27"/>
                    <a:gd name="T39" fmla="*/ 18 h 46"/>
                    <a:gd name="T40" fmla="*/ 22 w 27"/>
                    <a:gd name="T41" fmla="*/ 4 h 46"/>
                    <a:gd name="T42" fmla="*/ 17 w 27"/>
                    <a:gd name="T43" fmla="*/ 0 h 46"/>
                    <a:gd name="T44" fmla="*/ 9 w 27"/>
                    <a:gd name="T45" fmla="*/ 0 h 46"/>
                    <a:gd name="T46" fmla="*/ 4 w 27"/>
                    <a:gd name="T47" fmla="*/ 4 h 46"/>
                    <a:gd name="T48" fmla="*/ 0 w 27"/>
                    <a:gd name="T49" fmla="*/ 18 h 46"/>
                    <a:gd name="T50" fmla="*/ 1 w 27"/>
                    <a:gd name="T51" fmla="*/ 20 h 46"/>
                    <a:gd name="T52" fmla="*/ 3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3" y="19"/>
                      </a:moveTo>
                      <a:cubicBezTo>
                        <a:pt x="4" y="18"/>
                        <a:pt x="7" y="6"/>
                        <a:pt x="7" y="6"/>
                      </a:cubicBezTo>
                      <a:cubicBezTo>
                        <a:pt x="8" y="6"/>
                        <a:pt x="8" y="6"/>
                        <a:pt x="8" y="6"/>
                      </a:cubicBezTo>
                      <a:cubicBezTo>
                        <a:pt x="2" y="28"/>
                        <a:pt x="2" y="28"/>
                        <a:pt x="2" y="28"/>
                      </a:cubicBezTo>
                      <a:cubicBezTo>
                        <a:pt x="8" y="28"/>
                        <a:pt x="8" y="28"/>
                        <a:pt x="8" y="28"/>
                      </a:cubicBezTo>
                      <a:cubicBezTo>
                        <a:pt x="8" y="35"/>
                        <a:pt x="8" y="43"/>
                        <a:pt x="8" y="44"/>
                      </a:cubicBezTo>
                      <a:cubicBezTo>
                        <a:pt x="8" y="45"/>
                        <a:pt x="9" y="46"/>
                        <a:pt x="10"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6" y="46"/>
                      </a:cubicBezTo>
                      <a:cubicBezTo>
                        <a:pt x="17" y="46"/>
                        <a:pt x="18" y="45"/>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1"/>
                        <a:pt x="3" y="20"/>
                        <a:pt x="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50" name="Freeform 864"/>
                <p:cNvSpPr>
                  <a:spLocks/>
                </p:cNvSpPr>
                <p:nvPr/>
              </p:nvSpPr>
              <p:spPr bwMode="auto">
                <a:xfrm>
                  <a:off x="13736" y="1736"/>
                  <a:ext cx="52" cy="109"/>
                </a:xfrm>
                <a:custGeom>
                  <a:avLst/>
                  <a:gdLst>
                    <a:gd name="T0" fmla="*/ 20 w 22"/>
                    <a:gd name="T1" fmla="*/ 22 h 46"/>
                    <a:gd name="T2" fmla="*/ 22 w 22"/>
                    <a:gd name="T3" fmla="*/ 20 h 46"/>
                    <a:gd name="T4" fmla="*/ 22 w 22"/>
                    <a:gd name="T5" fmla="*/ 6 h 46"/>
                    <a:gd name="T6" fmla="*/ 16 w 22"/>
                    <a:gd name="T7" fmla="*/ 0 h 46"/>
                    <a:gd name="T8" fmla="*/ 6 w 22"/>
                    <a:gd name="T9" fmla="*/ 0 h 46"/>
                    <a:gd name="T10" fmla="*/ 0 w 22"/>
                    <a:gd name="T11" fmla="*/ 6 h 46"/>
                    <a:gd name="T12" fmla="*/ 0 w 22"/>
                    <a:gd name="T13" fmla="*/ 20 h 46"/>
                    <a:gd name="T14" fmla="*/ 2 w 22"/>
                    <a:gd name="T15" fmla="*/ 22 h 46"/>
                    <a:gd name="T16" fmla="*/ 4 w 22"/>
                    <a:gd name="T17" fmla="*/ 20 h 46"/>
                    <a:gd name="T18" fmla="*/ 4 w 22"/>
                    <a:gd name="T19" fmla="*/ 7 h 46"/>
                    <a:gd name="T20" fmla="*/ 5 w 22"/>
                    <a:gd name="T21" fmla="*/ 7 h 46"/>
                    <a:gd name="T22" fmla="*/ 5 w 22"/>
                    <a:gd name="T23" fmla="*/ 44 h 46"/>
                    <a:gd name="T24" fmla="*/ 8 w 22"/>
                    <a:gd name="T25" fmla="*/ 46 h 46"/>
                    <a:gd name="T26" fmla="*/ 10 w 22"/>
                    <a:gd name="T27" fmla="*/ 44 h 46"/>
                    <a:gd name="T28" fmla="*/ 10 w 22"/>
                    <a:gd name="T29" fmla="*/ 23 h 46"/>
                    <a:gd name="T30" fmla="*/ 12 w 22"/>
                    <a:gd name="T31" fmla="*/ 23 h 46"/>
                    <a:gd name="T32" fmla="*/ 12 w 22"/>
                    <a:gd name="T33" fmla="*/ 44 h 46"/>
                    <a:gd name="T34" fmla="*/ 14 w 22"/>
                    <a:gd name="T35" fmla="*/ 46 h 46"/>
                    <a:gd name="T36" fmla="*/ 17 w 22"/>
                    <a:gd name="T37" fmla="*/ 44 h 46"/>
                    <a:gd name="T38" fmla="*/ 17 w 22"/>
                    <a:gd name="T39" fmla="*/ 7 h 46"/>
                    <a:gd name="T40" fmla="*/ 18 w 22"/>
                    <a:gd name="T41" fmla="*/ 7 h 46"/>
                    <a:gd name="T42" fmla="*/ 18 w 22"/>
                    <a:gd name="T43" fmla="*/ 20 h 46"/>
                    <a:gd name="T44" fmla="*/ 20 w 22"/>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0" y="22"/>
                      </a:moveTo>
                      <a:cubicBezTo>
                        <a:pt x="21" y="22"/>
                        <a:pt x="22" y="22"/>
                        <a:pt x="22" y="20"/>
                      </a:cubicBezTo>
                      <a:cubicBezTo>
                        <a:pt x="22" y="19"/>
                        <a:pt x="22" y="7"/>
                        <a:pt x="22" y="6"/>
                      </a:cubicBezTo>
                      <a:cubicBezTo>
                        <a:pt x="22" y="2"/>
                        <a:pt x="20" y="0"/>
                        <a:pt x="16" y="0"/>
                      </a:cubicBezTo>
                      <a:cubicBezTo>
                        <a:pt x="15" y="0"/>
                        <a:pt x="7" y="0"/>
                        <a:pt x="6" y="0"/>
                      </a:cubicBezTo>
                      <a:cubicBezTo>
                        <a:pt x="2"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2"/>
                        <a:pt x="2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51" name="Oval 865"/>
                <p:cNvSpPr>
                  <a:spLocks noChangeArrowheads="1"/>
                </p:cNvSpPr>
                <p:nvPr/>
              </p:nvSpPr>
              <p:spPr bwMode="auto">
                <a:xfrm>
                  <a:off x="14079" y="171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52" name="Oval 866"/>
                <p:cNvSpPr>
                  <a:spLocks noChangeArrowheads="1"/>
                </p:cNvSpPr>
                <p:nvPr/>
              </p:nvSpPr>
              <p:spPr bwMode="auto">
                <a:xfrm>
                  <a:off x="14143" y="1857"/>
                  <a:ext cx="23"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53" name="Oval 867"/>
                <p:cNvSpPr>
                  <a:spLocks noChangeArrowheads="1"/>
                </p:cNvSpPr>
                <p:nvPr/>
              </p:nvSpPr>
              <p:spPr bwMode="auto">
                <a:xfrm>
                  <a:off x="14143" y="1563"/>
                  <a:ext cx="23"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54" name="Freeform 868"/>
                <p:cNvSpPr>
                  <a:spLocks/>
                </p:cNvSpPr>
                <p:nvPr/>
              </p:nvSpPr>
              <p:spPr bwMode="auto">
                <a:xfrm>
                  <a:off x="14124" y="1587"/>
                  <a:ext cx="64" cy="111"/>
                </a:xfrm>
                <a:custGeom>
                  <a:avLst/>
                  <a:gdLst>
                    <a:gd name="T0" fmla="*/ 26 w 27"/>
                    <a:gd name="T1" fmla="*/ 19 h 47"/>
                    <a:gd name="T2" fmla="*/ 22 w 27"/>
                    <a:gd name="T3" fmla="*/ 5 h 47"/>
                    <a:gd name="T4" fmla="*/ 17 w 27"/>
                    <a:gd name="T5" fmla="*/ 0 h 47"/>
                    <a:gd name="T6" fmla="*/ 9 w 27"/>
                    <a:gd name="T7" fmla="*/ 0 h 47"/>
                    <a:gd name="T8" fmla="*/ 4 w 27"/>
                    <a:gd name="T9" fmla="*/ 5 h 47"/>
                    <a:gd name="T10" fmla="*/ 0 w 27"/>
                    <a:gd name="T11" fmla="*/ 19 h 47"/>
                    <a:gd name="T12" fmla="*/ 1 w 27"/>
                    <a:gd name="T13" fmla="*/ 21 h 47"/>
                    <a:gd name="T14" fmla="*/ 3 w 27"/>
                    <a:gd name="T15" fmla="*/ 20 h 47"/>
                    <a:gd name="T16" fmla="*/ 7 w 27"/>
                    <a:gd name="T17" fmla="*/ 7 h 47"/>
                    <a:gd name="T18" fmla="*/ 8 w 27"/>
                    <a:gd name="T19" fmla="*/ 7 h 47"/>
                    <a:gd name="T20" fmla="*/ 2 w 27"/>
                    <a:gd name="T21" fmla="*/ 28 h 47"/>
                    <a:gd name="T22" fmla="*/ 8 w 27"/>
                    <a:gd name="T23" fmla="*/ 28 h 47"/>
                    <a:gd name="T24" fmla="*/ 8 w 27"/>
                    <a:gd name="T25" fmla="*/ 45 h 47"/>
                    <a:gd name="T26" fmla="*/ 10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4 w 27"/>
                    <a:gd name="T43" fmla="*/ 28 h 47"/>
                    <a:gd name="T44" fmla="*/ 18 w 27"/>
                    <a:gd name="T45" fmla="*/ 7 h 47"/>
                    <a:gd name="T46" fmla="*/ 19 w 27"/>
                    <a:gd name="T47" fmla="*/ 7 h 47"/>
                    <a:gd name="T48" fmla="*/ 23 w 27"/>
                    <a:gd name="T49" fmla="*/ 20 h 47"/>
                    <a:gd name="T50" fmla="*/ 25 w 27"/>
                    <a:gd name="T51" fmla="*/ 21 h 47"/>
                    <a:gd name="T52" fmla="*/ 26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6" y="19"/>
                      </a:moveTo>
                      <a:cubicBezTo>
                        <a:pt x="26" y="18"/>
                        <a:pt x="24" y="11"/>
                        <a:pt x="22" y="5"/>
                      </a:cubicBez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55" name="Oval 869"/>
                <p:cNvSpPr>
                  <a:spLocks noChangeArrowheads="1"/>
                </p:cNvSpPr>
                <p:nvPr/>
              </p:nvSpPr>
              <p:spPr bwMode="auto">
                <a:xfrm>
                  <a:off x="14143" y="171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56" name="Freeform 870"/>
                <p:cNvSpPr>
                  <a:spLocks/>
                </p:cNvSpPr>
                <p:nvPr/>
              </p:nvSpPr>
              <p:spPr bwMode="auto">
                <a:xfrm>
                  <a:off x="14058" y="1736"/>
                  <a:ext cx="63" cy="111"/>
                </a:xfrm>
                <a:custGeom>
                  <a:avLst/>
                  <a:gdLst>
                    <a:gd name="T0" fmla="*/ 23 w 27"/>
                    <a:gd name="T1" fmla="*/ 4 h 47"/>
                    <a:gd name="T2" fmla="*/ 17 w 27"/>
                    <a:gd name="T3" fmla="*/ 0 h 47"/>
                    <a:gd name="T4" fmla="*/ 10 w 27"/>
                    <a:gd name="T5" fmla="*/ 0 h 47"/>
                    <a:gd name="T6" fmla="*/ 4 w 27"/>
                    <a:gd name="T7" fmla="*/ 4 h 47"/>
                    <a:gd name="T8" fmla="*/ 0 w 27"/>
                    <a:gd name="T9" fmla="*/ 18 h 47"/>
                    <a:gd name="T10" fmla="*/ 1 w 27"/>
                    <a:gd name="T11" fmla="*/ 20 h 47"/>
                    <a:gd name="T12" fmla="*/ 4 w 27"/>
                    <a:gd name="T13" fmla="*/ 19 h 47"/>
                    <a:gd name="T14" fmla="*/ 8 w 27"/>
                    <a:gd name="T15" fmla="*/ 6 h 47"/>
                    <a:gd name="T16" fmla="*/ 9 w 27"/>
                    <a:gd name="T17" fmla="*/ 6 h 47"/>
                    <a:gd name="T18" fmla="*/ 2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9 w 27"/>
                    <a:gd name="T37" fmla="*/ 44 h 47"/>
                    <a:gd name="T38" fmla="*/ 19 w 27"/>
                    <a:gd name="T39" fmla="*/ 28 h 47"/>
                    <a:gd name="T40" fmla="*/ 25 w 27"/>
                    <a:gd name="T41" fmla="*/ 28 h 47"/>
                    <a:gd name="T42" fmla="*/ 18 w 27"/>
                    <a:gd name="T43" fmla="*/ 6 h 47"/>
                    <a:gd name="T44" fmla="*/ 19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7" y="0"/>
                      </a:cubicBezTo>
                      <a:cubicBezTo>
                        <a:pt x="16" y="0"/>
                        <a:pt x="11" y="0"/>
                        <a:pt x="10" y="0"/>
                      </a:cubicBezTo>
                      <a:cubicBezTo>
                        <a:pt x="7" y="0"/>
                        <a:pt x="5" y="2"/>
                        <a:pt x="4" y="4"/>
                      </a:cubicBezTo>
                      <a:cubicBezTo>
                        <a:pt x="3" y="10"/>
                        <a:pt x="0" y="17"/>
                        <a:pt x="0" y="18"/>
                      </a:cubicBezTo>
                      <a:cubicBezTo>
                        <a:pt x="0" y="19"/>
                        <a:pt x="0" y="20"/>
                        <a:pt x="1" y="20"/>
                      </a:cubicBezTo>
                      <a:cubicBezTo>
                        <a:pt x="2" y="21"/>
                        <a:pt x="3" y="20"/>
                        <a:pt x="4" y="19"/>
                      </a:cubicBezTo>
                      <a:cubicBezTo>
                        <a:pt x="4" y="18"/>
                        <a:pt x="8" y="6"/>
                        <a:pt x="8" y="6"/>
                      </a:cubicBezTo>
                      <a:cubicBezTo>
                        <a:pt x="9" y="6"/>
                        <a:pt x="9" y="6"/>
                        <a:pt x="9" y="6"/>
                      </a:cubicBezTo>
                      <a:cubicBezTo>
                        <a:pt x="2" y="28"/>
                        <a:pt x="2" y="28"/>
                        <a:pt x="2"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6" y="20"/>
                      </a:cubicBezTo>
                      <a:cubicBezTo>
                        <a:pt x="27" y="20"/>
                        <a:pt x="27" y="19"/>
                        <a:pt x="27" y="18"/>
                      </a:cubicBezTo>
                      <a:cubicBezTo>
                        <a:pt x="27" y="17"/>
                        <a:pt x="24"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57" name="Freeform 871"/>
                <p:cNvSpPr>
                  <a:spLocks/>
                </p:cNvSpPr>
                <p:nvPr/>
              </p:nvSpPr>
              <p:spPr bwMode="auto">
                <a:xfrm>
                  <a:off x="13932" y="1883"/>
                  <a:ext cx="52" cy="109"/>
                </a:xfrm>
                <a:custGeom>
                  <a:avLst/>
                  <a:gdLst>
                    <a:gd name="T0" fmla="*/ 0 w 22"/>
                    <a:gd name="T1" fmla="*/ 6 h 46"/>
                    <a:gd name="T2" fmla="*/ 0 w 22"/>
                    <a:gd name="T3" fmla="*/ 20 h 46"/>
                    <a:gd name="T4" fmla="*/ 2 w 22"/>
                    <a:gd name="T5" fmla="*/ 22 h 46"/>
                    <a:gd name="T6" fmla="*/ 4 w 22"/>
                    <a:gd name="T7" fmla="*/ 20 h 46"/>
                    <a:gd name="T8" fmla="*/ 4 w 22"/>
                    <a:gd name="T9" fmla="*/ 7 h 46"/>
                    <a:gd name="T10" fmla="*/ 5 w 22"/>
                    <a:gd name="T11" fmla="*/ 7 h 46"/>
                    <a:gd name="T12" fmla="*/ 5 w 22"/>
                    <a:gd name="T13" fmla="*/ 44 h 46"/>
                    <a:gd name="T14" fmla="*/ 8 w 22"/>
                    <a:gd name="T15" fmla="*/ 46 h 46"/>
                    <a:gd name="T16" fmla="*/ 11 w 22"/>
                    <a:gd name="T17" fmla="*/ 44 h 46"/>
                    <a:gd name="T18" fmla="*/ 11 w 22"/>
                    <a:gd name="T19" fmla="*/ 22 h 46"/>
                    <a:gd name="T20" fmla="*/ 12 w 22"/>
                    <a:gd name="T21" fmla="*/ 22 h 46"/>
                    <a:gd name="T22" fmla="*/ 12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2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7"/>
                        <a:pt x="0" y="19"/>
                        <a:pt x="0" y="20"/>
                      </a:cubicBezTo>
                      <a:cubicBezTo>
                        <a:pt x="0" y="21"/>
                        <a:pt x="1" y="22"/>
                        <a:pt x="2" y="22"/>
                      </a:cubicBezTo>
                      <a:cubicBezTo>
                        <a:pt x="3" y="22"/>
                        <a:pt x="4" y="21"/>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2"/>
                        <a:pt x="11" y="22"/>
                      </a:cubicBezTo>
                      <a:cubicBezTo>
                        <a:pt x="11" y="22"/>
                        <a:pt x="11" y="22"/>
                        <a:pt x="12" y="22"/>
                      </a:cubicBezTo>
                      <a:cubicBezTo>
                        <a:pt x="12" y="22"/>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1"/>
                        <a:pt x="19" y="22"/>
                        <a:pt x="20" y="22"/>
                      </a:cubicBezTo>
                      <a:cubicBezTo>
                        <a:pt x="21" y="22"/>
                        <a:pt x="22" y="21"/>
                        <a:pt x="22" y="20"/>
                      </a:cubicBezTo>
                      <a:cubicBezTo>
                        <a:pt x="22" y="19"/>
                        <a:pt x="22" y="7"/>
                        <a:pt x="22" y="6"/>
                      </a:cubicBezTo>
                      <a:cubicBezTo>
                        <a:pt x="22" y="2"/>
                        <a:pt x="20" y="0"/>
                        <a:pt x="16" y="0"/>
                      </a:cubicBezTo>
                      <a:cubicBezTo>
                        <a:pt x="15" y="0"/>
                        <a:pt x="7" y="0"/>
                        <a:pt x="6" y="0"/>
                      </a:cubicBezTo>
                      <a:cubicBezTo>
                        <a:pt x="2"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58" name="Oval 872"/>
                <p:cNvSpPr>
                  <a:spLocks noChangeArrowheads="1"/>
                </p:cNvSpPr>
                <p:nvPr/>
              </p:nvSpPr>
              <p:spPr bwMode="auto">
                <a:xfrm>
                  <a:off x="13946" y="1857"/>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59" name="Freeform 873"/>
                <p:cNvSpPr>
                  <a:spLocks/>
                </p:cNvSpPr>
                <p:nvPr/>
              </p:nvSpPr>
              <p:spPr bwMode="auto">
                <a:xfrm>
                  <a:off x="13927" y="1736"/>
                  <a:ext cx="64" cy="111"/>
                </a:xfrm>
                <a:custGeom>
                  <a:avLst/>
                  <a:gdLst>
                    <a:gd name="T0" fmla="*/ 3 w 27"/>
                    <a:gd name="T1" fmla="*/ 19 h 47"/>
                    <a:gd name="T2" fmla="*/ 7 w 27"/>
                    <a:gd name="T3" fmla="*/ 6 h 47"/>
                    <a:gd name="T4" fmla="*/ 8 w 27"/>
                    <a:gd name="T5" fmla="*/ 6 h 47"/>
                    <a:gd name="T6" fmla="*/ 2 w 27"/>
                    <a:gd name="T7" fmla="*/ 28 h 47"/>
                    <a:gd name="T8" fmla="*/ 8 w 27"/>
                    <a:gd name="T9" fmla="*/ 28 h 47"/>
                    <a:gd name="T10" fmla="*/ 8 w 27"/>
                    <a:gd name="T11" fmla="*/ 44 h 47"/>
                    <a:gd name="T12" fmla="*/ 10 w 27"/>
                    <a:gd name="T13" fmla="*/ 47 h 47"/>
                    <a:gd name="T14" fmla="*/ 13 w 27"/>
                    <a:gd name="T15" fmla="*/ 44 h 47"/>
                    <a:gd name="T16" fmla="*/ 13 w 27"/>
                    <a:gd name="T17" fmla="*/ 28 h 47"/>
                    <a:gd name="T18" fmla="*/ 14 w 27"/>
                    <a:gd name="T19" fmla="*/ 28 h 47"/>
                    <a:gd name="T20" fmla="*/ 14 w 27"/>
                    <a:gd name="T21" fmla="*/ 44 h 47"/>
                    <a:gd name="T22" fmla="*/ 16 w 27"/>
                    <a:gd name="T23" fmla="*/ 47 h 47"/>
                    <a:gd name="T24" fmla="*/ 18 w 27"/>
                    <a:gd name="T25" fmla="*/ 44 h 47"/>
                    <a:gd name="T26" fmla="*/ 18 w 27"/>
                    <a:gd name="T27" fmla="*/ 28 h 47"/>
                    <a:gd name="T28" fmla="*/ 24 w 27"/>
                    <a:gd name="T29" fmla="*/ 28 h 47"/>
                    <a:gd name="T30" fmla="*/ 18 w 27"/>
                    <a:gd name="T31" fmla="*/ 6 h 47"/>
                    <a:gd name="T32" fmla="*/ 19 w 27"/>
                    <a:gd name="T33" fmla="*/ 6 h 47"/>
                    <a:gd name="T34" fmla="*/ 23 w 27"/>
                    <a:gd name="T35" fmla="*/ 19 h 47"/>
                    <a:gd name="T36" fmla="*/ 25 w 27"/>
                    <a:gd name="T37" fmla="*/ 20 h 47"/>
                    <a:gd name="T38" fmla="*/ 26 w 27"/>
                    <a:gd name="T39" fmla="*/ 18 h 47"/>
                    <a:gd name="T40" fmla="*/ 22 w 27"/>
                    <a:gd name="T41" fmla="*/ 4 h 47"/>
                    <a:gd name="T42" fmla="*/ 17 w 27"/>
                    <a:gd name="T43" fmla="*/ 0 h 47"/>
                    <a:gd name="T44" fmla="*/ 9 w 27"/>
                    <a:gd name="T45" fmla="*/ 0 h 47"/>
                    <a:gd name="T46" fmla="*/ 4 w 27"/>
                    <a:gd name="T47" fmla="*/ 4 h 47"/>
                    <a:gd name="T48" fmla="*/ 0 w 27"/>
                    <a:gd name="T49" fmla="*/ 18 h 47"/>
                    <a:gd name="T50" fmla="*/ 1 w 27"/>
                    <a:gd name="T51" fmla="*/ 20 h 47"/>
                    <a:gd name="T52" fmla="*/ 3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3" y="19"/>
                      </a:moveTo>
                      <a:cubicBezTo>
                        <a:pt x="4" y="18"/>
                        <a:pt x="7" y="6"/>
                        <a:pt x="7" y="6"/>
                      </a:cubicBezTo>
                      <a:cubicBezTo>
                        <a:pt x="8" y="6"/>
                        <a:pt x="8" y="6"/>
                        <a:pt x="8" y="6"/>
                      </a:cubicBezTo>
                      <a:cubicBezTo>
                        <a:pt x="2" y="28"/>
                        <a:pt x="2" y="28"/>
                        <a:pt x="2" y="28"/>
                      </a:cubicBezTo>
                      <a:cubicBezTo>
                        <a:pt x="8" y="28"/>
                        <a:pt x="8" y="28"/>
                        <a:pt x="8" y="28"/>
                      </a:cubicBezTo>
                      <a:cubicBezTo>
                        <a:pt x="8" y="35"/>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1"/>
                        <a:pt x="3" y="20"/>
                        <a:pt x="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60" name="Freeform 874"/>
                <p:cNvSpPr>
                  <a:spLocks/>
                </p:cNvSpPr>
                <p:nvPr/>
              </p:nvSpPr>
              <p:spPr bwMode="auto">
                <a:xfrm>
                  <a:off x="13991" y="1883"/>
                  <a:ext cx="64" cy="109"/>
                </a:xfrm>
                <a:custGeom>
                  <a:avLst/>
                  <a:gdLst>
                    <a:gd name="T0" fmla="*/ 4 w 27"/>
                    <a:gd name="T1" fmla="*/ 19 h 46"/>
                    <a:gd name="T2" fmla="*/ 8 w 27"/>
                    <a:gd name="T3" fmla="*/ 6 h 46"/>
                    <a:gd name="T4" fmla="*/ 9 w 27"/>
                    <a:gd name="T5" fmla="*/ 6 h 46"/>
                    <a:gd name="T6" fmla="*/ 3 w 27"/>
                    <a:gd name="T7" fmla="*/ 28 h 46"/>
                    <a:gd name="T8" fmla="*/ 9 w 27"/>
                    <a:gd name="T9" fmla="*/ 28 h 46"/>
                    <a:gd name="T10" fmla="*/ 9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7 w 27"/>
                    <a:gd name="T23" fmla="*/ 46 h 46"/>
                    <a:gd name="T24" fmla="*/ 19 w 27"/>
                    <a:gd name="T25" fmla="*/ 44 h 46"/>
                    <a:gd name="T26" fmla="*/ 19 w 27"/>
                    <a:gd name="T27" fmla="*/ 28 h 46"/>
                    <a:gd name="T28" fmla="*/ 25 w 27"/>
                    <a:gd name="T29" fmla="*/ 28 h 46"/>
                    <a:gd name="T30" fmla="*/ 19 w 27"/>
                    <a:gd name="T31" fmla="*/ 6 h 46"/>
                    <a:gd name="T32" fmla="*/ 20 w 27"/>
                    <a:gd name="T33" fmla="*/ 6 h 46"/>
                    <a:gd name="T34" fmla="*/ 23 w 27"/>
                    <a:gd name="T35" fmla="*/ 19 h 46"/>
                    <a:gd name="T36" fmla="*/ 26 w 27"/>
                    <a:gd name="T37" fmla="*/ 20 h 46"/>
                    <a:gd name="T38" fmla="*/ 27 w 27"/>
                    <a:gd name="T39" fmla="*/ 18 h 46"/>
                    <a:gd name="T40" fmla="*/ 23 w 27"/>
                    <a:gd name="T41" fmla="*/ 4 h 46"/>
                    <a:gd name="T42" fmla="*/ 18 w 27"/>
                    <a:gd name="T43" fmla="*/ 0 h 46"/>
                    <a:gd name="T44" fmla="*/ 10 w 27"/>
                    <a:gd name="T45" fmla="*/ 0 h 46"/>
                    <a:gd name="T46" fmla="*/ 5 w 27"/>
                    <a:gd name="T47" fmla="*/ 4 h 46"/>
                    <a:gd name="T48" fmla="*/ 0 w 27"/>
                    <a:gd name="T49" fmla="*/ 18 h 46"/>
                    <a:gd name="T50" fmla="*/ 2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5"/>
                        <a:pt x="10"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7" y="46"/>
                      </a:cubicBezTo>
                      <a:cubicBezTo>
                        <a:pt x="18" y="46"/>
                        <a:pt x="19" y="45"/>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61" name="Freeform 875"/>
                <p:cNvSpPr>
                  <a:spLocks/>
                </p:cNvSpPr>
                <p:nvPr/>
              </p:nvSpPr>
              <p:spPr bwMode="auto">
                <a:xfrm>
                  <a:off x="13861" y="1883"/>
                  <a:ext cx="64" cy="109"/>
                </a:xfrm>
                <a:custGeom>
                  <a:avLst/>
                  <a:gdLst>
                    <a:gd name="T0" fmla="*/ 4 w 27"/>
                    <a:gd name="T1" fmla="*/ 19 h 46"/>
                    <a:gd name="T2" fmla="*/ 7 w 27"/>
                    <a:gd name="T3" fmla="*/ 6 h 46"/>
                    <a:gd name="T4" fmla="*/ 9 w 27"/>
                    <a:gd name="T5" fmla="*/ 6 h 46"/>
                    <a:gd name="T6" fmla="*/ 2 w 27"/>
                    <a:gd name="T7" fmla="*/ 28 h 46"/>
                    <a:gd name="T8" fmla="*/ 8 w 27"/>
                    <a:gd name="T9" fmla="*/ 28 h 46"/>
                    <a:gd name="T10" fmla="*/ 8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6 w 27"/>
                    <a:gd name="T23" fmla="*/ 46 h 46"/>
                    <a:gd name="T24" fmla="*/ 18 w 27"/>
                    <a:gd name="T25" fmla="*/ 44 h 46"/>
                    <a:gd name="T26" fmla="*/ 18 w 27"/>
                    <a:gd name="T27" fmla="*/ 28 h 46"/>
                    <a:gd name="T28" fmla="*/ 25 w 27"/>
                    <a:gd name="T29" fmla="*/ 28 h 46"/>
                    <a:gd name="T30" fmla="*/ 18 w 27"/>
                    <a:gd name="T31" fmla="*/ 6 h 46"/>
                    <a:gd name="T32" fmla="*/ 19 w 27"/>
                    <a:gd name="T33" fmla="*/ 6 h 46"/>
                    <a:gd name="T34" fmla="*/ 23 w 27"/>
                    <a:gd name="T35" fmla="*/ 19 h 46"/>
                    <a:gd name="T36" fmla="*/ 25 w 27"/>
                    <a:gd name="T37" fmla="*/ 20 h 46"/>
                    <a:gd name="T38" fmla="*/ 27 w 27"/>
                    <a:gd name="T39" fmla="*/ 18 h 46"/>
                    <a:gd name="T40" fmla="*/ 23 w 27"/>
                    <a:gd name="T41" fmla="*/ 4 h 46"/>
                    <a:gd name="T42" fmla="*/ 17 w 27"/>
                    <a:gd name="T43" fmla="*/ 0 h 46"/>
                    <a:gd name="T44" fmla="*/ 10 w 27"/>
                    <a:gd name="T45" fmla="*/ 0 h 46"/>
                    <a:gd name="T46" fmla="*/ 4 w 27"/>
                    <a:gd name="T47" fmla="*/ 4 h 46"/>
                    <a:gd name="T48" fmla="*/ 0 w 27"/>
                    <a:gd name="T49" fmla="*/ 18 h 46"/>
                    <a:gd name="T50" fmla="*/ 1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4" y="18"/>
                        <a:pt x="7" y="6"/>
                        <a:pt x="7" y="6"/>
                      </a:cubicBezTo>
                      <a:cubicBezTo>
                        <a:pt x="9" y="6"/>
                        <a:pt x="9" y="6"/>
                        <a:pt x="9" y="6"/>
                      </a:cubicBezTo>
                      <a:cubicBezTo>
                        <a:pt x="2" y="28"/>
                        <a:pt x="2" y="28"/>
                        <a:pt x="2" y="28"/>
                      </a:cubicBezTo>
                      <a:cubicBezTo>
                        <a:pt x="8" y="28"/>
                        <a:pt x="8" y="28"/>
                        <a:pt x="8" y="28"/>
                      </a:cubicBezTo>
                      <a:cubicBezTo>
                        <a:pt x="8" y="35"/>
                        <a:pt x="8" y="43"/>
                        <a:pt x="8" y="44"/>
                      </a:cubicBezTo>
                      <a:cubicBezTo>
                        <a:pt x="8" y="45"/>
                        <a:pt x="9"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6" y="46"/>
                      </a:cubicBezTo>
                      <a:cubicBezTo>
                        <a:pt x="17" y="46"/>
                        <a:pt x="18" y="45"/>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3" y="4"/>
                      </a:cubicBezTo>
                      <a:cubicBezTo>
                        <a:pt x="22" y="2"/>
                        <a:pt x="19"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62" name="Oval 876"/>
                <p:cNvSpPr>
                  <a:spLocks noChangeArrowheads="1"/>
                </p:cNvSpPr>
                <p:nvPr/>
              </p:nvSpPr>
              <p:spPr bwMode="auto">
                <a:xfrm>
                  <a:off x="14079"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63" name="Oval 877"/>
                <p:cNvSpPr>
                  <a:spLocks noChangeArrowheads="1"/>
                </p:cNvSpPr>
                <p:nvPr/>
              </p:nvSpPr>
              <p:spPr bwMode="auto">
                <a:xfrm>
                  <a:off x="14079" y="1857"/>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64" name="Freeform 878"/>
                <p:cNvSpPr>
                  <a:spLocks/>
                </p:cNvSpPr>
                <p:nvPr/>
              </p:nvSpPr>
              <p:spPr bwMode="auto">
                <a:xfrm>
                  <a:off x="14062" y="1883"/>
                  <a:ext cx="55" cy="109"/>
                </a:xfrm>
                <a:custGeom>
                  <a:avLst/>
                  <a:gdLst>
                    <a:gd name="T0" fmla="*/ 4 w 23"/>
                    <a:gd name="T1" fmla="*/ 20 h 46"/>
                    <a:gd name="T2" fmla="*/ 4 w 23"/>
                    <a:gd name="T3" fmla="*/ 7 h 46"/>
                    <a:gd name="T4" fmla="*/ 5 w 23"/>
                    <a:gd name="T5" fmla="*/ 7 h 46"/>
                    <a:gd name="T6" fmla="*/ 5 w 23"/>
                    <a:gd name="T7" fmla="*/ 44 h 46"/>
                    <a:gd name="T8" fmla="*/ 8 w 23"/>
                    <a:gd name="T9" fmla="*/ 46 h 46"/>
                    <a:gd name="T10" fmla="*/ 11 w 23"/>
                    <a:gd name="T11" fmla="*/ 44 h 46"/>
                    <a:gd name="T12" fmla="*/ 11 w 23"/>
                    <a:gd name="T13" fmla="*/ 22 h 46"/>
                    <a:gd name="T14" fmla="*/ 12 w 23"/>
                    <a:gd name="T15" fmla="*/ 22 h 46"/>
                    <a:gd name="T16" fmla="*/ 12 w 23"/>
                    <a:gd name="T17" fmla="*/ 44 h 46"/>
                    <a:gd name="T18" fmla="*/ 15 w 23"/>
                    <a:gd name="T19" fmla="*/ 46 h 46"/>
                    <a:gd name="T20" fmla="*/ 18 w 23"/>
                    <a:gd name="T21" fmla="*/ 44 h 46"/>
                    <a:gd name="T22" fmla="*/ 18 w 23"/>
                    <a:gd name="T23" fmla="*/ 7 h 46"/>
                    <a:gd name="T24" fmla="*/ 19 w 23"/>
                    <a:gd name="T25" fmla="*/ 7 h 46"/>
                    <a:gd name="T26" fmla="*/ 19 w 23"/>
                    <a:gd name="T27" fmla="*/ 20 h 46"/>
                    <a:gd name="T28" fmla="*/ 21 w 23"/>
                    <a:gd name="T29" fmla="*/ 22 h 46"/>
                    <a:gd name="T30" fmla="*/ 23 w 23"/>
                    <a:gd name="T31" fmla="*/ 20 h 46"/>
                    <a:gd name="T32" fmla="*/ 23 w 23"/>
                    <a:gd name="T33" fmla="*/ 6 h 46"/>
                    <a:gd name="T34" fmla="*/ 17 w 23"/>
                    <a:gd name="T35" fmla="*/ 0 h 46"/>
                    <a:gd name="T36" fmla="*/ 6 w 23"/>
                    <a:gd name="T37" fmla="*/ 0 h 46"/>
                    <a:gd name="T38" fmla="*/ 0 w 23"/>
                    <a:gd name="T39" fmla="*/ 6 h 46"/>
                    <a:gd name="T40" fmla="*/ 0 w 23"/>
                    <a:gd name="T41" fmla="*/ 20 h 46"/>
                    <a:gd name="T42" fmla="*/ 2 w 23"/>
                    <a:gd name="T43" fmla="*/ 22 h 46"/>
                    <a:gd name="T44" fmla="*/ 4 w 23"/>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4" y="20"/>
                      </a:move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2"/>
                        <a:pt x="11" y="22"/>
                      </a:cubicBezTo>
                      <a:cubicBezTo>
                        <a:pt x="11" y="22"/>
                        <a:pt x="11" y="22"/>
                        <a:pt x="12" y="22"/>
                      </a:cubicBezTo>
                      <a:cubicBezTo>
                        <a:pt x="12" y="22"/>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1"/>
                        <a:pt x="20" y="22"/>
                        <a:pt x="21" y="22"/>
                      </a:cubicBezTo>
                      <a:cubicBezTo>
                        <a:pt x="22" y="22"/>
                        <a:pt x="23" y="21"/>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1"/>
                        <a:pt x="1" y="22"/>
                        <a:pt x="2" y="22"/>
                      </a:cubicBezTo>
                      <a:cubicBezTo>
                        <a:pt x="3" y="22"/>
                        <a:pt x="4" y="21"/>
                        <a:pt x="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65" name="Freeform 879"/>
                <p:cNvSpPr>
                  <a:spLocks/>
                </p:cNvSpPr>
                <p:nvPr/>
              </p:nvSpPr>
              <p:spPr bwMode="auto">
                <a:xfrm>
                  <a:off x="14129" y="1736"/>
                  <a:ext cx="52" cy="109"/>
                </a:xfrm>
                <a:custGeom>
                  <a:avLst/>
                  <a:gdLst>
                    <a:gd name="T0" fmla="*/ 20 w 22"/>
                    <a:gd name="T1" fmla="*/ 22 h 46"/>
                    <a:gd name="T2" fmla="*/ 22 w 22"/>
                    <a:gd name="T3" fmla="*/ 20 h 46"/>
                    <a:gd name="T4" fmla="*/ 22 w 22"/>
                    <a:gd name="T5" fmla="*/ 6 h 46"/>
                    <a:gd name="T6" fmla="*/ 16 w 22"/>
                    <a:gd name="T7" fmla="*/ 0 h 46"/>
                    <a:gd name="T8" fmla="*/ 6 w 22"/>
                    <a:gd name="T9" fmla="*/ 0 h 46"/>
                    <a:gd name="T10" fmla="*/ 0 w 22"/>
                    <a:gd name="T11" fmla="*/ 6 h 46"/>
                    <a:gd name="T12" fmla="*/ 0 w 22"/>
                    <a:gd name="T13" fmla="*/ 20 h 46"/>
                    <a:gd name="T14" fmla="*/ 2 w 22"/>
                    <a:gd name="T15" fmla="*/ 22 h 46"/>
                    <a:gd name="T16" fmla="*/ 4 w 22"/>
                    <a:gd name="T17" fmla="*/ 20 h 46"/>
                    <a:gd name="T18" fmla="*/ 4 w 22"/>
                    <a:gd name="T19" fmla="*/ 7 h 46"/>
                    <a:gd name="T20" fmla="*/ 5 w 22"/>
                    <a:gd name="T21" fmla="*/ 7 h 46"/>
                    <a:gd name="T22" fmla="*/ 5 w 22"/>
                    <a:gd name="T23" fmla="*/ 44 h 46"/>
                    <a:gd name="T24" fmla="*/ 8 w 22"/>
                    <a:gd name="T25" fmla="*/ 46 h 46"/>
                    <a:gd name="T26" fmla="*/ 11 w 22"/>
                    <a:gd name="T27" fmla="*/ 44 h 46"/>
                    <a:gd name="T28" fmla="*/ 11 w 22"/>
                    <a:gd name="T29" fmla="*/ 23 h 46"/>
                    <a:gd name="T30" fmla="*/ 12 w 22"/>
                    <a:gd name="T31" fmla="*/ 23 h 46"/>
                    <a:gd name="T32" fmla="*/ 12 w 22"/>
                    <a:gd name="T33" fmla="*/ 44 h 46"/>
                    <a:gd name="T34" fmla="*/ 15 w 22"/>
                    <a:gd name="T35" fmla="*/ 46 h 46"/>
                    <a:gd name="T36" fmla="*/ 17 w 22"/>
                    <a:gd name="T37" fmla="*/ 44 h 46"/>
                    <a:gd name="T38" fmla="*/ 17 w 22"/>
                    <a:gd name="T39" fmla="*/ 7 h 46"/>
                    <a:gd name="T40" fmla="*/ 18 w 22"/>
                    <a:gd name="T41" fmla="*/ 7 h 46"/>
                    <a:gd name="T42" fmla="*/ 18 w 22"/>
                    <a:gd name="T43" fmla="*/ 20 h 46"/>
                    <a:gd name="T44" fmla="*/ 20 w 22"/>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0" y="22"/>
                      </a:moveTo>
                      <a:cubicBezTo>
                        <a:pt x="22" y="22"/>
                        <a:pt x="22" y="22"/>
                        <a:pt x="22" y="20"/>
                      </a:cubicBezTo>
                      <a:cubicBezTo>
                        <a:pt x="22" y="19"/>
                        <a:pt x="22" y="7"/>
                        <a:pt x="22" y="6"/>
                      </a:cubicBezTo>
                      <a:cubicBezTo>
                        <a:pt x="22" y="2"/>
                        <a:pt x="20" y="0"/>
                        <a:pt x="16" y="0"/>
                      </a:cubicBezTo>
                      <a:cubicBezTo>
                        <a:pt x="15" y="0"/>
                        <a:pt x="8" y="0"/>
                        <a:pt x="6" y="0"/>
                      </a:cubicBezTo>
                      <a:cubicBezTo>
                        <a:pt x="3"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2"/>
                        <a:pt x="2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66" name="Oval 880"/>
                <p:cNvSpPr>
                  <a:spLocks noChangeArrowheads="1"/>
                </p:cNvSpPr>
                <p:nvPr/>
              </p:nvSpPr>
              <p:spPr bwMode="auto">
                <a:xfrm>
                  <a:off x="13946" y="156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67" name="Oval 881"/>
                <p:cNvSpPr>
                  <a:spLocks noChangeArrowheads="1"/>
                </p:cNvSpPr>
                <p:nvPr/>
              </p:nvSpPr>
              <p:spPr bwMode="auto">
                <a:xfrm>
                  <a:off x="13750" y="156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68" name="Freeform 882"/>
                <p:cNvSpPr>
                  <a:spLocks/>
                </p:cNvSpPr>
                <p:nvPr/>
              </p:nvSpPr>
              <p:spPr bwMode="auto">
                <a:xfrm>
                  <a:off x="13932" y="1587"/>
                  <a:ext cx="52" cy="111"/>
                </a:xfrm>
                <a:custGeom>
                  <a:avLst/>
                  <a:gdLst>
                    <a:gd name="T0" fmla="*/ 20 w 22"/>
                    <a:gd name="T1" fmla="*/ 23 h 47"/>
                    <a:gd name="T2" fmla="*/ 22 w 22"/>
                    <a:gd name="T3" fmla="*/ 21 h 47"/>
                    <a:gd name="T4" fmla="*/ 22 w 22"/>
                    <a:gd name="T5" fmla="*/ 6 h 47"/>
                    <a:gd name="T6" fmla="*/ 16 w 22"/>
                    <a:gd name="T7" fmla="*/ 0 h 47"/>
                    <a:gd name="T8" fmla="*/ 6 w 22"/>
                    <a:gd name="T9" fmla="*/ 0 h 47"/>
                    <a:gd name="T10" fmla="*/ 0 w 22"/>
                    <a:gd name="T11" fmla="*/ 6 h 47"/>
                    <a:gd name="T12" fmla="*/ 0 w 22"/>
                    <a:gd name="T13" fmla="*/ 21 h 47"/>
                    <a:gd name="T14" fmla="*/ 2 w 22"/>
                    <a:gd name="T15" fmla="*/ 23 h 47"/>
                    <a:gd name="T16" fmla="*/ 4 w 22"/>
                    <a:gd name="T17" fmla="*/ 21 h 47"/>
                    <a:gd name="T18" fmla="*/ 4 w 22"/>
                    <a:gd name="T19" fmla="*/ 8 h 47"/>
                    <a:gd name="T20" fmla="*/ 5 w 22"/>
                    <a:gd name="T21" fmla="*/ 8 h 47"/>
                    <a:gd name="T22" fmla="*/ 5 w 22"/>
                    <a:gd name="T23" fmla="*/ 44 h 47"/>
                    <a:gd name="T24" fmla="*/ 8 w 22"/>
                    <a:gd name="T25" fmla="*/ 47 h 47"/>
                    <a:gd name="T26" fmla="*/ 11 w 22"/>
                    <a:gd name="T27" fmla="*/ 44 h 47"/>
                    <a:gd name="T28" fmla="*/ 11 w 22"/>
                    <a:gd name="T29" fmla="*/ 23 h 47"/>
                    <a:gd name="T30" fmla="*/ 12 w 22"/>
                    <a:gd name="T31" fmla="*/ 23 h 47"/>
                    <a:gd name="T32" fmla="*/ 12 w 22"/>
                    <a:gd name="T33" fmla="*/ 44 h 47"/>
                    <a:gd name="T34" fmla="*/ 14 w 22"/>
                    <a:gd name="T35" fmla="*/ 47 h 47"/>
                    <a:gd name="T36" fmla="*/ 17 w 22"/>
                    <a:gd name="T37" fmla="*/ 44 h 47"/>
                    <a:gd name="T38" fmla="*/ 17 w 22"/>
                    <a:gd name="T39" fmla="*/ 8 h 47"/>
                    <a:gd name="T40" fmla="*/ 18 w 22"/>
                    <a:gd name="T41" fmla="*/ 8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69" name="Oval 883"/>
                <p:cNvSpPr>
                  <a:spLocks noChangeArrowheads="1"/>
                </p:cNvSpPr>
                <p:nvPr/>
              </p:nvSpPr>
              <p:spPr bwMode="auto">
                <a:xfrm>
                  <a:off x="13946" y="171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70" name="Oval 884"/>
                <p:cNvSpPr>
                  <a:spLocks noChangeArrowheads="1"/>
                </p:cNvSpPr>
                <p:nvPr/>
              </p:nvSpPr>
              <p:spPr bwMode="auto">
                <a:xfrm>
                  <a:off x="13882" y="156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71" name="Oval 885"/>
                <p:cNvSpPr>
                  <a:spLocks noChangeArrowheads="1"/>
                </p:cNvSpPr>
                <p:nvPr/>
              </p:nvSpPr>
              <p:spPr bwMode="auto">
                <a:xfrm>
                  <a:off x="14013" y="1563"/>
                  <a:ext cx="23"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72" name="Oval 886"/>
                <p:cNvSpPr>
                  <a:spLocks noChangeArrowheads="1"/>
                </p:cNvSpPr>
                <p:nvPr/>
              </p:nvSpPr>
              <p:spPr bwMode="auto">
                <a:xfrm>
                  <a:off x="13882" y="1857"/>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73" name="Freeform 887"/>
                <p:cNvSpPr>
                  <a:spLocks/>
                </p:cNvSpPr>
                <p:nvPr/>
              </p:nvSpPr>
              <p:spPr bwMode="auto">
                <a:xfrm>
                  <a:off x="13861" y="1587"/>
                  <a:ext cx="64" cy="111"/>
                </a:xfrm>
                <a:custGeom>
                  <a:avLst/>
                  <a:gdLst>
                    <a:gd name="T0" fmla="*/ 27 w 27"/>
                    <a:gd name="T1" fmla="*/ 19 h 47"/>
                    <a:gd name="T2" fmla="*/ 23 w 27"/>
                    <a:gd name="T3" fmla="*/ 5 h 47"/>
                    <a:gd name="T4" fmla="*/ 17 w 27"/>
                    <a:gd name="T5" fmla="*/ 0 h 47"/>
                    <a:gd name="T6" fmla="*/ 10 w 27"/>
                    <a:gd name="T7" fmla="*/ 0 h 47"/>
                    <a:gd name="T8" fmla="*/ 4 w 27"/>
                    <a:gd name="T9" fmla="*/ 5 h 47"/>
                    <a:gd name="T10" fmla="*/ 0 w 27"/>
                    <a:gd name="T11" fmla="*/ 19 h 47"/>
                    <a:gd name="T12" fmla="*/ 1 w 27"/>
                    <a:gd name="T13" fmla="*/ 21 h 47"/>
                    <a:gd name="T14" fmla="*/ 4 w 27"/>
                    <a:gd name="T15" fmla="*/ 20 h 47"/>
                    <a:gd name="T16" fmla="*/ 7 w 27"/>
                    <a:gd name="T17" fmla="*/ 7 h 47"/>
                    <a:gd name="T18" fmla="*/ 9 w 27"/>
                    <a:gd name="T19" fmla="*/ 7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5 w 27"/>
                    <a:gd name="T43" fmla="*/ 28 h 47"/>
                    <a:gd name="T44" fmla="*/ 18 w 27"/>
                    <a:gd name="T45" fmla="*/ 7 h 47"/>
                    <a:gd name="T46" fmla="*/ 19 w 27"/>
                    <a:gd name="T47" fmla="*/ 7 h 47"/>
                    <a:gd name="T48" fmla="*/ 23 w 27"/>
                    <a:gd name="T49" fmla="*/ 20 h 47"/>
                    <a:gd name="T50" fmla="*/ 25 w 27"/>
                    <a:gd name="T51" fmla="*/ 21 h 47"/>
                    <a:gd name="T52" fmla="*/ 27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9"/>
                      </a:moveTo>
                      <a:cubicBezTo>
                        <a:pt x="26" y="18"/>
                        <a:pt x="24" y="11"/>
                        <a:pt x="23" y="5"/>
                      </a:cubicBezTo>
                      <a:cubicBezTo>
                        <a:pt x="22" y="3"/>
                        <a:pt x="19" y="0"/>
                        <a:pt x="17" y="0"/>
                      </a:cubicBezTo>
                      <a:cubicBezTo>
                        <a:pt x="16" y="0"/>
                        <a:pt x="11" y="0"/>
                        <a:pt x="10" y="0"/>
                      </a:cubicBezTo>
                      <a:cubicBezTo>
                        <a:pt x="7" y="0"/>
                        <a:pt x="5" y="3"/>
                        <a:pt x="4" y="5"/>
                      </a:cubicBezTo>
                      <a:cubicBezTo>
                        <a:pt x="2" y="11"/>
                        <a:pt x="0" y="18"/>
                        <a:pt x="0" y="19"/>
                      </a:cubicBezTo>
                      <a:cubicBezTo>
                        <a:pt x="0" y="20"/>
                        <a:pt x="0" y="21"/>
                        <a:pt x="1" y="21"/>
                      </a:cubicBezTo>
                      <a:cubicBezTo>
                        <a:pt x="2" y="21"/>
                        <a:pt x="3" y="21"/>
                        <a:pt x="4" y="20"/>
                      </a:cubicBezTo>
                      <a:cubicBezTo>
                        <a:pt x="4" y="18"/>
                        <a:pt x="7" y="7"/>
                        <a:pt x="7"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74" name="Oval 888"/>
                <p:cNvSpPr>
                  <a:spLocks noChangeArrowheads="1"/>
                </p:cNvSpPr>
                <p:nvPr/>
              </p:nvSpPr>
              <p:spPr bwMode="auto">
                <a:xfrm>
                  <a:off x="14013" y="171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75" name="Freeform 889"/>
                <p:cNvSpPr>
                  <a:spLocks/>
                </p:cNvSpPr>
                <p:nvPr/>
              </p:nvSpPr>
              <p:spPr bwMode="auto">
                <a:xfrm>
                  <a:off x="13866" y="1736"/>
                  <a:ext cx="54" cy="109"/>
                </a:xfrm>
                <a:custGeom>
                  <a:avLst/>
                  <a:gdLst>
                    <a:gd name="T0" fmla="*/ 21 w 23"/>
                    <a:gd name="T1" fmla="*/ 22 h 46"/>
                    <a:gd name="T2" fmla="*/ 23 w 23"/>
                    <a:gd name="T3" fmla="*/ 20 h 46"/>
                    <a:gd name="T4" fmla="*/ 23 w 23"/>
                    <a:gd name="T5" fmla="*/ 6 h 46"/>
                    <a:gd name="T6" fmla="*/ 17 w 23"/>
                    <a:gd name="T7" fmla="*/ 0 h 46"/>
                    <a:gd name="T8" fmla="*/ 6 w 23"/>
                    <a:gd name="T9" fmla="*/ 0 h 46"/>
                    <a:gd name="T10" fmla="*/ 0 w 23"/>
                    <a:gd name="T11" fmla="*/ 6 h 46"/>
                    <a:gd name="T12" fmla="*/ 0 w 23"/>
                    <a:gd name="T13" fmla="*/ 20 h 46"/>
                    <a:gd name="T14" fmla="*/ 2 w 23"/>
                    <a:gd name="T15" fmla="*/ 22 h 46"/>
                    <a:gd name="T16" fmla="*/ 4 w 23"/>
                    <a:gd name="T17" fmla="*/ 20 h 46"/>
                    <a:gd name="T18" fmla="*/ 4 w 23"/>
                    <a:gd name="T19" fmla="*/ 7 h 46"/>
                    <a:gd name="T20" fmla="*/ 5 w 23"/>
                    <a:gd name="T21" fmla="*/ 7 h 46"/>
                    <a:gd name="T22" fmla="*/ 5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7 w 23"/>
                    <a:gd name="T37" fmla="*/ 44 h 46"/>
                    <a:gd name="T38" fmla="*/ 17 w 23"/>
                    <a:gd name="T39" fmla="*/ 7 h 46"/>
                    <a:gd name="T40" fmla="*/ 19 w 23"/>
                    <a:gd name="T41" fmla="*/ 7 h 46"/>
                    <a:gd name="T42" fmla="*/ 19 w 23"/>
                    <a:gd name="T43" fmla="*/ 20 h 46"/>
                    <a:gd name="T44" fmla="*/ 21 w 23"/>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2"/>
                      </a:moveTo>
                      <a:cubicBezTo>
                        <a:pt x="22" y="22"/>
                        <a:pt x="23" y="22"/>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20" y="22"/>
                        <a:pt x="2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76" name="Oval 890"/>
                <p:cNvSpPr>
                  <a:spLocks noChangeArrowheads="1"/>
                </p:cNvSpPr>
                <p:nvPr/>
              </p:nvSpPr>
              <p:spPr bwMode="auto">
                <a:xfrm>
                  <a:off x="13882" y="171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77" name="Freeform 891"/>
                <p:cNvSpPr>
                  <a:spLocks/>
                </p:cNvSpPr>
                <p:nvPr/>
              </p:nvSpPr>
              <p:spPr bwMode="auto">
                <a:xfrm>
                  <a:off x="13729" y="1587"/>
                  <a:ext cx="64" cy="111"/>
                </a:xfrm>
                <a:custGeom>
                  <a:avLst/>
                  <a:gdLst>
                    <a:gd name="T0" fmla="*/ 24 w 27"/>
                    <a:gd name="T1" fmla="*/ 20 h 47"/>
                    <a:gd name="T2" fmla="*/ 26 w 27"/>
                    <a:gd name="T3" fmla="*/ 21 h 47"/>
                    <a:gd name="T4" fmla="*/ 27 w 27"/>
                    <a:gd name="T5" fmla="*/ 19 h 47"/>
                    <a:gd name="T6" fmla="*/ 23 w 27"/>
                    <a:gd name="T7" fmla="*/ 5 h 47"/>
                    <a:gd name="T8" fmla="*/ 18 w 27"/>
                    <a:gd name="T9" fmla="*/ 0 h 47"/>
                    <a:gd name="T10" fmla="*/ 10 w 27"/>
                    <a:gd name="T11" fmla="*/ 0 h 47"/>
                    <a:gd name="T12" fmla="*/ 5 w 27"/>
                    <a:gd name="T13" fmla="*/ 5 h 47"/>
                    <a:gd name="T14" fmla="*/ 1 w 27"/>
                    <a:gd name="T15" fmla="*/ 19 h 47"/>
                    <a:gd name="T16" fmla="*/ 2 w 27"/>
                    <a:gd name="T17" fmla="*/ 21 h 47"/>
                    <a:gd name="T18" fmla="*/ 4 w 27"/>
                    <a:gd name="T19" fmla="*/ 20 h 47"/>
                    <a:gd name="T20" fmla="*/ 8 w 27"/>
                    <a:gd name="T21" fmla="*/ 7 h 47"/>
                    <a:gd name="T22" fmla="*/ 9 w 27"/>
                    <a:gd name="T23" fmla="*/ 7 h 47"/>
                    <a:gd name="T24" fmla="*/ 3 w 27"/>
                    <a:gd name="T25" fmla="*/ 28 h 47"/>
                    <a:gd name="T26" fmla="*/ 9 w 27"/>
                    <a:gd name="T27" fmla="*/ 28 h 47"/>
                    <a:gd name="T28" fmla="*/ 9 w 27"/>
                    <a:gd name="T29" fmla="*/ 45 h 47"/>
                    <a:gd name="T30" fmla="*/ 11 w 27"/>
                    <a:gd name="T31" fmla="*/ 47 h 47"/>
                    <a:gd name="T32" fmla="*/ 14 w 27"/>
                    <a:gd name="T33" fmla="*/ 45 h 47"/>
                    <a:gd name="T34" fmla="*/ 14 w 27"/>
                    <a:gd name="T35" fmla="*/ 28 h 47"/>
                    <a:gd name="T36" fmla="*/ 15 w 27"/>
                    <a:gd name="T37" fmla="*/ 28 h 47"/>
                    <a:gd name="T38" fmla="*/ 15 w 27"/>
                    <a:gd name="T39" fmla="*/ 45 h 47"/>
                    <a:gd name="T40" fmla="*/ 17 w 27"/>
                    <a:gd name="T41" fmla="*/ 47 h 47"/>
                    <a:gd name="T42" fmla="*/ 19 w 27"/>
                    <a:gd name="T43" fmla="*/ 45 h 47"/>
                    <a:gd name="T44" fmla="*/ 19 w 27"/>
                    <a:gd name="T45" fmla="*/ 28 h 47"/>
                    <a:gd name="T46" fmla="*/ 25 w 27"/>
                    <a:gd name="T47" fmla="*/ 28 h 47"/>
                    <a:gd name="T48" fmla="*/ 19 w 27"/>
                    <a:gd name="T49" fmla="*/ 7 h 47"/>
                    <a:gd name="T50" fmla="*/ 20 w 27"/>
                    <a:gd name="T51" fmla="*/ 7 h 47"/>
                    <a:gd name="T52" fmla="*/ 24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4" y="20"/>
                      </a:moveTo>
                      <a:cubicBezTo>
                        <a:pt x="24" y="21"/>
                        <a:pt x="25" y="21"/>
                        <a:pt x="26" y="21"/>
                      </a:cubicBezTo>
                      <a:cubicBezTo>
                        <a:pt x="27" y="21"/>
                        <a:pt x="27" y="20"/>
                        <a:pt x="27" y="19"/>
                      </a:cubicBezTo>
                      <a:cubicBezTo>
                        <a:pt x="27" y="18"/>
                        <a:pt x="25" y="11"/>
                        <a:pt x="23" y="5"/>
                      </a:cubicBezTo>
                      <a:cubicBezTo>
                        <a:pt x="23"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78" name="Oval 892"/>
                <p:cNvSpPr>
                  <a:spLocks noChangeArrowheads="1"/>
                </p:cNvSpPr>
                <p:nvPr/>
              </p:nvSpPr>
              <p:spPr bwMode="auto">
                <a:xfrm>
                  <a:off x="13750" y="171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79" name="Freeform 893"/>
                <p:cNvSpPr>
                  <a:spLocks/>
                </p:cNvSpPr>
                <p:nvPr/>
              </p:nvSpPr>
              <p:spPr bwMode="auto">
                <a:xfrm>
                  <a:off x="13991" y="1587"/>
                  <a:ext cx="64" cy="111"/>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3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80" name="Oval 894"/>
                <p:cNvSpPr>
                  <a:spLocks noChangeArrowheads="1"/>
                </p:cNvSpPr>
                <p:nvPr/>
              </p:nvSpPr>
              <p:spPr bwMode="auto">
                <a:xfrm>
                  <a:off x="13686" y="1857"/>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81" name="Oval 895"/>
                <p:cNvSpPr>
                  <a:spLocks noChangeArrowheads="1"/>
                </p:cNvSpPr>
                <p:nvPr/>
              </p:nvSpPr>
              <p:spPr bwMode="auto">
                <a:xfrm>
                  <a:off x="13750" y="1857"/>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82" name="Freeform 896"/>
                <p:cNvSpPr>
                  <a:spLocks/>
                </p:cNvSpPr>
                <p:nvPr/>
              </p:nvSpPr>
              <p:spPr bwMode="auto">
                <a:xfrm>
                  <a:off x="13669" y="1883"/>
                  <a:ext cx="55" cy="109"/>
                </a:xfrm>
                <a:custGeom>
                  <a:avLst/>
                  <a:gdLst>
                    <a:gd name="T0" fmla="*/ 4 w 23"/>
                    <a:gd name="T1" fmla="*/ 20 h 46"/>
                    <a:gd name="T2" fmla="*/ 4 w 23"/>
                    <a:gd name="T3" fmla="*/ 7 h 46"/>
                    <a:gd name="T4" fmla="*/ 5 w 23"/>
                    <a:gd name="T5" fmla="*/ 7 h 46"/>
                    <a:gd name="T6" fmla="*/ 5 w 23"/>
                    <a:gd name="T7" fmla="*/ 44 h 46"/>
                    <a:gd name="T8" fmla="*/ 8 w 23"/>
                    <a:gd name="T9" fmla="*/ 46 h 46"/>
                    <a:gd name="T10" fmla="*/ 11 w 23"/>
                    <a:gd name="T11" fmla="*/ 44 h 46"/>
                    <a:gd name="T12" fmla="*/ 11 w 23"/>
                    <a:gd name="T13" fmla="*/ 22 h 46"/>
                    <a:gd name="T14" fmla="*/ 12 w 23"/>
                    <a:gd name="T15" fmla="*/ 22 h 46"/>
                    <a:gd name="T16" fmla="*/ 12 w 23"/>
                    <a:gd name="T17" fmla="*/ 44 h 46"/>
                    <a:gd name="T18" fmla="*/ 15 w 23"/>
                    <a:gd name="T19" fmla="*/ 46 h 46"/>
                    <a:gd name="T20" fmla="*/ 17 w 23"/>
                    <a:gd name="T21" fmla="*/ 44 h 46"/>
                    <a:gd name="T22" fmla="*/ 17 w 23"/>
                    <a:gd name="T23" fmla="*/ 7 h 46"/>
                    <a:gd name="T24" fmla="*/ 18 w 23"/>
                    <a:gd name="T25" fmla="*/ 7 h 46"/>
                    <a:gd name="T26" fmla="*/ 18 w 23"/>
                    <a:gd name="T27" fmla="*/ 20 h 46"/>
                    <a:gd name="T28" fmla="*/ 21 w 23"/>
                    <a:gd name="T29" fmla="*/ 22 h 46"/>
                    <a:gd name="T30" fmla="*/ 23 w 23"/>
                    <a:gd name="T31" fmla="*/ 20 h 46"/>
                    <a:gd name="T32" fmla="*/ 23 w 23"/>
                    <a:gd name="T33" fmla="*/ 6 h 46"/>
                    <a:gd name="T34" fmla="*/ 17 w 23"/>
                    <a:gd name="T35" fmla="*/ 0 h 46"/>
                    <a:gd name="T36" fmla="*/ 6 w 23"/>
                    <a:gd name="T37" fmla="*/ 0 h 46"/>
                    <a:gd name="T38" fmla="*/ 0 w 23"/>
                    <a:gd name="T39" fmla="*/ 6 h 46"/>
                    <a:gd name="T40" fmla="*/ 0 w 23"/>
                    <a:gd name="T41" fmla="*/ 20 h 46"/>
                    <a:gd name="T42" fmla="*/ 2 w 23"/>
                    <a:gd name="T43" fmla="*/ 22 h 46"/>
                    <a:gd name="T44" fmla="*/ 4 w 23"/>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4" y="20"/>
                      </a:move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2"/>
                        <a:pt x="11" y="22"/>
                      </a:cubicBezTo>
                      <a:cubicBezTo>
                        <a:pt x="11" y="22"/>
                        <a:pt x="11" y="22"/>
                        <a:pt x="12" y="22"/>
                      </a:cubicBezTo>
                      <a:cubicBezTo>
                        <a:pt x="12" y="22"/>
                        <a:pt x="12" y="41"/>
                        <a:pt x="12" y="44"/>
                      </a:cubicBezTo>
                      <a:cubicBezTo>
                        <a:pt x="12" y="45"/>
                        <a:pt x="13" y="46"/>
                        <a:pt x="15" y="46"/>
                      </a:cubicBezTo>
                      <a:cubicBezTo>
                        <a:pt x="16" y="46"/>
                        <a:pt x="17" y="45"/>
                        <a:pt x="17" y="44"/>
                      </a:cubicBezTo>
                      <a:cubicBezTo>
                        <a:pt x="17" y="41"/>
                        <a:pt x="17" y="7"/>
                        <a:pt x="17" y="7"/>
                      </a:cubicBezTo>
                      <a:cubicBezTo>
                        <a:pt x="17" y="7"/>
                        <a:pt x="17" y="7"/>
                        <a:pt x="18" y="7"/>
                      </a:cubicBezTo>
                      <a:cubicBezTo>
                        <a:pt x="18" y="7"/>
                        <a:pt x="18" y="19"/>
                        <a:pt x="18" y="20"/>
                      </a:cubicBezTo>
                      <a:cubicBezTo>
                        <a:pt x="18" y="21"/>
                        <a:pt x="19" y="22"/>
                        <a:pt x="21" y="22"/>
                      </a:cubicBezTo>
                      <a:cubicBezTo>
                        <a:pt x="22" y="22"/>
                        <a:pt x="23" y="21"/>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1"/>
                        <a:pt x="1" y="22"/>
                        <a:pt x="2" y="22"/>
                      </a:cubicBezTo>
                      <a:cubicBezTo>
                        <a:pt x="3" y="22"/>
                        <a:pt x="4" y="21"/>
                        <a:pt x="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83" name="Freeform 897"/>
                <p:cNvSpPr>
                  <a:spLocks/>
                </p:cNvSpPr>
                <p:nvPr/>
              </p:nvSpPr>
              <p:spPr bwMode="auto">
                <a:xfrm>
                  <a:off x="13665" y="1736"/>
                  <a:ext cx="64" cy="111"/>
                </a:xfrm>
                <a:custGeom>
                  <a:avLst/>
                  <a:gdLst>
                    <a:gd name="T0" fmla="*/ 23 w 27"/>
                    <a:gd name="T1" fmla="*/ 4 h 47"/>
                    <a:gd name="T2" fmla="*/ 17 w 27"/>
                    <a:gd name="T3" fmla="*/ 0 h 47"/>
                    <a:gd name="T4" fmla="*/ 10 w 27"/>
                    <a:gd name="T5" fmla="*/ 0 h 47"/>
                    <a:gd name="T6" fmla="*/ 4 w 27"/>
                    <a:gd name="T7" fmla="*/ 4 h 47"/>
                    <a:gd name="T8" fmla="*/ 0 w 27"/>
                    <a:gd name="T9" fmla="*/ 18 h 47"/>
                    <a:gd name="T10" fmla="*/ 1 w 27"/>
                    <a:gd name="T11" fmla="*/ 20 h 47"/>
                    <a:gd name="T12" fmla="*/ 4 w 27"/>
                    <a:gd name="T13" fmla="*/ 19 h 47"/>
                    <a:gd name="T14" fmla="*/ 8 w 27"/>
                    <a:gd name="T15" fmla="*/ 6 h 47"/>
                    <a:gd name="T16" fmla="*/ 9 w 27"/>
                    <a:gd name="T17" fmla="*/ 6 h 47"/>
                    <a:gd name="T18" fmla="*/ 2 w 27"/>
                    <a:gd name="T19" fmla="*/ 28 h 47"/>
                    <a:gd name="T20" fmla="*/ 8 w 27"/>
                    <a:gd name="T21" fmla="*/ 28 h 47"/>
                    <a:gd name="T22" fmla="*/ 8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5 w 27"/>
                    <a:gd name="T41" fmla="*/ 28 h 47"/>
                    <a:gd name="T42" fmla="*/ 18 w 27"/>
                    <a:gd name="T43" fmla="*/ 6 h 47"/>
                    <a:gd name="T44" fmla="*/ 19 w 27"/>
                    <a:gd name="T45" fmla="*/ 6 h 47"/>
                    <a:gd name="T46" fmla="*/ 23 w 27"/>
                    <a:gd name="T47" fmla="*/ 19 h 47"/>
                    <a:gd name="T48" fmla="*/ 25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84" name="Oval 898"/>
                <p:cNvSpPr>
                  <a:spLocks noChangeArrowheads="1"/>
                </p:cNvSpPr>
                <p:nvPr/>
              </p:nvSpPr>
              <p:spPr bwMode="auto">
                <a:xfrm>
                  <a:off x="14013" y="1857"/>
                  <a:ext cx="23"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85" name="Freeform 899"/>
                <p:cNvSpPr>
                  <a:spLocks/>
                </p:cNvSpPr>
                <p:nvPr/>
              </p:nvSpPr>
              <p:spPr bwMode="auto">
                <a:xfrm>
                  <a:off x="13996" y="1736"/>
                  <a:ext cx="54" cy="109"/>
                </a:xfrm>
                <a:custGeom>
                  <a:avLst/>
                  <a:gdLst>
                    <a:gd name="T0" fmla="*/ 21 w 23"/>
                    <a:gd name="T1" fmla="*/ 22 h 46"/>
                    <a:gd name="T2" fmla="*/ 23 w 23"/>
                    <a:gd name="T3" fmla="*/ 20 h 46"/>
                    <a:gd name="T4" fmla="*/ 23 w 23"/>
                    <a:gd name="T5" fmla="*/ 6 h 46"/>
                    <a:gd name="T6" fmla="*/ 17 w 23"/>
                    <a:gd name="T7" fmla="*/ 0 h 46"/>
                    <a:gd name="T8" fmla="*/ 7 w 23"/>
                    <a:gd name="T9" fmla="*/ 0 h 46"/>
                    <a:gd name="T10" fmla="*/ 0 w 23"/>
                    <a:gd name="T11" fmla="*/ 6 h 46"/>
                    <a:gd name="T12" fmla="*/ 0 w 23"/>
                    <a:gd name="T13" fmla="*/ 20 h 46"/>
                    <a:gd name="T14" fmla="*/ 3 w 23"/>
                    <a:gd name="T15" fmla="*/ 22 h 46"/>
                    <a:gd name="T16" fmla="*/ 5 w 23"/>
                    <a:gd name="T17" fmla="*/ 20 h 46"/>
                    <a:gd name="T18" fmla="*/ 5 w 23"/>
                    <a:gd name="T19" fmla="*/ 7 h 46"/>
                    <a:gd name="T20" fmla="*/ 6 w 23"/>
                    <a:gd name="T21" fmla="*/ 7 h 46"/>
                    <a:gd name="T22" fmla="*/ 6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8 w 23"/>
                    <a:gd name="T37" fmla="*/ 44 h 46"/>
                    <a:gd name="T38" fmla="*/ 18 w 23"/>
                    <a:gd name="T39" fmla="*/ 7 h 46"/>
                    <a:gd name="T40" fmla="*/ 19 w 23"/>
                    <a:gd name="T41" fmla="*/ 7 h 46"/>
                    <a:gd name="T42" fmla="*/ 19 w 23"/>
                    <a:gd name="T43" fmla="*/ 20 h 46"/>
                    <a:gd name="T44" fmla="*/ 21 w 23"/>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2"/>
                      </a:moveTo>
                      <a:cubicBezTo>
                        <a:pt x="22" y="22"/>
                        <a:pt x="23" y="22"/>
                        <a:pt x="23" y="20"/>
                      </a:cubicBezTo>
                      <a:cubicBezTo>
                        <a:pt x="23" y="19"/>
                        <a:pt x="23" y="7"/>
                        <a:pt x="23" y="6"/>
                      </a:cubicBezTo>
                      <a:cubicBezTo>
                        <a:pt x="23" y="2"/>
                        <a:pt x="20" y="0"/>
                        <a:pt x="17" y="0"/>
                      </a:cubicBezTo>
                      <a:cubicBezTo>
                        <a:pt x="15" y="0"/>
                        <a:pt x="8" y="0"/>
                        <a:pt x="7" y="0"/>
                      </a:cubicBezTo>
                      <a:cubicBezTo>
                        <a:pt x="3" y="0"/>
                        <a:pt x="0" y="2"/>
                        <a:pt x="0" y="6"/>
                      </a:cubicBezTo>
                      <a:cubicBezTo>
                        <a:pt x="0" y="7"/>
                        <a:pt x="0" y="19"/>
                        <a:pt x="0" y="20"/>
                      </a:cubicBezTo>
                      <a:cubicBezTo>
                        <a:pt x="0" y="22"/>
                        <a:pt x="1" y="22"/>
                        <a:pt x="3" y="22"/>
                      </a:cubicBezTo>
                      <a:cubicBezTo>
                        <a:pt x="4" y="22"/>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4"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2"/>
                        <a:pt x="20" y="22"/>
                        <a:pt x="2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86" name="Freeform 900"/>
                <p:cNvSpPr>
                  <a:spLocks/>
                </p:cNvSpPr>
                <p:nvPr/>
              </p:nvSpPr>
              <p:spPr bwMode="auto">
                <a:xfrm>
                  <a:off x="13149" y="1883"/>
                  <a:ext cx="47" cy="33"/>
                </a:xfrm>
                <a:custGeom>
                  <a:avLst/>
                  <a:gdLst>
                    <a:gd name="T0" fmla="*/ 6 w 20"/>
                    <a:gd name="T1" fmla="*/ 0 h 14"/>
                    <a:gd name="T2" fmla="*/ 0 w 20"/>
                    <a:gd name="T3" fmla="*/ 6 h 14"/>
                    <a:gd name="T4" fmla="*/ 0 w 20"/>
                    <a:gd name="T5" fmla="*/ 14 h 14"/>
                    <a:gd name="T6" fmla="*/ 4 w 20"/>
                    <a:gd name="T7" fmla="*/ 12 h 14"/>
                    <a:gd name="T8" fmla="*/ 4 w 20"/>
                    <a:gd name="T9" fmla="*/ 7 h 14"/>
                    <a:gd name="T10" fmla="*/ 5 w 20"/>
                    <a:gd name="T11" fmla="*/ 7 h 14"/>
                    <a:gd name="T12" fmla="*/ 5 w 20"/>
                    <a:gd name="T13" fmla="*/ 12 h 14"/>
                    <a:gd name="T14" fmla="*/ 20 w 20"/>
                    <a:gd name="T15" fmla="*/ 1 h 14"/>
                    <a:gd name="T16" fmla="*/ 16 w 20"/>
                    <a:gd name="T17" fmla="*/ 0 h 14"/>
                    <a:gd name="T18" fmla="*/ 6 w 20"/>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14">
                      <a:moveTo>
                        <a:pt x="6" y="0"/>
                      </a:moveTo>
                      <a:cubicBezTo>
                        <a:pt x="2" y="0"/>
                        <a:pt x="0" y="2"/>
                        <a:pt x="0" y="6"/>
                      </a:cubicBezTo>
                      <a:cubicBezTo>
                        <a:pt x="0" y="7"/>
                        <a:pt x="0" y="10"/>
                        <a:pt x="0" y="14"/>
                      </a:cubicBezTo>
                      <a:cubicBezTo>
                        <a:pt x="1" y="14"/>
                        <a:pt x="2" y="13"/>
                        <a:pt x="4" y="12"/>
                      </a:cubicBezTo>
                      <a:cubicBezTo>
                        <a:pt x="4" y="9"/>
                        <a:pt x="4" y="7"/>
                        <a:pt x="4" y="7"/>
                      </a:cubicBezTo>
                      <a:cubicBezTo>
                        <a:pt x="4" y="7"/>
                        <a:pt x="4" y="7"/>
                        <a:pt x="5" y="7"/>
                      </a:cubicBezTo>
                      <a:cubicBezTo>
                        <a:pt x="5" y="7"/>
                        <a:pt x="5" y="9"/>
                        <a:pt x="5" y="12"/>
                      </a:cubicBezTo>
                      <a:cubicBezTo>
                        <a:pt x="10" y="9"/>
                        <a:pt x="15" y="5"/>
                        <a:pt x="20" y="1"/>
                      </a:cubicBezTo>
                      <a:cubicBezTo>
                        <a:pt x="19" y="0"/>
                        <a:pt x="17" y="0"/>
                        <a:pt x="16" y="0"/>
                      </a:cubicBezTo>
                      <a:cubicBezTo>
                        <a:pt x="14" y="0"/>
                        <a:pt x="7"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87" name="Freeform 901"/>
                <p:cNvSpPr>
                  <a:spLocks/>
                </p:cNvSpPr>
                <p:nvPr/>
              </p:nvSpPr>
              <p:spPr bwMode="auto">
                <a:xfrm>
                  <a:off x="13359" y="1857"/>
                  <a:ext cx="24" cy="21"/>
                </a:xfrm>
                <a:custGeom>
                  <a:avLst/>
                  <a:gdLst>
                    <a:gd name="T0" fmla="*/ 10 w 10"/>
                    <a:gd name="T1" fmla="*/ 5 h 9"/>
                    <a:gd name="T2" fmla="*/ 5 w 10"/>
                    <a:gd name="T3" fmla="*/ 0 h 9"/>
                    <a:gd name="T4" fmla="*/ 0 w 10"/>
                    <a:gd name="T5" fmla="*/ 5 h 9"/>
                    <a:gd name="T6" fmla="*/ 0 w 10"/>
                    <a:gd name="T7" fmla="*/ 5 h 9"/>
                    <a:gd name="T8" fmla="*/ 6 w 10"/>
                    <a:gd name="T9" fmla="*/ 9 h 9"/>
                    <a:gd name="T10" fmla="*/ 10 w 10"/>
                    <a:gd name="T11" fmla="*/ 5 h 9"/>
                  </a:gdLst>
                  <a:ahLst/>
                  <a:cxnLst>
                    <a:cxn ang="0">
                      <a:pos x="T0" y="T1"/>
                    </a:cxn>
                    <a:cxn ang="0">
                      <a:pos x="T2" y="T3"/>
                    </a:cxn>
                    <a:cxn ang="0">
                      <a:pos x="T4" y="T5"/>
                    </a:cxn>
                    <a:cxn ang="0">
                      <a:pos x="T6" y="T7"/>
                    </a:cxn>
                    <a:cxn ang="0">
                      <a:pos x="T8" y="T9"/>
                    </a:cxn>
                    <a:cxn ang="0">
                      <a:pos x="T10" y="T11"/>
                    </a:cxn>
                  </a:cxnLst>
                  <a:rect l="0" t="0" r="r" b="b"/>
                  <a:pathLst>
                    <a:path w="10" h="9">
                      <a:moveTo>
                        <a:pt x="10" y="5"/>
                      </a:moveTo>
                      <a:cubicBezTo>
                        <a:pt x="10" y="2"/>
                        <a:pt x="8" y="0"/>
                        <a:pt x="5" y="0"/>
                      </a:cubicBezTo>
                      <a:cubicBezTo>
                        <a:pt x="2" y="0"/>
                        <a:pt x="0" y="2"/>
                        <a:pt x="0" y="5"/>
                      </a:cubicBezTo>
                      <a:cubicBezTo>
                        <a:pt x="0" y="5"/>
                        <a:pt x="0" y="5"/>
                        <a:pt x="0" y="5"/>
                      </a:cubicBezTo>
                      <a:cubicBezTo>
                        <a:pt x="2" y="6"/>
                        <a:pt x="4" y="8"/>
                        <a:pt x="6" y="9"/>
                      </a:cubicBezTo>
                      <a:cubicBezTo>
                        <a:pt x="8" y="9"/>
                        <a:pt x="10" y="7"/>
                        <a:pt x="1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88" name="Freeform 902"/>
                <p:cNvSpPr>
                  <a:spLocks/>
                </p:cNvSpPr>
                <p:nvPr/>
              </p:nvSpPr>
              <p:spPr bwMode="auto">
                <a:xfrm>
                  <a:off x="13274" y="1736"/>
                  <a:ext cx="64" cy="111"/>
                </a:xfrm>
                <a:custGeom>
                  <a:avLst/>
                  <a:gdLst>
                    <a:gd name="T0" fmla="*/ 13 w 27"/>
                    <a:gd name="T1" fmla="*/ 44 h 47"/>
                    <a:gd name="T2" fmla="*/ 13 w 27"/>
                    <a:gd name="T3" fmla="*/ 28 h 47"/>
                    <a:gd name="T4" fmla="*/ 14 w 27"/>
                    <a:gd name="T5" fmla="*/ 28 h 47"/>
                    <a:gd name="T6" fmla="*/ 14 w 27"/>
                    <a:gd name="T7" fmla="*/ 44 h 47"/>
                    <a:gd name="T8" fmla="*/ 16 w 27"/>
                    <a:gd name="T9" fmla="*/ 47 h 47"/>
                    <a:gd name="T10" fmla="*/ 18 w 27"/>
                    <a:gd name="T11" fmla="*/ 44 h 47"/>
                    <a:gd name="T12" fmla="*/ 18 w 27"/>
                    <a:gd name="T13" fmla="*/ 28 h 47"/>
                    <a:gd name="T14" fmla="*/ 25 w 27"/>
                    <a:gd name="T15" fmla="*/ 28 h 47"/>
                    <a:gd name="T16" fmla="*/ 18 w 27"/>
                    <a:gd name="T17" fmla="*/ 6 h 47"/>
                    <a:gd name="T18" fmla="*/ 19 w 27"/>
                    <a:gd name="T19" fmla="*/ 6 h 47"/>
                    <a:gd name="T20" fmla="*/ 23 w 27"/>
                    <a:gd name="T21" fmla="*/ 19 h 47"/>
                    <a:gd name="T22" fmla="*/ 25 w 27"/>
                    <a:gd name="T23" fmla="*/ 20 h 47"/>
                    <a:gd name="T24" fmla="*/ 26 w 27"/>
                    <a:gd name="T25" fmla="*/ 18 h 47"/>
                    <a:gd name="T26" fmla="*/ 23 w 27"/>
                    <a:gd name="T27" fmla="*/ 4 h 47"/>
                    <a:gd name="T28" fmla="*/ 17 w 27"/>
                    <a:gd name="T29" fmla="*/ 0 h 47"/>
                    <a:gd name="T30" fmla="*/ 10 w 27"/>
                    <a:gd name="T31" fmla="*/ 0 h 47"/>
                    <a:gd name="T32" fmla="*/ 4 w 27"/>
                    <a:gd name="T33" fmla="*/ 4 h 47"/>
                    <a:gd name="T34" fmla="*/ 0 w 27"/>
                    <a:gd name="T35" fmla="*/ 18 h 47"/>
                    <a:gd name="T36" fmla="*/ 1 w 27"/>
                    <a:gd name="T37" fmla="*/ 20 h 47"/>
                    <a:gd name="T38" fmla="*/ 4 w 27"/>
                    <a:gd name="T39" fmla="*/ 19 h 47"/>
                    <a:gd name="T40" fmla="*/ 7 w 27"/>
                    <a:gd name="T41" fmla="*/ 6 h 47"/>
                    <a:gd name="T42" fmla="*/ 9 w 27"/>
                    <a:gd name="T43" fmla="*/ 6 h 47"/>
                    <a:gd name="T44" fmla="*/ 2 w 27"/>
                    <a:gd name="T45" fmla="*/ 28 h 47"/>
                    <a:gd name="T46" fmla="*/ 8 w 27"/>
                    <a:gd name="T47" fmla="*/ 28 h 47"/>
                    <a:gd name="T48" fmla="*/ 8 w 27"/>
                    <a:gd name="T49" fmla="*/ 44 h 47"/>
                    <a:gd name="T50" fmla="*/ 9 w 27"/>
                    <a:gd name="T51" fmla="*/ 46 h 47"/>
                    <a:gd name="T52" fmla="*/ 11 w 27"/>
                    <a:gd name="T53" fmla="*/ 47 h 47"/>
                    <a:gd name="T54" fmla="*/ 13 w 27"/>
                    <a:gd name="T55"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 h="47">
                      <a:moveTo>
                        <a:pt x="13" y="44"/>
                      </a:move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6" y="18"/>
                      </a:cubicBezTo>
                      <a:cubicBezTo>
                        <a:pt x="26" y="17"/>
                        <a:pt x="24" y="10"/>
                        <a:pt x="23" y="4"/>
                      </a:cubicBezTo>
                      <a:cubicBezTo>
                        <a:pt x="22" y="2"/>
                        <a:pt x="19"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ubicBezTo>
                        <a:pt x="4" y="18"/>
                        <a:pt x="7" y="6"/>
                        <a:pt x="7" y="6"/>
                      </a:cubicBezTo>
                      <a:cubicBezTo>
                        <a:pt x="9" y="6"/>
                        <a:pt x="9" y="6"/>
                        <a:pt x="9" y="6"/>
                      </a:cubicBezTo>
                      <a:cubicBezTo>
                        <a:pt x="2" y="28"/>
                        <a:pt x="2" y="28"/>
                        <a:pt x="2" y="28"/>
                      </a:cubicBezTo>
                      <a:cubicBezTo>
                        <a:pt x="8" y="28"/>
                        <a:pt x="8" y="28"/>
                        <a:pt x="8" y="28"/>
                      </a:cubicBezTo>
                      <a:cubicBezTo>
                        <a:pt x="8" y="35"/>
                        <a:pt x="8" y="43"/>
                        <a:pt x="8" y="44"/>
                      </a:cubicBezTo>
                      <a:cubicBezTo>
                        <a:pt x="8" y="45"/>
                        <a:pt x="9" y="46"/>
                        <a:pt x="9" y="46"/>
                      </a:cubicBezTo>
                      <a:cubicBezTo>
                        <a:pt x="10" y="46"/>
                        <a:pt x="11" y="46"/>
                        <a:pt x="11" y="47"/>
                      </a:cubicBezTo>
                      <a:cubicBezTo>
                        <a:pt x="12" y="46"/>
                        <a:pt x="13" y="45"/>
                        <a:pt x="13"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89" name="Freeform 903"/>
                <p:cNvSpPr>
                  <a:spLocks/>
                </p:cNvSpPr>
                <p:nvPr/>
              </p:nvSpPr>
              <p:spPr bwMode="auto">
                <a:xfrm>
                  <a:off x="13606" y="1736"/>
                  <a:ext cx="54" cy="109"/>
                </a:xfrm>
                <a:custGeom>
                  <a:avLst/>
                  <a:gdLst>
                    <a:gd name="T0" fmla="*/ 21 w 23"/>
                    <a:gd name="T1" fmla="*/ 22 h 46"/>
                    <a:gd name="T2" fmla="*/ 23 w 23"/>
                    <a:gd name="T3" fmla="*/ 20 h 46"/>
                    <a:gd name="T4" fmla="*/ 23 w 23"/>
                    <a:gd name="T5" fmla="*/ 6 h 46"/>
                    <a:gd name="T6" fmla="*/ 17 w 23"/>
                    <a:gd name="T7" fmla="*/ 0 h 46"/>
                    <a:gd name="T8" fmla="*/ 7 w 23"/>
                    <a:gd name="T9" fmla="*/ 0 h 46"/>
                    <a:gd name="T10" fmla="*/ 0 w 23"/>
                    <a:gd name="T11" fmla="*/ 6 h 46"/>
                    <a:gd name="T12" fmla="*/ 0 w 23"/>
                    <a:gd name="T13" fmla="*/ 20 h 46"/>
                    <a:gd name="T14" fmla="*/ 3 w 23"/>
                    <a:gd name="T15" fmla="*/ 22 h 46"/>
                    <a:gd name="T16" fmla="*/ 5 w 23"/>
                    <a:gd name="T17" fmla="*/ 20 h 46"/>
                    <a:gd name="T18" fmla="*/ 5 w 23"/>
                    <a:gd name="T19" fmla="*/ 7 h 46"/>
                    <a:gd name="T20" fmla="*/ 6 w 23"/>
                    <a:gd name="T21" fmla="*/ 7 h 46"/>
                    <a:gd name="T22" fmla="*/ 6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8 w 23"/>
                    <a:gd name="T37" fmla="*/ 44 h 46"/>
                    <a:gd name="T38" fmla="*/ 18 w 23"/>
                    <a:gd name="T39" fmla="*/ 7 h 46"/>
                    <a:gd name="T40" fmla="*/ 19 w 23"/>
                    <a:gd name="T41" fmla="*/ 7 h 46"/>
                    <a:gd name="T42" fmla="*/ 19 w 23"/>
                    <a:gd name="T43" fmla="*/ 20 h 46"/>
                    <a:gd name="T44" fmla="*/ 21 w 23"/>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2"/>
                      </a:moveTo>
                      <a:cubicBezTo>
                        <a:pt x="22" y="22"/>
                        <a:pt x="23" y="22"/>
                        <a:pt x="23" y="20"/>
                      </a:cubicBezTo>
                      <a:cubicBezTo>
                        <a:pt x="23" y="19"/>
                        <a:pt x="23" y="7"/>
                        <a:pt x="23" y="6"/>
                      </a:cubicBezTo>
                      <a:cubicBezTo>
                        <a:pt x="23" y="2"/>
                        <a:pt x="20" y="0"/>
                        <a:pt x="17" y="0"/>
                      </a:cubicBezTo>
                      <a:cubicBezTo>
                        <a:pt x="15" y="0"/>
                        <a:pt x="8" y="0"/>
                        <a:pt x="7" y="0"/>
                      </a:cubicBezTo>
                      <a:cubicBezTo>
                        <a:pt x="3" y="0"/>
                        <a:pt x="0" y="2"/>
                        <a:pt x="0" y="6"/>
                      </a:cubicBezTo>
                      <a:cubicBezTo>
                        <a:pt x="0" y="7"/>
                        <a:pt x="0" y="19"/>
                        <a:pt x="0" y="20"/>
                      </a:cubicBezTo>
                      <a:cubicBezTo>
                        <a:pt x="0" y="22"/>
                        <a:pt x="1" y="22"/>
                        <a:pt x="3" y="22"/>
                      </a:cubicBezTo>
                      <a:cubicBezTo>
                        <a:pt x="4" y="22"/>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4"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2"/>
                        <a:pt x="20" y="22"/>
                        <a:pt x="2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90" name="Oval 904"/>
                <p:cNvSpPr>
                  <a:spLocks noChangeArrowheads="1"/>
                </p:cNvSpPr>
                <p:nvPr/>
              </p:nvSpPr>
              <p:spPr bwMode="auto">
                <a:xfrm>
                  <a:off x="13163" y="171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91" name="Freeform 905"/>
                <p:cNvSpPr>
                  <a:spLocks/>
                </p:cNvSpPr>
                <p:nvPr/>
              </p:nvSpPr>
              <p:spPr bwMode="auto">
                <a:xfrm>
                  <a:off x="13475" y="1736"/>
                  <a:ext cx="55" cy="109"/>
                </a:xfrm>
                <a:custGeom>
                  <a:avLst/>
                  <a:gdLst>
                    <a:gd name="T0" fmla="*/ 21 w 23"/>
                    <a:gd name="T1" fmla="*/ 22 h 46"/>
                    <a:gd name="T2" fmla="*/ 23 w 23"/>
                    <a:gd name="T3" fmla="*/ 20 h 46"/>
                    <a:gd name="T4" fmla="*/ 23 w 23"/>
                    <a:gd name="T5" fmla="*/ 6 h 46"/>
                    <a:gd name="T6" fmla="*/ 17 w 23"/>
                    <a:gd name="T7" fmla="*/ 0 h 46"/>
                    <a:gd name="T8" fmla="*/ 6 w 23"/>
                    <a:gd name="T9" fmla="*/ 0 h 46"/>
                    <a:gd name="T10" fmla="*/ 0 w 23"/>
                    <a:gd name="T11" fmla="*/ 6 h 46"/>
                    <a:gd name="T12" fmla="*/ 0 w 23"/>
                    <a:gd name="T13" fmla="*/ 20 h 46"/>
                    <a:gd name="T14" fmla="*/ 2 w 23"/>
                    <a:gd name="T15" fmla="*/ 22 h 46"/>
                    <a:gd name="T16" fmla="*/ 4 w 23"/>
                    <a:gd name="T17" fmla="*/ 20 h 46"/>
                    <a:gd name="T18" fmla="*/ 4 w 23"/>
                    <a:gd name="T19" fmla="*/ 7 h 46"/>
                    <a:gd name="T20" fmla="*/ 5 w 23"/>
                    <a:gd name="T21" fmla="*/ 7 h 46"/>
                    <a:gd name="T22" fmla="*/ 5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7 w 23"/>
                    <a:gd name="T37" fmla="*/ 44 h 46"/>
                    <a:gd name="T38" fmla="*/ 17 w 23"/>
                    <a:gd name="T39" fmla="*/ 7 h 46"/>
                    <a:gd name="T40" fmla="*/ 19 w 23"/>
                    <a:gd name="T41" fmla="*/ 7 h 46"/>
                    <a:gd name="T42" fmla="*/ 19 w 23"/>
                    <a:gd name="T43" fmla="*/ 20 h 46"/>
                    <a:gd name="T44" fmla="*/ 21 w 23"/>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2"/>
                      </a:moveTo>
                      <a:cubicBezTo>
                        <a:pt x="22" y="22"/>
                        <a:pt x="23" y="22"/>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19" y="22"/>
                        <a:pt x="2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92" name="Oval 906"/>
                <p:cNvSpPr>
                  <a:spLocks noChangeArrowheads="1"/>
                </p:cNvSpPr>
                <p:nvPr/>
              </p:nvSpPr>
              <p:spPr bwMode="auto">
                <a:xfrm>
                  <a:off x="13622" y="171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93" name="Oval 907"/>
                <p:cNvSpPr>
                  <a:spLocks noChangeArrowheads="1"/>
                </p:cNvSpPr>
                <p:nvPr/>
              </p:nvSpPr>
              <p:spPr bwMode="auto">
                <a:xfrm>
                  <a:off x="13163" y="1857"/>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94" name="Oval 908"/>
                <p:cNvSpPr>
                  <a:spLocks noChangeArrowheads="1"/>
                </p:cNvSpPr>
                <p:nvPr/>
              </p:nvSpPr>
              <p:spPr bwMode="auto">
                <a:xfrm>
                  <a:off x="13622" y="156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95" name="Freeform 909"/>
                <p:cNvSpPr>
                  <a:spLocks/>
                </p:cNvSpPr>
                <p:nvPr/>
              </p:nvSpPr>
              <p:spPr bwMode="auto">
                <a:xfrm>
                  <a:off x="13471" y="1587"/>
                  <a:ext cx="64" cy="111"/>
                </a:xfrm>
                <a:custGeom>
                  <a:avLst/>
                  <a:gdLst>
                    <a:gd name="T0" fmla="*/ 1 w 27"/>
                    <a:gd name="T1" fmla="*/ 21 h 47"/>
                    <a:gd name="T2" fmla="*/ 4 w 27"/>
                    <a:gd name="T3" fmla="*/ 20 h 47"/>
                    <a:gd name="T4" fmla="*/ 7 w 27"/>
                    <a:gd name="T5" fmla="*/ 7 h 47"/>
                    <a:gd name="T6" fmla="*/ 9 w 27"/>
                    <a:gd name="T7" fmla="*/ 7 h 47"/>
                    <a:gd name="T8" fmla="*/ 2 w 27"/>
                    <a:gd name="T9" fmla="*/ 28 h 47"/>
                    <a:gd name="T10" fmla="*/ 8 w 27"/>
                    <a:gd name="T11" fmla="*/ 28 h 47"/>
                    <a:gd name="T12" fmla="*/ 8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5 w 27"/>
                    <a:gd name="T31" fmla="*/ 28 h 47"/>
                    <a:gd name="T32" fmla="*/ 18 w 27"/>
                    <a:gd name="T33" fmla="*/ 7 h 47"/>
                    <a:gd name="T34" fmla="*/ 19 w 27"/>
                    <a:gd name="T35" fmla="*/ 7 h 47"/>
                    <a:gd name="T36" fmla="*/ 23 w 27"/>
                    <a:gd name="T37" fmla="*/ 20 h 47"/>
                    <a:gd name="T38" fmla="*/ 25 w 27"/>
                    <a:gd name="T39" fmla="*/ 21 h 47"/>
                    <a:gd name="T40" fmla="*/ 27 w 27"/>
                    <a:gd name="T41" fmla="*/ 19 h 47"/>
                    <a:gd name="T42" fmla="*/ 22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7" y="7"/>
                        <a:pt x="7"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2" y="5"/>
                      </a:cubicBezTo>
                      <a:cubicBezTo>
                        <a:pt x="22" y="3"/>
                        <a:pt x="20" y="0"/>
                        <a:pt x="17" y="0"/>
                      </a:cubicBezTo>
                      <a:cubicBezTo>
                        <a:pt x="16" y="0"/>
                        <a:pt x="11" y="0"/>
                        <a:pt x="10"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96" name="Oval 910"/>
                <p:cNvSpPr>
                  <a:spLocks noChangeArrowheads="1"/>
                </p:cNvSpPr>
                <p:nvPr/>
              </p:nvSpPr>
              <p:spPr bwMode="auto">
                <a:xfrm>
                  <a:off x="13492"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97" name="Freeform 911"/>
                <p:cNvSpPr>
                  <a:spLocks/>
                </p:cNvSpPr>
                <p:nvPr/>
              </p:nvSpPr>
              <p:spPr bwMode="auto">
                <a:xfrm>
                  <a:off x="13142" y="1736"/>
                  <a:ext cx="66" cy="111"/>
                </a:xfrm>
                <a:custGeom>
                  <a:avLst/>
                  <a:gdLst>
                    <a:gd name="T0" fmla="*/ 23 w 28"/>
                    <a:gd name="T1" fmla="*/ 4 h 47"/>
                    <a:gd name="T2" fmla="*/ 18 w 28"/>
                    <a:gd name="T3" fmla="*/ 0 h 47"/>
                    <a:gd name="T4" fmla="*/ 10 w 28"/>
                    <a:gd name="T5" fmla="*/ 0 h 47"/>
                    <a:gd name="T6" fmla="*/ 5 w 28"/>
                    <a:gd name="T7" fmla="*/ 4 h 47"/>
                    <a:gd name="T8" fmla="*/ 1 w 28"/>
                    <a:gd name="T9" fmla="*/ 18 h 47"/>
                    <a:gd name="T10" fmla="*/ 2 w 28"/>
                    <a:gd name="T11" fmla="*/ 20 h 47"/>
                    <a:gd name="T12" fmla="*/ 4 w 28"/>
                    <a:gd name="T13" fmla="*/ 19 h 47"/>
                    <a:gd name="T14" fmla="*/ 8 w 28"/>
                    <a:gd name="T15" fmla="*/ 6 h 47"/>
                    <a:gd name="T16" fmla="*/ 9 w 28"/>
                    <a:gd name="T17" fmla="*/ 6 h 47"/>
                    <a:gd name="T18" fmla="*/ 3 w 28"/>
                    <a:gd name="T19" fmla="*/ 28 h 47"/>
                    <a:gd name="T20" fmla="*/ 9 w 28"/>
                    <a:gd name="T21" fmla="*/ 28 h 47"/>
                    <a:gd name="T22" fmla="*/ 9 w 28"/>
                    <a:gd name="T23" fmla="*/ 44 h 47"/>
                    <a:gd name="T24" fmla="*/ 11 w 28"/>
                    <a:gd name="T25" fmla="*/ 47 h 47"/>
                    <a:gd name="T26" fmla="*/ 13 w 28"/>
                    <a:gd name="T27" fmla="*/ 44 h 47"/>
                    <a:gd name="T28" fmla="*/ 13 w 28"/>
                    <a:gd name="T29" fmla="*/ 28 h 47"/>
                    <a:gd name="T30" fmla="*/ 14 w 28"/>
                    <a:gd name="T31" fmla="*/ 28 h 47"/>
                    <a:gd name="T32" fmla="*/ 14 w 28"/>
                    <a:gd name="T33" fmla="*/ 44 h 47"/>
                    <a:gd name="T34" fmla="*/ 17 w 28"/>
                    <a:gd name="T35" fmla="*/ 47 h 47"/>
                    <a:gd name="T36" fmla="*/ 19 w 28"/>
                    <a:gd name="T37" fmla="*/ 44 h 47"/>
                    <a:gd name="T38" fmla="*/ 19 w 28"/>
                    <a:gd name="T39" fmla="*/ 28 h 47"/>
                    <a:gd name="T40" fmla="*/ 25 w 28"/>
                    <a:gd name="T41" fmla="*/ 28 h 47"/>
                    <a:gd name="T42" fmla="*/ 19 w 28"/>
                    <a:gd name="T43" fmla="*/ 6 h 47"/>
                    <a:gd name="T44" fmla="*/ 20 w 28"/>
                    <a:gd name="T45" fmla="*/ 6 h 47"/>
                    <a:gd name="T46" fmla="*/ 24 w 28"/>
                    <a:gd name="T47" fmla="*/ 19 h 47"/>
                    <a:gd name="T48" fmla="*/ 26 w 28"/>
                    <a:gd name="T49" fmla="*/ 20 h 47"/>
                    <a:gd name="T50" fmla="*/ 27 w 28"/>
                    <a:gd name="T51" fmla="*/ 18 h 47"/>
                    <a:gd name="T52" fmla="*/ 23 w 28"/>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4"/>
                      </a:moveTo>
                      <a:cubicBezTo>
                        <a:pt x="22"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8"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98" name="Freeform 912"/>
                <p:cNvSpPr>
                  <a:spLocks/>
                </p:cNvSpPr>
                <p:nvPr/>
              </p:nvSpPr>
              <p:spPr bwMode="auto">
                <a:xfrm>
                  <a:off x="13208" y="1587"/>
                  <a:ext cx="64" cy="111"/>
                </a:xfrm>
                <a:custGeom>
                  <a:avLst/>
                  <a:gdLst>
                    <a:gd name="T0" fmla="*/ 23 w 27"/>
                    <a:gd name="T1" fmla="*/ 5 h 47"/>
                    <a:gd name="T2" fmla="*/ 17 w 27"/>
                    <a:gd name="T3" fmla="*/ 0 h 47"/>
                    <a:gd name="T4" fmla="*/ 10 w 27"/>
                    <a:gd name="T5" fmla="*/ 0 h 47"/>
                    <a:gd name="T6" fmla="*/ 4 w 27"/>
                    <a:gd name="T7" fmla="*/ 5 h 47"/>
                    <a:gd name="T8" fmla="*/ 0 w 27"/>
                    <a:gd name="T9" fmla="*/ 19 h 47"/>
                    <a:gd name="T10" fmla="*/ 2 w 27"/>
                    <a:gd name="T11" fmla="*/ 21 h 47"/>
                    <a:gd name="T12" fmla="*/ 4 w 27"/>
                    <a:gd name="T13" fmla="*/ 20 h 47"/>
                    <a:gd name="T14" fmla="*/ 8 w 27"/>
                    <a:gd name="T15" fmla="*/ 7 h 47"/>
                    <a:gd name="T16" fmla="*/ 9 w 27"/>
                    <a:gd name="T17" fmla="*/ 7 h 47"/>
                    <a:gd name="T18" fmla="*/ 2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9 w 27"/>
                    <a:gd name="T37" fmla="*/ 45 h 47"/>
                    <a:gd name="T38" fmla="*/ 19 w 27"/>
                    <a:gd name="T39" fmla="*/ 28 h 47"/>
                    <a:gd name="T40" fmla="*/ 25 w 27"/>
                    <a:gd name="T41" fmla="*/ 28 h 47"/>
                    <a:gd name="T42" fmla="*/ 18 w 27"/>
                    <a:gd name="T43" fmla="*/ 7 h 47"/>
                    <a:gd name="T44" fmla="*/ 20 w 27"/>
                    <a:gd name="T45" fmla="*/ 7 h 47"/>
                    <a:gd name="T46" fmla="*/ 23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7" y="0"/>
                        <a:pt x="5" y="3"/>
                        <a:pt x="4"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399" name="Oval 913"/>
                <p:cNvSpPr>
                  <a:spLocks noChangeArrowheads="1"/>
                </p:cNvSpPr>
                <p:nvPr/>
              </p:nvSpPr>
              <p:spPr bwMode="auto">
                <a:xfrm>
                  <a:off x="13622" y="1857"/>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00" name="Oval 914"/>
                <p:cNvSpPr>
                  <a:spLocks noChangeArrowheads="1"/>
                </p:cNvSpPr>
                <p:nvPr/>
              </p:nvSpPr>
              <p:spPr bwMode="auto">
                <a:xfrm>
                  <a:off x="13229" y="171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01" name="Oval 915"/>
                <p:cNvSpPr>
                  <a:spLocks noChangeArrowheads="1"/>
                </p:cNvSpPr>
                <p:nvPr/>
              </p:nvSpPr>
              <p:spPr bwMode="auto">
                <a:xfrm>
                  <a:off x="13163" y="156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02" name="Oval 916"/>
                <p:cNvSpPr>
                  <a:spLocks noChangeArrowheads="1"/>
                </p:cNvSpPr>
                <p:nvPr/>
              </p:nvSpPr>
              <p:spPr bwMode="auto">
                <a:xfrm>
                  <a:off x="13229" y="156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03" name="Freeform 917"/>
                <p:cNvSpPr>
                  <a:spLocks/>
                </p:cNvSpPr>
                <p:nvPr/>
              </p:nvSpPr>
              <p:spPr bwMode="auto">
                <a:xfrm>
                  <a:off x="13149" y="1587"/>
                  <a:ext cx="52" cy="111"/>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8 w 22"/>
                    <a:gd name="T13" fmla="*/ 47 h 47"/>
                    <a:gd name="T14" fmla="*/ 10 w 22"/>
                    <a:gd name="T15" fmla="*/ 44 h 47"/>
                    <a:gd name="T16" fmla="*/ 10 w 22"/>
                    <a:gd name="T17" fmla="*/ 23 h 47"/>
                    <a:gd name="T18" fmla="*/ 11 w 22"/>
                    <a:gd name="T19" fmla="*/ 23 h 47"/>
                    <a:gd name="T20" fmla="*/ 11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6 h 47"/>
                    <a:gd name="T38" fmla="*/ 16 w 22"/>
                    <a:gd name="T39" fmla="*/ 0 h 47"/>
                    <a:gd name="T40" fmla="*/ 6 w 22"/>
                    <a:gd name="T41" fmla="*/ 0 h 47"/>
                    <a:gd name="T42" fmla="*/ 0 w 22"/>
                    <a:gd name="T43" fmla="*/ 6 h 47"/>
                    <a:gd name="T44" fmla="*/ 0 w 22"/>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21"/>
                      </a:moveTo>
                      <a:cubicBezTo>
                        <a:pt x="0" y="22"/>
                        <a:pt x="0"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19" y="0"/>
                        <a:pt x="16" y="0"/>
                      </a:cubicBezTo>
                      <a:cubicBezTo>
                        <a:pt x="14" y="0"/>
                        <a:pt x="7" y="0"/>
                        <a:pt x="6" y="0"/>
                      </a:cubicBezTo>
                      <a:cubicBezTo>
                        <a:pt x="2"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04" name="Freeform 918"/>
                <p:cNvSpPr>
                  <a:spLocks/>
                </p:cNvSpPr>
                <p:nvPr/>
              </p:nvSpPr>
              <p:spPr bwMode="auto">
                <a:xfrm>
                  <a:off x="13213" y="1736"/>
                  <a:ext cx="54" cy="109"/>
                </a:xfrm>
                <a:custGeom>
                  <a:avLst/>
                  <a:gdLst>
                    <a:gd name="T0" fmla="*/ 17 w 23"/>
                    <a:gd name="T1" fmla="*/ 0 h 46"/>
                    <a:gd name="T2" fmla="*/ 6 w 23"/>
                    <a:gd name="T3" fmla="*/ 0 h 46"/>
                    <a:gd name="T4" fmla="*/ 0 w 23"/>
                    <a:gd name="T5" fmla="*/ 6 h 46"/>
                    <a:gd name="T6" fmla="*/ 0 w 23"/>
                    <a:gd name="T7" fmla="*/ 20 h 46"/>
                    <a:gd name="T8" fmla="*/ 2 w 23"/>
                    <a:gd name="T9" fmla="*/ 22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8 w 23"/>
                    <a:gd name="T31" fmla="*/ 44 h 46"/>
                    <a:gd name="T32" fmla="*/ 18 w 23"/>
                    <a:gd name="T33" fmla="*/ 7 h 46"/>
                    <a:gd name="T34" fmla="*/ 19 w 23"/>
                    <a:gd name="T35" fmla="*/ 7 h 46"/>
                    <a:gd name="T36" fmla="*/ 19 w 23"/>
                    <a:gd name="T37" fmla="*/ 20 h 46"/>
                    <a:gd name="T38" fmla="*/ 21 w 23"/>
                    <a:gd name="T39" fmla="*/ 22 h 46"/>
                    <a:gd name="T40" fmla="*/ 23 w 23"/>
                    <a:gd name="T41" fmla="*/ 20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7"/>
                        <a:pt x="0" y="19"/>
                        <a:pt x="0" y="20"/>
                      </a:cubicBezTo>
                      <a:cubicBezTo>
                        <a:pt x="0" y="22"/>
                        <a:pt x="1" y="22"/>
                        <a:pt x="2" y="22"/>
                      </a:cubicBezTo>
                      <a:cubicBezTo>
                        <a:pt x="4" y="22"/>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2"/>
                        <a:pt x="21" y="22"/>
                      </a:cubicBezTo>
                      <a:cubicBezTo>
                        <a:pt x="22" y="22"/>
                        <a:pt x="23" y="22"/>
                        <a:pt x="23" y="20"/>
                      </a:cubicBezTo>
                      <a:cubicBezTo>
                        <a:pt x="23" y="19"/>
                        <a:pt x="23" y="7"/>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05" name="Freeform 919"/>
                <p:cNvSpPr>
                  <a:spLocks/>
                </p:cNvSpPr>
                <p:nvPr/>
              </p:nvSpPr>
              <p:spPr bwMode="auto">
                <a:xfrm>
                  <a:off x="13376" y="1883"/>
                  <a:ext cx="19" cy="19"/>
                </a:xfrm>
                <a:custGeom>
                  <a:avLst/>
                  <a:gdLst>
                    <a:gd name="T0" fmla="*/ 2 w 8"/>
                    <a:gd name="T1" fmla="*/ 0 h 8"/>
                    <a:gd name="T2" fmla="*/ 0 w 8"/>
                    <a:gd name="T3" fmla="*/ 0 h 8"/>
                    <a:gd name="T4" fmla="*/ 8 w 8"/>
                    <a:gd name="T5" fmla="*/ 8 h 8"/>
                    <a:gd name="T6" fmla="*/ 7 w 8"/>
                    <a:gd name="T7" fmla="*/ 4 h 8"/>
                    <a:gd name="T8" fmla="*/ 2 w 8"/>
                    <a:gd name="T9" fmla="*/ 0 h 8"/>
                  </a:gdLst>
                  <a:ahLst/>
                  <a:cxnLst>
                    <a:cxn ang="0">
                      <a:pos x="T0" y="T1"/>
                    </a:cxn>
                    <a:cxn ang="0">
                      <a:pos x="T2" y="T3"/>
                    </a:cxn>
                    <a:cxn ang="0">
                      <a:pos x="T4" y="T5"/>
                    </a:cxn>
                    <a:cxn ang="0">
                      <a:pos x="T6" y="T7"/>
                    </a:cxn>
                    <a:cxn ang="0">
                      <a:pos x="T8" y="T9"/>
                    </a:cxn>
                  </a:cxnLst>
                  <a:rect l="0" t="0" r="r" b="b"/>
                  <a:pathLst>
                    <a:path w="8" h="8">
                      <a:moveTo>
                        <a:pt x="2" y="0"/>
                      </a:moveTo>
                      <a:cubicBezTo>
                        <a:pt x="2" y="0"/>
                        <a:pt x="1" y="0"/>
                        <a:pt x="0" y="0"/>
                      </a:cubicBezTo>
                      <a:cubicBezTo>
                        <a:pt x="3" y="2"/>
                        <a:pt x="6" y="5"/>
                        <a:pt x="8" y="8"/>
                      </a:cubicBezTo>
                      <a:cubicBezTo>
                        <a:pt x="8" y="7"/>
                        <a:pt x="8" y="5"/>
                        <a:pt x="7" y="4"/>
                      </a:cubicBezTo>
                      <a:cubicBezTo>
                        <a:pt x="6" y="2"/>
                        <a:pt x="4"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06" name="Freeform 920"/>
                <p:cNvSpPr>
                  <a:spLocks/>
                </p:cNvSpPr>
                <p:nvPr/>
              </p:nvSpPr>
              <p:spPr bwMode="auto">
                <a:xfrm>
                  <a:off x="13601" y="1587"/>
                  <a:ext cx="64" cy="111"/>
                </a:xfrm>
                <a:custGeom>
                  <a:avLst/>
                  <a:gdLst>
                    <a:gd name="T0" fmla="*/ 27 w 27"/>
                    <a:gd name="T1" fmla="*/ 19 h 47"/>
                    <a:gd name="T2" fmla="*/ 23 w 27"/>
                    <a:gd name="T3" fmla="*/ 5 h 47"/>
                    <a:gd name="T4" fmla="*/ 17 w 27"/>
                    <a:gd name="T5" fmla="*/ 0 h 47"/>
                    <a:gd name="T6" fmla="*/ 10 w 27"/>
                    <a:gd name="T7" fmla="*/ 0 h 47"/>
                    <a:gd name="T8" fmla="*/ 5 w 27"/>
                    <a:gd name="T9" fmla="*/ 5 h 47"/>
                    <a:gd name="T10" fmla="*/ 0 w 27"/>
                    <a:gd name="T11" fmla="*/ 19 h 47"/>
                    <a:gd name="T12" fmla="*/ 2 w 27"/>
                    <a:gd name="T13" fmla="*/ 21 h 47"/>
                    <a:gd name="T14" fmla="*/ 4 w 27"/>
                    <a:gd name="T15" fmla="*/ 20 h 47"/>
                    <a:gd name="T16" fmla="*/ 8 w 27"/>
                    <a:gd name="T17" fmla="*/ 7 h 47"/>
                    <a:gd name="T18" fmla="*/ 9 w 27"/>
                    <a:gd name="T19" fmla="*/ 7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9 w 27"/>
                    <a:gd name="T39" fmla="*/ 45 h 47"/>
                    <a:gd name="T40" fmla="*/ 19 w 27"/>
                    <a:gd name="T41" fmla="*/ 28 h 47"/>
                    <a:gd name="T42" fmla="*/ 25 w 27"/>
                    <a:gd name="T43" fmla="*/ 28 h 47"/>
                    <a:gd name="T44" fmla="*/ 19 w 27"/>
                    <a:gd name="T45" fmla="*/ 7 h 47"/>
                    <a:gd name="T46" fmla="*/ 20 w 27"/>
                    <a:gd name="T47" fmla="*/ 7 h 47"/>
                    <a:gd name="T48" fmla="*/ 23 w 27"/>
                    <a:gd name="T49" fmla="*/ 20 h 47"/>
                    <a:gd name="T50" fmla="*/ 26 w 27"/>
                    <a:gd name="T51" fmla="*/ 21 h 47"/>
                    <a:gd name="T52" fmla="*/ 27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9"/>
                      </a:moveTo>
                      <a:cubicBezTo>
                        <a:pt x="27" y="18"/>
                        <a:pt x="25" y="11"/>
                        <a:pt x="23" y="5"/>
                      </a:cubicBezTo>
                      <a:cubicBezTo>
                        <a:pt x="22" y="3"/>
                        <a:pt x="20" y="0"/>
                        <a:pt x="17" y="0"/>
                      </a:cubicBezTo>
                      <a:cubicBezTo>
                        <a:pt x="16" y="0"/>
                        <a:pt x="11" y="0"/>
                        <a:pt x="10" y="0"/>
                      </a:cubicBezTo>
                      <a:cubicBezTo>
                        <a:pt x="8" y="0"/>
                        <a:pt x="5" y="3"/>
                        <a:pt x="5"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3" y="20"/>
                      </a:cubicBezTo>
                      <a:cubicBezTo>
                        <a:pt x="24" y="21"/>
                        <a:pt x="25" y="21"/>
                        <a:pt x="26" y="21"/>
                      </a:cubicBezTo>
                      <a:cubicBezTo>
                        <a:pt x="27" y="21"/>
                        <a:pt x="27" y="20"/>
                        <a:pt x="2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07" name="Freeform 921"/>
                <p:cNvSpPr>
                  <a:spLocks/>
                </p:cNvSpPr>
                <p:nvPr/>
              </p:nvSpPr>
              <p:spPr bwMode="auto">
                <a:xfrm>
                  <a:off x="13601" y="1883"/>
                  <a:ext cx="64" cy="109"/>
                </a:xfrm>
                <a:custGeom>
                  <a:avLst/>
                  <a:gdLst>
                    <a:gd name="T0" fmla="*/ 4 w 27"/>
                    <a:gd name="T1" fmla="*/ 19 h 46"/>
                    <a:gd name="T2" fmla="*/ 8 w 27"/>
                    <a:gd name="T3" fmla="*/ 6 h 46"/>
                    <a:gd name="T4" fmla="*/ 9 w 27"/>
                    <a:gd name="T5" fmla="*/ 6 h 46"/>
                    <a:gd name="T6" fmla="*/ 3 w 27"/>
                    <a:gd name="T7" fmla="*/ 28 h 46"/>
                    <a:gd name="T8" fmla="*/ 9 w 27"/>
                    <a:gd name="T9" fmla="*/ 28 h 46"/>
                    <a:gd name="T10" fmla="*/ 9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6 w 27"/>
                    <a:gd name="T23" fmla="*/ 46 h 46"/>
                    <a:gd name="T24" fmla="*/ 19 w 27"/>
                    <a:gd name="T25" fmla="*/ 44 h 46"/>
                    <a:gd name="T26" fmla="*/ 19 w 27"/>
                    <a:gd name="T27" fmla="*/ 28 h 46"/>
                    <a:gd name="T28" fmla="*/ 25 w 27"/>
                    <a:gd name="T29" fmla="*/ 28 h 46"/>
                    <a:gd name="T30" fmla="*/ 19 w 27"/>
                    <a:gd name="T31" fmla="*/ 6 h 46"/>
                    <a:gd name="T32" fmla="*/ 20 w 27"/>
                    <a:gd name="T33" fmla="*/ 6 h 46"/>
                    <a:gd name="T34" fmla="*/ 23 w 27"/>
                    <a:gd name="T35" fmla="*/ 19 h 46"/>
                    <a:gd name="T36" fmla="*/ 26 w 27"/>
                    <a:gd name="T37" fmla="*/ 20 h 46"/>
                    <a:gd name="T38" fmla="*/ 27 w 27"/>
                    <a:gd name="T39" fmla="*/ 18 h 46"/>
                    <a:gd name="T40" fmla="*/ 23 w 27"/>
                    <a:gd name="T41" fmla="*/ 4 h 46"/>
                    <a:gd name="T42" fmla="*/ 17 w 27"/>
                    <a:gd name="T43" fmla="*/ 0 h 46"/>
                    <a:gd name="T44" fmla="*/ 10 w 27"/>
                    <a:gd name="T45" fmla="*/ 0 h 46"/>
                    <a:gd name="T46" fmla="*/ 5 w 27"/>
                    <a:gd name="T47" fmla="*/ 4 h 46"/>
                    <a:gd name="T48" fmla="*/ 0 w 27"/>
                    <a:gd name="T49" fmla="*/ 18 h 46"/>
                    <a:gd name="T50" fmla="*/ 2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5"/>
                        <a:pt x="10"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6" y="46"/>
                      </a:cubicBezTo>
                      <a:cubicBezTo>
                        <a:pt x="18" y="46"/>
                        <a:pt x="19" y="45"/>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ubicBezTo>
                        <a:pt x="22" y="2"/>
                        <a:pt x="20" y="0"/>
                        <a:pt x="17"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08" name="Oval 922"/>
                <p:cNvSpPr>
                  <a:spLocks noChangeArrowheads="1"/>
                </p:cNvSpPr>
                <p:nvPr/>
              </p:nvSpPr>
              <p:spPr bwMode="auto">
                <a:xfrm>
                  <a:off x="13556" y="1857"/>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09" name="Oval 923"/>
                <p:cNvSpPr>
                  <a:spLocks noChangeArrowheads="1"/>
                </p:cNvSpPr>
                <p:nvPr/>
              </p:nvSpPr>
              <p:spPr bwMode="auto">
                <a:xfrm>
                  <a:off x="13492" y="171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10" name="Freeform 924"/>
                <p:cNvSpPr>
                  <a:spLocks/>
                </p:cNvSpPr>
                <p:nvPr/>
              </p:nvSpPr>
              <p:spPr bwMode="auto">
                <a:xfrm>
                  <a:off x="13542" y="1883"/>
                  <a:ext cx="52" cy="109"/>
                </a:xfrm>
                <a:custGeom>
                  <a:avLst/>
                  <a:gdLst>
                    <a:gd name="T0" fmla="*/ 4 w 22"/>
                    <a:gd name="T1" fmla="*/ 20 h 46"/>
                    <a:gd name="T2" fmla="*/ 4 w 22"/>
                    <a:gd name="T3" fmla="*/ 7 h 46"/>
                    <a:gd name="T4" fmla="*/ 5 w 22"/>
                    <a:gd name="T5" fmla="*/ 7 h 46"/>
                    <a:gd name="T6" fmla="*/ 5 w 22"/>
                    <a:gd name="T7" fmla="*/ 44 h 46"/>
                    <a:gd name="T8" fmla="*/ 8 w 22"/>
                    <a:gd name="T9" fmla="*/ 46 h 46"/>
                    <a:gd name="T10" fmla="*/ 10 w 22"/>
                    <a:gd name="T11" fmla="*/ 44 h 46"/>
                    <a:gd name="T12" fmla="*/ 10 w 22"/>
                    <a:gd name="T13" fmla="*/ 22 h 46"/>
                    <a:gd name="T14" fmla="*/ 12 w 22"/>
                    <a:gd name="T15" fmla="*/ 22 h 46"/>
                    <a:gd name="T16" fmla="*/ 12 w 22"/>
                    <a:gd name="T17" fmla="*/ 44 h 46"/>
                    <a:gd name="T18" fmla="*/ 14 w 22"/>
                    <a:gd name="T19" fmla="*/ 46 h 46"/>
                    <a:gd name="T20" fmla="*/ 17 w 22"/>
                    <a:gd name="T21" fmla="*/ 44 h 46"/>
                    <a:gd name="T22" fmla="*/ 17 w 22"/>
                    <a:gd name="T23" fmla="*/ 7 h 46"/>
                    <a:gd name="T24" fmla="*/ 18 w 22"/>
                    <a:gd name="T25" fmla="*/ 7 h 46"/>
                    <a:gd name="T26" fmla="*/ 18 w 22"/>
                    <a:gd name="T27" fmla="*/ 20 h 46"/>
                    <a:gd name="T28" fmla="*/ 20 w 22"/>
                    <a:gd name="T29" fmla="*/ 22 h 46"/>
                    <a:gd name="T30" fmla="*/ 22 w 22"/>
                    <a:gd name="T31" fmla="*/ 20 h 46"/>
                    <a:gd name="T32" fmla="*/ 22 w 22"/>
                    <a:gd name="T33" fmla="*/ 6 h 46"/>
                    <a:gd name="T34" fmla="*/ 16 w 22"/>
                    <a:gd name="T35" fmla="*/ 0 h 46"/>
                    <a:gd name="T36" fmla="*/ 6 w 22"/>
                    <a:gd name="T37" fmla="*/ 0 h 46"/>
                    <a:gd name="T38" fmla="*/ 0 w 22"/>
                    <a:gd name="T39" fmla="*/ 6 h 46"/>
                    <a:gd name="T40" fmla="*/ 0 w 22"/>
                    <a:gd name="T41" fmla="*/ 20 h 46"/>
                    <a:gd name="T42" fmla="*/ 2 w 22"/>
                    <a:gd name="T43" fmla="*/ 22 h 46"/>
                    <a:gd name="T44" fmla="*/ 4 w 22"/>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4" y="20"/>
                      </a:move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2"/>
                        <a:pt x="10" y="22"/>
                      </a:cubicBezTo>
                      <a:cubicBezTo>
                        <a:pt x="10" y="22"/>
                        <a:pt x="10" y="22"/>
                        <a:pt x="12" y="22"/>
                      </a:cubicBezTo>
                      <a:cubicBezTo>
                        <a:pt x="12" y="22"/>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1"/>
                        <a:pt x="19" y="22"/>
                        <a:pt x="20" y="22"/>
                      </a:cubicBezTo>
                      <a:cubicBezTo>
                        <a:pt x="21" y="22"/>
                        <a:pt x="22" y="21"/>
                        <a:pt x="22" y="20"/>
                      </a:cubicBezTo>
                      <a:cubicBezTo>
                        <a:pt x="22" y="19"/>
                        <a:pt x="22" y="7"/>
                        <a:pt x="22" y="6"/>
                      </a:cubicBezTo>
                      <a:cubicBezTo>
                        <a:pt x="22" y="2"/>
                        <a:pt x="20" y="0"/>
                        <a:pt x="16" y="0"/>
                      </a:cubicBezTo>
                      <a:cubicBezTo>
                        <a:pt x="15" y="0"/>
                        <a:pt x="7" y="0"/>
                        <a:pt x="6" y="0"/>
                      </a:cubicBezTo>
                      <a:cubicBezTo>
                        <a:pt x="2" y="0"/>
                        <a:pt x="0" y="2"/>
                        <a:pt x="0" y="6"/>
                      </a:cubicBezTo>
                      <a:cubicBezTo>
                        <a:pt x="0" y="7"/>
                        <a:pt x="0" y="19"/>
                        <a:pt x="0" y="20"/>
                      </a:cubicBezTo>
                      <a:cubicBezTo>
                        <a:pt x="0" y="21"/>
                        <a:pt x="1" y="22"/>
                        <a:pt x="2" y="22"/>
                      </a:cubicBezTo>
                      <a:cubicBezTo>
                        <a:pt x="3" y="22"/>
                        <a:pt x="4" y="21"/>
                        <a:pt x="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11" name="Freeform 925"/>
                <p:cNvSpPr>
                  <a:spLocks/>
                </p:cNvSpPr>
                <p:nvPr/>
              </p:nvSpPr>
              <p:spPr bwMode="auto">
                <a:xfrm>
                  <a:off x="13471" y="1883"/>
                  <a:ext cx="64" cy="109"/>
                </a:xfrm>
                <a:custGeom>
                  <a:avLst/>
                  <a:gdLst>
                    <a:gd name="T0" fmla="*/ 4 w 27"/>
                    <a:gd name="T1" fmla="*/ 19 h 46"/>
                    <a:gd name="T2" fmla="*/ 7 w 27"/>
                    <a:gd name="T3" fmla="*/ 6 h 46"/>
                    <a:gd name="T4" fmla="*/ 9 w 27"/>
                    <a:gd name="T5" fmla="*/ 6 h 46"/>
                    <a:gd name="T6" fmla="*/ 2 w 27"/>
                    <a:gd name="T7" fmla="*/ 28 h 46"/>
                    <a:gd name="T8" fmla="*/ 8 w 27"/>
                    <a:gd name="T9" fmla="*/ 28 h 46"/>
                    <a:gd name="T10" fmla="*/ 8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6 w 27"/>
                    <a:gd name="T23" fmla="*/ 46 h 46"/>
                    <a:gd name="T24" fmla="*/ 18 w 27"/>
                    <a:gd name="T25" fmla="*/ 44 h 46"/>
                    <a:gd name="T26" fmla="*/ 18 w 27"/>
                    <a:gd name="T27" fmla="*/ 28 h 46"/>
                    <a:gd name="T28" fmla="*/ 25 w 27"/>
                    <a:gd name="T29" fmla="*/ 28 h 46"/>
                    <a:gd name="T30" fmla="*/ 18 w 27"/>
                    <a:gd name="T31" fmla="*/ 6 h 46"/>
                    <a:gd name="T32" fmla="*/ 19 w 27"/>
                    <a:gd name="T33" fmla="*/ 6 h 46"/>
                    <a:gd name="T34" fmla="*/ 23 w 27"/>
                    <a:gd name="T35" fmla="*/ 19 h 46"/>
                    <a:gd name="T36" fmla="*/ 25 w 27"/>
                    <a:gd name="T37" fmla="*/ 20 h 46"/>
                    <a:gd name="T38" fmla="*/ 27 w 27"/>
                    <a:gd name="T39" fmla="*/ 18 h 46"/>
                    <a:gd name="T40" fmla="*/ 22 w 27"/>
                    <a:gd name="T41" fmla="*/ 4 h 46"/>
                    <a:gd name="T42" fmla="*/ 17 w 27"/>
                    <a:gd name="T43" fmla="*/ 0 h 46"/>
                    <a:gd name="T44" fmla="*/ 10 w 27"/>
                    <a:gd name="T45" fmla="*/ 0 h 46"/>
                    <a:gd name="T46" fmla="*/ 4 w 27"/>
                    <a:gd name="T47" fmla="*/ 4 h 46"/>
                    <a:gd name="T48" fmla="*/ 0 w 27"/>
                    <a:gd name="T49" fmla="*/ 18 h 46"/>
                    <a:gd name="T50" fmla="*/ 1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4" y="18"/>
                        <a:pt x="7" y="6"/>
                        <a:pt x="7" y="6"/>
                      </a:cubicBezTo>
                      <a:cubicBezTo>
                        <a:pt x="9" y="6"/>
                        <a:pt x="9" y="6"/>
                        <a:pt x="9" y="6"/>
                      </a:cubicBezTo>
                      <a:cubicBezTo>
                        <a:pt x="2" y="28"/>
                        <a:pt x="2" y="28"/>
                        <a:pt x="2" y="28"/>
                      </a:cubicBezTo>
                      <a:cubicBezTo>
                        <a:pt x="8" y="28"/>
                        <a:pt x="8" y="28"/>
                        <a:pt x="8" y="28"/>
                      </a:cubicBezTo>
                      <a:cubicBezTo>
                        <a:pt x="8" y="35"/>
                        <a:pt x="8" y="43"/>
                        <a:pt x="8" y="44"/>
                      </a:cubicBezTo>
                      <a:cubicBezTo>
                        <a:pt x="8" y="45"/>
                        <a:pt x="9"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6" y="46"/>
                      </a:cubicBezTo>
                      <a:cubicBezTo>
                        <a:pt x="17" y="46"/>
                        <a:pt x="18" y="45"/>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2" y="4"/>
                      </a:cubicBezTo>
                      <a:cubicBezTo>
                        <a:pt x="22" y="2"/>
                        <a:pt x="20"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12" name="Oval 926"/>
                <p:cNvSpPr>
                  <a:spLocks noChangeArrowheads="1"/>
                </p:cNvSpPr>
                <p:nvPr/>
              </p:nvSpPr>
              <p:spPr bwMode="auto">
                <a:xfrm>
                  <a:off x="13556" y="171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13" name="Freeform 927"/>
                <p:cNvSpPr>
                  <a:spLocks/>
                </p:cNvSpPr>
                <p:nvPr/>
              </p:nvSpPr>
              <p:spPr bwMode="auto">
                <a:xfrm>
                  <a:off x="13537" y="1736"/>
                  <a:ext cx="64" cy="111"/>
                </a:xfrm>
                <a:custGeom>
                  <a:avLst/>
                  <a:gdLst>
                    <a:gd name="T0" fmla="*/ 22 w 27"/>
                    <a:gd name="T1" fmla="*/ 4 h 47"/>
                    <a:gd name="T2" fmla="*/ 17 w 27"/>
                    <a:gd name="T3" fmla="*/ 0 h 47"/>
                    <a:gd name="T4" fmla="*/ 9 w 27"/>
                    <a:gd name="T5" fmla="*/ 0 h 47"/>
                    <a:gd name="T6" fmla="*/ 4 w 27"/>
                    <a:gd name="T7" fmla="*/ 4 h 47"/>
                    <a:gd name="T8" fmla="*/ 0 w 27"/>
                    <a:gd name="T9" fmla="*/ 18 h 47"/>
                    <a:gd name="T10" fmla="*/ 1 w 27"/>
                    <a:gd name="T11" fmla="*/ 20 h 47"/>
                    <a:gd name="T12" fmla="*/ 3 w 27"/>
                    <a:gd name="T13" fmla="*/ 19 h 47"/>
                    <a:gd name="T14" fmla="*/ 7 w 27"/>
                    <a:gd name="T15" fmla="*/ 6 h 47"/>
                    <a:gd name="T16" fmla="*/ 8 w 27"/>
                    <a:gd name="T17" fmla="*/ 6 h 47"/>
                    <a:gd name="T18" fmla="*/ 2 w 27"/>
                    <a:gd name="T19" fmla="*/ 28 h 47"/>
                    <a:gd name="T20" fmla="*/ 8 w 27"/>
                    <a:gd name="T21" fmla="*/ 28 h 47"/>
                    <a:gd name="T22" fmla="*/ 8 w 27"/>
                    <a:gd name="T23" fmla="*/ 44 h 47"/>
                    <a:gd name="T24" fmla="*/ 10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4 w 27"/>
                    <a:gd name="T41" fmla="*/ 28 h 47"/>
                    <a:gd name="T42" fmla="*/ 18 w 27"/>
                    <a:gd name="T43" fmla="*/ 6 h 47"/>
                    <a:gd name="T44" fmla="*/ 19 w 27"/>
                    <a:gd name="T45" fmla="*/ 6 h 47"/>
                    <a:gd name="T46" fmla="*/ 23 w 27"/>
                    <a:gd name="T47" fmla="*/ 19 h 47"/>
                    <a:gd name="T48" fmla="*/ 25 w 27"/>
                    <a:gd name="T49" fmla="*/ 20 h 47"/>
                    <a:gd name="T50" fmla="*/ 26 w 27"/>
                    <a:gd name="T51" fmla="*/ 18 h 47"/>
                    <a:gd name="T52" fmla="*/ 22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4"/>
                      </a:move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5"/>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14" name="Freeform 928"/>
                <p:cNvSpPr>
                  <a:spLocks/>
                </p:cNvSpPr>
                <p:nvPr/>
              </p:nvSpPr>
              <p:spPr bwMode="auto">
                <a:xfrm>
                  <a:off x="13542" y="1587"/>
                  <a:ext cx="52" cy="111"/>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8 w 22"/>
                    <a:gd name="T13" fmla="*/ 47 h 47"/>
                    <a:gd name="T14" fmla="*/ 10 w 22"/>
                    <a:gd name="T15" fmla="*/ 44 h 47"/>
                    <a:gd name="T16" fmla="*/ 10 w 22"/>
                    <a:gd name="T17" fmla="*/ 23 h 47"/>
                    <a:gd name="T18" fmla="*/ 12 w 22"/>
                    <a:gd name="T19" fmla="*/ 23 h 47"/>
                    <a:gd name="T20" fmla="*/ 12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6 h 47"/>
                    <a:gd name="T38" fmla="*/ 16 w 22"/>
                    <a:gd name="T39" fmla="*/ 0 h 47"/>
                    <a:gd name="T40" fmla="*/ 6 w 22"/>
                    <a:gd name="T41" fmla="*/ 0 h 47"/>
                    <a:gd name="T42" fmla="*/ 0 w 22"/>
                    <a:gd name="T43" fmla="*/ 6 h 47"/>
                    <a:gd name="T44" fmla="*/ 0 w 22"/>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15" name="Freeform 929"/>
                <p:cNvSpPr>
                  <a:spLocks/>
                </p:cNvSpPr>
                <p:nvPr/>
              </p:nvSpPr>
              <p:spPr bwMode="auto">
                <a:xfrm>
                  <a:off x="13409" y="1883"/>
                  <a:ext cx="55" cy="109"/>
                </a:xfrm>
                <a:custGeom>
                  <a:avLst/>
                  <a:gdLst>
                    <a:gd name="T0" fmla="*/ 11 w 23"/>
                    <a:gd name="T1" fmla="*/ 44 h 46"/>
                    <a:gd name="T2" fmla="*/ 11 w 23"/>
                    <a:gd name="T3" fmla="*/ 22 h 46"/>
                    <a:gd name="T4" fmla="*/ 12 w 23"/>
                    <a:gd name="T5" fmla="*/ 22 h 46"/>
                    <a:gd name="T6" fmla="*/ 12 w 23"/>
                    <a:gd name="T7" fmla="*/ 44 h 46"/>
                    <a:gd name="T8" fmla="*/ 15 w 23"/>
                    <a:gd name="T9" fmla="*/ 46 h 46"/>
                    <a:gd name="T10" fmla="*/ 18 w 23"/>
                    <a:gd name="T11" fmla="*/ 44 h 46"/>
                    <a:gd name="T12" fmla="*/ 18 w 23"/>
                    <a:gd name="T13" fmla="*/ 7 h 46"/>
                    <a:gd name="T14" fmla="*/ 19 w 23"/>
                    <a:gd name="T15" fmla="*/ 7 h 46"/>
                    <a:gd name="T16" fmla="*/ 19 w 23"/>
                    <a:gd name="T17" fmla="*/ 20 h 46"/>
                    <a:gd name="T18" fmla="*/ 21 w 23"/>
                    <a:gd name="T19" fmla="*/ 22 h 46"/>
                    <a:gd name="T20" fmla="*/ 23 w 23"/>
                    <a:gd name="T21" fmla="*/ 20 h 46"/>
                    <a:gd name="T22" fmla="*/ 23 w 23"/>
                    <a:gd name="T23" fmla="*/ 6 h 46"/>
                    <a:gd name="T24" fmla="*/ 17 w 23"/>
                    <a:gd name="T25" fmla="*/ 0 h 46"/>
                    <a:gd name="T26" fmla="*/ 6 w 23"/>
                    <a:gd name="T27" fmla="*/ 0 h 46"/>
                    <a:gd name="T28" fmla="*/ 0 w 23"/>
                    <a:gd name="T29" fmla="*/ 6 h 46"/>
                    <a:gd name="T30" fmla="*/ 0 w 23"/>
                    <a:gd name="T31" fmla="*/ 18 h 46"/>
                    <a:gd name="T32" fmla="*/ 2 w 23"/>
                    <a:gd name="T33" fmla="*/ 22 h 46"/>
                    <a:gd name="T34" fmla="*/ 2 w 23"/>
                    <a:gd name="T35" fmla="*/ 22 h 46"/>
                    <a:gd name="T36" fmla="*/ 4 w 23"/>
                    <a:gd name="T37" fmla="*/ 20 h 46"/>
                    <a:gd name="T38" fmla="*/ 4 w 23"/>
                    <a:gd name="T39" fmla="*/ 7 h 46"/>
                    <a:gd name="T40" fmla="*/ 6 w 23"/>
                    <a:gd name="T41" fmla="*/ 7 h 46"/>
                    <a:gd name="T42" fmla="*/ 6 w 23"/>
                    <a:gd name="T43" fmla="*/ 35 h 46"/>
                    <a:gd name="T44" fmla="*/ 7 w 23"/>
                    <a:gd name="T45" fmla="*/ 46 h 46"/>
                    <a:gd name="T46" fmla="*/ 8 w 23"/>
                    <a:gd name="T47" fmla="*/ 46 h 46"/>
                    <a:gd name="T48" fmla="*/ 11 w 23"/>
                    <a:gd name="T49" fmla="*/ 4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 h="46">
                      <a:moveTo>
                        <a:pt x="11" y="44"/>
                      </a:moveTo>
                      <a:cubicBezTo>
                        <a:pt x="11" y="41"/>
                        <a:pt x="11" y="22"/>
                        <a:pt x="11" y="22"/>
                      </a:cubicBezTo>
                      <a:cubicBezTo>
                        <a:pt x="11" y="22"/>
                        <a:pt x="11" y="22"/>
                        <a:pt x="12" y="22"/>
                      </a:cubicBezTo>
                      <a:cubicBezTo>
                        <a:pt x="12" y="22"/>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1"/>
                        <a:pt x="20" y="22"/>
                        <a:pt x="21" y="22"/>
                      </a:cubicBezTo>
                      <a:cubicBezTo>
                        <a:pt x="22" y="22"/>
                        <a:pt x="23" y="21"/>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5"/>
                        <a:pt x="0" y="18"/>
                      </a:cubicBezTo>
                      <a:cubicBezTo>
                        <a:pt x="1" y="20"/>
                        <a:pt x="1" y="21"/>
                        <a:pt x="2" y="22"/>
                      </a:cubicBezTo>
                      <a:cubicBezTo>
                        <a:pt x="2" y="22"/>
                        <a:pt x="2" y="22"/>
                        <a:pt x="2" y="22"/>
                      </a:cubicBezTo>
                      <a:cubicBezTo>
                        <a:pt x="4" y="22"/>
                        <a:pt x="4" y="21"/>
                        <a:pt x="4" y="20"/>
                      </a:cubicBezTo>
                      <a:cubicBezTo>
                        <a:pt x="4" y="19"/>
                        <a:pt x="4" y="7"/>
                        <a:pt x="4" y="7"/>
                      </a:cubicBezTo>
                      <a:cubicBezTo>
                        <a:pt x="4" y="7"/>
                        <a:pt x="4" y="7"/>
                        <a:pt x="6" y="7"/>
                      </a:cubicBezTo>
                      <a:cubicBezTo>
                        <a:pt x="6" y="7"/>
                        <a:pt x="6" y="24"/>
                        <a:pt x="6" y="35"/>
                      </a:cubicBezTo>
                      <a:cubicBezTo>
                        <a:pt x="6" y="39"/>
                        <a:pt x="7" y="42"/>
                        <a:pt x="7" y="46"/>
                      </a:cubicBezTo>
                      <a:cubicBezTo>
                        <a:pt x="7" y="46"/>
                        <a:pt x="8" y="46"/>
                        <a:pt x="8" y="46"/>
                      </a:cubicBezTo>
                      <a:cubicBezTo>
                        <a:pt x="10" y="46"/>
                        <a:pt x="11" y="45"/>
                        <a:pt x="1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16" name="Oval 930"/>
                <p:cNvSpPr>
                  <a:spLocks noChangeArrowheads="1"/>
                </p:cNvSpPr>
                <p:nvPr/>
              </p:nvSpPr>
              <p:spPr bwMode="auto">
                <a:xfrm>
                  <a:off x="13492" y="1857"/>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17" name="Oval 931"/>
                <p:cNvSpPr>
                  <a:spLocks noChangeArrowheads="1"/>
                </p:cNvSpPr>
                <p:nvPr/>
              </p:nvSpPr>
              <p:spPr bwMode="auto">
                <a:xfrm>
                  <a:off x="13426" y="171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18" name="Oval 932"/>
                <p:cNvSpPr>
                  <a:spLocks noChangeArrowheads="1"/>
                </p:cNvSpPr>
                <p:nvPr/>
              </p:nvSpPr>
              <p:spPr bwMode="auto">
                <a:xfrm>
                  <a:off x="13426" y="1857"/>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19" name="Oval 933"/>
                <p:cNvSpPr>
                  <a:spLocks noChangeArrowheads="1"/>
                </p:cNvSpPr>
                <p:nvPr/>
              </p:nvSpPr>
              <p:spPr bwMode="auto">
                <a:xfrm>
                  <a:off x="13296" y="171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20" name="Freeform 934"/>
                <p:cNvSpPr>
                  <a:spLocks/>
                </p:cNvSpPr>
                <p:nvPr/>
              </p:nvSpPr>
              <p:spPr bwMode="auto">
                <a:xfrm>
                  <a:off x="13404" y="1736"/>
                  <a:ext cx="64" cy="111"/>
                </a:xfrm>
                <a:custGeom>
                  <a:avLst/>
                  <a:gdLst>
                    <a:gd name="T0" fmla="*/ 23 w 27"/>
                    <a:gd name="T1" fmla="*/ 4 h 47"/>
                    <a:gd name="T2" fmla="*/ 18 w 27"/>
                    <a:gd name="T3" fmla="*/ 0 h 47"/>
                    <a:gd name="T4" fmla="*/ 10 w 27"/>
                    <a:gd name="T5" fmla="*/ 0 h 47"/>
                    <a:gd name="T6" fmla="*/ 5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7 w 27"/>
                    <a:gd name="T35" fmla="*/ 47 h 47"/>
                    <a:gd name="T36" fmla="*/ 19 w 27"/>
                    <a:gd name="T37" fmla="*/ 44 h 47"/>
                    <a:gd name="T38" fmla="*/ 19 w 27"/>
                    <a:gd name="T39" fmla="*/ 28 h 47"/>
                    <a:gd name="T40" fmla="*/ 25 w 27"/>
                    <a:gd name="T41" fmla="*/ 28 h 47"/>
                    <a:gd name="T42" fmla="*/ 18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21" name="Freeform 935"/>
                <p:cNvSpPr>
                  <a:spLocks/>
                </p:cNvSpPr>
                <p:nvPr/>
              </p:nvSpPr>
              <p:spPr bwMode="auto">
                <a:xfrm>
                  <a:off x="13409" y="1587"/>
                  <a:ext cx="55" cy="111"/>
                </a:xfrm>
                <a:custGeom>
                  <a:avLst/>
                  <a:gdLst>
                    <a:gd name="T0" fmla="*/ 0 w 23"/>
                    <a:gd name="T1" fmla="*/ 21 h 47"/>
                    <a:gd name="T2" fmla="*/ 2 w 23"/>
                    <a:gd name="T3" fmla="*/ 23 h 47"/>
                    <a:gd name="T4" fmla="*/ 4 w 23"/>
                    <a:gd name="T5" fmla="*/ 21 h 47"/>
                    <a:gd name="T6" fmla="*/ 4 w 23"/>
                    <a:gd name="T7" fmla="*/ 8 h 47"/>
                    <a:gd name="T8" fmla="*/ 6 w 23"/>
                    <a:gd name="T9" fmla="*/ 8 h 47"/>
                    <a:gd name="T10" fmla="*/ 6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8 w 23"/>
                    <a:gd name="T25" fmla="*/ 44 h 47"/>
                    <a:gd name="T26" fmla="*/ 18 w 23"/>
                    <a:gd name="T27" fmla="*/ 8 h 47"/>
                    <a:gd name="T28" fmla="*/ 19 w 23"/>
                    <a:gd name="T29" fmla="*/ 8 h 47"/>
                    <a:gd name="T30" fmla="*/ 19 w 23"/>
                    <a:gd name="T31" fmla="*/ 21 h 47"/>
                    <a:gd name="T32" fmla="*/ 21 w 23"/>
                    <a:gd name="T33" fmla="*/ 23 h 47"/>
                    <a:gd name="T34" fmla="*/ 23 w 23"/>
                    <a:gd name="T35" fmla="*/ 21 h 47"/>
                    <a:gd name="T36" fmla="*/ 23 w 23"/>
                    <a:gd name="T37" fmla="*/ 6 h 47"/>
                    <a:gd name="T38" fmla="*/ 17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4"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22" name="Oval 936"/>
                <p:cNvSpPr>
                  <a:spLocks noChangeArrowheads="1"/>
                </p:cNvSpPr>
                <p:nvPr/>
              </p:nvSpPr>
              <p:spPr bwMode="auto">
                <a:xfrm>
                  <a:off x="13359" y="156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23" name="Oval 937"/>
                <p:cNvSpPr>
                  <a:spLocks noChangeArrowheads="1"/>
                </p:cNvSpPr>
                <p:nvPr/>
              </p:nvSpPr>
              <p:spPr bwMode="auto">
                <a:xfrm>
                  <a:off x="13426"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24" name="Oval 938"/>
                <p:cNvSpPr>
                  <a:spLocks noChangeArrowheads="1"/>
                </p:cNvSpPr>
                <p:nvPr/>
              </p:nvSpPr>
              <p:spPr bwMode="auto">
                <a:xfrm>
                  <a:off x="13556" y="156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25" name="Freeform 939"/>
                <p:cNvSpPr>
                  <a:spLocks/>
                </p:cNvSpPr>
                <p:nvPr/>
              </p:nvSpPr>
              <p:spPr bwMode="auto">
                <a:xfrm>
                  <a:off x="13345" y="1736"/>
                  <a:ext cx="52" cy="109"/>
                </a:xfrm>
                <a:custGeom>
                  <a:avLst/>
                  <a:gdLst>
                    <a:gd name="T0" fmla="*/ 16 w 22"/>
                    <a:gd name="T1" fmla="*/ 0 h 46"/>
                    <a:gd name="T2" fmla="*/ 6 w 22"/>
                    <a:gd name="T3" fmla="*/ 0 h 46"/>
                    <a:gd name="T4" fmla="*/ 0 w 22"/>
                    <a:gd name="T5" fmla="*/ 6 h 46"/>
                    <a:gd name="T6" fmla="*/ 0 w 22"/>
                    <a:gd name="T7" fmla="*/ 20 h 46"/>
                    <a:gd name="T8" fmla="*/ 2 w 22"/>
                    <a:gd name="T9" fmla="*/ 22 h 46"/>
                    <a:gd name="T10" fmla="*/ 4 w 22"/>
                    <a:gd name="T11" fmla="*/ 20 h 46"/>
                    <a:gd name="T12" fmla="*/ 4 w 22"/>
                    <a:gd name="T13" fmla="*/ 7 h 46"/>
                    <a:gd name="T14" fmla="*/ 5 w 22"/>
                    <a:gd name="T15" fmla="*/ 7 h 46"/>
                    <a:gd name="T16" fmla="*/ 5 w 22"/>
                    <a:gd name="T17" fmla="*/ 44 h 46"/>
                    <a:gd name="T18" fmla="*/ 8 w 22"/>
                    <a:gd name="T19" fmla="*/ 46 h 46"/>
                    <a:gd name="T20" fmla="*/ 10 w 22"/>
                    <a:gd name="T21" fmla="*/ 44 h 46"/>
                    <a:gd name="T22" fmla="*/ 10 w 22"/>
                    <a:gd name="T23" fmla="*/ 23 h 46"/>
                    <a:gd name="T24" fmla="*/ 12 w 22"/>
                    <a:gd name="T25" fmla="*/ 23 h 46"/>
                    <a:gd name="T26" fmla="*/ 12 w 22"/>
                    <a:gd name="T27" fmla="*/ 44 h 46"/>
                    <a:gd name="T28" fmla="*/ 14 w 22"/>
                    <a:gd name="T29" fmla="*/ 46 h 46"/>
                    <a:gd name="T30" fmla="*/ 17 w 22"/>
                    <a:gd name="T31" fmla="*/ 44 h 46"/>
                    <a:gd name="T32" fmla="*/ 17 w 22"/>
                    <a:gd name="T33" fmla="*/ 7 h 46"/>
                    <a:gd name="T34" fmla="*/ 18 w 22"/>
                    <a:gd name="T35" fmla="*/ 7 h 46"/>
                    <a:gd name="T36" fmla="*/ 18 w 22"/>
                    <a:gd name="T37" fmla="*/ 20 h 46"/>
                    <a:gd name="T38" fmla="*/ 20 w 22"/>
                    <a:gd name="T39" fmla="*/ 22 h 46"/>
                    <a:gd name="T40" fmla="*/ 22 w 22"/>
                    <a:gd name="T41" fmla="*/ 20 h 46"/>
                    <a:gd name="T42" fmla="*/ 22 w 22"/>
                    <a:gd name="T43" fmla="*/ 6 h 46"/>
                    <a:gd name="T44" fmla="*/ 16 w 22"/>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16" y="0"/>
                      </a:moveTo>
                      <a:cubicBezTo>
                        <a:pt x="15" y="0"/>
                        <a:pt x="7" y="0"/>
                        <a:pt x="6" y="0"/>
                      </a:cubicBezTo>
                      <a:cubicBezTo>
                        <a:pt x="2"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2"/>
                        <a:pt x="20" y="22"/>
                      </a:cubicBezTo>
                      <a:cubicBezTo>
                        <a:pt x="21" y="22"/>
                        <a:pt x="22" y="22"/>
                        <a:pt x="22" y="20"/>
                      </a:cubicBezTo>
                      <a:cubicBezTo>
                        <a:pt x="22" y="19"/>
                        <a:pt x="22" y="7"/>
                        <a:pt x="22" y="6"/>
                      </a:cubicBezTo>
                      <a:cubicBezTo>
                        <a:pt x="22" y="2"/>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26" name="Freeform 940"/>
                <p:cNvSpPr>
                  <a:spLocks/>
                </p:cNvSpPr>
                <p:nvPr/>
              </p:nvSpPr>
              <p:spPr bwMode="auto">
                <a:xfrm>
                  <a:off x="13338" y="1587"/>
                  <a:ext cx="64" cy="111"/>
                </a:xfrm>
                <a:custGeom>
                  <a:avLst/>
                  <a:gdLst>
                    <a:gd name="T0" fmla="*/ 23 w 27"/>
                    <a:gd name="T1" fmla="*/ 5 h 47"/>
                    <a:gd name="T2" fmla="*/ 18 w 27"/>
                    <a:gd name="T3" fmla="*/ 0 h 47"/>
                    <a:gd name="T4" fmla="*/ 10 w 27"/>
                    <a:gd name="T5" fmla="*/ 0 h 47"/>
                    <a:gd name="T6" fmla="*/ 5 w 27"/>
                    <a:gd name="T7" fmla="*/ 5 h 47"/>
                    <a:gd name="T8" fmla="*/ 1 w 27"/>
                    <a:gd name="T9" fmla="*/ 19 h 47"/>
                    <a:gd name="T10" fmla="*/ 2 w 27"/>
                    <a:gd name="T11" fmla="*/ 21 h 47"/>
                    <a:gd name="T12" fmla="*/ 4 w 27"/>
                    <a:gd name="T13" fmla="*/ 20 h 47"/>
                    <a:gd name="T14" fmla="*/ 8 w 27"/>
                    <a:gd name="T15" fmla="*/ 7 h 47"/>
                    <a:gd name="T16" fmla="*/ 9 w 27"/>
                    <a:gd name="T17" fmla="*/ 7 h 47"/>
                    <a:gd name="T18" fmla="*/ 3 w 27"/>
                    <a:gd name="T19" fmla="*/ 28 h 47"/>
                    <a:gd name="T20" fmla="*/ 9 w 27"/>
                    <a:gd name="T21" fmla="*/ 28 h 47"/>
                    <a:gd name="T22" fmla="*/ 9 w 27"/>
                    <a:gd name="T23" fmla="*/ 45 h 47"/>
                    <a:gd name="T24" fmla="*/ 11 w 27"/>
                    <a:gd name="T25" fmla="*/ 47 h 47"/>
                    <a:gd name="T26" fmla="*/ 14 w 27"/>
                    <a:gd name="T27" fmla="*/ 45 h 47"/>
                    <a:gd name="T28" fmla="*/ 14 w 27"/>
                    <a:gd name="T29" fmla="*/ 28 h 47"/>
                    <a:gd name="T30" fmla="*/ 15 w 27"/>
                    <a:gd name="T31" fmla="*/ 28 h 47"/>
                    <a:gd name="T32" fmla="*/ 15 w 27"/>
                    <a:gd name="T33" fmla="*/ 45 h 47"/>
                    <a:gd name="T34" fmla="*/ 17 w 27"/>
                    <a:gd name="T35" fmla="*/ 47 h 47"/>
                    <a:gd name="T36" fmla="*/ 19 w 27"/>
                    <a:gd name="T37" fmla="*/ 45 h 47"/>
                    <a:gd name="T38" fmla="*/ 19 w 27"/>
                    <a:gd name="T39" fmla="*/ 28 h 47"/>
                    <a:gd name="T40" fmla="*/ 25 w 27"/>
                    <a:gd name="T41" fmla="*/ 28 h 47"/>
                    <a:gd name="T42" fmla="*/ 19 w 27"/>
                    <a:gd name="T43" fmla="*/ 7 h 47"/>
                    <a:gd name="T44" fmla="*/ 20 w 27"/>
                    <a:gd name="T45" fmla="*/ 7 h 47"/>
                    <a:gd name="T46" fmla="*/ 24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27" name="Oval 941"/>
                <p:cNvSpPr>
                  <a:spLocks noChangeArrowheads="1"/>
                </p:cNvSpPr>
                <p:nvPr/>
              </p:nvSpPr>
              <p:spPr bwMode="auto">
                <a:xfrm>
                  <a:off x="13296"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28" name="Oval 942"/>
                <p:cNvSpPr>
                  <a:spLocks noChangeArrowheads="1"/>
                </p:cNvSpPr>
                <p:nvPr/>
              </p:nvSpPr>
              <p:spPr bwMode="auto">
                <a:xfrm>
                  <a:off x="13359" y="171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29" name="Freeform 943"/>
                <p:cNvSpPr>
                  <a:spLocks/>
                </p:cNvSpPr>
                <p:nvPr/>
              </p:nvSpPr>
              <p:spPr bwMode="auto">
                <a:xfrm>
                  <a:off x="13279" y="1587"/>
                  <a:ext cx="54" cy="111"/>
                </a:xfrm>
                <a:custGeom>
                  <a:avLst/>
                  <a:gdLst>
                    <a:gd name="T0" fmla="*/ 16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7 w 23"/>
                    <a:gd name="T31" fmla="*/ 44 h 47"/>
                    <a:gd name="T32" fmla="*/ 17 w 23"/>
                    <a:gd name="T33" fmla="*/ 8 h 47"/>
                    <a:gd name="T34" fmla="*/ 18 w 23"/>
                    <a:gd name="T35" fmla="*/ 8 h 47"/>
                    <a:gd name="T36" fmla="*/ 18 w 23"/>
                    <a:gd name="T37" fmla="*/ 21 h 47"/>
                    <a:gd name="T38" fmla="*/ 21 w 23"/>
                    <a:gd name="T39" fmla="*/ 23 h 47"/>
                    <a:gd name="T40" fmla="*/ 23 w 23"/>
                    <a:gd name="T41" fmla="*/ 21 h 47"/>
                    <a:gd name="T42" fmla="*/ 23 w 23"/>
                    <a:gd name="T43" fmla="*/ 6 h 47"/>
                    <a:gd name="T44" fmla="*/ 16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6" y="0"/>
                      </a:move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1" y="23"/>
                      </a:cubicBezTo>
                      <a:cubicBezTo>
                        <a:pt x="22" y="23"/>
                        <a:pt x="23" y="22"/>
                        <a:pt x="23" y="21"/>
                      </a:cubicBezTo>
                      <a:cubicBezTo>
                        <a:pt x="23" y="20"/>
                        <a:pt x="23" y="8"/>
                        <a:pt x="23" y="6"/>
                      </a:cubicBezTo>
                      <a:cubicBezTo>
                        <a:pt x="23" y="3"/>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30" name="Freeform 944"/>
                <p:cNvSpPr>
                  <a:spLocks/>
                </p:cNvSpPr>
                <p:nvPr/>
              </p:nvSpPr>
              <p:spPr bwMode="auto">
                <a:xfrm>
                  <a:off x="13014" y="1736"/>
                  <a:ext cx="64" cy="111"/>
                </a:xfrm>
                <a:custGeom>
                  <a:avLst/>
                  <a:gdLst>
                    <a:gd name="T0" fmla="*/ 23 w 27"/>
                    <a:gd name="T1" fmla="*/ 4 h 47"/>
                    <a:gd name="T2" fmla="*/ 18 w 27"/>
                    <a:gd name="T3" fmla="*/ 0 h 47"/>
                    <a:gd name="T4" fmla="*/ 10 w 27"/>
                    <a:gd name="T5" fmla="*/ 0 h 47"/>
                    <a:gd name="T6" fmla="*/ 4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9 w 27"/>
                    <a:gd name="T37" fmla="*/ 44 h 47"/>
                    <a:gd name="T38" fmla="*/ 19 w 27"/>
                    <a:gd name="T39" fmla="*/ 28 h 47"/>
                    <a:gd name="T40" fmla="*/ 25 w 27"/>
                    <a:gd name="T41" fmla="*/ 28 h 47"/>
                    <a:gd name="T42" fmla="*/ 19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6" y="0"/>
                        <a:pt x="11" y="0"/>
                        <a:pt x="10" y="0"/>
                      </a:cubicBezTo>
                      <a:cubicBezTo>
                        <a:pt x="8" y="0"/>
                        <a:pt x="5" y="2"/>
                        <a:pt x="4"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31" name="Oval 945"/>
                <p:cNvSpPr>
                  <a:spLocks noChangeArrowheads="1"/>
                </p:cNvSpPr>
                <p:nvPr/>
              </p:nvSpPr>
              <p:spPr bwMode="auto">
                <a:xfrm>
                  <a:off x="13035" y="1857"/>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32" name="Oval 946"/>
                <p:cNvSpPr>
                  <a:spLocks noChangeArrowheads="1"/>
                </p:cNvSpPr>
                <p:nvPr/>
              </p:nvSpPr>
              <p:spPr bwMode="auto">
                <a:xfrm>
                  <a:off x="13102" y="171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33" name="Freeform 947"/>
                <p:cNvSpPr>
                  <a:spLocks/>
                </p:cNvSpPr>
                <p:nvPr/>
              </p:nvSpPr>
              <p:spPr bwMode="auto">
                <a:xfrm>
                  <a:off x="13085" y="1736"/>
                  <a:ext cx="54" cy="109"/>
                </a:xfrm>
                <a:custGeom>
                  <a:avLst/>
                  <a:gdLst>
                    <a:gd name="T0" fmla="*/ 17 w 23"/>
                    <a:gd name="T1" fmla="*/ 0 h 46"/>
                    <a:gd name="T2" fmla="*/ 6 w 23"/>
                    <a:gd name="T3" fmla="*/ 0 h 46"/>
                    <a:gd name="T4" fmla="*/ 0 w 23"/>
                    <a:gd name="T5" fmla="*/ 6 h 46"/>
                    <a:gd name="T6" fmla="*/ 0 w 23"/>
                    <a:gd name="T7" fmla="*/ 20 h 46"/>
                    <a:gd name="T8" fmla="*/ 2 w 23"/>
                    <a:gd name="T9" fmla="*/ 23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7 w 23"/>
                    <a:gd name="T31" fmla="*/ 44 h 46"/>
                    <a:gd name="T32" fmla="*/ 17 w 23"/>
                    <a:gd name="T33" fmla="*/ 7 h 46"/>
                    <a:gd name="T34" fmla="*/ 19 w 23"/>
                    <a:gd name="T35" fmla="*/ 7 h 46"/>
                    <a:gd name="T36" fmla="*/ 19 w 23"/>
                    <a:gd name="T37" fmla="*/ 20 h 46"/>
                    <a:gd name="T38" fmla="*/ 21 w 23"/>
                    <a:gd name="T39" fmla="*/ 23 h 46"/>
                    <a:gd name="T40" fmla="*/ 23 w 23"/>
                    <a:gd name="T41" fmla="*/ 20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19" y="23"/>
                        <a:pt x="21" y="23"/>
                      </a:cubicBezTo>
                      <a:cubicBezTo>
                        <a:pt x="22" y="23"/>
                        <a:pt x="23" y="22"/>
                        <a:pt x="23" y="20"/>
                      </a:cubicBezTo>
                      <a:cubicBezTo>
                        <a:pt x="23" y="19"/>
                        <a:pt x="23" y="7"/>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34" name="Freeform 948"/>
                <p:cNvSpPr>
                  <a:spLocks/>
                </p:cNvSpPr>
                <p:nvPr/>
              </p:nvSpPr>
              <p:spPr bwMode="auto">
                <a:xfrm>
                  <a:off x="13080" y="1587"/>
                  <a:ext cx="64" cy="111"/>
                </a:xfrm>
                <a:custGeom>
                  <a:avLst/>
                  <a:gdLst>
                    <a:gd name="T0" fmla="*/ 23 w 27"/>
                    <a:gd name="T1" fmla="*/ 5 h 47"/>
                    <a:gd name="T2" fmla="*/ 17 w 27"/>
                    <a:gd name="T3" fmla="*/ 0 h 47"/>
                    <a:gd name="T4" fmla="*/ 10 w 27"/>
                    <a:gd name="T5" fmla="*/ 0 h 47"/>
                    <a:gd name="T6" fmla="*/ 4 w 27"/>
                    <a:gd name="T7" fmla="*/ 5 h 47"/>
                    <a:gd name="T8" fmla="*/ 0 w 27"/>
                    <a:gd name="T9" fmla="*/ 19 h 47"/>
                    <a:gd name="T10" fmla="*/ 1 w 27"/>
                    <a:gd name="T11" fmla="*/ 21 h 47"/>
                    <a:gd name="T12" fmla="*/ 4 w 27"/>
                    <a:gd name="T13" fmla="*/ 20 h 47"/>
                    <a:gd name="T14" fmla="*/ 7 w 27"/>
                    <a:gd name="T15" fmla="*/ 7 h 47"/>
                    <a:gd name="T16" fmla="*/ 9 w 27"/>
                    <a:gd name="T17" fmla="*/ 7 h 47"/>
                    <a:gd name="T18" fmla="*/ 2 w 27"/>
                    <a:gd name="T19" fmla="*/ 28 h 47"/>
                    <a:gd name="T20" fmla="*/ 8 w 27"/>
                    <a:gd name="T21" fmla="*/ 28 h 47"/>
                    <a:gd name="T22" fmla="*/ 8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8 w 27"/>
                    <a:gd name="T37" fmla="*/ 45 h 47"/>
                    <a:gd name="T38" fmla="*/ 18 w 27"/>
                    <a:gd name="T39" fmla="*/ 28 h 47"/>
                    <a:gd name="T40" fmla="*/ 25 w 27"/>
                    <a:gd name="T41" fmla="*/ 28 h 47"/>
                    <a:gd name="T42" fmla="*/ 18 w 27"/>
                    <a:gd name="T43" fmla="*/ 7 h 47"/>
                    <a:gd name="T44" fmla="*/ 19 w 27"/>
                    <a:gd name="T45" fmla="*/ 7 h 47"/>
                    <a:gd name="T46" fmla="*/ 23 w 27"/>
                    <a:gd name="T47" fmla="*/ 20 h 47"/>
                    <a:gd name="T48" fmla="*/ 25 w 27"/>
                    <a:gd name="T49" fmla="*/ 21 h 47"/>
                    <a:gd name="T50" fmla="*/ 26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7" y="0"/>
                        <a:pt x="5" y="3"/>
                        <a:pt x="4" y="5"/>
                      </a:cubicBezTo>
                      <a:cubicBezTo>
                        <a:pt x="2" y="11"/>
                        <a:pt x="0" y="18"/>
                        <a:pt x="0" y="19"/>
                      </a:cubicBezTo>
                      <a:cubicBezTo>
                        <a:pt x="0" y="20"/>
                        <a:pt x="0" y="21"/>
                        <a:pt x="1" y="21"/>
                      </a:cubicBezTo>
                      <a:cubicBezTo>
                        <a:pt x="2" y="21"/>
                        <a:pt x="3" y="21"/>
                        <a:pt x="4" y="20"/>
                      </a:cubicBezTo>
                      <a:cubicBezTo>
                        <a:pt x="4" y="18"/>
                        <a:pt x="7" y="7"/>
                        <a:pt x="7"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6" y="19"/>
                      </a:cubicBezTo>
                      <a:cubicBezTo>
                        <a:pt x="26" y="18"/>
                        <a:pt x="24"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35" name="Oval 949"/>
                <p:cNvSpPr>
                  <a:spLocks noChangeArrowheads="1"/>
                </p:cNvSpPr>
                <p:nvPr/>
              </p:nvSpPr>
              <p:spPr bwMode="auto">
                <a:xfrm>
                  <a:off x="13035" y="156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36" name="Oval 950"/>
                <p:cNvSpPr>
                  <a:spLocks noChangeArrowheads="1"/>
                </p:cNvSpPr>
                <p:nvPr/>
              </p:nvSpPr>
              <p:spPr bwMode="auto">
                <a:xfrm>
                  <a:off x="13102" y="1857"/>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37" name="Oval 951"/>
                <p:cNvSpPr>
                  <a:spLocks noChangeArrowheads="1"/>
                </p:cNvSpPr>
                <p:nvPr/>
              </p:nvSpPr>
              <p:spPr bwMode="auto">
                <a:xfrm>
                  <a:off x="13035" y="171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38" name="Freeform 952"/>
                <p:cNvSpPr>
                  <a:spLocks/>
                </p:cNvSpPr>
                <p:nvPr/>
              </p:nvSpPr>
              <p:spPr bwMode="auto">
                <a:xfrm>
                  <a:off x="13019" y="1587"/>
                  <a:ext cx="54" cy="111"/>
                </a:xfrm>
                <a:custGeom>
                  <a:avLst/>
                  <a:gdLst>
                    <a:gd name="T0" fmla="*/ 0 w 23"/>
                    <a:gd name="T1" fmla="*/ 21 h 47"/>
                    <a:gd name="T2" fmla="*/ 2 w 23"/>
                    <a:gd name="T3" fmla="*/ 23 h 47"/>
                    <a:gd name="T4" fmla="*/ 4 w 23"/>
                    <a:gd name="T5" fmla="*/ 21 h 47"/>
                    <a:gd name="T6" fmla="*/ 4 w 23"/>
                    <a:gd name="T7" fmla="*/ 8 h 47"/>
                    <a:gd name="T8" fmla="*/ 6 w 23"/>
                    <a:gd name="T9" fmla="*/ 8 h 47"/>
                    <a:gd name="T10" fmla="*/ 6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8 w 23"/>
                    <a:gd name="T25" fmla="*/ 44 h 47"/>
                    <a:gd name="T26" fmla="*/ 18 w 23"/>
                    <a:gd name="T27" fmla="*/ 8 h 47"/>
                    <a:gd name="T28" fmla="*/ 19 w 23"/>
                    <a:gd name="T29" fmla="*/ 8 h 47"/>
                    <a:gd name="T30" fmla="*/ 19 w 23"/>
                    <a:gd name="T31" fmla="*/ 21 h 47"/>
                    <a:gd name="T32" fmla="*/ 21 w 23"/>
                    <a:gd name="T33" fmla="*/ 23 h 47"/>
                    <a:gd name="T34" fmla="*/ 23 w 23"/>
                    <a:gd name="T35" fmla="*/ 21 h 47"/>
                    <a:gd name="T36" fmla="*/ 23 w 23"/>
                    <a:gd name="T37" fmla="*/ 6 h 47"/>
                    <a:gd name="T38" fmla="*/ 17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3"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39" name="Freeform 953"/>
                <p:cNvSpPr>
                  <a:spLocks/>
                </p:cNvSpPr>
                <p:nvPr/>
              </p:nvSpPr>
              <p:spPr bwMode="auto">
                <a:xfrm>
                  <a:off x="12623" y="1736"/>
                  <a:ext cx="62" cy="71"/>
                </a:xfrm>
                <a:custGeom>
                  <a:avLst/>
                  <a:gdLst>
                    <a:gd name="T0" fmla="*/ 24 w 26"/>
                    <a:gd name="T1" fmla="*/ 28 h 30"/>
                    <a:gd name="T2" fmla="*/ 17 w 26"/>
                    <a:gd name="T3" fmla="*/ 6 h 30"/>
                    <a:gd name="T4" fmla="*/ 18 w 26"/>
                    <a:gd name="T5" fmla="*/ 6 h 30"/>
                    <a:gd name="T6" fmla="*/ 22 w 26"/>
                    <a:gd name="T7" fmla="*/ 19 h 30"/>
                    <a:gd name="T8" fmla="*/ 25 w 26"/>
                    <a:gd name="T9" fmla="*/ 20 h 30"/>
                    <a:gd name="T10" fmla="*/ 26 w 26"/>
                    <a:gd name="T11" fmla="*/ 18 h 30"/>
                    <a:gd name="T12" fmla="*/ 22 w 26"/>
                    <a:gd name="T13" fmla="*/ 4 h 30"/>
                    <a:gd name="T14" fmla="*/ 16 w 26"/>
                    <a:gd name="T15" fmla="*/ 0 h 30"/>
                    <a:gd name="T16" fmla="*/ 9 w 26"/>
                    <a:gd name="T17" fmla="*/ 0 h 30"/>
                    <a:gd name="T18" fmla="*/ 3 w 26"/>
                    <a:gd name="T19" fmla="*/ 4 h 30"/>
                    <a:gd name="T20" fmla="*/ 0 w 26"/>
                    <a:gd name="T21" fmla="*/ 15 h 30"/>
                    <a:gd name="T22" fmla="*/ 3 w 26"/>
                    <a:gd name="T23" fmla="*/ 18 h 30"/>
                    <a:gd name="T24" fmla="*/ 7 w 26"/>
                    <a:gd name="T25" fmla="*/ 6 h 30"/>
                    <a:gd name="T26" fmla="*/ 8 w 26"/>
                    <a:gd name="T27" fmla="*/ 6 h 30"/>
                    <a:gd name="T28" fmla="*/ 4 w 26"/>
                    <a:gd name="T29" fmla="*/ 19 h 30"/>
                    <a:gd name="T30" fmla="*/ 18 w 26"/>
                    <a:gd name="T31" fmla="*/ 30 h 30"/>
                    <a:gd name="T32" fmla="*/ 18 w 26"/>
                    <a:gd name="T33" fmla="*/ 28 h 30"/>
                    <a:gd name="T34" fmla="*/ 24 w 26"/>
                    <a:gd name="T35"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30">
                      <a:moveTo>
                        <a:pt x="24" y="28"/>
                      </a:moveTo>
                      <a:cubicBezTo>
                        <a:pt x="17" y="6"/>
                        <a:pt x="17" y="6"/>
                        <a:pt x="17" y="6"/>
                      </a:cubicBezTo>
                      <a:cubicBezTo>
                        <a:pt x="18" y="6"/>
                        <a:pt x="18" y="6"/>
                        <a:pt x="18" y="6"/>
                      </a:cubicBezTo>
                      <a:cubicBezTo>
                        <a:pt x="18" y="6"/>
                        <a:pt x="22" y="18"/>
                        <a:pt x="22" y="19"/>
                      </a:cubicBezTo>
                      <a:cubicBezTo>
                        <a:pt x="23" y="20"/>
                        <a:pt x="24" y="21"/>
                        <a:pt x="25" y="20"/>
                      </a:cubicBezTo>
                      <a:cubicBezTo>
                        <a:pt x="26" y="20"/>
                        <a:pt x="26" y="19"/>
                        <a:pt x="26" y="18"/>
                      </a:cubicBezTo>
                      <a:cubicBezTo>
                        <a:pt x="25" y="17"/>
                        <a:pt x="23" y="10"/>
                        <a:pt x="22" y="4"/>
                      </a:cubicBezTo>
                      <a:cubicBezTo>
                        <a:pt x="21" y="2"/>
                        <a:pt x="19" y="0"/>
                        <a:pt x="16" y="0"/>
                      </a:cubicBezTo>
                      <a:cubicBezTo>
                        <a:pt x="15" y="0"/>
                        <a:pt x="10" y="0"/>
                        <a:pt x="9" y="0"/>
                      </a:cubicBezTo>
                      <a:cubicBezTo>
                        <a:pt x="6" y="0"/>
                        <a:pt x="4" y="2"/>
                        <a:pt x="3" y="4"/>
                      </a:cubicBezTo>
                      <a:cubicBezTo>
                        <a:pt x="2" y="8"/>
                        <a:pt x="1" y="12"/>
                        <a:pt x="0" y="15"/>
                      </a:cubicBezTo>
                      <a:cubicBezTo>
                        <a:pt x="1" y="16"/>
                        <a:pt x="2" y="17"/>
                        <a:pt x="3" y="18"/>
                      </a:cubicBezTo>
                      <a:cubicBezTo>
                        <a:pt x="4" y="14"/>
                        <a:pt x="7" y="6"/>
                        <a:pt x="7" y="6"/>
                      </a:cubicBezTo>
                      <a:cubicBezTo>
                        <a:pt x="8" y="6"/>
                        <a:pt x="8" y="6"/>
                        <a:pt x="8" y="6"/>
                      </a:cubicBezTo>
                      <a:cubicBezTo>
                        <a:pt x="6" y="12"/>
                        <a:pt x="5" y="16"/>
                        <a:pt x="4" y="19"/>
                      </a:cubicBezTo>
                      <a:cubicBezTo>
                        <a:pt x="9" y="22"/>
                        <a:pt x="13" y="26"/>
                        <a:pt x="18" y="30"/>
                      </a:cubicBezTo>
                      <a:cubicBezTo>
                        <a:pt x="18" y="29"/>
                        <a:pt x="18" y="29"/>
                        <a:pt x="18" y="28"/>
                      </a:cubicBezTo>
                      <a:cubicBezTo>
                        <a:pt x="24" y="28"/>
                        <a:pt x="24" y="28"/>
                        <a:pt x="2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40" name="Freeform 954"/>
                <p:cNvSpPr>
                  <a:spLocks/>
                </p:cNvSpPr>
                <p:nvPr/>
              </p:nvSpPr>
              <p:spPr bwMode="auto">
                <a:xfrm>
                  <a:off x="12955" y="1883"/>
                  <a:ext cx="54" cy="31"/>
                </a:xfrm>
                <a:custGeom>
                  <a:avLst/>
                  <a:gdLst>
                    <a:gd name="T0" fmla="*/ 15 w 23"/>
                    <a:gd name="T1" fmla="*/ 0 h 13"/>
                    <a:gd name="T2" fmla="*/ 7 w 23"/>
                    <a:gd name="T3" fmla="*/ 0 h 13"/>
                    <a:gd name="T4" fmla="*/ 2 w 23"/>
                    <a:gd name="T5" fmla="*/ 4 h 13"/>
                    <a:gd name="T6" fmla="*/ 0 w 23"/>
                    <a:gd name="T7" fmla="*/ 11 h 13"/>
                    <a:gd name="T8" fmla="*/ 4 w 23"/>
                    <a:gd name="T9" fmla="*/ 11 h 13"/>
                    <a:gd name="T10" fmla="*/ 5 w 23"/>
                    <a:gd name="T11" fmla="*/ 6 h 13"/>
                    <a:gd name="T12" fmla="*/ 6 w 23"/>
                    <a:gd name="T13" fmla="*/ 6 h 13"/>
                    <a:gd name="T14" fmla="*/ 5 w 23"/>
                    <a:gd name="T15" fmla="*/ 11 h 13"/>
                    <a:gd name="T16" fmla="*/ 18 w 23"/>
                    <a:gd name="T17" fmla="*/ 12 h 13"/>
                    <a:gd name="T18" fmla="*/ 16 w 23"/>
                    <a:gd name="T19" fmla="*/ 6 h 13"/>
                    <a:gd name="T20" fmla="*/ 17 w 23"/>
                    <a:gd name="T21" fmla="*/ 6 h 13"/>
                    <a:gd name="T22" fmla="*/ 19 w 23"/>
                    <a:gd name="T23" fmla="*/ 13 h 13"/>
                    <a:gd name="T24" fmla="*/ 23 w 23"/>
                    <a:gd name="T25" fmla="*/ 13 h 13"/>
                    <a:gd name="T26" fmla="*/ 20 w 23"/>
                    <a:gd name="T27" fmla="*/ 4 h 13"/>
                    <a:gd name="T28" fmla="*/ 15 w 23"/>
                    <a:gd name="T2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13">
                      <a:moveTo>
                        <a:pt x="15" y="0"/>
                      </a:moveTo>
                      <a:cubicBezTo>
                        <a:pt x="14" y="0"/>
                        <a:pt x="8" y="0"/>
                        <a:pt x="7" y="0"/>
                      </a:cubicBezTo>
                      <a:cubicBezTo>
                        <a:pt x="5" y="0"/>
                        <a:pt x="2" y="2"/>
                        <a:pt x="2" y="4"/>
                      </a:cubicBezTo>
                      <a:cubicBezTo>
                        <a:pt x="1" y="6"/>
                        <a:pt x="0" y="9"/>
                        <a:pt x="0" y="11"/>
                      </a:cubicBezTo>
                      <a:cubicBezTo>
                        <a:pt x="1" y="11"/>
                        <a:pt x="2" y="11"/>
                        <a:pt x="4" y="11"/>
                      </a:cubicBezTo>
                      <a:cubicBezTo>
                        <a:pt x="4" y="8"/>
                        <a:pt x="5" y="6"/>
                        <a:pt x="5" y="6"/>
                      </a:cubicBezTo>
                      <a:cubicBezTo>
                        <a:pt x="6" y="6"/>
                        <a:pt x="6" y="6"/>
                        <a:pt x="6" y="6"/>
                      </a:cubicBezTo>
                      <a:cubicBezTo>
                        <a:pt x="6" y="8"/>
                        <a:pt x="5" y="10"/>
                        <a:pt x="5" y="11"/>
                      </a:cubicBezTo>
                      <a:cubicBezTo>
                        <a:pt x="9" y="11"/>
                        <a:pt x="13" y="12"/>
                        <a:pt x="18" y="12"/>
                      </a:cubicBezTo>
                      <a:cubicBezTo>
                        <a:pt x="16" y="6"/>
                        <a:pt x="16" y="6"/>
                        <a:pt x="16" y="6"/>
                      </a:cubicBezTo>
                      <a:cubicBezTo>
                        <a:pt x="17" y="6"/>
                        <a:pt x="17" y="6"/>
                        <a:pt x="17" y="6"/>
                      </a:cubicBezTo>
                      <a:cubicBezTo>
                        <a:pt x="17" y="6"/>
                        <a:pt x="18" y="9"/>
                        <a:pt x="19" y="13"/>
                      </a:cubicBezTo>
                      <a:cubicBezTo>
                        <a:pt x="20" y="13"/>
                        <a:pt x="21" y="13"/>
                        <a:pt x="23" y="13"/>
                      </a:cubicBezTo>
                      <a:cubicBezTo>
                        <a:pt x="22" y="10"/>
                        <a:pt x="21" y="7"/>
                        <a:pt x="20" y="4"/>
                      </a:cubicBezTo>
                      <a:cubicBezTo>
                        <a:pt x="19" y="2"/>
                        <a:pt x="17"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41" name="Oval 955"/>
                <p:cNvSpPr>
                  <a:spLocks noChangeArrowheads="1"/>
                </p:cNvSpPr>
                <p:nvPr/>
              </p:nvSpPr>
              <p:spPr bwMode="auto">
                <a:xfrm>
                  <a:off x="12839" y="1857"/>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42" name="Oval 956"/>
                <p:cNvSpPr>
                  <a:spLocks noChangeArrowheads="1"/>
                </p:cNvSpPr>
                <p:nvPr/>
              </p:nvSpPr>
              <p:spPr bwMode="auto">
                <a:xfrm>
                  <a:off x="12773" y="171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43" name="Oval 957"/>
                <p:cNvSpPr>
                  <a:spLocks noChangeArrowheads="1"/>
                </p:cNvSpPr>
                <p:nvPr/>
              </p:nvSpPr>
              <p:spPr bwMode="auto">
                <a:xfrm>
                  <a:off x="12773" y="1563"/>
                  <a:ext cx="23"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44" name="Freeform 958"/>
                <p:cNvSpPr>
                  <a:spLocks/>
                </p:cNvSpPr>
                <p:nvPr/>
              </p:nvSpPr>
              <p:spPr bwMode="auto">
                <a:xfrm>
                  <a:off x="12758" y="1587"/>
                  <a:ext cx="52" cy="111"/>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7 w 22"/>
                    <a:gd name="T13" fmla="*/ 47 h 47"/>
                    <a:gd name="T14" fmla="*/ 10 w 22"/>
                    <a:gd name="T15" fmla="*/ 44 h 47"/>
                    <a:gd name="T16" fmla="*/ 10 w 22"/>
                    <a:gd name="T17" fmla="*/ 23 h 47"/>
                    <a:gd name="T18" fmla="*/ 11 w 22"/>
                    <a:gd name="T19" fmla="*/ 23 h 47"/>
                    <a:gd name="T20" fmla="*/ 11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6 h 47"/>
                    <a:gd name="T38" fmla="*/ 16 w 22"/>
                    <a:gd name="T39" fmla="*/ 0 h 47"/>
                    <a:gd name="T40" fmla="*/ 6 w 22"/>
                    <a:gd name="T41" fmla="*/ 0 h 47"/>
                    <a:gd name="T42" fmla="*/ 0 w 22"/>
                    <a:gd name="T43" fmla="*/ 6 h 47"/>
                    <a:gd name="T44" fmla="*/ 0 w 22"/>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21"/>
                      </a:moveTo>
                      <a:cubicBezTo>
                        <a:pt x="0" y="22"/>
                        <a:pt x="0"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7"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19" y="0"/>
                        <a:pt x="16" y="0"/>
                      </a:cubicBezTo>
                      <a:cubicBezTo>
                        <a:pt x="14" y="0"/>
                        <a:pt x="7" y="0"/>
                        <a:pt x="6" y="0"/>
                      </a:cubicBezTo>
                      <a:cubicBezTo>
                        <a:pt x="2"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45" name="Freeform 959"/>
                <p:cNvSpPr>
                  <a:spLocks/>
                </p:cNvSpPr>
                <p:nvPr/>
              </p:nvSpPr>
              <p:spPr bwMode="auto">
                <a:xfrm>
                  <a:off x="12822" y="1736"/>
                  <a:ext cx="55" cy="109"/>
                </a:xfrm>
                <a:custGeom>
                  <a:avLst/>
                  <a:gdLst>
                    <a:gd name="T0" fmla="*/ 17 w 23"/>
                    <a:gd name="T1" fmla="*/ 0 h 46"/>
                    <a:gd name="T2" fmla="*/ 6 w 23"/>
                    <a:gd name="T3" fmla="*/ 0 h 46"/>
                    <a:gd name="T4" fmla="*/ 0 w 23"/>
                    <a:gd name="T5" fmla="*/ 6 h 46"/>
                    <a:gd name="T6" fmla="*/ 0 w 23"/>
                    <a:gd name="T7" fmla="*/ 20 h 46"/>
                    <a:gd name="T8" fmla="*/ 2 w 23"/>
                    <a:gd name="T9" fmla="*/ 23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8 w 23"/>
                    <a:gd name="T31" fmla="*/ 44 h 46"/>
                    <a:gd name="T32" fmla="*/ 18 w 23"/>
                    <a:gd name="T33" fmla="*/ 7 h 46"/>
                    <a:gd name="T34" fmla="*/ 19 w 23"/>
                    <a:gd name="T35" fmla="*/ 7 h 46"/>
                    <a:gd name="T36" fmla="*/ 19 w 23"/>
                    <a:gd name="T37" fmla="*/ 20 h 46"/>
                    <a:gd name="T38" fmla="*/ 21 w 23"/>
                    <a:gd name="T39" fmla="*/ 23 h 46"/>
                    <a:gd name="T40" fmla="*/ 23 w 23"/>
                    <a:gd name="T41" fmla="*/ 20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7"/>
                        <a:pt x="0" y="19"/>
                        <a:pt x="0" y="20"/>
                      </a:cubicBezTo>
                      <a:cubicBezTo>
                        <a:pt x="0" y="22"/>
                        <a:pt x="1" y="23"/>
                        <a:pt x="2" y="23"/>
                      </a:cubicBezTo>
                      <a:cubicBezTo>
                        <a:pt x="4"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7"/>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46" name="Freeform 960"/>
                <p:cNvSpPr>
                  <a:spLocks/>
                </p:cNvSpPr>
                <p:nvPr/>
              </p:nvSpPr>
              <p:spPr bwMode="auto">
                <a:xfrm>
                  <a:off x="12818" y="1587"/>
                  <a:ext cx="63" cy="111"/>
                </a:xfrm>
                <a:custGeom>
                  <a:avLst/>
                  <a:gdLst>
                    <a:gd name="T0" fmla="*/ 23 w 27"/>
                    <a:gd name="T1" fmla="*/ 5 h 47"/>
                    <a:gd name="T2" fmla="*/ 17 w 27"/>
                    <a:gd name="T3" fmla="*/ 0 h 47"/>
                    <a:gd name="T4" fmla="*/ 10 w 27"/>
                    <a:gd name="T5" fmla="*/ 0 h 47"/>
                    <a:gd name="T6" fmla="*/ 4 w 27"/>
                    <a:gd name="T7" fmla="*/ 5 h 47"/>
                    <a:gd name="T8" fmla="*/ 0 w 27"/>
                    <a:gd name="T9" fmla="*/ 19 h 47"/>
                    <a:gd name="T10" fmla="*/ 1 w 27"/>
                    <a:gd name="T11" fmla="*/ 21 h 47"/>
                    <a:gd name="T12" fmla="*/ 4 w 27"/>
                    <a:gd name="T13" fmla="*/ 20 h 47"/>
                    <a:gd name="T14" fmla="*/ 8 w 27"/>
                    <a:gd name="T15" fmla="*/ 7 h 47"/>
                    <a:gd name="T16" fmla="*/ 9 w 27"/>
                    <a:gd name="T17" fmla="*/ 7 h 47"/>
                    <a:gd name="T18" fmla="*/ 2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9 w 27"/>
                    <a:gd name="T37" fmla="*/ 45 h 47"/>
                    <a:gd name="T38" fmla="*/ 19 w 27"/>
                    <a:gd name="T39" fmla="*/ 28 h 47"/>
                    <a:gd name="T40" fmla="*/ 25 w 27"/>
                    <a:gd name="T41" fmla="*/ 28 h 47"/>
                    <a:gd name="T42" fmla="*/ 18 w 27"/>
                    <a:gd name="T43" fmla="*/ 7 h 47"/>
                    <a:gd name="T44" fmla="*/ 19 w 27"/>
                    <a:gd name="T45" fmla="*/ 7 h 47"/>
                    <a:gd name="T46" fmla="*/ 23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7" y="0"/>
                        <a:pt x="5" y="3"/>
                        <a:pt x="4" y="5"/>
                      </a:cubicBezTo>
                      <a:cubicBezTo>
                        <a:pt x="3" y="11"/>
                        <a:pt x="0" y="18"/>
                        <a:pt x="0" y="19"/>
                      </a:cubicBezTo>
                      <a:cubicBezTo>
                        <a:pt x="0" y="20"/>
                        <a:pt x="1" y="21"/>
                        <a:pt x="1" y="21"/>
                      </a:cubicBezTo>
                      <a:cubicBezTo>
                        <a:pt x="2" y="21"/>
                        <a:pt x="4" y="21"/>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19" y="7"/>
                        <a:pt x="19" y="7"/>
                        <a:pt x="19" y="7"/>
                      </a:cubicBezTo>
                      <a:cubicBezTo>
                        <a:pt x="19" y="7"/>
                        <a:pt x="23" y="18"/>
                        <a:pt x="23"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47" name="Oval 961"/>
                <p:cNvSpPr>
                  <a:spLocks noChangeArrowheads="1"/>
                </p:cNvSpPr>
                <p:nvPr/>
              </p:nvSpPr>
              <p:spPr bwMode="auto">
                <a:xfrm>
                  <a:off x="12839" y="171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48" name="Oval 962"/>
                <p:cNvSpPr>
                  <a:spLocks noChangeArrowheads="1"/>
                </p:cNvSpPr>
                <p:nvPr/>
              </p:nvSpPr>
              <p:spPr bwMode="auto">
                <a:xfrm>
                  <a:off x="12706" y="156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49" name="Oval 963"/>
                <p:cNvSpPr>
                  <a:spLocks noChangeArrowheads="1"/>
                </p:cNvSpPr>
                <p:nvPr/>
              </p:nvSpPr>
              <p:spPr bwMode="auto">
                <a:xfrm>
                  <a:off x="12642" y="156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50" name="Freeform 964"/>
                <p:cNvSpPr>
                  <a:spLocks/>
                </p:cNvSpPr>
                <p:nvPr/>
              </p:nvSpPr>
              <p:spPr bwMode="auto">
                <a:xfrm>
                  <a:off x="12626" y="1587"/>
                  <a:ext cx="54"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51" name="Oval 965"/>
                <p:cNvSpPr>
                  <a:spLocks noChangeArrowheads="1"/>
                </p:cNvSpPr>
                <p:nvPr/>
              </p:nvSpPr>
              <p:spPr bwMode="auto">
                <a:xfrm>
                  <a:off x="12642" y="171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52" name="Oval 966"/>
                <p:cNvSpPr>
                  <a:spLocks noChangeArrowheads="1"/>
                </p:cNvSpPr>
                <p:nvPr/>
              </p:nvSpPr>
              <p:spPr bwMode="auto">
                <a:xfrm>
                  <a:off x="12706" y="171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53" name="Freeform 967"/>
                <p:cNvSpPr>
                  <a:spLocks/>
                </p:cNvSpPr>
                <p:nvPr/>
              </p:nvSpPr>
              <p:spPr bwMode="auto">
                <a:xfrm>
                  <a:off x="13080" y="1883"/>
                  <a:ext cx="62" cy="40"/>
                </a:xfrm>
                <a:custGeom>
                  <a:avLst/>
                  <a:gdLst>
                    <a:gd name="T0" fmla="*/ 17 w 26"/>
                    <a:gd name="T1" fmla="*/ 0 h 17"/>
                    <a:gd name="T2" fmla="*/ 10 w 26"/>
                    <a:gd name="T3" fmla="*/ 0 h 17"/>
                    <a:gd name="T4" fmla="*/ 4 w 26"/>
                    <a:gd name="T5" fmla="*/ 4 h 17"/>
                    <a:gd name="T6" fmla="*/ 0 w 26"/>
                    <a:gd name="T7" fmla="*/ 17 h 17"/>
                    <a:gd name="T8" fmla="*/ 4 w 26"/>
                    <a:gd name="T9" fmla="*/ 17 h 17"/>
                    <a:gd name="T10" fmla="*/ 7 w 26"/>
                    <a:gd name="T11" fmla="*/ 6 h 17"/>
                    <a:gd name="T12" fmla="*/ 9 w 26"/>
                    <a:gd name="T13" fmla="*/ 6 h 17"/>
                    <a:gd name="T14" fmla="*/ 5 w 26"/>
                    <a:gd name="T15" fmla="*/ 17 h 17"/>
                    <a:gd name="T16" fmla="*/ 21 w 26"/>
                    <a:gd name="T17" fmla="*/ 16 h 17"/>
                    <a:gd name="T18" fmla="*/ 18 w 26"/>
                    <a:gd name="T19" fmla="*/ 6 h 17"/>
                    <a:gd name="T20" fmla="*/ 19 w 26"/>
                    <a:gd name="T21" fmla="*/ 6 h 17"/>
                    <a:gd name="T22" fmla="*/ 22 w 26"/>
                    <a:gd name="T23" fmla="*/ 16 h 17"/>
                    <a:gd name="T24" fmla="*/ 26 w 26"/>
                    <a:gd name="T25" fmla="*/ 15 h 17"/>
                    <a:gd name="T26" fmla="*/ 23 w 26"/>
                    <a:gd name="T27" fmla="*/ 4 h 17"/>
                    <a:gd name="T28" fmla="*/ 17 w 26"/>
                    <a:gd name="T2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17">
                      <a:moveTo>
                        <a:pt x="17" y="0"/>
                      </a:moveTo>
                      <a:cubicBezTo>
                        <a:pt x="16" y="0"/>
                        <a:pt x="11" y="0"/>
                        <a:pt x="10" y="0"/>
                      </a:cubicBezTo>
                      <a:cubicBezTo>
                        <a:pt x="7" y="0"/>
                        <a:pt x="5" y="2"/>
                        <a:pt x="4" y="4"/>
                      </a:cubicBezTo>
                      <a:cubicBezTo>
                        <a:pt x="3" y="9"/>
                        <a:pt x="1" y="15"/>
                        <a:pt x="0" y="17"/>
                      </a:cubicBezTo>
                      <a:cubicBezTo>
                        <a:pt x="2" y="17"/>
                        <a:pt x="3" y="17"/>
                        <a:pt x="4" y="17"/>
                      </a:cubicBezTo>
                      <a:cubicBezTo>
                        <a:pt x="5" y="14"/>
                        <a:pt x="7" y="6"/>
                        <a:pt x="7" y="6"/>
                      </a:cubicBezTo>
                      <a:cubicBezTo>
                        <a:pt x="9" y="6"/>
                        <a:pt x="9" y="6"/>
                        <a:pt x="9" y="6"/>
                      </a:cubicBezTo>
                      <a:cubicBezTo>
                        <a:pt x="7" y="11"/>
                        <a:pt x="6" y="14"/>
                        <a:pt x="5" y="17"/>
                      </a:cubicBezTo>
                      <a:cubicBezTo>
                        <a:pt x="11" y="17"/>
                        <a:pt x="16" y="17"/>
                        <a:pt x="21" y="16"/>
                      </a:cubicBezTo>
                      <a:cubicBezTo>
                        <a:pt x="18" y="6"/>
                        <a:pt x="18" y="6"/>
                        <a:pt x="18" y="6"/>
                      </a:cubicBezTo>
                      <a:cubicBezTo>
                        <a:pt x="19" y="6"/>
                        <a:pt x="19" y="6"/>
                        <a:pt x="19" y="6"/>
                      </a:cubicBezTo>
                      <a:cubicBezTo>
                        <a:pt x="19" y="6"/>
                        <a:pt x="21" y="12"/>
                        <a:pt x="22" y="16"/>
                      </a:cubicBezTo>
                      <a:cubicBezTo>
                        <a:pt x="23" y="16"/>
                        <a:pt x="24" y="15"/>
                        <a:pt x="26" y="15"/>
                      </a:cubicBezTo>
                      <a:cubicBezTo>
                        <a:pt x="25" y="12"/>
                        <a:pt x="24" y="8"/>
                        <a:pt x="23" y="4"/>
                      </a:cubicBezTo>
                      <a:cubicBezTo>
                        <a:pt x="22"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54" name="Oval 968"/>
                <p:cNvSpPr>
                  <a:spLocks noChangeArrowheads="1"/>
                </p:cNvSpPr>
                <p:nvPr/>
              </p:nvSpPr>
              <p:spPr bwMode="auto">
                <a:xfrm>
                  <a:off x="12839"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55" name="Freeform 969"/>
                <p:cNvSpPr>
                  <a:spLocks/>
                </p:cNvSpPr>
                <p:nvPr/>
              </p:nvSpPr>
              <p:spPr bwMode="auto">
                <a:xfrm>
                  <a:off x="13019" y="1883"/>
                  <a:ext cx="54" cy="40"/>
                </a:xfrm>
                <a:custGeom>
                  <a:avLst/>
                  <a:gdLst>
                    <a:gd name="T0" fmla="*/ 17 w 23"/>
                    <a:gd name="T1" fmla="*/ 0 h 17"/>
                    <a:gd name="T2" fmla="*/ 6 w 23"/>
                    <a:gd name="T3" fmla="*/ 0 h 17"/>
                    <a:gd name="T4" fmla="*/ 0 w 23"/>
                    <a:gd name="T5" fmla="*/ 6 h 17"/>
                    <a:gd name="T6" fmla="*/ 0 w 23"/>
                    <a:gd name="T7" fmla="*/ 14 h 17"/>
                    <a:gd name="T8" fmla="*/ 4 w 23"/>
                    <a:gd name="T9" fmla="*/ 14 h 17"/>
                    <a:gd name="T10" fmla="*/ 4 w 23"/>
                    <a:gd name="T11" fmla="*/ 7 h 17"/>
                    <a:gd name="T12" fmla="*/ 6 w 23"/>
                    <a:gd name="T13" fmla="*/ 7 h 17"/>
                    <a:gd name="T14" fmla="*/ 6 w 23"/>
                    <a:gd name="T15" fmla="*/ 15 h 17"/>
                    <a:gd name="T16" fmla="*/ 18 w 23"/>
                    <a:gd name="T17" fmla="*/ 16 h 17"/>
                    <a:gd name="T18" fmla="*/ 18 w 23"/>
                    <a:gd name="T19" fmla="*/ 7 h 17"/>
                    <a:gd name="T20" fmla="*/ 19 w 23"/>
                    <a:gd name="T21" fmla="*/ 7 h 17"/>
                    <a:gd name="T22" fmla="*/ 19 w 23"/>
                    <a:gd name="T23" fmla="*/ 16 h 17"/>
                    <a:gd name="T24" fmla="*/ 23 w 23"/>
                    <a:gd name="T25" fmla="*/ 17 h 17"/>
                    <a:gd name="T26" fmla="*/ 23 w 23"/>
                    <a:gd name="T27" fmla="*/ 6 h 17"/>
                    <a:gd name="T28" fmla="*/ 17 w 23"/>
                    <a:gd name="T2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17">
                      <a:moveTo>
                        <a:pt x="17" y="0"/>
                      </a:moveTo>
                      <a:cubicBezTo>
                        <a:pt x="15" y="0"/>
                        <a:pt x="8" y="0"/>
                        <a:pt x="6" y="0"/>
                      </a:cubicBezTo>
                      <a:cubicBezTo>
                        <a:pt x="3" y="0"/>
                        <a:pt x="0" y="2"/>
                        <a:pt x="0" y="6"/>
                      </a:cubicBezTo>
                      <a:cubicBezTo>
                        <a:pt x="0" y="7"/>
                        <a:pt x="0" y="10"/>
                        <a:pt x="0" y="14"/>
                      </a:cubicBezTo>
                      <a:cubicBezTo>
                        <a:pt x="2" y="14"/>
                        <a:pt x="3" y="14"/>
                        <a:pt x="4" y="14"/>
                      </a:cubicBezTo>
                      <a:cubicBezTo>
                        <a:pt x="4" y="11"/>
                        <a:pt x="4" y="7"/>
                        <a:pt x="4" y="7"/>
                      </a:cubicBezTo>
                      <a:cubicBezTo>
                        <a:pt x="4" y="7"/>
                        <a:pt x="4" y="7"/>
                        <a:pt x="6" y="7"/>
                      </a:cubicBezTo>
                      <a:cubicBezTo>
                        <a:pt x="6" y="7"/>
                        <a:pt x="6" y="10"/>
                        <a:pt x="6" y="15"/>
                      </a:cubicBezTo>
                      <a:cubicBezTo>
                        <a:pt x="10" y="15"/>
                        <a:pt x="14" y="16"/>
                        <a:pt x="18" y="16"/>
                      </a:cubicBezTo>
                      <a:cubicBezTo>
                        <a:pt x="18" y="11"/>
                        <a:pt x="18" y="7"/>
                        <a:pt x="18" y="7"/>
                      </a:cubicBezTo>
                      <a:cubicBezTo>
                        <a:pt x="18" y="7"/>
                        <a:pt x="18" y="7"/>
                        <a:pt x="19" y="7"/>
                      </a:cubicBezTo>
                      <a:cubicBezTo>
                        <a:pt x="19" y="7"/>
                        <a:pt x="19" y="12"/>
                        <a:pt x="19" y="16"/>
                      </a:cubicBezTo>
                      <a:cubicBezTo>
                        <a:pt x="20" y="17"/>
                        <a:pt x="22" y="17"/>
                        <a:pt x="23" y="17"/>
                      </a:cubicBezTo>
                      <a:cubicBezTo>
                        <a:pt x="23" y="13"/>
                        <a:pt x="23" y="7"/>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56" name="Freeform 970"/>
                <p:cNvSpPr>
                  <a:spLocks/>
                </p:cNvSpPr>
                <p:nvPr/>
              </p:nvSpPr>
              <p:spPr bwMode="auto">
                <a:xfrm>
                  <a:off x="12751" y="1736"/>
                  <a:ext cx="64" cy="111"/>
                </a:xfrm>
                <a:custGeom>
                  <a:avLst/>
                  <a:gdLst>
                    <a:gd name="T0" fmla="*/ 23 w 27"/>
                    <a:gd name="T1" fmla="*/ 4 h 47"/>
                    <a:gd name="T2" fmla="*/ 18 w 27"/>
                    <a:gd name="T3" fmla="*/ 0 h 47"/>
                    <a:gd name="T4" fmla="*/ 10 w 27"/>
                    <a:gd name="T5" fmla="*/ 0 h 47"/>
                    <a:gd name="T6" fmla="*/ 5 w 27"/>
                    <a:gd name="T7" fmla="*/ 4 h 47"/>
                    <a:gd name="T8" fmla="*/ 1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7 w 27"/>
                    <a:gd name="T35" fmla="*/ 47 h 47"/>
                    <a:gd name="T36" fmla="*/ 19 w 27"/>
                    <a:gd name="T37" fmla="*/ 44 h 47"/>
                    <a:gd name="T38" fmla="*/ 19 w 27"/>
                    <a:gd name="T39" fmla="*/ 28 h 47"/>
                    <a:gd name="T40" fmla="*/ 25 w 27"/>
                    <a:gd name="T41" fmla="*/ 28 h 47"/>
                    <a:gd name="T42" fmla="*/ 19 w 27"/>
                    <a:gd name="T43" fmla="*/ 6 h 47"/>
                    <a:gd name="T44" fmla="*/ 20 w 27"/>
                    <a:gd name="T45" fmla="*/ 6 h 47"/>
                    <a:gd name="T46" fmla="*/ 24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57" name="Freeform 971"/>
                <p:cNvSpPr>
                  <a:spLocks/>
                </p:cNvSpPr>
                <p:nvPr/>
              </p:nvSpPr>
              <p:spPr bwMode="auto">
                <a:xfrm>
                  <a:off x="12687" y="1587"/>
                  <a:ext cx="64" cy="111"/>
                </a:xfrm>
                <a:custGeom>
                  <a:avLst/>
                  <a:gdLst>
                    <a:gd name="T0" fmla="*/ 22 w 27"/>
                    <a:gd name="T1" fmla="*/ 5 h 47"/>
                    <a:gd name="T2" fmla="*/ 17 w 27"/>
                    <a:gd name="T3" fmla="*/ 0 h 47"/>
                    <a:gd name="T4" fmla="*/ 9 w 27"/>
                    <a:gd name="T5" fmla="*/ 0 h 47"/>
                    <a:gd name="T6" fmla="*/ 4 w 27"/>
                    <a:gd name="T7" fmla="*/ 5 h 47"/>
                    <a:gd name="T8" fmla="*/ 0 w 27"/>
                    <a:gd name="T9" fmla="*/ 19 h 47"/>
                    <a:gd name="T10" fmla="*/ 1 w 27"/>
                    <a:gd name="T11" fmla="*/ 21 h 47"/>
                    <a:gd name="T12" fmla="*/ 3 w 27"/>
                    <a:gd name="T13" fmla="*/ 20 h 47"/>
                    <a:gd name="T14" fmla="*/ 7 w 27"/>
                    <a:gd name="T15" fmla="*/ 7 h 47"/>
                    <a:gd name="T16" fmla="*/ 8 w 27"/>
                    <a:gd name="T17" fmla="*/ 7 h 47"/>
                    <a:gd name="T18" fmla="*/ 2 w 27"/>
                    <a:gd name="T19" fmla="*/ 28 h 47"/>
                    <a:gd name="T20" fmla="*/ 8 w 27"/>
                    <a:gd name="T21" fmla="*/ 28 h 47"/>
                    <a:gd name="T22" fmla="*/ 8 w 27"/>
                    <a:gd name="T23" fmla="*/ 45 h 47"/>
                    <a:gd name="T24" fmla="*/ 10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8 w 27"/>
                    <a:gd name="T37" fmla="*/ 45 h 47"/>
                    <a:gd name="T38" fmla="*/ 18 w 27"/>
                    <a:gd name="T39" fmla="*/ 28 h 47"/>
                    <a:gd name="T40" fmla="*/ 24 w 27"/>
                    <a:gd name="T41" fmla="*/ 28 h 47"/>
                    <a:gd name="T42" fmla="*/ 18 w 27"/>
                    <a:gd name="T43" fmla="*/ 7 h 47"/>
                    <a:gd name="T44" fmla="*/ 19 w 27"/>
                    <a:gd name="T45" fmla="*/ 7 h 47"/>
                    <a:gd name="T46" fmla="*/ 23 w 27"/>
                    <a:gd name="T47" fmla="*/ 20 h 47"/>
                    <a:gd name="T48" fmla="*/ 25 w 27"/>
                    <a:gd name="T49" fmla="*/ 21 h 47"/>
                    <a:gd name="T50" fmla="*/ 26 w 27"/>
                    <a:gd name="T51" fmla="*/ 19 h 47"/>
                    <a:gd name="T52" fmla="*/ 22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5"/>
                      </a:move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58" name="Oval 972"/>
                <p:cNvSpPr>
                  <a:spLocks noChangeArrowheads="1"/>
                </p:cNvSpPr>
                <p:nvPr/>
              </p:nvSpPr>
              <p:spPr bwMode="auto">
                <a:xfrm>
                  <a:off x="12969" y="1857"/>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59" name="Freeform 973"/>
                <p:cNvSpPr>
                  <a:spLocks/>
                </p:cNvSpPr>
                <p:nvPr/>
              </p:nvSpPr>
              <p:spPr bwMode="auto">
                <a:xfrm>
                  <a:off x="12889" y="1587"/>
                  <a:ext cx="54" cy="111"/>
                </a:xfrm>
                <a:custGeom>
                  <a:avLst/>
                  <a:gdLst>
                    <a:gd name="T0" fmla="*/ 0 w 23"/>
                    <a:gd name="T1" fmla="*/ 21 h 47"/>
                    <a:gd name="T2" fmla="*/ 2 w 23"/>
                    <a:gd name="T3" fmla="*/ 23 h 47"/>
                    <a:gd name="T4" fmla="*/ 4 w 23"/>
                    <a:gd name="T5" fmla="*/ 21 h 47"/>
                    <a:gd name="T6" fmla="*/ 4 w 23"/>
                    <a:gd name="T7" fmla="*/ 8 h 47"/>
                    <a:gd name="T8" fmla="*/ 5 w 23"/>
                    <a:gd name="T9" fmla="*/ 8 h 47"/>
                    <a:gd name="T10" fmla="*/ 5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7 w 23"/>
                    <a:gd name="T25" fmla="*/ 44 h 47"/>
                    <a:gd name="T26" fmla="*/ 17 w 23"/>
                    <a:gd name="T27" fmla="*/ 8 h 47"/>
                    <a:gd name="T28" fmla="*/ 18 w 23"/>
                    <a:gd name="T29" fmla="*/ 8 h 47"/>
                    <a:gd name="T30" fmla="*/ 18 w 23"/>
                    <a:gd name="T31" fmla="*/ 21 h 47"/>
                    <a:gd name="T32" fmla="*/ 20 w 23"/>
                    <a:gd name="T33" fmla="*/ 23 h 47"/>
                    <a:gd name="T34" fmla="*/ 23 w 23"/>
                    <a:gd name="T35" fmla="*/ 21 h 47"/>
                    <a:gd name="T36" fmla="*/ 23 w 23"/>
                    <a:gd name="T37" fmla="*/ 6 h 47"/>
                    <a:gd name="T38" fmla="*/ 16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2" y="23"/>
                        <a:pt x="23" y="22"/>
                        <a:pt x="23" y="21"/>
                      </a:cubicBezTo>
                      <a:cubicBezTo>
                        <a:pt x="23" y="20"/>
                        <a:pt x="23" y="8"/>
                        <a:pt x="23" y="6"/>
                      </a:cubicBezTo>
                      <a:cubicBezTo>
                        <a:pt x="23" y="3"/>
                        <a:pt x="20" y="0"/>
                        <a:pt x="16" y="0"/>
                      </a:cubicBezTo>
                      <a:cubicBezTo>
                        <a:pt x="15" y="0"/>
                        <a:pt x="8" y="0"/>
                        <a:pt x="6" y="0"/>
                      </a:cubicBezTo>
                      <a:cubicBezTo>
                        <a:pt x="3" y="0"/>
                        <a:pt x="0" y="3"/>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60" name="Freeform 974"/>
                <p:cNvSpPr>
                  <a:spLocks/>
                </p:cNvSpPr>
                <p:nvPr/>
              </p:nvSpPr>
              <p:spPr bwMode="auto">
                <a:xfrm>
                  <a:off x="12955" y="1736"/>
                  <a:ext cx="52" cy="109"/>
                </a:xfrm>
                <a:custGeom>
                  <a:avLst/>
                  <a:gdLst>
                    <a:gd name="T0" fmla="*/ 16 w 22"/>
                    <a:gd name="T1" fmla="*/ 0 h 46"/>
                    <a:gd name="T2" fmla="*/ 6 w 22"/>
                    <a:gd name="T3" fmla="*/ 0 h 46"/>
                    <a:gd name="T4" fmla="*/ 0 w 22"/>
                    <a:gd name="T5" fmla="*/ 6 h 46"/>
                    <a:gd name="T6" fmla="*/ 0 w 22"/>
                    <a:gd name="T7" fmla="*/ 20 h 46"/>
                    <a:gd name="T8" fmla="*/ 2 w 22"/>
                    <a:gd name="T9" fmla="*/ 23 h 46"/>
                    <a:gd name="T10" fmla="*/ 4 w 22"/>
                    <a:gd name="T11" fmla="*/ 20 h 46"/>
                    <a:gd name="T12" fmla="*/ 4 w 22"/>
                    <a:gd name="T13" fmla="*/ 7 h 46"/>
                    <a:gd name="T14" fmla="*/ 5 w 22"/>
                    <a:gd name="T15" fmla="*/ 7 h 46"/>
                    <a:gd name="T16" fmla="*/ 5 w 22"/>
                    <a:gd name="T17" fmla="*/ 44 h 46"/>
                    <a:gd name="T18" fmla="*/ 8 w 22"/>
                    <a:gd name="T19" fmla="*/ 46 h 46"/>
                    <a:gd name="T20" fmla="*/ 10 w 22"/>
                    <a:gd name="T21" fmla="*/ 44 h 46"/>
                    <a:gd name="T22" fmla="*/ 10 w 22"/>
                    <a:gd name="T23" fmla="*/ 23 h 46"/>
                    <a:gd name="T24" fmla="*/ 11 w 22"/>
                    <a:gd name="T25" fmla="*/ 23 h 46"/>
                    <a:gd name="T26" fmla="*/ 11 w 22"/>
                    <a:gd name="T27" fmla="*/ 44 h 46"/>
                    <a:gd name="T28" fmla="*/ 14 w 22"/>
                    <a:gd name="T29" fmla="*/ 46 h 46"/>
                    <a:gd name="T30" fmla="*/ 17 w 22"/>
                    <a:gd name="T31" fmla="*/ 44 h 46"/>
                    <a:gd name="T32" fmla="*/ 17 w 22"/>
                    <a:gd name="T33" fmla="*/ 7 h 46"/>
                    <a:gd name="T34" fmla="*/ 18 w 22"/>
                    <a:gd name="T35" fmla="*/ 7 h 46"/>
                    <a:gd name="T36" fmla="*/ 18 w 22"/>
                    <a:gd name="T37" fmla="*/ 20 h 46"/>
                    <a:gd name="T38" fmla="*/ 20 w 22"/>
                    <a:gd name="T39" fmla="*/ 23 h 46"/>
                    <a:gd name="T40" fmla="*/ 22 w 22"/>
                    <a:gd name="T41" fmla="*/ 20 h 46"/>
                    <a:gd name="T42" fmla="*/ 22 w 22"/>
                    <a:gd name="T43" fmla="*/ 6 h 46"/>
                    <a:gd name="T44" fmla="*/ 16 w 22"/>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16" y="0"/>
                      </a:moveTo>
                      <a:cubicBezTo>
                        <a:pt x="15" y="0"/>
                        <a:pt x="7" y="0"/>
                        <a:pt x="6" y="0"/>
                      </a:cubicBezTo>
                      <a:cubicBezTo>
                        <a:pt x="2" y="0"/>
                        <a:pt x="0" y="2"/>
                        <a:pt x="0" y="6"/>
                      </a:cubicBez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1" y="23"/>
                      </a:cubicBezTo>
                      <a:cubicBezTo>
                        <a:pt x="11" y="23"/>
                        <a:pt x="11" y="41"/>
                        <a:pt x="11" y="44"/>
                      </a:cubicBezTo>
                      <a:cubicBezTo>
                        <a:pt x="11"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7"/>
                        <a:pt x="22" y="6"/>
                      </a:cubicBezTo>
                      <a:cubicBezTo>
                        <a:pt x="22" y="2"/>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61" name="Oval 975"/>
                <p:cNvSpPr>
                  <a:spLocks noChangeArrowheads="1"/>
                </p:cNvSpPr>
                <p:nvPr/>
              </p:nvSpPr>
              <p:spPr bwMode="auto">
                <a:xfrm>
                  <a:off x="12905" y="171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62" name="Freeform 976"/>
                <p:cNvSpPr>
                  <a:spLocks/>
                </p:cNvSpPr>
                <p:nvPr/>
              </p:nvSpPr>
              <p:spPr bwMode="auto">
                <a:xfrm>
                  <a:off x="12889" y="1883"/>
                  <a:ext cx="54" cy="26"/>
                </a:xfrm>
                <a:custGeom>
                  <a:avLst/>
                  <a:gdLst>
                    <a:gd name="T0" fmla="*/ 16 w 23"/>
                    <a:gd name="T1" fmla="*/ 0 h 11"/>
                    <a:gd name="T2" fmla="*/ 6 w 23"/>
                    <a:gd name="T3" fmla="*/ 0 h 11"/>
                    <a:gd name="T4" fmla="*/ 0 w 23"/>
                    <a:gd name="T5" fmla="*/ 6 h 11"/>
                    <a:gd name="T6" fmla="*/ 0 w 23"/>
                    <a:gd name="T7" fmla="*/ 10 h 11"/>
                    <a:gd name="T8" fmla="*/ 4 w 23"/>
                    <a:gd name="T9" fmla="*/ 11 h 11"/>
                    <a:gd name="T10" fmla="*/ 4 w 23"/>
                    <a:gd name="T11" fmla="*/ 7 h 11"/>
                    <a:gd name="T12" fmla="*/ 5 w 23"/>
                    <a:gd name="T13" fmla="*/ 7 h 11"/>
                    <a:gd name="T14" fmla="*/ 5 w 23"/>
                    <a:gd name="T15" fmla="*/ 11 h 11"/>
                    <a:gd name="T16" fmla="*/ 17 w 23"/>
                    <a:gd name="T17" fmla="*/ 11 h 11"/>
                    <a:gd name="T18" fmla="*/ 17 w 23"/>
                    <a:gd name="T19" fmla="*/ 7 h 11"/>
                    <a:gd name="T20" fmla="*/ 18 w 23"/>
                    <a:gd name="T21" fmla="*/ 7 h 11"/>
                    <a:gd name="T22" fmla="*/ 18 w 23"/>
                    <a:gd name="T23" fmla="*/ 11 h 11"/>
                    <a:gd name="T24" fmla="*/ 23 w 23"/>
                    <a:gd name="T25" fmla="*/ 11 h 11"/>
                    <a:gd name="T26" fmla="*/ 23 w 23"/>
                    <a:gd name="T27" fmla="*/ 6 h 11"/>
                    <a:gd name="T28" fmla="*/ 16 w 23"/>
                    <a:gd name="T2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11">
                      <a:moveTo>
                        <a:pt x="16" y="0"/>
                      </a:moveTo>
                      <a:cubicBezTo>
                        <a:pt x="15" y="0"/>
                        <a:pt x="8" y="0"/>
                        <a:pt x="6" y="0"/>
                      </a:cubicBezTo>
                      <a:cubicBezTo>
                        <a:pt x="3" y="0"/>
                        <a:pt x="0" y="2"/>
                        <a:pt x="0" y="6"/>
                      </a:cubicBezTo>
                      <a:cubicBezTo>
                        <a:pt x="0" y="6"/>
                        <a:pt x="0" y="8"/>
                        <a:pt x="0" y="10"/>
                      </a:cubicBezTo>
                      <a:cubicBezTo>
                        <a:pt x="1" y="11"/>
                        <a:pt x="3" y="11"/>
                        <a:pt x="4" y="11"/>
                      </a:cubicBezTo>
                      <a:cubicBezTo>
                        <a:pt x="4" y="9"/>
                        <a:pt x="4" y="7"/>
                        <a:pt x="4" y="7"/>
                      </a:cubicBezTo>
                      <a:cubicBezTo>
                        <a:pt x="4" y="7"/>
                        <a:pt x="4" y="7"/>
                        <a:pt x="5" y="7"/>
                      </a:cubicBezTo>
                      <a:cubicBezTo>
                        <a:pt x="5" y="7"/>
                        <a:pt x="5" y="9"/>
                        <a:pt x="5" y="11"/>
                      </a:cubicBezTo>
                      <a:cubicBezTo>
                        <a:pt x="9" y="11"/>
                        <a:pt x="13" y="11"/>
                        <a:pt x="17" y="11"/>
                      </a:cubicBezTo>
                      <a:cubicBezTo>
                        <a:pt x="17" y="9"/>
                        <a:pt x="17" y="7"/>
                        <a:pt x="17" y="7"/>
                      </a:cubicBezTo>
                      <a:cubicBezTo>
                        <a:pt x="17" y="7"/>
                        <a:pt x="17" y="7"/>
                        <a:pt x="18" y="7"/>
                      </a:cubicBezTo>
                      <a:cubicBezTo>
                        <a:pt x="18" y="7"/>
                        <a:pt x="18" y="9"/>
                        <a:pt x="18" y="11"/>
                      </a:cubicBezTo>
                      <a:cubicBezTo>
                        <a:pt x="20" y="11"/>
                        <a:pt x="21" y="11"/>
                        <a:pt x="23" y="11"/>
                      </a:cubicBezTo>
                      <a:cubicBezTo>
                        <a:pt x="23" y="9"/>
                        <a:pt x="23" y="6"/>
                        <a:pt x="23" y="6"/>
                      </a:cubicBezTo>
                      <a:cubicBezTo>
                        <a:pt x="23" y="2"/>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63" name="Oval 977"/>
                <p:cNvSpPr>
                  <a:spLocks noChangeArrowheads="1"/>
                </p:cNvSpPr>
                <p:nvPr/>
              </p:nvSpPr>
              <p:spPr bwMode="auto">
                <a:xfrm>
                  <a:off x="13102"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64" name="Freeform 978"/>
                <p:cNvSpPr>
                  <a:spLocks/>
                </p:cNvSpPr>
                <p:nvPr/>
              </p:nvSpPr>
              <p:spPr bwMode="auto">
                <a:xfrm>
                  <a:off x="12948" y="1587"/>
                  <a:ext cx="64" cy="111"/>
                </a:xfrm>
                <a:custGeom>
                  <a:avLst/>
                  <a:gdLst>
                    <a:gd name="T0" fmla="*/ 23 w 27"/>
                    <a:gd name="T1" fmla="*/ 5 h 47"/>
                    <a:gd name="T2" fmla="*/ 18 w 27"/>
                    <a:gd name="T3" fmla="*/ 0 h 47"/>
                    <a:gd name="T4" fmla="*/ 10 w 27"/>
                    <a:gd name="T5" fmla="*/ 0 h 47"/>
                    <a:gd name="T6" fmla="*/ 5 w 27"/>
                    <a:gd name="T7" fmla="*/ 5 h 47"/>
                    <a:gd name="T8" fmla="*/ 1 w 27"/>
                    <a:gd name="T9" fmla="*/ 19 h 47"/>
                    <a:gd name="T10" fmla="*/ 2 w 27"/>
                    <a:gd name="T11" fmla="*/ 21 h 47"/>
                    <a:gd name="T12" fmla="*/ 4 w 27"/>
                    <a:gd name="T13" fmla="*/ 20 h 47"/>
                    <a:gd name="T14" fmla="*/ 8 w 27"/>
                    <a:gd name="T15" fmla="*/ 7 h 47"/>
                    <a:gd name="T16" fmla="*/ 9 w 27"/>
                    <a:gd name="T17" fmla="*/ 7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7 w 27"/>
                    <a:gd name="T35" fmla="*/ 47 h 47"/>
                    <a:gd name="T36" fmla="*/ 19 w 27"/>
                    <a:gd name="T37" fmla="*/ 45 h 47"/>
                    <a:gd name="T38" fmla="*/ 19 w 27"/>
                    <a:gd name="T39" fmla="*/ 28 h 47"/>
                    <a:gd name="T40" fmla="*/ 25 w 27"/>
                    <a:gd name="T41" fmla="*/ 28 h 47"/>
                    <a:gd name="T42" fmla="*/ 19 w 27"/>
                    <a:gd name="T43" fmla="*/ 7 h 47"/>
                    <a:gd name="T44" fmla="*/ 20 w 27"/>
                    <a:gd name="T45" fmla="*/ 7 h 47"/>
                    <a:gd name="T46" fmla="*/ 24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65" name="Oval 979"/>
                <p:cNvSpPr>
                  <a:spLocks noChangeArrowheads="1"/>
                </p:cNvSpPr>
                <p:nvPr/>
              </p:nvSpPr>
              <p:spPr bwMode="auto">
                <a:xfrm>
                  <a:off x="12969" y="156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66" name="Oval 980"/>
                <p:cNvSpPr>
                  <a:spLocks noChangeArrowheads="1"/>
                </p:cNvSpPr>
                <p:nvPr/>
              </p:nvSpPr>
              <p:spPr bwMode="auto">
                <a:xfrm>
                  <a:off x="12969" y="171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67" name="Freeform 981"/>
                <p:cNvSpPr>
                  <a:spLocks/>
                </p:cNvSpPr>
                <p:nvPr/>
              </p:nvSpPr>
              <p:spPr bwMode="auto">
                <a:xfrm>
                  <a:off x="12796" y="1883"/>
                  <a:ext cx="12" cy="5"/>
                </a:xfrm>
                <a:custGeom>
                  <a:avLst/>
                  <a:gdLst>
                    <a:gd name="T0" fmla="*/ 0 w 5"/>
                    <a:gd name="T1" fmla="*/ 0 h 2"/>
                    <a:gd name="T2" fmla="*/ 0 w 5"/>
                    <a:gd name="T3" fmla="*/ 0 h 2"/>
                    <a:gd name="T4" fmla="*/ 5 w 5"/>
                    <a:gd name="T5" fmla="*/ 2 h 2"/>
                    <a:gd name="T6" fmla="*/ 0 w 5"/>
                    <a:gd name="T7" fmla="*/ 0 h 2"/>
                  </a:gdLst>
                  <a:ahLst/>
                  <a:cxnLst>
                    <a:cxn ang="0">
                      <a:pos x="T0" y="T1"/>
                    </a:cxn>
                    <a:cxn ang="0">
                      <a:pos x="T2" y="T3"/>
                    </a:cxn>
                    <a:cxn ang="0">
                      <a:pos x="T4" y="T5"/>
                    </a:cxn>
                    <a:cxn ang="0">
                      <a:pos x="T6" y="T7"/>
                    </a:cxn>
                  </a:cxnLst>
                  <a:rect l="0" t="0" r="r" b="b"/>
                  <a:pathLst>
                    <a:path w="5" h="2">
                      <a:moveTo>
                        <a:pt x="0" y="0"/>
                      </a:moveTo>
                      <a:cubicBezTo>
                        <a:pt x="0" y="0"/>
                        <a:pt x="0" y="0"/>
                        <a:pt x="0" y="0"/>
                      </a:cubicBezTo>
                      <a:cubicBezTo>
                        <a:pt x="1" y="0"/>
                        <a:pt x="3" y="1"/>
                        <a:pt x="5" y="2"/>
                      </a:cubicBezTo>
                      <a:cubicBezTo>
                        <a:pt x="3"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68" name="Freeform 982"/>
                <p:cNvSpPr>
                  <a:spLocks/>
                </p:cNvSpPr>
                <p:nvPr/>
              </p:nvSpPr>
              <p:spPr bwMode="auto">
                <a:xfrm>
                  <a:off x="12773" y="1857"/>
                  <a:ext cx="23" cy="21"/>
                </a:xfrm>
                <a:custGeom>
                  <a:avLst/>
                  <a:gdLst>
                    <a:gd name="T0" fmla="*/ 10 w 10"/>
                    <a:gd name="T1" fmla="*/ 5 h 9"/>
                    <a:gd name="T2" fmla="*/ 5 w 10"/>
                    <a:gd name="T3" fmla="*/ 0 h 9"/>
                    <a:gd name="T4" fmla="*/ 0 w 10"/>
                    <a:gd name="T5" fmla="*/ 5 h 9"/>
                    <a:gd name="T6" fmla="*/ 1 w 10"/>
                    <a:gd name="T7" fmla="*/ 7 h 9"/>
                    <a:gd name="T8" fmla="*/ 6 w 10"/>
                    <a:gd name="T9" fmla="*/ 9 h 9"/>
                    <a:gd name="T10" fmla="*/ 10 w 10"/>
                    <a:gd name="T11" fmla="*/ 5 h 9"/>
                  </a:gdLst>
                  <a:ahLst/>
                  <a:cxnLst>
                    <a:cxn ang="0">
                      <a:pos x="T0" y="T1"/>
                    </a:cxn>
                    <a:cxn ang="0">
                      <a:pos x="T2" y="T3"/>
                    </a:cxn>
                    <a:cxn ang="0">
                      <a:pos x="T4" y="T5"/>
                    </a:cxn>
                    <a:cxn ang="0">
                      <a:pos x="T6" y="T7"/>
                    </a:cxn>
                    <a:cxn ang="0">
                      <a:pos x="T8" y="T9"/>
                    </a:cxn>
                    <a:cxn ang="0">
                      <a:pos x="T10" y="T11"/>
                    </a:cxn>
                  </a:cxnLst>
                  <a:rect l="0" t="0" r="r" b="b"/>
                  <a:pathLst>
                    <a:path w="10" h="9">
                      <a:moveTo>
                        <a:pt x="10" y="5"/>
                      </a:moveTo>
                      <a:cubicBezTo>
                        <a:pt x="10" y="2"/>
                        <a:pt x="7" y="0"/>
                        <a:pt x="5" y="0"/>
                      </a:cubicBezTo>
                      <a:cubicBezTo>
                        <a:pt x="2" y="0"/>
                        <a:pt x="0" y="2"/>
                        <a:pt x="0" y="5"/>
                      </a:cubicBezTo>
                      <a:cubicBezTo>
                        <a:pt x="0" y="5"/>
                        <a:pt x="0" y="6"/>
                        <a:pt x="1" y="7"/>
                      </a:cubicBezTo>
                      <a:cubicBezTo>
                        <a:pt x="3" y="7"/>
                        <a:pt x="4" y="8"/>
                        <a:pt x="6" y="9"/>
                      </a:cubicBezTo>
                      <a:cubicBezTo>
                        <a:pt x="8" y="9"/>
                        <a:pt x="10" y="7"/>
                        <a:pt x="1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69" name="Oval 983"/>
                <p:cNvSpPr>
                  <a:spLocks noChangeArrowheads="1"/>
                </p:cNvSpPr>
                <p:nvPr/>
              </p:nvSpPr>
              <p:spPr bwMode="auto">
                <a:xfrm>
                  <a:off x="12905" y="1857"/>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70" name="Freeform 984"/>
                <p:cNvSpPr>
                  <a:spLocks/>
                </p:cNvSpPr>
                <p:nvPr/>
              </p:nvSpPr>
              <p:spPr bwMode="auto">
                <a:xfrm>
                  <a:off x="12827" y="1883"/>
                  <a:ext cx="47" cy="24"/>
                </a:xfrm>
                <a:custGeom>
                  <a:avLst/>
                  <a:gdLst>
                    <a:gd name="T0" fmla="*/ 13 w 20"/>
                    <a:gd name="T1" fmla="*/ 0 h 10"/>
                    <a:gd name="T2" fmla="*/ 6 w 20"/>
                    <a:gd name="T3" fmla="*/ 0 h 10"/>
                    <a:gd name="T4" fmla="*/ 0 w 20"/>
                    <a:gd name="T5" fmla="*/ 4 h 10"/>
                    <a:gd name="T6" fmla="*/ 0 w 20"/>
                    <a:gd name="T7" fmla="*/ 5 h 10"/>
                    <a:gd name="T8" fmla="*/ 4 w 20"/>
                    <a:gd name="T9" fmla="*/ 6 h 10"/>
                    <a:gd name="T10" fmla="*/ 5 w 20"/>
                    <a:gd name="T11" fmla="*/ 6 h 10"/>
                    <a:gd name="T12" fmla="*/ 5 w 20"/>
                    <a:gd name="T13" fmla="*/ 6 h 10"/>
                    <a:gd name="T14" fmla="*/ 15 w 20"/>
                    <a:gd name="T15" fmla="*/ 9 h 10"/>
                    <a:gd name="T16" fmla="*/ 14 w 20"/>
                    <a:gd name="T17" fmla="*/ 6 h 10"/>
                    <a:gd name="T18" fmla="*/ 15 w 20"/>
                    <a:gd name="T19" fmla="*/ 6 h 10"/>
                    <a:gd name="T20" fmla="*/ 16 w 20"/>
                    <a:gd name="T21" fmla="*/ 9 h 10"/>
                    <a:gd name="T22" fmla="*/ 20 w 20"/>
                    <a:gd name="T23" fmla="*/ 10 h 10"/>
                    <a:gd name="T24" fmla="*/ 19 w 20"/>
                    <a:gd name="T25" fmla="*/ 4 h 10"/>
                    <a:gd name="T26" fmla="*/ 13 w 20"/>
                    <a:gd name="T2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0">
                      <a:moveTo>
                        <a:pt x="13" y="0"/>
                      </a:moveTo>
                      <a:cubicBezTo>
                        <a:pt x="12" y="0"/>
                        <a:pt x="7" y="0"/>
                        <a:pt x="6" y="0"/>
                      </a:cubicBezTo>
                      <a:cubicBezTo>
                        <a:pt x="3" y="0"/>
                        <a:pt x="1" y="2"/>
                        <a:pt x="0" y="4"/>
                      </a:cubicBezTo>
                      <a:cubicBezTo>
                        <a:pt x="0" y="4"/>
                        <a:pt x="0" y="5"/>
                        <a:pt x="0" y="5"/>
                      </a:cubicBezTo>
                      <a:cubicBezTo>
                        <a:pt x="2" y="5"/>
                        <a:pt x="3" y="6"/>
                        <a:pt x="4" y="6"/>
                      </a:cubicBezTo>
                      <a:cubicBezTo>
                        <a:pt x="5" y="6"/>
                        <a:pt x="5" y="6"/>
                        <a:pt x="5" y="6"/>
                      </a:cubicBezTo>
                      <a:cubicBezTo>
                        <a:pt x="5" y="6"/>
                        <a:pt x="5" y="6"/>
                        <a:pt x="5" y="6"/>
                      </a:cubicBezTo>
                      <a:cubicBezTo>
                        <a:pt x="8" y="7"/>
                        <a:pt x="12" y="8"/>
                        <a:pt x="15" y="9"/>
                      </a:cubicBezTo>
                      <a:cubicBezTo>
                        <a:pt x="14" y="6"/>
                        <a:pt x="14" y="6"/>
                        <a:pt x="14" y="6"/>
                      </a:cubicBezTo>
                      <a:cubicBezTo>
                        <a:pt x="15" y="6"/>
                        <a:pt x="15" y="6"/>
                        <a:pt x="15" y="6"/>
                      </a:cubicBezTo>
                      <a:cubicBezTo>
                        <a:pt x="15" y="6"/>
                        <a:pt x="16" y="7"/>
                        <a:pt x="16" y="9"/>
                      </a:cubicBezTo>
                      <a:cubicBezTo>
                        <a:pt x="18" y="9"/>
                        <a:pt x="19" y="9"/>
                        <a:pt x="20" y="10"/>
                      </a:cubicBezTo>
                      <a:cubicBezTo>
                        <a:pt x="20" y="8"/>
                        <a:pt x="19" y="6"/>
                        <a:pt x="19" y="4"/>
                      </a:cubicBezTo>
                      <a:cubicBezTo>
                        <a:pt x="18" y="2"/>
                        <a:pt x="16"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71" name="Freeform 985"/>
                <p:cNvSpPr>
                  <a:spLocks/>
                </p:cNvSpPr>
                <p:nvPr/>
              </p:nvSpPr>
              <p:spPr bwMode="auto">
                <a:xfrm>
                  <a:off x="12692" y="1736"/>
                  <a:ext cx="52" cy="109"/>
                </a:xfrm>
                <a:custGeom>
                  <a:avLst/>
                  <a:gdLst>
                    <a:gd name="T0" fmla="*/ 11 w 22"/>
                    <a:gd name="T1" fmla="*/ 23 h 46"/>
                    <a:gd name="T2" fmla="*/ 12 w 22"/>
                    <a:gd name="T3" fmla="*/ 23 h 46"/>
                    <a:gd name="T4" fmla="*/ 12 w 22"/>
                    <a:gd name="T5" fmla="*/ 44 h 46"/>
                    <a:gd name="T6" fmla="*/ 15 w 22"/>
                    <a:gd name="T7" fmla="*/ 46 h 46"/>
                    <a:gd name="T8" fmla="*/ 17 w 22"/>
                    <a:gd name="T9" fmla="*/ 44 h 46"/>
                    <a:gd name="T10" fmla="*/ 17 w 22"/>
                    <a:gd name="T11" fmla="*/ 7 h 46"/>
                    <a:gd name="T12" fmla="*/ 18 w 22"/>
                    <a:gd name="T13" fmla="*/ 7 h 46"/>
                    <a:gd name="T14" fmla="*/ 18 w 22"/>
                    <a:gd name="T15" fmla="*/ 20 h 46"/>
                    <a:gd name="T16" fmla="*/ 20 w 22"/>
                    <a:gd name="T17" fmla="*/ 23 h 46"/>
                    <a:gd name="T18" fmla="*/ 22 w 22"/>
                    <a:gd name="T19" fmla="*/ 20 h 46"/>
                    <a:gd name="T20" fmla="*/ 22 w 22"/>
                    <a:gd name="T21" fmla="*/ 6 h 46"/>
                    <a:gd name="T22" fmla="*/ 16 w 22"/>
                    <a:gd name="T23" fmla="*/ 0 h 46"/>
                    <a:gd name="T24" fmla="*/ 6 w 22"/>
                    <a:gd name="T25" fmla="*/ 0 h 46"/>
                    <a:gd name="T26" fmla="*/ 0 w 22"/>
                    <a:gd name="T27" fmla="*/ 6 h 46"/>
                    <a:gd name="T28" fmla="*/ 0 w 22"/>
                    <a:gd name="T29" fmla="*/ 20 h 46"/>
                    <a:gd name="T30" fmla="*/ 2 w 22"/>
                    <a:gd name="T31" fmla="*/ 23 h 46"/>
                    <a:gd name="T32" fmla="*/ 4 w 22"/>
                    <a:gd name="T33" fmla="*/ 20 h 46"/>
                    <a:gd name="T34" fmla="*/ 4 w 22"/>
                    <a:gd name="T35" fmla="*/ 7 h 46"/>
                    <a:gd name="T36" fmla="*/ 5 w 22"/>
                    <a:gd name="T37" fmla="*/ 7 h 46"/>
                    <a:gd name="T38" fmla="*/ 5 w 22"/>
                    <a:gd name="T39" fmla="*/ 42 h 46"/>
                    <a:gd name="T40" fmla="*/ 10 w 22"/>
                    <a:gd name="T41" fmla="*/ 45 h 46"/>
                    <a:gd name="T42" fmla="*/ 11 w 22"/>
                    <a:gd name="T43" fmla="*/ 44 h 46"/>
                    <a:gd name="T44" fmla="*/ 11 w 22"/>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11" y="23"/>
                      </a:move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2" y="23"/>
                        <a:pt x="22" y="22"/>
                        <a:pt x="22" y="20"/>
                      </a:cubicBezTo>
                      <a:cubicBezTo>
                        <a:pt x="22" y="19"/>
                        <a:pt x="22" y="7"/>
                        <a:pt x="22" y="6"/>
                      </a:cubicBezTo>
                      <a:cubicBezTo>
                        <a:pt x="22" y="2"/>
                        <a:pt x="20" y="0"/>
                        <a:pt x="16" y="0"/>
                      </a:cubicBezTo>
                      <a:cubicBezTo>
                        <a:pt x="15" y="0"/>
                        <a:pt x="8" y="0"/>
                        <a:pt x="6" y="0"/>
                      </a:cubicBezTo>
                      <a:cubicBezTo>
                        <a:pt x="3" y="0"/>
                        <a:pt x="0" y="2"/>
                        <a:pt x="0" y="6"/>
                      </a:cubicBez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35"/>
                        <a:pt x="5" y="42"/>
                      </a:cubicBezTo>
                      <a:cubicBezTo>
                        <a:pt x="7" y="43"/>
                        <a:pt x="8" y="44"/>
                        <a:pt x="10" y="45"/>
                      </a:cubicBezTo>
                      <a:cubicBezTo>
                        <a:pt x="10" y="45"/>
                        <a:pt x="11" y="44"/>
                        <a:pt x="11" y="44"/>
                      </a:cubicBezTo>
                      <a:cubicBezTo>
                        <a:pt x="11" y="41"/>
                        <a:pt x="11" y="23"/>
                        <a:pt x="1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72" name="Oval 986"/>
                <p:cNvSpPr>
                  <a:spLocks noChangeArrowheads="1"/>
                </p:cNvSpPr>
                <p:nvPr/>
              </p:nvSpPr>
              <p:spPr bwMode="auto">
                <a:xfrm>
                  <a:off x="12905"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73" name="Freeform 987"/>
                <p:cNvSpPr>
                  <a:spLocks/>
                </p:cNvSpPr>
                <p:nvPr/>
              </p:nvSpPr>
              <p:spPr bwMode="auto">
                <a:xfrm>
                  <a:off x="12884" y="1736"/>
                  <a:ext cx="64" cy="111"/>
                </a:xfrm>
                <a:custGeom>
                  <a:avLst/>
                  <a:gdLst>
                    <a:gd name="T0" fmla="*/ 22 w 27"/>
                    <a:gd name="T1" fmla="*/ 4 h 47"/>
                    <a:gd name="T2" fmla="*/ 17 w 27"/>
                    <a:gd name="T3" fmla="*/ 0 h 47"/>
                    <a:gd name="T4" fmla="*/ 10 w 27"/>
                    <a:gd name="T5" fmla="*/ 0 h 47"/>
                    <a:gd name="T6" fmla="*/ 4 w 27"/>
                    <a:gd name="T7" fmla="*/ 4 h 47"/>
                    <a:gd name="T8" fmla="*/ 0 w 27"/>
                    <a:gd name="T9" fmla="*/ 18 h 47"/>
                    <a:gd name="T10" fmla="*/ 1 w 27"/>
                    <a:gd name="T11" fmla="*/ 20 h 47"/>
                    <a:gd name="T12" fmla="*/ 4 w 27"/>
                    <a:gd name="T13" fmla="*/ 19 h 47"/>
                    <a:gd name="T14" fmla="*/ 7 w 27"/>
                    <a:gd name="T15" fmla="*/ 6 h 47"/>
                    <a:gd name="T16" fmla="*/ 9 w 27"/>
                    <a:gd name="T17" fmla="*/ 6 h 47"/>
                    <a:gd name="T18" fmla="*/ 2 w 27"/>
                    <a:gd name="T19" fmla="*/ 28 h 47"/>
                    <a:gd name="T20" fmla="*/ 8 w 27"/>
                    <a:gd name="T21" fmla="*/ 28 h 47"/>
                    <a:gd name="T22" fmla="*/ 8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5 w 27"/>
                    <a:gd name="T41" fmla="*/ 28 h 47"/>
                    <a:gd name="T42" fmla="*/ 18 w 27"/>
                    <a:gd name="T43" fmla="*/ 6 h 47"/>
                    <a:gd name="T44" fmla="*/ 19 w 27"/>
                    <a:gd name="T45" fmla="*/ 6 h 47"/>
                    <a:gd name="T46" fmla="*/ 23 w 27"/>
                    <a:gd name="T47" fmla="*/ 19 h 47"/>
                    <a:gd name="T48" fmla="*/ 25 w 27"/>
                    <a:gd name="T49" fmla="*/ 20 h 47"/>
                    <a:gd name="T50" fmla="*/ 27 w 27"/>
                    <a:gd name="T51" fmla="*/ 18 h 47"/>
                    <a:gd name="T52" fmla="*/ 22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4"/>
                      </a:moveTo>
                      <a:cubicBezTo>
                        <a:pt x="22" y="2"/>
                        <a:pt x="19"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ubicBezTo>
                        <a:pt x="4" y="18"/>
                        <a:pt x="7" y="6"/>
                        <a:pt x="7"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74" name="Oval 988"/>
                <p:cNvSpPr>
                  <a:spLocks noChangeArrowheads="1"/>
                </p:cNvSpPr>
                <p:nvPr/>
              </p:nvSpPr>
              <p:spPr bwMode="auto">
                <a:xfrm>
                  <a:off x="12579" y="171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75" name="Freeform 989"/>
                <p:cNvSpPr>
                  <a:spLocks/>
                </p:cNvSpPr>
                <p:nvPr/>
              </p:nvSpPr>
              <p:spPr bwMode="auto">
                <a:xfrm>
                  <a:off x="12522" y="1710"/>
                  <a:ext cx="12" cy="7"/>
                </a:xfrm>
                <a:custGeom>
                  <a:avLst/>
                  <a:gdLst>
                    <a:gd name="T0" fmla="*/ 1 w 5"/>
                    <a:gd name="T1" fmla="*/ 0 h 3"/>
                    <a:gd name="T2" fmla="*/ 0 w 5"/>
                    <a:gd name="T3" fmla="*/ 0 h 3"/>
                    <a:gd name="T4" fmla="*/ 5 w 5"/>
                    <a:gd name="T5" fmla="*/ 3 h 3"/>
                    <a:gd name="T6" fmla="*/ 1 w 5"/>
                    <a:gd name="T7" fmla="*/ 0 h 3"/>
                  </a:gdLst>
                  <a:ahLst/>
                  <a:cxnLst>
                    <a:cxn ang="0">
                      <a:pos x="T0" y="T1"/>
                    </a:cxn>
                    <a:cxn ang="0">
                      <a:pos x="T2" y="T3"/>
                    </a:cxn>
                    <a:cxn ang="0">
                      <a:pos x="T4" y="T5"/>
                    </a:cxn>
                    <a:cxn ang="0">
                      <a:pos x="T6" y="T7"/>
                    </a:cxn>
                  </a:cxnLst>
                  <a:rect l="0" t="0" r="r" b="b"/>
                  <a:pathLst>
                    <a:path w="5" h="3">
                      <a:moveTo>
                        <a:pt x="1" y="0"/>
                      </a:moveTo>
                      <a:cubicBezTo>
                        <a:pt x="1" y="0"/>
                        <a:pt x="0" y="0"/>
                        <a:pt x="0" y="0"/>
                      </a:cubicBezTo>
                      <a:cubicBezTo>
                        <a:pt x="2" y="1"/>
                        <a:pt x="4" y="2"/>
                        <a:pt x="5" y="3"/>
                      </a:cubicBezTo>
                      <a:cubicBezTo>
                        <a:pt x="5" y="1"/>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76" name="Freeform 990"/>
                <p:cNvSpPr>
                  <a:spLocks/>
                </p:cNvSpPr>
                <p:nvPr/>
              </p:nvSpPr>
              <p:spPr bwMode="auto">
                <a:xfrm>
                  <a:off x="12557" y="1587"/>
                  <a:ext cx="64" cy="111"/>
                </a:xfrm>
                <a:custGeom>
                  <a:avLst/>
                  <a:gdLst>
                    <a:gd name="T0" fmla="*/ 23 w 27"/>
                    <a:gd name="T1" fmla="*/ 5 h 47"/>
                    <a:gd name="T2" fmla="*/ 18 w 27"/>
                    <a:gd name="T3" fmla="*/ 0 h 47"/>
                    <a:gd name="T4" fmla="*/ 10 w 27"/>
                    <a:gd name="T5" fmla="*/ 0 h 47"/>
                    <a:gd name="T6" fmla="*/ 5 w 27"/>
                    <a:gd name="T7" fmla="*/ 5 h 47"/>
                    <a:gd name="T8" fmla="*/ 1 w 27"/>
                    <a:gd name="T9" fmla="*/ 19 h 47"/>
                    <a:gd name="T10" fmla="*/ 2 w 27"/>
                    <a:gd name="T11" fmla="*/ 21 h 47"/>
                    <a:gd name="T12" fmla="*/ 4 w 27"/>
                    <a:gd name="T13" fmla="*/ 20 h 47"/>
                    <a:gd name="T14" fmla="*/ 8 w 27"/>
                    <a:gd name="T15" fmla="*/ 7 h 47"/>
                    <a:gd name="T16" fmla="*/ 9 w 27"/>
                    <a:gd name="T17" fmla="*/ 7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7 w 27"/>
                    <a:gd name="T35" fmla="*/ 47 h 47"/>
                    <a:gd name="T36" fmla="*/ 19 w 27"/>
                    <a:gd name="T37" fmla="*/ 45 h 47"/>
                    <a:gd name="T38" fmla="*/ 19 w 27"/>
                    <a:gd name="T39" fmla="*/ 28 h 47"/>
                    <a:gd name="T40" fmla="*/ 25 w 27"/>
                    <a:gd name="T41" fmla="*/ 28 h 47"/>
                    <a:gd name="T42" fmla="*/ 19 w 27"/>
                    <a:gd name="T43" fmla="*/ 7 h 47"/>
                    <a:gd name="T44" fmla="*/ 20 w 27"/>
                    <a:gd name="T45" fmla="*/ 7 h 47"/>
                    <a:gd name="T46" fmla="*/ 24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77" name="Oval 991"/>
                <p:cNvSpPr>
                  <a:spLocks noChangeArrowheads="1"/>
                </p:cNvSpPr>
                <p:nvPr/>
              </p:nvSpPr>
              <p:spPr bwMode="auto">
                <a:xfrm>
                  <a:off x="12515" y="15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78" name="Freeform 992"/>
                <p:cNvSpPr>
                  <a:spLocks/>
                </p:cNvSpPr>
                <p:nvPr/>
              </p:nvSpPr>
              <p:spPr bwMode="auto">
                <a:xfrm>
                  <a:off x="12498" y="1587"/>
                  <a:ext cx="52" cy="111"/>
                </a:xfrm>
                <a:custGeom>
                  <a:avLst/>
                  <a:gdLst>
                    <a:gd name="T0" fmla="*/ 4 w 22"/>
                    <a:gd name="T1" fmla="*/ 21 h 47"/>
                    <a:gd name="T2" fmla="*/ 4 w 22"/>
                    <a:gd name="T3" fmla="*/ 8 h 47"/>
                    <a:gd name="T4" fmla="*/ 5 w 22"/>
                    <a:gd name="T5" fmla="*/ 8 h 47"/>
                    <a:gd name="T6" fmla="*/ 5 w 22"/>
                    <a:gd name="T7" fmla="*/ 44 h 47"/>
                    <a:gd name="T8" fmla="*/ 8 w 22"/>
                    <a:gd name="T9" fmla="*/ 47 h 47"/>
                    <a:gd name="T10" fmla="*/ 11 w 22"/>
                    <a:gd name="T11" fmla="*/ 44 h 47"/>
                    <a:gd name="T12" fmla="*/ 11 w 22"/>
                    <a:gd name="T13" fmla="*/ 23 h 47"/>
                    <a:gd name="T14" fmla="*/ 12 w 22"/>
                    <a:gd name="T15" fmla="*/ 23 h 47"/>
                    <a:gd name="T16" fmla="*/ 12 w 22"/>
                    <a:gd name="T17" fmla="*/ 44 h 47"/>
                    <a:gd name="T18" fmla="*/ 14 w 22"/>
                    <a:gd name="T19" fmla="*/ 47 h 47"/>
                    <a:gd name="T20" fmla="*/ 17 w 22"/>
                    <a:gd name="T21" fmla="*/ 44 h 47"/>
                    <a:gd name="T22" fmla="*/ 17 w 22"/>
                    <a:gd name="T23" fmla="*/ 8 h 47"/>
                    <a:gd name="T24" fmla="*/ 18 w 22"/>
                    <a:gd name="T25" fmla="*/ 8 h 47"/>
                    <a:gd name="T26" fmla="*/ 18 w 22"/>
                    <a:gd name="T27" fmla="*/ 21 h 47"/>
                    <a:gd name="T28" fmla="*/ 20 w 22"/>
                    <a:gd name="T29" fmla="*/ 23 h 47"/>
                    <a:gd name="T30" fmla="*/ 22 w 22"/>
                    <a:gd name="T31" fmla="*/ 21 h 47"/>
                    <a:gd name="T32" fmla="*/ 22 w 22"/>
                    <a:gd name="T33" fmla="*/ 6 h 47"/>
                    <a:gd name="T34" fmla="*/ 16 w 22"/>
                    <a:gd name="T35" fmla="*/ 0 h 47"/>
                    <a:gd name="T36" fmla="*/ 6 w 22"/>
                    <a:gd name="T37" fmla="*/ 0 h 47"/>
                    <a:gd name="T38" fmla="*/ 0 w 22"/>
                    <a:gd name="T39" fmla="*/ 5 h 47"/>
                    <a:gd name="T40" fmla="*/ 1 w 22"/>
                    <a:gd name="T41" fmla="*/ 16 h 47"/>
                    <a:gd name="T42" fmla="*/ 1 w 22"/>
                    <a:gd name="T43" fmla="*/ 23 h 47"/>
                    <a:gd name="T44" fmla="*/ 2 w 22"/>
                    <a:gd name="T45" fmla="*/ 23 h 47"/>
                    <a:gd name="T46" fmla="*/ 4 w 22"/>
                    <a:gd name="T47"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47">
                      <a:moveTo>
                        <a:pt x="4" y="21"/>
                      </a:move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2" y="23"/>
                        <a:pt x="22" y="22"/>
                        <a:pt x="22" y="21"/>
                      </a:cubicBezTo>
                      <a:cubicBezTo>
                        <a:pt x="22" y="20"/>
                        <a:pt x="22" y="8"/>
                        <a:pt x="22" y="6"/>
                      </a:cubicBezTo>
                      <a:cubicBezTo>
                        <a:pt x="22" y="3"/>
                        <a:pt x="20" y="0"/>
                        <a:pt x="16" y="0"/>
                      </a:cubicBezTo>
                      <a:cubicBezTo>
                        <a:pt x="15" y="0"/>
                        <a:pt x="8" y="0"/>
                        <a:pt x="6" y="0"/>
                      </a:cubicBezTo>
                      <a:cubicBezTo>
                        <a:pt x="3" y="0"/>
                        <a:pt x="0" y="3"/>
                        <a:pt x="0" y="5"/>
                      </a:cubicBezTo>
                      <a:cubicBezTo>
                        <a:pt x="1" y="9"/>
                        <a:pt x="1" y="12"/>
                        <a:pt x="1" y="16"/>
                      </a:cubicBezTo>
                      <a:cubicBezTo>
                        <a:pt x="2" y="19"/>
                        <a:pt x="1" y="21"/>
                        <a:pt x="1" y="23"/>
                      </a:cubicBezTo>
                      <a:cubicBezTo>
                        <a:pt x="1" y="23"/>
                        <a:pt x="2" y="23"/>
                        <a:pt x="2" y="23"/>
                      </a:cubicBezTo>
                      <a:cubicBezTo>
                        <a:pt x="3" y="23"/>
                        <a:pt x="4" y="22"/>
                        <a:pt x="4"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79" name="Freeform 993"/>
                <p:cNvSpPr>
                  <a:spLocks/>
                </p:cNvSpPr>
                <p:nvPr/>
              </p:nvSpPr>
              <p:spPr bwMode="auto">
                <a:xfrm>
                  <a:off x="12579" y="1736"/>
                  <a:ext cx="37" cy="31"/>
                </a:xfrm>
                <a:custGeom>
                  <a:avLst/>
                  <a:gdLst>
                    <a:gd name="T0" fmla="*/ 10 w 16"/>
                    <a:gd name="T1" fmla="*/ 0 h 13"/>
                    <a:gd name="T2" fmla="*/ 0 w 16"/>
                    <a:gd name="T3" fmla="*/ 0 h 13"/>
                    <a:gd name="T4" fmla="*/ 11 w 16"/>
                    <a:gd name="T5" fmla="*/ 8 h 13"/>
                    <a:gd name="T6" fmla="*/ 11 w 16"/>
                    <a:gd name="T7" fmla="*/ 7 h 13"/>
                    <a:gd name="T8" fmla="*/ 12 w 16"/>
                    <a:gd name="T9" fmla="*/ 7 h 13"/>
                    <a:gd name="T10" fmla="*/ 12 w 16"/>
                    <a:gd name="T11" fmla="*/ 9 h 13"/>
                    <a:gd name="T12" fmla="*/ 16 w 16"/>
                    <a:gd name="T13" fmla="*/ 13 h 13"/>
                    <a:gd name="T14" fmla="*/ 16 w 16"/>
                    <a:gd name="T15" fmla="*/ 6 h 13"/>
                    <a:gd name="T16" fmla="*/ 10 w 16"/>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3">
                      <a:moveTo>
                        <a:pt x="10" y="0"/>
                      </a:moveTo>
                      <a:cubicBezTo>
                        <a:pt x="8" y="0"/>
                        <a:pt x="2" y="0"/>
                        <a:pt x="0" y="0"/>
                      </a:cubicBezTo>
                      <a:cubicBezTo>
                        <a:pt x="4" y="3"/>
                        <a:pt x="7" y="5"/>
                        <a:pt x="11" y="8"/>
                      </a:cubicBezTo>
                      <a:cubicBezTo>
                        <a:pt x="11" y="8"/>
                        <a:pt x="11" y="7"/>
                        <a:pt x="11" y="7"/>
                      </a:cubicBezTo>
                      <a:cubicBezTo>
                        <a:pt x="11" y="7"/>
                        <a:pt x="11" y="7"/>
                        <a:pt x="12" y="7"/>
                      </a:cubicBezTo>
                      <a:cubicBezTo>
                        <a:pt x="12" y="7"/>
                        <a:pt x="12" y="8"/>
                        <a:pt x="12" y="9"/>
                      </a:cubicBezTo>
                      <a:cubicBezTo>
                        <a:pt x="13" y="10"/>
                        <a:pt x="15" y="12"/>
                        <a:pt x="16" y="13"/>
                      </a:cubicBezTo>
                      <a:cubicBezTo>
                        <a:pt x="16" y="10"/>
                        <a:pt x="16" y="7"/>
                        <a:pt x="16" y="6"/>
                      </a:cubicBezTo>
                      <a:cubicBezTo>
                        <a:pt x="16" y="2"/>
                        <a:pt x="14" y="0"/>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80" name="Oval 994"/>
                <p:cNvSpPr>
                  <a:spLocks noChangeArrowheads="1"/>
                </p:cNvSpPr>
                <p:nvPr/>
              </p:nvSpPr>
              <p:spPr bwMode="auto">
                <a:xfrm>
                  <a:off x="12579" y="1563"/>
                  <a:ext cx="23"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81" name="Freeform 995"/>
                <p:cNvSpPr>
                  <a:spLocks/>
                </p:cNvSpPr>
                <p:nvPr/>
              </p:nvSpPr>
              <p:spPr bwMode="auto">
                <a:xfrm>
                  <a:off x="14786" y="333"/>
                  <a:ext cx="10" cy="19"/>
                </a:xfrm>
                <a:custGeom>
                  <a:avLst/>
                  <a:gdLst>
                    <a:gd name="T0" fmla="*/ 0 w 4"/>
                    <a:gd name="T1" fmla="*/ 0 h 8"/>
                    <a:gd name="T2" fmla="*/ 4 w 4"/>
                    <a:gd name="T3" fmla="*/ 8 h 8"/>
                    <a:gd name="T4" fmla="*/ 4 w 4"/>
                    <a:gd name="T5" fmla="*/ 0 h 8"/>
                    <a:gd name="T6" fmla="*/ 0 w 4"/>
                    <a:gd name="T7" fmla="*/ 0 h 8"/>
                  </a:gdLst>
                  <a:ahLst/>
                  <a:cxnLst>
                    <a:cxn ang="0">
                      <a:pos x="T0" y="T1"/>
                    </a:cxn>
                    <a:cxn ang="0">
                      <a:pos x="T2" y="T3"/>
                    </a:cxn>
                    <a:cxn ang="0">
                      <a:pos x="T4" y="T5"/>
                    </a:cxn>
                    <a:cxn ang="0">
                      <a:pos x="T6" y="T7"/>
                    </a:cxn>
                  </a:cxnLst>
                  <a:rect l="0" t="0" r="r" b="b"/>
                  <a:pathLst>
                    <a:path w="4" h="8">
                      <a:moveTo>
                        <a:pt x="0" y="0"/>
                      </a:moveTo>
                      <a:cubicBezTo>
                        <a:pt x="2" y="2"/>
                        <a:pt x="3" y="5"/>
                        <a:pt x="4" y="8"/>
                      </a:cubicBezTo>
                      <a:cubicBezTo>
                        <a:pt x="4" y="5"/>
                        <a:pt x="4" y="3"/>
                        <a:pt x="4" y="0"/>
                      </a:cubicBezTo>
                      <a:cubicBezTo>
                        <a:pt x="4" y="0"/>
                        <a:pt x="4"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82" name="Freeform 996"/>
                <p:cNvSpPr>
                  <a:spLocks/>
                </p:cNvSpPr>
                <p:nvPr/>
              </p:nvSpPr>
              <p:spPr bwMode="auto">
                <a:xfrm>
                  <a:off x="12983" y="626"/>
                  <a:ext cx="3" cy="38"/>
                </a:xfrm>
                <a:custGeom>
                  <a:avLst/>
                  <a:gdLst>
                    <a:gd name="T0" fmla="*/ 0 w 1"/>
                    <a:gd name="T1" fmla="*/ 0 h 16"/>
                    <a:gd name="T2" fmla="*/ 0 w 1"/>
                    <a:gd name="T3" fmla="*/ 15 h 16"/>
                    <a:gd name="T4" fmla="*/ 1 w 1"/>
                    <a:gd name="T5" fmla="*/ 16 h 16"/>
                    <a:gd name="T6" fmla="*/ 1 w 1"/>
                    <a:gd name="T7" fmla="*/ 0 h 16"/>
                    <a:gd name="T8" fmla="*/ 0 w 1"/>
                    <a:gd name="T9" fmla="*/ 0 h 16"/>
                  </a:gdLst>
                  <a:ahLst/>
                  <a:cxnLst>
                    <a:cxn ang="0">
                      <a:pos x="T0" y="T1"/>
                    </a:cxn>
                    <a:cxn ang="0">
                      <a:pos x="T2" y="T3"/>
                    </a:cxn>
                    <a:cxn ang="0">
                      <a:pos x="T4" y="T5"/>
                    </a:cxn>
                    <a:cxn ang="0">
                      <a:pos x="T6" y="T7"/>
                    </a:cxn>
                    <a:cxn ang="0">
                      <a:pos x="T8" y="T9"/>
                    </a:cxn>
                  </a:cxnLst>
                  <a:rect l="0" t="0" r="r" b="b"/>
                  <a:pathLst>
                    <a:path w="1" h="16">
                      <a:moveTo>
                        <a:pt x="0" y="0"/>
                      </a:moveTo>
                      <a:cubicBezTo>
                        <a:pt x="0" y="0"/>
                        <a:pt x="0" y="10"/>
                        <a:pt x="0" y="15"/>
                      </a:cubicBezTo>
                      <a:cubicBezTo>
                        <a:pt x="0" y="15"/>
                        <a:pt x="1" y="15"/>
                        <a:pt x="1" y="16"/>
                      </a:cubicBezTo>
                      <a:cubicBezTo>
                        <a:pt x="1" y="12"/>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83" name="Freeform 997"/>
                <p:cNvSpPr>
                  <a:spLocks/>
                </p:cNvSpPr>
                <p:nvPr/>
              </p:nvSpPr>
              <p:spPr bwMode="auto">
                <a:xfrm>
                  <a:off x="14562" y="1168"/>
                  <a:ext cx="11" cy="33"/>
                </a:xfrm>
                <a:custGeom>
                  <a:avLst/>
                  <a:gdLst>
                    <a:gd name="T0" fmla="*/ 4 w 5"/>
                    <a:gd name="T1" fmla="*/ 11 h 14"/>
                    <a:gd name="T2" fmla="*/ 1 w 5"/>
                    <a:gd name="T3" fmla="*/ 0 h 14"/>
                    <a:gd name="T4" fmla="*/ 0 w 5"/>
                    <a:gd name="T5" fmla="*/ 0 h 14"/>
                    <a:gd name="T6" fmla="*/ 4 w 5"/>
                    <a:gd name="T7" fmla="*/ 14 h 14"/>
                    <a:gd name="T8" fmla="*/ 5 w 5"/>
                    <a:gd name="T9" fmla="*/ 12 h 14"/>
                    <a:gd name="T10" fmla="*/ 4 w 5"/>
                    <a:gd name="T11" fmla="*/ 11 h 14"/>
                  </a:gdLst>
                  <a:ahLst/>
                  <a:cxnLst>
                    <a:cxn ang="0">
                      <a:pos x="T0" y="T1"/>
                    </a:cxn>
                    <a:cxn ang="0">
                      <a:pos x="T2" y="T3"/>
                    </a:cxn>
                    <a:cxn ang="0">
                      <a:pos x="T4" y="T5"/>
                    </a:cxn>
                    <a:cxn ang="0">
                      <a:pos x="T6" y="T7"/>
                    </a:cxn>
                    <a:cxn ang="0">
                      <a:pos x="T8" y="T9"/>
                    </a:cxn>
                    <a:cxn ang="0">
                      <a:pos x="T10" y="T11"/>
                    </a:cxn>
                  </a:cxnLst>
                  <a:rect l="0" t="0" r="r" b="b"/>
                  <a:pathLst>
                    <a:path w="5" h="14">
                      <a:moveTo>
                        <a:pt x="4" y="11"/>
                      </a:moveTo>
                      <a:cubicBezTo>
                        <a:pt x="4" y="10"/>
                        <a:pt x="2" y="3"/>
                        <a:pt x="1" y="0"/>
                      </a:cubicBezTo>
                      <a:cubicBezTo>
                        <a:pt x="0" y="0"/>
                        <a:pt x="0" y="0"/>
                        <a:pt x="0" y="0"/>
                      </a:cubicBezTo>
                      <a:cubicBezTo>
                        <a:pt x="0" y="2"/>
                        <a:pt x="1" y="6"/>
                        <a:pt x="4" y="14"/>
                      </a:cubicBezTo>
                      <a:cubicBezTo>
                        <a:pt x="4" y="13"/>
                        <a:pt x="4" y="12"/>
                        <a:pt x="5" y="12"/>
                      </a:cubicBezTo>
                      <a:cubicBezTo>
                        <a:pt x="4" y="12"/>
                        <a:pt x="4" y="11"/>
                        <a:pt x="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84" name="Freeform 998"/>
                <p:cNvSpPr>
                  <a:spLocks/>
                </p:cNvSpPr>
                <p:nvPr/>
              </p:nvSpPr>
              <p:spPr bwMode="auto">
                <a:xfrm>
                  <a:off x="14952" y="577"/>
                  <a:ext cx="2" cy="4"/>
                </a:xfrm>
                <a:custGeom>
                  <a:avLst/>
                  <a:gdLst>
                    <a:gd name="T0" fmla="*/ 0 w 1"/>
                    <a:gd name="T1" fmla="*/ 0 h 2"/>
                    <a:gd name="T2" fmla="*/ 0 w 1"/>
                    <a:gd name="T3" fmla="*/ 0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0"/>
                      </a:cubicBezTo>
                      <a:cubicBezTo>
                        <a:pt x="0" y="1"/>
                        <a:pt x="1" y="1"/>
                        <a:pt x="1" y="2"/>
                      </a:cubicBezTo>
                      <a:cubicBezTo>
                        <a:pt x="1"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85" name="Freeform 999"/>
                <p:cNvSpPr>
                  <a:spLocks/>
                </p:cNvSpPr>
                <p:nvPr/>
              </p:nvSpPr>
              <p:spPr bwMode="auto">
                <a:xfrm>
                  <a:off x="13061" y="723"/>
                  <a:ext cx="3" cy="17"/>
                </a:xfrm>
                <a:custGeom>
                  <a:avLst/>
                  <a:gdLst>
                    <a:gd name="T0" fmla="*/ 0 w 1"/>
                    <a:gd name="T1" fmla="*/ 0 h 7"/>
                    <a:gd name="T2" fmla="*/ 0 w 1"/>
                    <a:gd name="T3" fmla="*/ 5 h 7"/>
                    <a:gd name="T4" fmla="*/ 1 w 1"/>
                    <a:gd name="T5" fmla="*/ 7 h 7"/>
                    <a:gd name="T6" fmla="*/ 1 w 1"/>
                    <a:gd name="T7" fmla="*/ 0 h 7"/>
                    <a:gd name="T8" fmla="*/ 0 w 1"/>
                    <a:gd name="T9" fmla="*/ 0 h 7"/>
                  </a:gdLst>
                  <a:ahLst/>
                  <a:cxnLst>
                    <a:cxn ang="0">
                      <a:pos x="T0" y="T1"/>
                    </a:cxn>
                    <a:cxn ang="0">
                      <a:pos x="T2" y="T3"/>
                    </a:cxn>
                    <a:cxn ang="0">
                      <a:pos x="T4" y="T5"/>
                    </a:cxn>
                    <a:cxn ang="0">
                      <a:pos x="T6" y="T7"/>
                    </a:cxn>
                    <a:cxn ang="0">
                      <a:pos x="T8" y="T9"/>
                    </a:cxn>
                  </a:cxnLst>
                  <a:rect l="0" t="0" r="r" b="b"/>
                  <a:pathLst>
                    <a:path w="1" h="7">
                      <a:moveTo>
                        <a:pt x="0" y="0"/>
                      </a:moveTo>
                      <a:cubicBezTo>
                        <a:pt x="0" y="0"/>
                        <a:pt x="0" y="2"/>
                        <a:pt x="0" y="5"/>
                      </a:cubicBezTo>
                      <a:cubicBezTo>
                        <a:pt x="1" y="6"/>
                        <a:pt x="1" y="6"/>
                        <a:pt x="1" y="7"/>
                      </a:cubicBezTo>
                      <a:cubicBezTo>
                        <a:pt x="1" y="3"/>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86" name="Freeform 1000"/>
                <p:cNvSpPr>
                  <a:spLocks/>
                </p:cNvSpPr>
                <p:nvPr/>
              </p:nvSpPr>
              <p:spPr bwMode="auto">
                <a:xfrm>
                  <a:off x="13241" y="908"/>
                  <a:ext cx="3" cy="24"/>
                </a:xfrm>
                <a:custGeom>
                  <a:avLst/>
                  <a:gdLst>
                    <a:gd name="T0" fmla="*/ 0 w 1"/>
                    <a:gd name="T1" fmla="*/ 0 h 10"/>
                    <a:gd name="T2" fmla="*/ 0 w 1"/>
                    <a:gd name="T3" fmla="*/ 9 h 10"/>
                    <a:gd name="T4" fmla="*/ 1 w 1"/>
                    <a:gd name="T5" fmla="*/ 10 h 10"/>
                    <a:gd name="T6" fmla="*/ 1 w 1"/>
                    <a:gd name="T7" fmla="*/ 0 h 10"/>
                    <a:gd name="T8" fmla="*/ 0 w 1"/>
                    <a:gd name="T9" fmla="*/ 0 h 10"/>
                  </a:gdLst>
                  <a:ahLst/>
                  <a:cxnLst>
                    <a:cxn ang="0">
                      <a:pos x="T0" y="T1"/>
                    </a:cxn>
                    <a:cxn ang="0">
                      <a:pos x="T2" y="T3"/>
                    </a:cxn>
                    <a:cxn ang="0">
                      <a:pos x="T4" y="T5"/>
                    </a:cxn>
                    <a:cxn ang="0">
                      <a:pos x="T6" y="T7"/>
                    </a:cxn>
                    <a:cxn ang="0">
                      <a:pos x="T8" y="T9"/>
                    </a:cxn>
                  </a:cxnLst>
                  <a:rect l="0" t="0" r="r" b="b"/>
                  <a:pathLst>
                    <a:path w="1" h="10">
                      <a:moveTo>
                        <a:pt x="0" y="0"/>
                      </a:moveTo>
                      <a:cubicBezTo>
                        <a:pt x="0" y="0"/>
                        <a:pt x="0" y="4"/>
                        <a:pt x="0" y="9"/>
                      </a:cubicBezTo>
                      <a:cubicBezTo>
                        <a:pt x="0" y="9"/>
                        <a:pt x="0" y="10"/>
                        <a:pt x="1" y="10"/>
                      </a:cubicBezTo>
                      <a:cubicBezTo>
                        <a:pt x="1" y="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487" name="Freeform 1001"/>
                <p:cNvSpPr>
                  <a:spLocks/>
                </p:cNvSpPr>
                <p:nvPr/>
              </p:nvSpPr>
              <p:spPr bwMode="auto">
                <a:xfrm>
                  <a:off x="13322" y="1019"/>
                  <a:ext cx="2" cy="10"/>
                </a:xfrm>
                <a:custGeom>
                  <a:avLst/>
                  <a:gdLst>
                    <a:gd name="T0" fmla="*/ 0 w 1"/>
                    <a:gd name="T1" fmla="*/ 0 h 4"/>
                    <a:gd name="T2" fmla="*/ 0 w 1"/>
                    <a:gd name="T3" fmla="*/ 3 h 4"/>
                    <a:gd name="T4" fmla="*/ 1 w 1"/>
                    <a:gd name="T5" fmla="*/ 4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1"/>
                        <a:pt x="0" y="3"/>
                      </a:cubicBezTo>
                      <a:cubicBezTo>
                        <a:pt x="0" y="3"/>
                        <a:pt x="1" y="3"/>
                        <a:pt x="1" y="4"/>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grpSp>
            <p:nvGrpSpPr>
              <p:cNvPr id="328" name="Group 1203"/>
              <p:cNvGrpSpPr>
                <a:grpSpLocks/>
              </p:cNvGrpSpPr>
              <p:nvPr/>
            </p:nvGrpSpPr>
            <p:grpSpPr bwMode="auto">
              <a:xfrm>
                <a:off x="19469101" y="476250"/>
                <a:ext cx="4538663" cy="3343275"/>
                <a:chOff x="12264" y="300"/>
                <a:chExt cx="2859" cy="2106"/>
              </a:xfrm>
              <a:grpFill/>
            </p:grpSpPr>
            <p:sp>
              <p:nvSpPr>
                <p:cNvPr id="1088" name="Freeform 1003"/>
                <p:cNvSpPr>
                  <a:spLocks/>
                </p:cNvSpPr>
                <p:nvPr/>
              </p:nvSpPr>
              <p:spPr bwMode="auto">
                <a:xfrm>
                  <a:off x="13128" y="872"/>
                  <a:ext cx="2" cy="5"/>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1"/>
                      </a:cubicBezTo>
                      <a:cubicBezTo>
                        <a:pt x="0" y="1"/>
                        <a:pt x="1" y="1"/>
                        <a:pt x="1" y="2"/>
                      </a:cubicBez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89" name="Freeform 1004"/>
                <p:cNvSpPr>
                  <a:spLocks/>
                </p:cNvSpPr>
                <p:nvPr/>
              </p:nvSpPr>
              <p:spPr bwMode="auto">
                <a:xfrm>
                  <a:off x="13156" y="870"/>
                  <a:ext cx="9" cy="17"/>
                </a:xfrm>
                <a:custGeom>
                  <a:avLst/>
                  <a:gdLst>
                    <a:gd name="T0" fmla="*/ 3 w 4"/>
                    <a:gd name="T1" fmla="*/ 0 h 7"/>
                    <a:gd name="T2" fmla="*/ 0 w 4"/>
                    <a:gd name="T3" fmla="*/ 7 h 7"/>
                    <a:gd name="T4" fmla="*/ 1 w 4"/>
                    <a:gd name="T5" fmla="*/ 7 h 7"/>
                    <a:gd name="T6" fmla="*/ 4 w 4"/>
                    <a:gd name="T7" fmla="*/ 0 h 7"/>
                    <a:gd name="T8" fmla="*/ 3 w 4"/>
                    <a:gd name="T9" fmla="*/ 0 h 7"/>
                  </a:gdLst>
                  <a:ahLst/>
                  <a:cxnLst>
                    <a:cxn ang="0">
                      <a:pos x="T0" y="T1"/>
                    </a:cxn>
                    <a:cxn ang="0">
                      <a:pos x="T2" y="T3"/>
                    </a:cxn>
                    <a:cxn ang="0">
                      <a:pos x="T4" y="T5"/>
                    </a:cxn>
                    <a:cxn ang="0">
                      <a:pos x="T6" y="T7"/>
                    </a:cxn>
                    <a:cxn ang="0">
                      <a:pos x="T8" y="T9"/>
                    </a:cxn>
                  </a:cxnLst>
                  <a:rect l="0" t="0" r="r" b="b"/>
                  <a:pathLst>
                    <a:path w="4" h="7">
                      <a:moveTo>
                        <a:pt x="3" y="0"/>
                      </a:moveTo>
                      <a:cubicBezTo>
                        <a:pt x="3" y="0"/>
                        <a:pt x="1" y="4"/>
                        <a:pt x="0" y="7"/>
                      </a:cubicBezTo>
                      <a:cubicBezTo>
                        <a:pt x="1" y="7"/>
                        <a:pt x="1" y="7"/>
                        <a:pt x="1" y="7"/>
                      </a:cubicBezTo>
                      <a:cubicBezTo>
                        <a:pt x="2" y="5"/>
                        <a:pt x="3" y="3"/>
                        <a:pt x="4" y="0"/>
                      </a:cubicBezTo>
                      <a:cubicBezTo>
                        <a:pt x="4"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90" name="Freeform 1005"/>
                <p:cNvSpPr>
                  <a:spLocks/>
                </p:cNvSpPr>
                <p:nvPr/>
              </p:nvSpPr>
              <p:spPr bwMode="auto">
                <a:xfrm>
                  <a:off x="14559" y="1216"/>
                  <a:ext cx="3" cy="0"/>
                </a:xfrm>
                <a:custGeom>
                  <a:avLst/>
                  <a:gdLst>
                    <a:gd name="T0" fmla="*/ 0 w 1"/>
                    <a:gd name="T1" fmla="*/ 1 w 1"/>
                    <a:gd name="T2" fmla="*/ 0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91" name="Freeform 1006"/>
                <p:cNvSpPr>
                  <a:spLocks/>
                </p:cNvSpPr>
                <p:nvPr/>
              </p:nvSpPr>
              <p:spPr bwMode="auto">
                <a:xfrm>
                  <a:off x="14495" y="1606"/>
                  <a:ext cx="3" cy="14"/>
                </a:xfrm>
                <a:custGeom>
                  <a:avLst/>
                  <a:gdLst>
                    <a:gd name="T0" fmla="*/ 0 w 1"/>
                    <a:gd name="T1" fmla="*/ 0 h 6"/>
                    <a:gd name="T2" fmla="*/ 0 w 1"/>
                    <a:gd name="T3" fmla="*/ 5 h 6"/>
                    <a:gd name="T4" fmla="*/ 1 w 1"/>
                    <a:gd name="T5" fmla="*/ 6 h 6"/>
                    <a:gd name="T6" fmla="*/ 1 w 1"/>
                    <a:gd name="T7" fmla="*/ 0 h 6"/>
                    <a:gd name="T8" fmla="*/ 0 w 1"/>
                    <a:gd name="T9" fmla="*/ 0 h 6"/>
                  </a:gdLst>
                  <a:ahLst/>
                  <a:cxnLst>
                    <a:cxn ang="0">
                      <a:pos x="T0" y="T1"/>
                    </a:cxn>
                    <a:cxn ang="0">
                      <a:pos x="T2" y="T3"/>
                    </a:cxn>
                    <a:cxn ang="0">
                      <a:pos x="T4" y="T5"/>
                    </a:cxn>
                    <a:cxn ang="0">
                      <a:pos x="T6" y="T7"/>
                    </a:cxn>
                    <a:cxn ang="0">
                      <a:pos x="T8" y="T9"/>
                    </a:cxn>
                  </a:cxnLst>
                  <a:rect l="0" t="0" r="r" b="b"/>
                  <a:pathLst>
                    <a:path w="1" h="6">
                      <a:moveTo>
                        <a:pt x="0" y="0"/>
                      </a:moveTo>
                      <a:cubicBezTo>
                        <a:pt x="0" y="0"/>
                        <a:pt x="0" y="2"/>
                        <a:pt x="0" y="5"/>
                      </a:cubicBezTo>
                      <a:cubicBezTo>
                        <a:pt x="0" y="5"/>
                        <a:pt x="0" y="6"/>
                        <a:pt x="1" y="6"/>
                      </a:cubicBezTo>
                      <a:cubicBezTo>
                        <a:pt x="1" y="3"/>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92" name="Freeform 1007"/>
                <p:cNvSpPr>
                  <a:spLocks/>
                </p:cNvSpPr>
                <p:nvPr/>
              </p:nvSpPr>
              <p:spPr bwMode="auto">
                <a:xfrm>
                  <a:off x="12768" y="723"/>
                  <a:ext cx="2" cy="33"/>
                </a:xfrm>
                <a:custGeom>
                  <a:avLst/>
                  <a:gdLst>
                    <a:gd name="T0" fmla="*/ 0 w 1"/>
                    <a:gd name="T1" fmla="*/ 0 h 14"/>
                    <a:gd name="T2" fmla="*/ 0 w 1"/>
                    <a:gd name="T3" fmla="*/ 13 h 14"/>
                    <a:gd name="T4" fmla="*/ 1 w 1"/>
                    <a:gd name="T5" fmla="*/ 14 h 14"/>
                    <a:gd name="T6" fmla="*/ 1 w 1"/>
                    <a:gd name="T7" fmla="*/ 0 h 14"/>
                    <a:gd name="T8" fmla="*/ 0 w 1"/>
                    <a:gd name="T9" fmla="*/ 0 h 14"/>
                  </a:gdLst>
                  <a:ahLst/>
                  <a:cxnLst>
                    <a:cxn ang="0">
                      <a:pos x="T0" y="T1"/>
                    </a:cxn>
                    <a:cxn ang="0">
                      <a:pos x="T2" y="T3"/>
                    </a:cxn>
                    <a:cxn ang="0">
                      <a:pos x="T4" y="T5"/>
                    </a:cxn>
                    <a:cxn ang="0">
                      <a:pos x="T6" y="T7"/>
                    </a:cxn>
                    <a:cxn ang="0">
                      <a:pos x="T8" y="T9"/>
                    </a:cxn>
                  </a:cxnLst>
                  <a:rect l="0" t="0" r="r" b="b"/>
                  <a:pathLst>
                    <a:path w="1" h="14">
                      <a:moveTo>
                        <a:pt x="0" y="0"/>
                      </a:moveTo>
                      <a:cubicBezTo>
                        <a:pt x="0" y="0"/>
                        <a:pt x="0" y="10"/>
                        <a:pt x="0" y="13"/>
                      </a:cubicBezTo>
                      <a:cubicBezTo>
                        <a:pt x="1" y="13"/>
                        <a:pt x="1" y="14"/>
                        <a:pt x="1" y="14"/>
                      </a:cubicBezTo>
                      <a:cubicBezTo>
                        <a:pt x="1" y="7"/>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93" name="Freeform 1008"/>
                <p:cNvSpPr>
                  <a:spLocks/>
                </p:cNvSpPr>
                <p:nvPr/>
              </p:nvSpPr>
              <p:spPr bwMode="auto">
                <a:xfrm>
                  <a:off x="14547" y="1350"/>
                  <a:ext cx="3" cy="8"/>
                </a:xfrm>
                <a:custGeom>
                  <a:avLst/>
                  <a:gdLst>
                    <a:gd name="T0" fmla="*/ 0 w 1"/>
                    <a:gd name="T1" fmla="*/ 0 h 3"/>
                    <a:gd name="T2" fmla="*/ 0 w 1"/>
                    <a:gd name="T3" fmla="*/ 2 h 3"/>
                    <a:gd name="T4" fmla="*/ 1 w 1"/>
                    <a:gd name="T5" fmla="*/ 3 h 3"/>
                    <a:gd name="T6" fmla="*/ 1 w 1"/>
                    <a:gd name="T7" fmla="*/ 0 h 3"/>
                    <a:gd name="T8" fmla="*/ 0 w 1"/>
                    <a:gd name="T9" fmla="*/ 0 h 3"/>
                  </a:gdLst>
                  <a:ahLst/>
                  <a:cxnLst>
                    <a:cxn ang="0">
                      <a:pos x="T0" y="T1"/>
                    </a:cxn>
                    <a:cxn ang="0">
                      <a:pos x="T2" y="T3"/>
                    </a:cxn>
                    <a:cxn ang="0">
                      <a:pos x="T4" y="T5"/>
                    </a:cxn>
                    <a:cxn ang="0">
                      <a:pos x="T6" y="T7"/>
                    </a:cxn>
                    <a:cxn ang="0">
                      <a:pos x="T8" y="T9"/>
                    </a:cxn>
                  </a:cxnLst>
                  <a:rect l="0" t="0" r="r" b="b"/>
                  <a:pathLst>
                    <a:path w="1" h="3">
                      <a:moveTo>
                        <a:pt x="0" y="0"/>
                      </a:moveTo>
                      <a:cubicBezTo>
                        <a:pt x="0" y="0"/>
                        <a:pt x="0" y="1"/>
                        <a:pt x="0" y="2"/>
                      </a:cubicBezTo>
                      <a:cubicBezTo>
                        <a:pt x="0" y="2"/>
                        <a:pt x="0" y="3"/>
                        <a:pt x="1" y="3"/>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94" name="Freeform 1009"/>
                <p:cNvSpPr>
                  <a:spLocks/>
                </p:cNvSpPr>
                <p:nvPr/>
              </p:nvSpPr>
              <p:spPr bwMode="auto">
                <a:xfrm>
                  <a:off x="12784" y="761"/>
                  <a:ext cx="3" cy="5"/>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1"/>
                      </a:cubicBezTo>
                      <a:cubicBezTo>
                        <a:pt x="0" y="2"/>
                        <a:pt x="1" y="2"/>
                        <a:pt x="1" y="2"/>
                      </a:cubicBez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95" name="Freeform 1010"/>
                <p:cNvSpPr>
                  <a:spLocks/>
                </p:cNvSpPr>
                <p:nvPr/>
              </p:nvSpPr>
              <p:spPr bwMode="auto">
                <a:xfrm>
                  <a:off x="12706" y="72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96" name="Freeform 1011"/>
                <p:cNvSpPr>
                  <a:spLocks/>
                </p:cNvSpPr>
                <p:nvPr/>
              </p:nvSpPr>
              <p:spPr bwMode="auto">
                <a:xfrm>
                  <a:off x="14573" y="1168"/>
                  <a:ext cx="5" cy="17"/>
                </a:xfrm>
                <a:custGeom>
                  <a:avLst/>
                  <a:gdLst>
                    <a:gd name="T0" fmla="*/ 2 w 2"/>
                    <a:gd name="T1" fmla="*/ 1 h 7"/>
                    <a:gd name="T2" fmla="*/ 0 w 2"/>
                    <a:gd name="T3" fmla="*/ 0 h 7"/>
                    <a:gd name="T4" fmla="*/ 1 w 2"/>
                    <a:gd name="T5" fmla="*/ 7 h 7"/>
                    <a:gd name="T6" fmla="*/ 2 w 2"/>
                    <a:gd name="T7" fmla="*/ 1 h 7"/>
                  </a:gdLst>
                  <a:ahLst/>
                  <a:cxnLst>
                    <a:cxn ang="0">
                      <a:pos x="T0" y="T1"/>
                    </a:cxn>
                    <a:cxn ang="0">
                      <a:pos x="T2" y="T3"/>
                    </a:cxn>
                    <a:cxn ang="0">
                      <a:pos x="T4" y="T5"/>
                    </a:cxn>
                    <a:cxn ang="0">
                      <a:pos x="T6" y="T7"/>
                    </a:cxn>
                  </a:cxnLst>
                  <a:rect l="0" t="0" r="r" b="b"/>
                  <a:pathLst>
                    <a:path w="2" h="7">
                      <a:moveTo>
                        <a:pt x="2" y="1"/>
                      </a:moveTo>
                      <a:cubicBezTo>
                        <a:pt x="1" y="1"/>
                        <a:pt x="1" y="0"/>
                        <a:pt x="0" y="0"/>
                      </a:cubicBezTo>
                      <a:cubicBezTo>
                        <a:pt x="0" y="3"/>
                        <a:pt x="1" y="5"/>
                        <a:pt x="1" y="7"/>
                      </a:cubicBezTo>
                      <a:cubicBezTo>
                        <a:pt x="2" y="5"/>
                        <a:pt x="2" y="3"/>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97" name="Freeform 1012"/>
                <p:cNvSpPr>
                  <a:spLocks/>
                </p:cNvSpPr>
                <p:nvPr/>
              </p:nvSpPr>
              <p:spPr bwMode="auto">
                <a:xfrm>
                  <a:off x="12853" y="626"/>
                  <a:ext cx="0" cy="3"/>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0"/>
                      </a:cubicBezTo>
                      <a:cubicBezTo>
                        <a:pt x="0" y="0"/>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98" name="Freeform 1013"/>
                <p:cNvSpPr>
                  <a:spLocks/>
                </p:cNvSpPr>
                <p:nvPr/>
              </p:nvSpPr>
              <p:spPr bwMode="auto">
                <a:xfrm>
                  <a:off x="14415" y="1381"/>
                  <a:ext cx="2" cy="7"/>
                </a:xfrm>
                <a:custGeom>
                  <a:avLst/>
                  <a:gdLst>
                    <a:gd name="T0" fmla="*/ 0 w 1"/>
                    <a:gd name="T1" fmla="*/ 1 h 3"/>
                    <a:gd name="T2" fmla="*/ 0 w 1"/>
                    <a:gd name="T3" fmla="*/ 3 h 3"/>
                    <a:gd name="T4" fmla="*/ 1 w 1"/>
                    <a:gd name="T5" fmla="*/ 3 h 3"/>
                    <a:gd name="T6" fmla="*/ 1 w 1"/>
                    <a:gd name="T7" fmla="*/ 0 h 3"/>
                    <a:gd name="T8" fmla="*/ 0 w 1"/>
                    <a:gd name="T9" fmla="*/ 1 h 3"/>
                  </a:gdLst>
                  <a:ahLst/>
                  <a:cxnLst>
                    <a:cxn ang="0">
                      <a:pos x="T0" y="T1"/>
                    </a:cxn>
                    <a:cxn ang="0">
                      <a:pos x="T2" y="T3"/>
                    </a:cxn>
                    <a:cxn ang="0">
                      <a:pos x="T4" y="T5"/>
                    </a:cxn>
                    <a:cxn ang="0">
                      <a:pos x="T6" y="T7"/>
                    </a:cxn>
                    <a:cxn ang="0">
                      <a:pos x="T8" y="T9"/>
                    </a:cxn>
                  </a:cxnLst>
                  <a:rect l="0" t="0" r="r" b="b"/>
                  <a:pathLst>
                    <a:path w="1" h="3">
                      <a:moveTo>
                        <a:pt x="0" y="1"/>
                      </a:moveTo>
                      <a:cubicBezTo>
                        <a:pt x="0" y="2"/>
                        <a:pt x="0" y="3"/>
                        <a:pt x="0" y="3"/>
                      </a:cubicBezTo>
                      <a:cubicBezTo>
                        <a:pt x="1" y="3"/>
                        <a:pt x="1" y="3"/>
                        <a:pt x="1" y="3"/>
                      </a:cubicBezTo>
                      <a:cubicBezTo>
                        <a:pt x="1" y="2"/>
                        <a:pt x="1" y="1"/>
                        <a:pt x="1" y="0"/>
                      </a:cubicBezTo>
                      <a:cubicBezTo>
                        <a:pt x="1" y="0"/>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99" name="Freeform 1014"/>
                <p:cNvSpPr>
                  <a:spLocks/>
                </p:cNvSpPr>
                <p:nvPr/>
              </p:nvSpPr>
              <p:spPr bwMode="auto">
                <a:xfrm>
                  <a:off x="14481" y="1362"/>
                  <a:ext cx="3" cy="3"/>
                </a:xfrm>
                <a:custGeom>
                  <a:avLst/>
                  <a:gdLst>
                    <a:gd name="T0" fmla="*/ 0 w 1"/>
                    <a:gd name="T1" fmla="*/ 0 h 1"/>
                    <a:gd name="T2" fmla="*/ 0 w 1"/>
                    <a:gd name="T3" fmla="*/ 1 h 1"/>
                    <a:gd name="T4" fmla="*/ 1 w 1"/>
                    <a:gd name="T5" fmla="*/ 0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1"/>
                      </a:cubicBezTo>
                      <a:cubicBezTo>
                        <a:pt x="0" y="1"/>
                        <a:pt x="1" y="0"/>
                        <a:pt x="1" y="0"/>
                      </a:cubicBezTo>
                      <a:cubicBezTo>
                        <a:pt x="1" y="0"/>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00" name="Freeform 1015"/>
                <p:cNvSpPr>
                  <a:spLocks/>
                </p:cNvSpPr>
                <p:nvPr/>
              </p:nvSpPr>
              <p:spPr bwMode="auto">
                <a:xfrm>
                  <a:off x="14547" y="1216"/>
                  <a:ext cx="3" cy="18"/>
                </a:xfrm>
                <a:custGeom>
                  <a:avLst/>
                  <a:gdLst>
                    <a:gd name="T0" fmla="*/ 0 w 1"/>
                    <a:gd name="T1" fmla="*/ 0 h 8"/>
                    <a:gd name="T2" fmla="*/ 0 w 1"/>
                    <a:gd name="T3" fmla="*/ 8 h 8"/>
                    <a:gd name="T4" fmla="*/ 1 w 1"/>
                    <a:gd name="T5" fmla="*/ 7 h 8"/>
                    <a:gd name="T6" fmla="*/ 1 w 1"/>
                    <a:gd name="T7" fmla="*/ 0 h 8"/>
                    <a:gd name="T8" fmla="*/ 0 w 1"/>
                    <a:gd name="T9" fmla="*/ 0 h 8"/>
                  </a:gdLst>
                  <a:ahLst/>
                  <a:cxnLst>
                    <a:cxn ang="0">
                      <a:pos x="T0" y="T1"/>
                    </a:cxn>
                    <a:cxn ang="0">
                      <a:pos x="T2" y="T3"/>
                    </a:cxn>
                    <a:cxn ang="0">
                      <a:pos x="T4" y="T5"/>
                    </a:cxn>
                    <a:cxn ang="0">
                      <a:pos x="T6" y="T7"/>
                    </a:cxn>
                    <a:cxn ang="0">
                      <a:pos x="T8" y="T9"/>
                    </a:cxn>
                  </a:cxnLst>
                  <a:rect l="0" t="0" r="r" b="b"/>
                  <a:pathLst>
                    <a:path w="1" h="8">
                      <a:moveTo>
                        <a:pt x="0" y="0"/>
                      </a:moveTo>
                      <a:cubicBezTo>
                        <a:pt x="0" y="0"/>
                        <a:pt x="0" y="4"/>
                        <a:pt x="0" y="8"/>
                      </a:cubicBezTo>
                      <a:cubicBezTo>
                        <a:pt x="0" y="8"/>
                        <a:pt x="0" y="7"/>
                        <a:pt x="1" y="7"/>
                      </a:cubicBezTo>
                      <a:cubicBezTo>
                        <a:pt x="1" y="3"/>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01" name="Freeform 1016"/>
                <p:cNvSpPr>
                  <a:spLocks/>
                </p:cNvSpPr>
                <p:nvPr/>
              </p:nvSpPr>
              <p:spPr bwMode="auto">
                <a:xfrm>
                  <a:off x="14349" y="761"/>
                  <a:ext cx="2" cy="36"/>
                </a:xfrm>
                <a:custGeom>
                  <a:avLst/>
                  <a:gdLst>
                    <a:gd name="T0" fmla="*/ 0 w 1"/>
                    <a:gd name="T1" fmla="*/ 0 h 15"/>
                    <a:gd name="T2" fmla="*/ 0 w 1"/>
                    <a:gd name="T3" fmla="*/ 15 h 15"/>
                    <a:gd name="T4" fmla="*/ 1 w 1"/>
                    <a:gd name="T5" fmla="*/ 14 h 15"/>
                    <a:gd name="T6" fmla="*/ 1 w 1"/>
                    <a:gd name="T7" fmla="*/ 0 h 15"/>
                    <a:gd name="T8" fmla="*/ 0 w 1"/>
                    <a:gd name="T9" fmla="*/ 0 h 15"/>
                  </a:gdLst>
                  <a:ahLst/>
                  <a:cxnLst>
                    <a:cxn ang="0">
                      <a:pos x="T0" y="T1"/>
                    </a:cxn>
                    <a:cxn ang="0">
                      <a:pos x="T2" y="T3"/>
                    </a:cxn>
                    <a:cxn ang="0">
                      <a:pos x="T4" y="T5"/>
                    </a:cxn>
                    <a:cxn ang="0">
                      <a:pos x="T6" y="T7"/>
                    </a:cxn>
                    <a:cxn ang="0">
                      <a:pos x="T8" y="T9"/>
                    </a:cxn>
                  </a:cxnLst>
                  <a:rect l="0" t="0" r="r" b="b"/>
                  <a:pathLst>
                    <a:path w="1" h="15">
                      <a:moveTo>
                        <a:pt x="0" y="0"/>
                      </a:moveTo>
                      <a:cubicBezTo>
                        <a:pt x="0" y="0"/>
                        <a:pt x="0" y="9"/>
                        <a:pt x="0" y="15"/>
                      </a:cubicBezTo>
                      <a:cubicBezTo>
                        <a:pt x="0" y="15"/>
                        <a:pt x="1" y="15"/>
                        <a:pt x="1" y="14"/>
                      </a:cubicBezTo>
                      <a:cubicBezTo>
                        <a:pt x="1" y="8"/>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02" name="Freeform 1017"/>
                <p:cNvSpPr>
                  <a:spLocks/>
                </p:cNvSpPr>
                <p:nvPr/>
              </p:nvSpPr>
              <p:spPr bwMode="auto">
                <a:xfrm>
                  <a:off x="14299" y="577"/>
                  <a:ext cx="5" cy="9"/>
                </a:xfrm>
                <a:custGeom>
                  <a:avLst/>
                  <a:gdLst>
                    <a:gd name="T0" fmla="*/ 0 w 2"/>
                    <a:gd name="T1" fmla="*/ 0 h 4"/>
                    <a:gd name="T2" fmla="*/ 1 w 2"/>
                    <a:gd name="T3" fmla="*/ 4 h 4"/>
                    <a:gd name="T4" fmla="*/ 2 w 2"/>
                    <a:gd name="T5" fmla="*/ 3 h 4"/>
                    <a:gd name="T6" fmla="*/ 1 w 2"/>
                    <a:gd name="T7" fmla="*/ 0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cubicBezTo>
                        <a:pt x="0" y="0"/>
                        <a:pt x="0" y="0"/>
                        <a:pt x="1" y="4"/>
                      </a:cubicBezTo>
                      <a:cubicBezTo>
                        <a:pt x="1" y="4"/>
                        <a:pt x="2" y="3"/>
                        <a:pt x="2" y="3"/>
                      </a:cubicBezTo>
                      <a:cubicBezTo>
                        <a:pt x="1"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03" name="Freeform 1018"/>
                <p:cNvSpPr>
                  <a:spLocks/>
                </p:cNvSpPr>
                <p:nvPr/>
              </p:nvSpPr>
              <p:spPr bwMode="auto">
                <a:xfrm>
                  <a:off x="14200" y="870"/>
                  <a:ext cx="9" cy="19"/>
                </a:xfrm>
                <a:custGeom>
                  <a:avLst/>
                  <a:gdLst>
                    <a:gd name="T0" fmla="*/ 2 w 4"/>
                    <a:gd name="T1" fmla="*/ 0 h 8"/>
                    <a:gd name="T2" fmla="*/ 0 w 4"/>
                    <a:gd name="T3" fmla="*/ 8 h 8"/>
                    <a:gd name="T4" fmla="*/ 1 w 4"/>
                    <a:gd name="T5" fmla="*/ 8 h 8"/>
                    <a:gd name="T6" fmla="*/ 4 w 4"/>
                    <a:gd name="T7" fmla="*/ 0 h 8"/>
                    <a:gd name="T8" fmla="*/ 2 w 4"/>
                    <a:gd name="T9" fmla="*/ 0 h 8"/>
                  </a:gdLst>
                  <a:ahLst/>
                  <a:cxnLst>
                    <a:cxn ang="0">
                      <a:pos x="T0" y="T1"/>
                    </a:cxn>
                    <a:cxn ang="0">
                      <a:pos x="T2" y="T3"/>
                    </a:cxn>
                    <a:cxn ang="0">
                      <a:pos x="T4" y="T5"/>
                    </a:cxn>
                    <a:cxn ang="0">
                      <a:pos x="T6" y="T7"/>
                    </a:cxn>
                    <a:cxn ang="0">
                      <a:pos x="T8" y="T9"/>
                    </a:cxn>
                  </a:cxnLst>
                  <a:rect l="0" t="0" r="r" b="b"/>
                  <a:pathLst>
                    <a:path w="4" h="8">
                      <a:moveTo>
                        <a:pt x="2" y="0"/>
                      </a:moveTo>
                      <a:cubicBezTo>
                        <a:pt x="2" y="0"/>
                        <a:pt x="1" y="4"/>
                        <a:pt x="0" y="8"/>
                      </a:cubicBezTo>
                      <a:cubicBezTo>
                        <a:pt x="0" y="8"/>
                        <a:pt x="1" y="8"/>
                        <a:pt x="1" y="8"/>
                      </a:cubicBezTo>
                      <a:cubicBezTo>
                        <a:pt x="2" y="5"/>
                        <a:pt x="3" y="3"/>
                        <a:pt x="4" y="0"/>
                      </a:cubicBezTo>
                      <a:cubicBezTo>
                        <a:pt x="4" y="0"/>
                        <a:pt x="4"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04" name="Freeform 1019"/>
                <p:cNvSpPr>
                  <a:spLocks/>
                </p:cNvSpPr>
                <p:nvPr/>
              </p:nvSpPr>
              <p:spPr bwMode="auto">
                <a:xfrm>
                  <a:off x="14427" y="721"/>
                  <a:ext cx="12" cy="35"/>
                </a:xfrm>
                <a:custGeom>
                  <a:avLst/>
                  <a:gdLst>
                    <a:gd name="T0" fmla="*/ 5 w 5"/>
                    <a:gd name="T1" fmla="*/ 13 h 15"/>
                    <a:gd name="T2" fmla="*/ 1 w 5"/>
                    <a:gd name="T3" fmla="*/ 0 h 15"/>
                    <a:gd name="T4" fmla="*/ 0 w 5"/>
                    <a:gd name="T5" fmla="*/ 0 h 15"/>
                    <a:gd name="T6" fmla="*/ 4 w 5"/>
                    <a:gd name="T7" fmla="*/ 15 h 15"/>
                    <a:gd name="T8" fmla="*/ 5 w 5"/>
                    <a:gd name="T9" fmla="*/ 14 h 15"/>
                    <a:gd name="T10" fmla="*/ 5 w 5"/>
                    <a:gd name="T11" fmla="*/ 13 h 15"/>
                  </a:gdLst>
                  <a:ahLst/>
                  <a:cxnLst>
                    <a:cxn ang="0">
                      <a:pos x="T0" y="T1"/>
                    </a:cxn>
                    <a:cxn ang="0">
                      <a:pos x="T2" y="T3"/>
                    </a:cxn>
                    <a:cxn ang="0">
                      <a:pos x="T4" y="T5"/>
                    </a:cxn>
                    <a:cxn ang="0">
                      <a:pos x="T6" y="T7"/>
                    </a:cxn>
                    <a:cxn ang="0">
                      <a:pos x="T8" y="T9"/>
                    </a:cxn>
                    <a:cxn ang="0">
                      <a:pos x="T10" y="T11"/>
                    </a:cxn>
                  </a:cxnLst>
                  <a:rect l="0" t="0" r="r" b="b"/>
                  <a:pathLst>
                    <a:path w="5" h="15">
                      <a:moveTo>
                        <a:pt x="5" y="13"/>
                      </a:moveTo>
                      <a:cubicBezTo>
                        <a:pt x="5" y="12"/>
                        <a:pt x="1" y="0"/>
                        <a:pt x="1" y="0"/>
                      </a:cubicBezTo>
                      <a:cubicBezTo>
                        <a:pt x="1" y="0"/>
                        <a:pt x="1" y="0"/>
                        <a:pt x="0" y="0"/>
                      </a:cubicBezTo>
                      <a:cubicBezTo>
                        <a:pt x="0" y="0"/>
                        <a:pt x="0" y="0"/>
                        <a:pt x="4" y="15"/>
                      </a:cubicBezTo>
                      <a:cubicBezTo>
                        <a:pt x="5" y="15"/>
                        <a:pt x="5" y="14"/>
                        <a:pt x="5" y="14"/>
                      </a:cubicBezTo>
                      <a:cubicBezTo>
                        <a:pt x="5" y="14"/>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05" name="Freeform 1020"/>
                <p:cNvSpPr>
                  <a:spLocks/>
                </p:cNvSpPr>
                <p:nvPr/>
              </p:nvSpPr>
              <p:spPr bwMode="auto">
                <a:xfrm>
                  <a:off x="14230" y="870"/>
                  <a:ext cx="5" cy="7"/>
                </a:xfrm>
                <a:custGeom>
                  <a:avLst/>
                  <a:gdLst>
                    <a:gd name="T0" fmla="*/ 0 w 2"/>
                    <a:gd name="T1" fmla="*/ 0 h 3"/>
                    <a:gd name="T2" fmla="*/ 1 w 2"/>
                    <a:gd name="T3" fmla="*/ 3 h 3"/>
                    <a:gd name="T4" fmla="*/ 2 w 2"/>
                    <a:gd name="T5" fmla="*/ 3 h 3"/>
                    <a:gd name="T6" fmla="*/ 1 w 2"/>
                    <a:gd name="T7" fmla="*/ 0 h 3"/>
                    <a:gd name="T8" fmla="*/ 0 w 2"/>
                    <a:gd name="T9" fmla="*/ 0 h 3"/>
                  </a:gdLst>
                  <a:ahLst/>
                  <a:cxnLst>
                    <a:cxn ang="0">
                      <a:pos x="T0" y="T1"/>
                    </a:cxn>
                    <a:cxn ang="0">
                      <a:pos x="T2" y="T3"/>
                    </a:cxn>
                    <a:cxn ang="0">
                      <a:pos x="T4" y="T5"/>
                    </a:cxn>
                    <a:cxn ang="0">
                      <a:pos x="T6" y="T7"/>
                    </a:cxn>
                    <a:cxn ang="0">
                      <a:pos x="T8" y="T9"/>
                    </a:cxn>
                  </a:cxnLst>
                  <a:rect l="0" t="0" r="r" b="b"/>
                  <a:pathLst>
                    <a:path w="2" h="3">
                      <a:moveTo>
                        <a:pt x="0" y="0"/>
                      </a:moveTo>
                      <a:cubicBezTo>
                        <a:pt x="0" y="0"/>
                        <a:pt x="0" y="0"/>
                        <a:pt x="1" y="3"/>
                      </a:cubicBezTo>
                      <a:cubicBezTo>
                        <a:pt x="1" y="3"/>
                        <a:pt x="2" y="3"/>
                        <a:pt x="2" y="3"/>
                      </a:cubicBezTo>
                      <a:cubicBezTo>
                        <a:pt x="2"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06" name="Freeform 1021"/>
                <p:cNvSpPr>
                  <a:spLocks/>
                </p:cNvSpPr>
                <p:nvPr/>
              </p:nvSpPr>
              <p:spPr bwMode="auto">
                <a:xfrm>
                  <a:off x="14434" y="432"/>
                  <a:ext cx="2" cy="19"/>
                </a:xfrm>
                <a:custGeom>
                  <a:avLst/>
                  <a:gdLst>
                    <a:gd name="T0" fmla="*/ 0 w 1"/>
                    <a:gd name="T1" fmla="*/ 0 h 8"/>
                    <a:gd name="T2" fmla="*/ 0 w 1"/>
                    <a:gd name="T3" fmla="*/ 8 h 8"/>
                    <a:gd name="T4" fmla="*/ 1 w 1"/>
                    <a:gd name="T5" fmla="*/ 7 h 8"/>
                    <a:gd name="T6" fmla="*/ 1 w 1"/>
                    <a:gd name="T7" fmla="*/ 0 h 8"/>
                    <a:gd name="T8" fmla="*/ 0 w 1"/>
                    <a:gd name="T9" fmla="*/ 0 h 8"/>
                  </a:gdLst>
                  <a:ahLst/>
                  <a:cxnLst>
                    <a:cxn ang="0">
                      <a:pos x="T0" y="T1"/>
                    </a:cxn>
                    <a:cxn ang="0">
                      <a:pos x="T2" y="T3"/>
                    </a:cxn>
                    <a:cxn ang="0">
                      <a:pos x="T4" y="T5"/>
                    </a:cxn>
                    <a:cxn ang="0">
                      <a:pos x="T6" y="T7"/>
                    </a:cxn>
                    <a:cxn ang="0">
                      <a:pos x="T8" y="T9"/>
                    </a:cxn>
                  </a:cxnLst>
                  <a:rect l="0" t="0" r="r" b="b"/>
                  <a:pathLst>
                    <a:path w="1" h="8">
                      <a:moveTo>
                        <a:pt x="0" y="0"/>
                      </a:moveTo>
                      <a:cubicBezTo>
                        <a:pt x="0" y="0"/>
                        <a:pt x="0" y="3"/>
                        <a:pt x="0" y="8"/>
                      </a:cubicBezTo>
                      <a:cubicBezTo>
                        <a:pt x="0" y="8"/>
                        <a:pt x="0" y="7"/>
                        <a:pt x="1" y="7"/>
                      </a:cubicBezTo>
                      <a:cubicBezTo>
                        <a:pt x="1" y="4"/>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07" name="Freeform 1022"/>
                <p:cNvSpPr>
                  <a:spLocks/>
                </p:cNvSpPr>
                <p:nvPr/>
              </p:nvSpPr>
              <p:spPr bwMode="auto">
                <a:xfrm>
                  <a:off x="14417" y="480"/>
                  <a:ext cx="3" cy="30"/>
                </a:xfrm>
                <a:custGeom>
                  <a:avLst/>
                  <a:gdLst>
                    <a:gd name="T0" fmla="*/ 0 w 1"/>
                    <a:gd name="T1" fmla="*/ 0 h 13"/>
                    <a:gd name="T2" fmla="*/ 0 w 1"/>
                    <a:gd name="T3" fmla="*/ 13 h 13"/>
                    <a:gd name="T4" fmla="*/ 0 w 1"/>
                    <a:gd name="T5" fmla="*/ 12 h 13"/>
                    <a:gd name="T6" fmla="*/ 1 w 1"/>
                    <a:gd name="T7" fmla="*/ 11 h 13"/>
                    <a:gd name="T8" fmla="*/ 1 w 1"/>
                    <a:gd name="T9" fmla="*/ 5 h 13"/>
                    <a:gd name="T10" fmla="*/ 0 w 1"/>
                    <a:gd name="T11" fmla="*/ 0 h 13"/>
                  </a:gdLst>
                  <a:ahLst/>
                  <a:cxnLst>
                    <a:cxn ang="0">
                      <a:pos x="T0" y="T1"/>
                    </a:cxn>
                    <a:cxn ang="0">
                      <a:pos x="T2" y="T3"/>
                    </a:cxn>
                    <a:cxn ang="0">
                      <a:pos x="T4" y="T5"/>
                    </a:cxn>
                    <a:cxn ang="0">
                      <a:pos x="T6" y="T7"/>
                    </a:cxn>
                    <a:cxn ang="0">
                      <a:pos x="T8" y="T9"/>
                    </a:cxn>
                    <a:cxn ang="0">
                      <a:pos x="T10" y="T11"/>
                    </a:cxn>
                  </a:cxnLst>
                  <a:rect l="0" t="0" r="r" b="b"/>
                  <a:pathLst>
                    <a:path w="1" h="13">
                      <a:moveTo>
                        <a:pt x="0" y="0"/>
                      </a:moveTo>
                      <a:cubicBezTo>
                        <a:pt x="0" y="4"/>
                        <a:pt x="0" y="9"/>
                        <a:pt x="0" y="13"/>
                      </a:cubicBezTo>
                      <a:cubicBezTo>
                        <a:pt x="0" y="12"/>
                        <a:pt x="0" y="12"/>
                        <a:pt x="0" y="12"/>
                      </a:cubicBezTo>
                      <a:cubicBezTo>
                        <a:pt x="1" y="12"/>
                        <a:pt x="1" y="11"/>
                        <a:pt x="1" y="11"/>
                      </a:cubicBezTo>
                      <a:cubicBezTo>
                        <a:pt x="1" y="9"/>
                        <a:pt x="1" y="7"/>
                        <a:pt x="1" y="5"/>
                      </a:cubicBezTo>
                      <a:cubicBezTo>
                        <a:pt x="1" y="4"/>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08" name="Freeform 1023"/>
                <p:cNvSpPr>
                  <a:spLocks/>
                </p:cNvSpPr>
                <p:nvPr/>
              </p:nvSpPr>
              <p:spPr bwMode="auto">
                <a:xfrm>
                  <a:off x="13696" y="1055"/>
                  <a:ext cx="2" cy="23"/>
                </a:xfrm>
                <a:custGeom>
                  <a:avLst/>
                  <a:gdLst>
                    <a:gd name="T0" fmla="*/ 0 w 1"/>
                    <a:gd name="T1" fmla="*/ 0 h 10"/>
                    <a:gd name="T2" fmla="*/ 0 w 1"/>
                    <a:gd name="T3" fmla="*/ 10 h 10"/>
                    <a:gd name="T4" fmla="*/ 1 w 1"/>
                    <a:gd name="T5" fmla="*/ 10 h 10"/>
                    <a:gd name="T6" fmla="*/ 1 w 1"/>
                    <a:gd name="T7" fmla="*/ 0 h 10"/>
                    <a:gd name="T8" fmla="*/ 0 w 1"/>
                    <a:gd name="T9" fmla="*/ 0 h 10"/>
                  </a:gdLst>
                  <a:ahLst/>
                  <a:cxnLst>
                    <a:cxn ang="0">
                      <a:pos x="T0" y="T1"/>
                    </a:cxn>
                    <a:cxn ang="0">
                      <a:pos x="T2" y="T3"/>
                    </a:cxn>
                    <a:cxn ang="0">
                      <a:pos x="T4" y="T5"/>
                    </a:cxn>
                    <a:cxn ang="0">
                      <a:pos x="T6" y="T7"/>
                    </a:cxn>
                    <a:cxn ang="0">
                      <a:pos x="T8" y="T9"/>
                    </a:cxn>
                  </a:cxnLst>
                  <a:rect l="0" t="0" r="r" b="b"/>
                  <a:pathLst>
                    <a:path w="1" h="10">
                      <a:moveTo>
                        <a:pt x="0" y="0"/>
                      </a:moveTo>
                      <a:cubicBezTo>
                        <a:pt x="0" y="0"/>
                        <a:pt x="0" y="5"/>
                        <a:pt x="0" y="10"/>
                      </a:cubicBezTo>
                      <a:cubicBezTo>
                        <a:pt x="1" y="10"/>
                        <a:pt x="1" y="10"/>
                        <a:pt x="1" y="10"/>
                      </a:cubicBezTo>
                      <a:cubicBezTo>
                        <a:pt x="1" y="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09" name="Freeform 1024"/>
                <p:cNvSpPr>
                  <a:spLocks/>
                </p:cNvSpPr>
                <p:nvPr/>
              </p:nvSpPr>
              <p:spPr bwMode="auto">
                <a:xfrm>
                  <a:off x="14008" y="1017"/>
                  <a:ext cx="7" cy="9"/>
                </a:xfrm>
                <a:custGeom>
                  <a:avLst/>
                  <a:gdLst>
                    <a:gd name="T0" fmla="*/ 1 w 3"/>
                    <a:gd name="T1" fmla="*/ 0 h 4"/>
                    <a:gd name="T2" fmla="*/ 0 w 3"/>
                    <a:gd name="T3" fmla="*/ 4 h 4"/>
                    <a:gd name="T4" fmla="*/ 2 w 3"/>
                    <a:gd name="T5" fmla="*/ 3 h 4"/>
                    <a:gd name="T6" fmla="*/ 3 w 3"/>
                    <a:gd name="T7" fmla="*/ 0 h 4"/>
                    <a:gd name="T8" fmla="*/ 1 w 3"/>
                    <a:gd name="T9" fmla="*/ 0 h 4"/>
                  </a:gdLst>
                  <a:ahLst/>
                  <a:cxnLst>
                    <a:cxn ang="0">
                      <a:pos x="T0" y="T1"/>
                    </a:cxn>
                    <a:cxn ang="0">
                      <a:pos x="T2" y="T3"/>
                    </a:cxn>
                    <a:cxn ang="0">
                      <a:pos x="T4" y="T5"/>
                    </a:cxn>
                    <a:cxn ang="0">
                      <a:pos x="T6" y="T7"/>
                    </a:cxn>
                    <a:cxn ang="0">
                      <a:pos x="T8" y="T9"/>
                    </a:cxn>
                  </a:cxnLst>
                  <a:rect l="0" t="0" r="r" b="b"/>
                  <a:pathLst>
                    <a:path w="3" h="4">
                      <a:moveTo>
                        <a:pt x="1" y="0"/>
                      </a:moveTo>
                      <a:cubicBezTo>
                        <a:pt x="1" y="0"/>
                        <a:pt x="1" y="1"/>
                        <a:pt x="0" y="4"/>
                      </a:cubicBezTo>
                      <a:cubicBezTo>
                        <a:pt x="1" y="4"/>
                        <a:pt x="1" y="3"/>
                        <a:pt x="2" y="3"/>
                      </a:cubicBezTo>
                      <a:cubicBezTo>
                        <a:pt x="2" y="2"/>
                        <a:pt x="2" y="1"/>
                        <a:pt x="3" y="0"/>
                      </a:cubicBezTo>
                      <a:cubicBezTo>
                        <a:pt x="3" y="0"/>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10" name="Freeform 1025"/>
                <p:cNvSpPr>
                  <a:spLocks/>
                </p:cNvSpPr>
                <p:nvPr/>
              </p:nvSpPr>
              <p:spPr bwMode="auto">
                <a:xfrm>
                  <a:off x="13975" y="1019"/>
                  <a:ext cx="2" cy="21"/>
                </a:xfrm>
                <a:custGeom>
                  <a:avLst/>
                  <a:gdLst>
                    <a:gd name="T0" fmla="*/ 0 w 1"/>
                    <a:gd name="T1" fmla="*/ 0 h 9"/>
                    <a:gd name="T2" fmla="*/ 0 w 1"/>
                    <a:gd name="T3" fmla="*/ 9 h 9"/>
                    <a:gd name="T4" fmla="*/ 1 w 1"/>
                    <a:gd name="T5" fmla="*/ 8 h 9"/>
                    <a:gd name="T6" fmla="*/ 1 w 1"/>
                    <a:gd name="T7" fmla="*/ 0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0" y="3"/>
                        <a:pt x="0" y="9"/>
                      </a:cubicBezTo>
                      <a:cubicBezTo>
                        <a:pt x="0" y="9"/>
                        <a:pt x="0" y="9"/>
                        <a:pt x="1" y="8"/>
                      </a:cubicBezTo>
                      <a:cubicBezTo>
                        <a:pt x="1" y="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11" name="Freeform 1026"/>
                <p:cNvSpPr>
                  <a:spLocks/>
                </p:cNvSpPr>
                <p:nvPr/>
              </p:nvSpPr>
              <p:spPr bwMode="auto">
                <a:xfrm>
                  <a:off x="13828" y="1055"/>
                  <a:ext cx="2" cy="16"/>
                </a:xfrm>
                <a:custGeom>
                  <a:avLst/>
                  <a:gdLst>
                    <a:gd name="T0" fmla="*/ 0 w 1"/>
                    <a:gd name="T1" fmla="*/ 0 h 7"/>
                    <a:gd name="T2" fmla="*/ 0 w 1"/>
                    <a:gd name="T3" fmla="*/ 7 h 7"/>
                    <a:gd name="T4" fmla="*/ 1 w 1"/>
                    <a:gd name="T5" fmla="*/ 7 h 7"/>
                    <a:gd name="T6" fmla="*/ 1 w 1"/>
                    <a:gd name="T7" fmla="*/ 0 h 7"/>
                    <a:gd name="T8" fmla="*/ 0 w 1"/>
                    <a:gd name="T9" fmla="*/ 0 h 7"/>
                  </a:gdLst>
                  <a:ahLst/>
                  <a:cxnLst>
                    <a:cxn ang="0">
                      <a:pos x="T0" y="T1"/>
                    </a:cxn>
                    <a:cxn ang="0">
                      <a:pos x="T2" y="T3"/>
                    </a:cxn>
                    <a:cxn ang="0">
                      <a:pos x="T4" y="T5"/>
                    </a:cxn>
                    <a:cxn ang="0">
                      <a:pos x="T6" y="T7"/>
                    </a:cxn>
                    <a:cxn ang="0">
                      <a:pos x="T8" y="T9"/>
                    </a:cxn>
                  </a:cxnLst>
                  <a:rect l="0" t="0" r="r" b="b"/>
                  <a:pathLst>
                    <a:path w="1" h="7">
                      <a:moveTo>
                        <a:pt x="0" y="0"/>
                      </a:moveTo>
                      <a:cubicBezTo>
                        <a:pt x="0" y="0"/>
                        <a:pt x="0" y="3"/>
                        <a:pt x="0" y="7"/>
                      </a:cubicBezTo>
                      <a:cubicBezTo>
                        <a:pt x="0" y="7"/>
                        <a:pt x="0" y="7"/>
                        <a:pt x="1" y="7"/>
                      </a:cubicBezTo>
                      <a:cubicBezTo>
                        <a:pt x="1" y="3"/>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12" name="Freeform 1027"/>
                <p:cNvSpPr>
                  <a:spLocks/>
                </p:cNvSpPr>
                <p:nvPr/>
              </p:nvSpPr>
              <p:spPr bwMode="auto">
                <a:xfrm>
                  <a:off x="13762" y="1066"/>
                  <a:ext cx="2" cy="15"/>
                </a:xfrm>
                <a:custGeom>
                  <a:avLst/>
                  <a:gdLst>
                    <a:gd name="T0" fmla="*/ 0 w 1"/>
                    <a:gd name="T1" fmla="*/ 0 h 6"/>
                    <a:gd name="T2" fmla="*/ 0 w 1"/>
                    <a:gd name="T3" fmla="*/ 6 h 6"/>
                    <a:gd name="T4" fmla="*/ 1 w 1"/>
                    <a:gd name="T5" fmla="*/ 6 h 6"/>
                    <a:gd name="T6" fmla="*/ 1 w 1"/>
                    <a:gd name="T7" fmla="*/ 0 h 6"/>
                    <a:gd name="T8" fmla="*/ 0 w 1"/>
                    <a:gd name="T9" fmla="*/ 0 h 6"/>
                  </a:gdLst>
                  <a:ahLst/>
                  <a:cxnLst>
                    <a:cxn ang="0">
                      <a:pos x="T0" y="T1"/>
                    </a:cxn>
                    <a:cxn ang="0">
                      <a:pos x="T2" y="T3"/>
                    </a:cxn>
                    <a:cxn ang="0">
                      <a:pos x="T4" y="T5"/>
                    </a:cxn>
                    <a:cxn ang="0">
                      <a:pos x="T6" y="T7"/>
                    </a:cxn>
                    <a:cxn ang="0">
                      <a:pos x="T8" y="T9"/>
                    </a:cxn>
                  </a:cxnLst>
                  <a:rect l="0" t="0" r="r" b="b"/>
                  <a:pathLst>
                    <a:path w="1" h="6">
                      <a:moveTo>
                        <a:pt x="0" y="0"/>
                      </a:moveTo>
                      <a:cubicBezTo>
                        <a:pt x="0" y="0"/>
                        <a:pt x="0" y="3"/>
                        <a:pt x="0" y="6"/>
                      </a:cubicBezTo>
                      <a:cubicBezTo>
                        <a:pt x="0" y="6"/>
                        <a:pt x="1" y="6"/>
                        <a:pt x="1" y="6"/>
                      </a:cubicBezTo>
                      <a:cubicBezTo>
                        <a:pt x="1" y="3"/>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13" name="Freeform 1028"/>
                <p:cNvSpPr>
                  <a:spLocks/>
                </p:cNvSpPr>
                <p:nvPr/>
              </p:nvSpPr>
              <p:spPr bwMode="auto">
                <a:xfrm>
                  <a:off x="12313" y="1163"/>
                  <a:ext cx="8" cy="10"/>
                </a:xfrm>
                <a:custGeom>
                  <a:avLst/>
                  <a:gdLst>
                    <a:gd name="T0" fmla="*/ 1 w 3"/>
                    <a:gd name="T1" fmla="*/ 0 h 4"/>
                    <a:gd name="T2" fmla="*/ 0 w 3"/>
                    <a:gd name="T3" fmla="*/ 4 h 4"/>
                    <a:gd name="T4" fmla="*/ 1 w 3"/>
                    <a:gd name="T5" fmla="*/ 4 h 4"/>
                    <a:gd name="T6" fmla="*/ 3 w 3"/>
                    <a:gd name="T7" fmla="*/ 0 h 4"/>
                    <a:gd name="T8" fmla="*/ 1 w 3"/>
                    <a:gd name="T9" fmla="*/ 0 h 4"/>
                  </a:gdLst>
                  <a:ahLst/>
                  <a:cxnLst>
                    <a:cxn ang="0">
                      <a:pos x="T0" y="T1"/>
                    </a:cxn>
                    <a:cxn ang="0">
                      <a:pos x="T2" y="T3"/>
                    </a:cxn>
                    <a:cxn ang="0">
                      <a:pos x="T4" y="T5"/>
                    </a:cxn>
                    <a:cxn ang="0">
                      <a:pos x="T6" y="T7"/>
                    </a:cxn>
                    <a:cxn ang="0">
                      <a:pos x="T8" y="T9"/>
                    </a:cxn>
                  </a:cxnLst>
                  <a:rect l="0" t="0" r="r" b="b"/>
                  <a:pathLst>
                    <a:path w="3" h="4">
                      <a:moveTo>
                        <a:pt x="1" y="0"/>
                      </a:moveTo>
                      <a:cubicBezTo>
                        <a:pt x="1" y="0"/>
                        <a:pt x="1" y="2"/>
                        <a:pt x="0" y="4"/>
                      </a:cubicBezTo>
                      <a:cubicBezTo>
                        <a:pt x="1" y="4"/>
                        <a:pt x="1" y="4"/>
                        <a:pt x="1" y="4"/>
                      </a:cubicBezTo>
                      <a:cubicBezTo>
                        <a:pt x="2" y="2"/>
                        <a:pt x="2" y="1"/>
                        <a:pt x="3" y="0"/>
                      </a:cubicBezTo>
                      <a:cubicBezTo>
                        <a:pt x="3" y="0"/>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14" name="Freeform 1029"/>
                <p:cNvSpPr>
                  <a:spLocks/>
                </p:cNvSpPr>
                <p:nvPr/>
              </p:nvSpPr>
              <p:spPr bwMode="auto">
                <a:xfrm>
                  <a:off x="12280" y="1166"/>
                  <a:ext cx="3" cy="31"/>
                </a:xfrm>
                <a:custGeom>
                  <a:avLst/>
                  <a:gdLst>
                    <a:gd name="T0" fmla="*/ 0 w 1"/>
                    <a:gd name="T1" fmla="*/ 0 h 13"/>
                    <a:gd name="T2" fmla="*/ 0 w 1"/>
                    <a:gd name="T3" fmla="*/ 13 h 13"/>
                    <a:gd name="T4" fmla="*/ 1 w 1"/>
                    <a:gd name="T5" fmla="*/ 12 h 13"/>
                    <a:gd name="T6" fmla="*/ 1 w 1"/>
                    <a:gd name="T7" fmla="*/ 0 h 13"/>
                    <a:gd name="T8" fmla="*/ 0 w 1"/>
                    <a:gd name="T9" fmla="*/ 0 h 13"/>
                  </a:gdLst>
                  <a:ahLst/>
                  <a:cxnLst>
                    <a:cxn ang="0">
                      <a:pos x="T0" y="T1"/>
                    </a:cxn>
                    <a:cxn ang="0">
                      <a:pos x="T2" y="T3"/>
                    </a:cxn>
                    <a:cxn ang="0">
                      <a:pos x="T4" y="T5"/>
                    </a:cxn>
                    <a:cxn ang="0">
                      <a:pos x="T6" y="T7"/>
                    </a:cxn>
                    <a:cxn ang="0">
                      <a:pos x="T8" y="T9"/>
                    </a:cxn>
                  </a:cxnLst>
                  <a:rect l="0" t="0" r="r" b="b"/>
                  <a:pathLst>
                    <a:path w="1" h="13">
                      <a:moveTo>
                        <a:pt x="0" y="0"/>
                      </a:moveTo>
                      <a:cubicBezTo>
                        <a:pt x="0" y="0"/>
                        <a:pt x="0" y="6"/>
                        <a:pt x="0" y="13"/>
                      </a:cubicBezTo>
                      <a:cubicBezTo>
                        <a:pt x="0" y="13"/>
                        <a:pt x="0" y="13"/>
                        <a:pt x="1" y="12"/>
                      </a:cubicBezTo>
                      <a:cubicBezTo>
                        <a:pt x="1" y="9"/>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15" name="Freeform 1030"/>
                <p:cNvSpPr>
                  <a:spLocks/>
                </p:cNvSpPr>
                <p:nvPr/>
              </p:nvSpPr>
              <p:spPr bwMode="auto">
                <a:xfrm>
                  <a:off x="12264" y="1201"/>
                  <a:ext cx="2" cy="29"/>
                </a:xfrm>
                <a:custGeom>
                  <a:avLst/>
                  <a:gdLst>
                    <a:gd name="T0" fmla="*/ 0 w 1"/>
                    <a:gd name="T1" fmla="*/ 0 h 12"/>
                    <a:gd name="T2" fmla="*/ 0 w 1"/>
                    <a:gd name="T3" fmla="*/ 12 h 12"/>
                    <a:gd name="T4" fmla="*/ 1 w 1"/>
                    <a:gd name="T5" fmla="*/ 8 h 12"/>
                    <a:gd name="T6" fmla="*/ 1 w 1"/>
                    <a:gd name="T7" fmla="*/ 0 h 12"/>
                    <a:gd name="T8" fmla="*/ 0 w 1"/>
                    <a:gd name="T9" fmla="*/ 0 h 12"/>
                  </a:gdLst>
                  <a:ahLst/>
                  <a:cxnLst>
                    <a:cxn ang="0">
                      <a:pos x="T0" y="T1"/>
                    </a:cxn>
                    <a:cxn ang="0">
                      <a:pos x="T2" y="T3"/>
                    </a:cxn>
                    <a:cxn ang="0">
                      <a:pos x="T4" y="T5"/>
                    </a:cxn>
                    <a:cxn ang="0">
                      <a:pos x="T6" y="T7"/>
                    </a:cxn>
                    <a:cxn ang="0">
                      <a:pos x="T8" y="T9"/>
                    </a:cxn>
                  </a:cxnLst>
                  <a:rect l="0" t="0" r="r" b="b"/>
                  <a:pathLst>
                    <a:path w="1" h="12">
                      <a:moveTo>
                        <a:pt x="0" y="0"/>
                      </a:moveTo>
                      <a:cubicBezTo>
                        <a:pt x="0" y="0"/>
                        <a:pt x="0" y="6"/>
                        <a:pt x="0" y="12"/>
                      </a:cubicBezTo>
                      <a:cubicBezTo>
                        <a:pt x="0" y="10"/>
                        <a:pt x="1" y="9"/>
                        <a:pt x="1" y="8"/>
                      </a:cubicBezTo>
                      <a:cubicBezTo>
                        <a:pt x="1" y="4"/>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16" name="Freeform 1031"/>
                <p:cNvSpPr>
                  <a:spLocks/>
                </p:cNvSpPr>
                <p:nvPr/>
              </p:nvSpPr>
              <p:spPr bwMode="auto">
                <a:xfrm>
                  <a:off x="14465" y="1459"/>
                  <a:ext cx="2" cy="22"/>
                </a:xfrm>
                <a:custGeom>
                  <a:avLst/>
                  <a:gdLst>
                    <a:gd name="T0" fmla="*/ 0 w 1"/>
                    <a:gd name="T1" fmla="*/ 0 h 9"/>
                    <a:gd name="T2" fmla="*/ 0 w 1"/>
                    <a:gd name="T3" fmla="*/ 9 h 9"/>
                    <a:gd name="T4" fmla="*/ 1 w 1"/>
                    <a:gd name="T5" fmla="*/ 9 h 9"/>
                    <a:gd name="T6" fmla="*/ 1 w 1"/>
                    <a:gd name="T7" fmla="*/ 0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0" y="5"/>
                        <a:pt x="0" y="9"/>
                      </a:cubicBezTo>
                      <a:cubicBezTo>
                        <a:pt x="1" y="9"/>
                        <a:pt x="1" y="9"/>
                        <a:pt x="1" y="9"/>
                      </a:cubicBezTo>
                      <a:cubicBezTo>
                        <a:pt x="1" y="4"/>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17" name="Freeform 1032"/>
                <p:cNvSpPr>
                  <a:spLocks/>
                </p:cNvSpPr>
                <p:nvPr/>
              </p:nvSpPr>
              <p:spPr bwMode="auto">
                <a:xfrm>
                  <a:off x="14495" y="1899"/>
                  <a:ext cx="5" cy="50"/>
                </a:xfrm>
                <a:custGeom>
                  <a:avLst/>
                  <a:gdLst>
                    <a:gd name="T0" fmla="*/ 1 w 2"/>
                    <a:gd name="T1" fmla="*/ 13 h 21"/>
                    <a:gd name="T2" fmla="*/ 1 w 2"/>
                    <a:gd name="T3" fmla="*/ 0 h 21"/>
                    <a:gd name="T4" fmla="*/ 0 w 2"/>
                    <a:gd name="T5" fmla="*/ 0 h 21"/>
                    <a:gd name="T6" fmla="*/ 0 w 2"/>
                    <a:gd name="T7" fmla="*/ 21 h 21"/>
                    <a:gd name="T8" fmla="*/ 2 w 2"/>
                    <a:gd name="T9" fmla="*/ 15 h 21"/>
                    <a:gd name="T10" fmla="*/ 1 w 2"/>
                    <a:gd name="T11" fmla="*/ 13 h 21"/>
                  </a:gdLst>
                  <a:ahLst/>
                  <a:cxnLst>
                    <a:cxn ang="0">
                      <a:pos x="T0" y="T1"/>
                    </a:cxn>
                    <a:cxn ang="0">
                      <a:pos x="T2" y="T3"/>
                    </a:cxn>
                    <a:cxn ang="0">
                      <a:pos x="T4" y="T5"/>
                    </a:cxn>
                    <a:cxn ang="0">
                      <a:pos x="T6" y="T7"/>
                    </a:cxn>
                    <a:cxn ang="0">
                      <a:pos x="T8" y="T9"/>
                    </a:cxn>
                    <a:cxn ang="0">
                      <a:pos x="T10" y="T11"/>
                    </a:cxn>
                  </a:cxnLst>
                  <a:rect l="0" t="0" r="r" b="b"/>
                  <a:pathLst>
                    <a:path w="2" h="21">
                      <a:moveTo>
                        <a:pt x="1" y="13"/>
                      </a:moveTo>
                      <a:cubicBezTo>
                        <a:pt x="1" y="12"/>
                        <a:pt x="1" y="0"/>
                        <a:pt x="1" y="0"/>
                      </a:cubicBezTo>
                      <a:cubicBezTo>
                        <a:pt x="0" y="0"/>
                        <a:pt x="0" y="0"/>
                        <a:pt x="0" y="0"/>
                      </a:cubicBezTo>
                      <a:cubicBezTo>
                        <a:pt x="0" y="0"/>
                        <a:pt x="0" y="11"/>
                        <a:pt x="0" y="21"/>
                      </a:cubicBezTo>
                      <a:cubicBezTo>
                        <a:pt x="0" y="19"/>
                        <a:pt x="1" y="17"/>
                        <a:pt x="2" y="15"/>
                      </a:cubicBezTo>
                      <a:cubicBezTo>
                        <a:pt x="1" y="15"/>
                        <a:pt x="1" y="14"/>
                        <a:pt x="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18" name="Freeform 1033"/>
                <p:cNvSpPr>
                  <a:spLocks/>
                </p:cNvSpPr>
                <p:nvPr/>
              </p:nvSpPr>
              <p:spPr bwMode="auto">
                <a:xfrm>
                  <a:off x="14479" y="1935"/>
                  <a:ext cx="2" cy="50"/>
                </a:xfrm>
                <a:custGeom>
                  <a:avLst/>
                  <a:gdLst>
                    <a:gd name="T0" fmla="*/ 0 w 1"/>
                    <a:gd name="T1" fmla="*/ 0 h 21"/>
                    <a:gd name="T2" fmla="*/ 0 w 1"/>
                    <a:gd name="T3" fmla="*/ 21 h 21"/>
                    <a:gd name="T4" fmla="*/ 1 w 1"/>
                    <a:gd name="T5" fmla="*/ 18 h 21"/>
                    <a:gd name="T6" fmla="*/ 1 w 1"/>
                    <a:gd name="T7" fmla="*/ 0 h 21"/>
                    <a:gd name="T8" fmla="*/ 0 w 1"/>
                    <a:gd name="T9" fmla="*/ 0 h 21"/>
                  </a:gdLst>
                  <a:ahLst/>
                  <a:cxnLst>
                    <a:cxn ang="0">
                      <a:pos x="T0" y="T1"/>
                    </a:cxn>
                    <a:cxn ang="0">
                      <a:pos x="T2" y="T3"/>
                    </a:cxn>
                    <a:cxn ang="0">
                      <a:pos x="T4" y="T5"/>
                    </a:cxn>
                    <a:cxn ang="0">
                      <a:pos x="T6" y="T7"/>
                    </a:cxn>
                    <a:cxn ang="0">
                      <a:pos x="T8" y="T9"/>
                    </a:cxn>
                  </a:cxnLst>
                  <a:rect l="0" t="0" r="r" b="b"/>
                  <a:pathLst>
                    <a:path w="1" h="21">
                      <a:moveTo>
                        <a:pt x="0" y="0"/>
                      </a:moveTo>
                      <a:cubicBezTo>
                        <a:pt x="0" y="0"/>
                        <a:pt x="0" y="16"/>
                        <a:pt x="0" y="21"/>
                      </a:cubicBezTo>
                      <a:cubicBezTo>
                        <a:pt x="0" y="20"/>
                        <a:pt x="1" y="19"/>
                        <a:pt x="1" y="18"/>
                      </a:cubicBezTo>
                      <a:cubicBezTo>
                        <a:pt x="1" y="1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19" name="Freeform 1034"/>
                <p:cNvSpPr>
                  <a:spLocks/>
                </p:cNvSpPr>
                <p:nvPr/>
              </p:nvSpPr>
              <p:spPr bwMode="auto">
                <a:xfrm>
                  <a:off x="12574" y="877"/>
                  <a:ext cx="2" cy="69"/>
                </a:xfrm>
                <a:custGeom>
                  <a:avLst/>
                  <a:gdLst>
                    <a:gd name="T0" fmla="*/ 1 w 1"/>
                    <a:gd name="T1" fmla="*/ 0 h 29"/>
                    <a:gd name="T2" fmla="*/ 1 w 1"/>
                    <a:gd name="T3" fmla="*/ 29 h 29"/>
                    <a:gd name="T4" fmla="*/ 1 w 1"/>
                    <a:gd name="T5" fmla="*/ 0 h 29"/>
                    <a:gd name="T6" fmla="*/ 1 w 1"/>
                    <a:gd name="T7" fmla="*/ 0 h 29"/>
                  </a:gdLst>
                  <a:ahLst/>
                  <a:cxnLst>
                    <a:cxn ang="0">
                      <a:pos x="T0" y="T1"/>
                    </a:cxn>
                    <a:cxn ang="0">
                      <a:pos x="T2" y="T3"/>
                    </a:cxn>
                    <a:cxn ang="0">
                      <a:pos x="T4" y="T5"/>
                    </a:cxn>
                    <a:cxn ang="0">
                      <a:pos x="T6" y="T7"/>
                    </a:cxn>
                  </a:cxnLst>
                  <a:rect l="0" t="0" r="r" b="b"/>
                  <a:pathLst>
                    <a:path w="1" h="29">
                      <a:moveTo>
                        <a:pt x="1" y="0"/>
                      </a:moveTo>
                      <a:cubicBezTo>
                        <a:pt x="0" y="9"/>
                        <a:pt x="1" y="19"/>
                        <a:pt x="1" y="29"/>
                      </a:cubicBezTo>
                      <a:cubicBezTo>
                        <a:pt x="1" y="20"/>
                        <a:pt x="1" y="5"/>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20" name="Freeform 1035"/>
                <p:cNvSpPr>
                  <a:spLocks/>
                </p:cNvSpPr>
                <p:nvPr/>
              </p:nvSpPr>
              <p:spPr bwMode="auto">
                <a:xfrm>
                  <a:off x="14493" y="1802"/>
                  <a:ext cx="0" cy="3"/>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0"/>
                        <a:pt x="0" y="0"/>
                        <a:pt x="0" y="0"/>
                      </a:cubicBezTo>
                      <a:cubicBezTo>
                        <a:pt x="0" y="0"/>
                        <a:pt x="0" y="0"/>
                        <a:pt x="0"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21" name="Freeform 1036"/>
                <p:cNvSpPr>
                  <a:spLocks/>
                </p:cNvSpPr>
                <p:nvPr/>
              </p:nvSpPr>
              <p:spPr bwMode="auto">
                <a:xfrm>
                  <a:off x="14498" y="1459"/>
                  <a:ext cx="2" cy="5"/>
                </a:xfrm>
                <a:custGeom>
                  <a:avLst/>
                  <a:gdLst>
                    <a:gd name="T0" fmla="*/ 0 w 1"/>
                    <a:gd name="T1" fmla="*/ 0 h 2"/>
                    <a:gd name="T2" fmla="*/ 0 w 1"/>
                    <a:gd name="T3" fmla="*/ 2 h 2"/>
                    <a:gd name="T4" fmla="*/ 1 w 1"/>
                    <a:gd name="T5" fmla="*/ 1 h 2"/>
                    <a:gd name="T6" fmla="*/ 1 w 1"/>
                    <a:gd name="T7" fmla="*/ 1 h 2"/>
                    <a:gd name="T8" fmla="*/ 1 w 1"/>
                    <a:gd name="T9" fmla="*/ 0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cubicBezTo>
                        <a:pt x="0" y="0"/>
                        <a:pt x="0" y="1"/>
                        <a:pt x="0" y="2"/>
                      </a:cubicBezTo>
                      <a:cubicBezTo>
                        <a:pt x="0" y="1"/>
                        <a:pt x="0" y="1"/>
                        <a:pt x="1" y="1"/>
                      </a:cubicBezTo>
                      <a:cubicBezTo>
                        <a:pt x="1" y="1"/>
                        <a:pt x="1" y="1"/>
                        <a:pt x="1" y="1"/>
                      </a:cubicBez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22" name="Freeform 1037"/>
                <p:cNvSpPr>
                  <a:spLocks/>
                </p:cNvSpPr>
                <p:nvPr/>
              </p:nvSpPr>
              <p:spPr bwMode="auto">
                <a:xfrm>
                  <a:off x="13490" y="2191"/>
                  <a:ext cx="2" cy="23"/>
                </a:xfrm>
                <a:custGeom>
                  <a:avLst/>
                  <a:gdLst>
                    <a:gd name="T0" fmla="*/ 0 w 1"/>
                    <a:gd name="T1" fmla="*/ 0 h 10"/>
                    <a:gd name="T2" fmla="*/ 0 w 1"/>
                    <a:gd name="T3" fmla="*/ 9 h 10"/>
                    <a:gd name="T4" fmla="*/ 1 w 1"/>
                    <a:gd name="T5" fmla="*/ 10 h 10"/>
                    <a:gd name="T6" fmla="*/ 1 w 1"/>
                    <a:gd name="T7" fmla="*/ 0 h 10"/>
                    <a:gd name="T8" fmla="*/ 0 w 1"/>
                    <a:gd name="T9" fmla="*/ 0 h 10"/>
                  </a:gdLst>
                  <a:ahLst/>
                  <a:cxnLst>
                    <a:cxn ang="0">
                      <a:pos x="T0" y="T1"/>
                    </a:cxn>
                    <a:cxn ang="0">
                      <a:pos x="T2" y="T3"/>
                    </a:cxn>
                    <a:cxn ang="0">
                      <a:pos x="T4" y="T5"/>
                    </a:cxn>
                    <a:cxn ang="0">
                      <a:pos x="T6" y="T7"/>
                    </a:cxn>
                    <a:cxn ang="0">
                      <a:pos x="T8" y="T9"/>
                    </a:cxn>
                  </a:cxnLst>
                  <a:rect l="0" t="0" r="r" b="b"/>
                  <a:pathLst>
                    <a:path w="1" h="10">
                      <a:moveTo>
                        <a:pt x="0" y="0"/>
                      </a:moveTo>
                      <a:cubicBezTo>
                        <a:pt x="0" y="0"/>
                        <a:pt x="0" y="5"/>
                        <a:pt x="0" y="9"/>
                      </a:cubicBezTo>
                      <a:cubicBezTo>
                        <a:pt x="0" y="9"/>
                        <a:pt x="0" y="9"/>
                        <a:pt x="1" y="10"/>
                      </a:cubicBezTo>
                      <a:cubicBezTo>
                        <a:pt x="1" y="4"/>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23" name="Freeform 1038"/>
                <p:cNvSpPr>
                  <a:spLocks/>
                </p:cNvSpPr>
                <p:nvPr/>
              </p:nvSpPr>
              <p:spPr bwMode="auto">
                <a:xfrm>
                  <a:off x="13620" y="2191"/>
                  <a:ext cx="2" cy="9"/>
                </a:xfrm>
                <a:custGeom>
                  <a:avLst/>
                  <a:gdLst>
                    <a:gd name="T0" fmla="*/ 0 w 1"/>
                    <a:gd name="T1" fmla="*/ 0 h 4"/>
                    <a:gd name="T2" fmla="*/ 0 w 1"/>
                    <a:gd name="T3" fmla="*/ 4 h 4"/>
                    <a:gd name="T4" fmla="*/ 1 w 1"/>
                    <a:gd name="T5" fmla="*/ 4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2"/>
                        <a:pt x="0" y="4"/>
                      </a:cubicBezTo>
                      <a:cubicBezTo>
                        <a:pt x="1" y="4"/>
                        <a:pt x="1" y="4"/>
                        <a:pt x="1" y="4"/>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24" name="Freeform 1039"/>
                <p:cNvSpPr>
                  <a:spLocks/>
                </p:cNvSpPr>
                <p:nvPr/>
              </p:nvSpPr>
              <p:spPr bwMode="auto">
                <a:xfrm>
                  <a:off x="12276" y="1310"/>
                  <a:ext cx="9" cy="17"/>
                </a:xfrm>
                <a:custGeom>
                  <a:avLst/>
                  <a:gdLst>
                    <a:gd name="T0" fmla="*/ 0 w 4"/>
                    <a:gd name="T1" fmla="*/ 0 h 7"/>
                    <a:gd name="T2" fmla="*/ 1 w 4"/>
                    <a:gd name="T3" fmla="*/ 1 h 7"/>
                    <a:gd name="T4" fmla="*/ 4 w 4"/>
                    <a:gd name="T5" fmla="*/ 7 h 7"/>
                    <a:gd name="T6" fmla="*/ 1 w 4"/>
                    <a:gd name="T7" fmla="*/ 0 h 7"/>
                    <a:gd name="T8" fmla="*/ 0 w 4"/>
                    <a:gd name="T9" fmla="*/ 0 h 7"/>
                  </a:gdLst>
                  <a:ahLst/>
                  <a:cxnLst>
                    <a:cxn ang="0">
                      <a:pos x="T0" y="T1"/>
                    </a:cxn>
                    <a:cxn ang="0">
                      <a:pos x="T2" y="T3"/>
                    </a:cxn>
                    <a:cxn ang="0">
                      <a:pos x="T4" y="T5"/>
                    </a:cxn>
                    <a:cxn ang="0">
                      <a:pos x="T6" y="T7"/>
                    </a:cxn>
                    <a:cxn ang="0">
                      <a:pos x="T8" y="T9"/>
                    </a:cxn>
                  </a:cxnLst>
                  <a:rect l="0" t="0" r="r" b="b"/>
                  <a:pathLst>
                    <a:path w="4" h="7">
                      <a:moveTo>
                        <a:pt x="0" y="0"/>
                      </a:moveTo>
                      <a:cubicBezTo>
                        <a:pt x="0" y="0"/>
                        <a:pt x="0" y="0"/>
                        <a:pt x="1" y="1"/>
                      </a:cubicBezTo>
                      <a:cubicBezTo>
                        <a:pt x="1" y="3"/>
                        <a:pt x="2" y="5"/>
                        <a:pt x="4" y="7"/>
                      </a:cubicBezTo>
                      <a:cubicBezTo>
                        <a:pt x="3" y="4"/>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25" name="Freeform 1040"/>
                <p:cNvSpPr>
                  <a:spLocks/>
                </p:cNvSpPr>
                <p:nvPr/>
              </p:nvSpPr>
              <p:spPr bwMode="auto">
                <a:xfrm>
                  <a:off x="13651" y="2191"/>
                  <a:ext cx="4" cy="11"/>
                </a:xfrm>
                <a:custGeom>
                  <a:avLst/>
                  <a:gdLst>
                    <a:gd name="T0" fmla="*/ 0 w 2"/>
                    <a:gd name="T1" fmla="*/ 0 h 5"/>
                    <a:gd name="T2" fmla="*/ 0 w 2"/>
                    <a:gd name="T3" fmla="*/ 5 h 5"/>
                    <a:gd name="T4" fmla="*/ 2 w 2"/>
                    <a:gd name="T5" fmla="*/ 5 h 5"/>
                    <a:gd name="T6" fmla="*/ 2 w 2"/>
                    <a:gd name="T7" fmla="*/ 0 h 5"/>
                    <a:gd name="T8" fmla="*/ 0 w 2"/>
                    <a:gd name="T9" fmla="*/ 0 h 5"/>
                  </a:gdLst>
                  <a:ahLst/>
                  <a:cxnLst>
                    <a:cxn ang="0">
                      <a:pos x="T0" y="T1"/>
                    </a:cxn>
                    <a:cxn ang="0">
                      <a:pos x="T2" y="T3"/>
                    </a:cxn>
                    <a:cxn ang="0">
                      <a:pos x="T4" y="T5"/>
                    </a:cxn>
                    <a:cxn ang="0">
                      <a:pos x="T6" y="T7"/>
                    </a:cxn>
                    <a:cxn ang="0">
                      <a:pos x="T8" y="T9"/>
                    </a:cxn>
                  </a:cxnLst>
                  <a:rect l="0" t="0" r="r" b="b"/>
                  <a:pathLst>
                    <a:path w="2" h="5">
                      <a:moveTo>
                        <a:pt x="0" y="0"/>
                      </a:moveTo>
                      <a:cubicBezTo>
                        <a:pt x="0" y="0"/>
                        <a:pt x="0" y="2"/>
                        <a:pt x="0" y="5"/>
                      </a:cubicBezTo>
                      <a:cubicBezTo>
                        <a:pt x="1" y="5"/>
                        <a:pt x="1" y="5"/>
                        <a:pt x="2" y="5"/>
                      </a:cubicBezTo>
                      <a:cubicBezTo>
                        <a:pt x="2" y="2"/>
                        <a:pt x="2" y="0"/>
                        <a:pt x="2"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26" name="Freeform 1041"/>
                <p:cNvSpPr>
                  <a:spLocks/>
                </p:cNvSpPr>
                <p:nvPr/>
              </p:nvSpPr>
              <p:spPr bwMode="auto">
                <a:xfrm>
                  <a:off x="13712" y="2188"/>
                  <a:ext cx="5" cy="10"/>
                </a:xfrm>
                <a:custGeom>
                  <a:avLst/>
                  <a:gdLst>
                    <a:gd name="T0" fmla="*/ 0 w 2"/>
                    <a:gd name="T1" fmla="*/ 0 h 4"/>
                    <a:gd name="T2" fmla="*/ 1 w 2"/>
                    <a:gd name="T3" fmla="*/ 4 h 4"/>
                    <a:gd name="T4" fmla="*/ 2 w 2"/>
                    <a:gd name="T5" fmla="*/ 3 h 4"/>
                    <a:gd name="T6" fmla="*/ 1 w 2"/>
                    <a:gd name="T7" fmla="*/ 0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cubicBezTo>
                        <a:pt x="0" y="0"/>
                        <a:pt x="0" y="0"/>
                        <a:pt x="1" y="4"/>
                      </a:cubicBezTo>
                      <a:cubicBezTo>
                        <a:pt x="1" y="3"/>
                        <a:pt x="1" y="3"/>
                        <a:pt x="2" y="3"/>
                      </a:cubicBezTo>
                      <a:cubicBezTo>
                        <a:pt x="1"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27" name="Freeform 1042"/>
                <p:cNvSpPr>
                  <a:spLocks/>
                </p:cNvSpPr>
                <p:nvPr/>
              </p:nvSpPr>
              <p:spPr bwMode="auto">
                <a:xfrm>
                  <a:off x="13681" y="2188"/>
                  <a:ext cx="7" cy="19"/>
                </a:xfrm>
                <a:custGeom>
                  <a:avLst/>
                  <a:gdLst>
                    <a:gd name="T0" fmla="*/ 2 w 3"/>
                    <a:gd name="T1" fmla="*/ 0 h 8"/>
                    <a:gd name="T2" fmla="*/ 0 w 3"/>
                    <a:gd name="T3" fmla="*/ 8 h 8"/>
                    <a:gd name="T4" fmla="*/ 1 w 3"/>
                    <a:gd name="T5" fmla="*/ 8 h 8"/>
                    <a:gd name="T6" fmla="*/ 3 w 3"/>
                    <a:gd name="T7" fmla="*/ 0 h 8"/>
                    <a:gd name="T8" fmla="*/ 2 w 3"/>
                    <a:gd name="T9" fmla="*/ 0 h 8"/>
                  </a:gdLst>
                  <a:ahLst/>
                  <a:cxnLst>
                    <a:cxn ang="0">
                      <a:pos x="T0" y="T1"/>
                    </a:cxn>
                    <a:cxn ang="0">
                      <a:pos x="T2" y="T3"/>
                    </a:cxn>
                    <a:cxn ang="0">
                      <a:pos x="T4" y="T5"/>
                    </a:cxn>
                    <a:cxn ang="0">
                      <a:pos x="T6" y="T7"/>
                    </a:cxn>
                    <a:cxn ang="0">
                      <a:pos x="T8" y="T9"/>
                    </a:cxn>
                  </a:cxnLst>
                  <a:rect l="0" t="0" r="r" b="b"/>
                  <a:pathLst>
                    <a:path w="3" h="8">
                      <a:moveTo>
                        <a:pt x="2" y="0"/>
                      </a:moveTo>
                      <a:cubicBezTo>
                        <a:pt x="2" y="0"/>
                        <a:pt x="1" y="4"/>
                        <a:pt x="0" y="8"/>
                      </a:cubicBezTo>
                      <a:cubicBezTo>
                        <a:pt x="0" y="8"/>
                        <a:pt x="0" y="8"/>
                        <a:pt x="1" y="8"/>
                      </a:cubicBezTo>
                      <a:cubicBezTo>
                        <a:pt x="2" y="6"/>
                        <a:pt x="2" y="3"/>
                        <a:pt x="3" y="0"/>
                      </a:cubicBezTo>
                      <a:cubicBezTo>
                        <a:pt x="3" y="0"/>
                        <a:pt x="3"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28" name="Freeform 1043"/>
                <p:cNvSpPr>
                  <a:spLocks/>
                </p:cNvSpPr>
                <p:nvPr/>
              </p:nvSpPr>
              <p:spPr bwMode="auto">
                <a:xfrm>
                  <a:off x="13584" y="2188"/>
                  <a:ext cx="26" cy="66"/>
                </a:xfrm>
                <a:custGeom>
                  <a:avLst/>
                  <a:gdLst>
                    <a:gd name="T0" fmla="*/ 4 w 11"/>
                    <a:gd name="T1" fmla="*/ 13 h 28"/>
                    <a:gd name="T2" fmla="*/ 1 w 11"/>
                    <a:gd name="T3" fmla="*/ 0 h 28"/>
                    <a:gd name="T4" fmla="*/ 0 w 11"/>
                    <a:gd name="T5" fmla="*/ 0 h 28"/>
                    <a:gd name="T6" fmla="*/ 6 w 11"/>
                    <a:gd name="T7" fmla="*/ 22 h 28"/>
                    <a:gd name="T8" fmla="*/ 0 w 11"/>
                    <a:gd name="T9" fmla="*/ 22 h 28"/>
                    <a:gd name="T10" fmla="*/ 0 w 11"/>
                    <a:gd name="T11" fmla="*/ 28 h 28"/>
                    <a:gd name="T12" fmla="*/ 11 w 11"/>
                    <a:gd name="T13" fmla="*/ 24 h 28"/>
                    <a:gd name="T14" fmla="*/ 5 w 11"/>
                    <a:gd name="T15" fmla="*/ 14 h 28"/>
                    <a:gd name="T16" fmla="*/ 5 w 11"/>
                    <a:gd name="T17" fmla="*/ 14 h 28"/>
                    <a:gd name="T18" fmla="*/ 4 w 11"/>
                    <a:gd name="T19" fmla="*/ 1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8">
                      <a:moveTo>
                        <a:pt x="4" y="13"/>
                      </a:moveTo>
                      <a:cubicBezTo>
                        <a:pt x="4" y="12"/>
                        <a:pt x="1" y="0"/>
                        <a:pt x="1" y="0"/>
                      </a:cubicBezTo>
                      <a:cubicBezTo>
                        <a:pt x="1" y="0"/>
                        <a:pt x="1" y="0"/>
                        <a:pt x="0" y="0"/>
                      </a:cubicBezTo>
                      <a:cubicBezTo>
                        <a:pt x="0" y="0"/>
                        <a:pt x="0" y="0"/>
                        <a:pt x="6" y="22"/>
                      </a:cubicBezTo>
                      <a:cubicBezTo>
                        <a:pt x="6" y="22"/>
                        <a:pt x="6" y="22"/>
                        <a:pt x="0" y="22"/>
                      </a:cubicBezTo>
                      <a:cubicBezTo>
                        <a:pt x="0" y="24"/>
                        <a:pt x="0" y="26"/>
                        <a:pt x="0" y="28"/>
                      </a:cubicBezTo>
                      <a:cubicBezTo>
                        <a:pt x="4" y="28"/>
                        <a:pt x="7" y="27"/>
                        <a:pt x="11" y="24"/>
                      </a:cubicBezTo>
                      <a:cubicBezTo>
                        <a:pt x="9" y="22"/>
                        <a:pt x="7" y="17"/>
                        <a:pt x="5" y="14"/>
                      </a:cubicBezTo>
                      <a:cubicBezTo>
                        <a:pt x="5" y="14"/>
                        <a:pt x="5" y="14"/>
                        <a:pt x="5" y="14"/>
                      </a:cubicBezTo>
                      <a:cubicBezTo>
                        <a:pt x="5" y="14"/>
                        <a:pt x="5" y="13"/>
                        <a:pt x="4"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29" name="Freeform 1044"/>
                <p:cNvSpPr>
                  <a:spLocks/>
                </p:cNvSpPr>
                <p:nvPr/>
              </p:nvSpPr>
              <p:spPr bwMode="auto">
                <a:xfrm>
                  <a:off x="13570" y="2240"/>
                  <a:ext cx="2" cy="14"/>
                </a:xfrm>
                <a:custGeom>
                  <a:avLst/>
                  <a:gdLst>
                    <a:gd name="T0" fmla="*/ 0 w 1"/>
                    <a:gd name="T1" fmla="*/ 0 h 6"/>
                    <a:gd name="T2" fmla="*/ 0 w 1"/>
                    <a:gd name="T3" fmla="*/ 5 h 6"/>
                    <a:gd name="T4" fmla="*/ 1 w 1"/>
                    <a:gd name="T5" fmla="*/ 6 h 6"/>
                    <a:gd name="T6" fmla="*/ 1 w 1"/>
                    <a:gd name="T7" fmla="*/ 0 h 6"/>
                    <a:gd name="T8" fmla="*/ 0 w 1"/>
                    <a:gd name="T9" fmla="*/ 0 h 6"/>
                  </a:gdLst>
                  <a:ahLst/>
                  <a:cxnLst>
                    <a:cxn ang="0">
                      <a:pos x="T0" y="T1"/>
                    </a:cxn>
                    <a:cxn ang="0">
                      <a:pos x="T2" y="T3"/>
                    </a:cxn>
                    <a:cxn ang="0">
                      <a:pos x="T4" y="T5"/>
                    </a:cxn>
                    <a:cxn ang="0">
                      <a:pos x="T6" y="T7"/>
                    </a:cxn>
                    <a:cxn ang="0">
                      <a:pos x="T8" y="T9"/>
                    </a:cxn>
                  </a:cxnLst>
                  <a:rect l="0" t="0" r="r" b="b"/>
                  <a:pathLst>
                    <a:path w="1" h="6">
                      <a:moveTo>
                        <a:pt x="0" y="0"/>
                      </a:moveTo>
                      <a:cubicBezTo>
                        <a:pt x="0" y="0"/>
                        <a:pt x="0" y="2"/>
                        <a:pt x="0" y="5"/>
                      </a:cubicBezTo>
                      <a:cubicBezTo>
                        <a:pt x="1" y="5"/>
                        <a:pt x="1" y="5"/>
                        <a:pt x="1" y="6"/>
                      </a:cubicBezTo>
                      <a:cubicBezTo>
                        <a:pt x="1" y="2"/>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30" name="Freeform 1045"/>
                <p:cNvSpPr>
                  <a:spLocks/>
                </p:cNvSpPr>
                <p:nvPr/>
              </p:nvSpPr>
              <p:spPr bwMode="auto">
                <a:xfrm>
                  <a:off x="12330" y="1350"/>
                  <a:ext cx="2" cy="48"/>
                </a:xfrm>
                <a:custGeom>
                  <a:avLst/>
                  <a:gdLst>
                    <a:gd name="T0" fmla="*/ 0 w 1"/>
                    <a:gd name="T1" fmla="*/ 0 h 20"/>
                    <a:gd name="T2" fmla="*/ 0 w 1"/>
                    <a:gd name="T3" fmla="*/ 19 h 20"/>
                    <a:gd name="T4" fmla="*/ 1 w 1"/>
                    <a:gd name="T5" fmla="*/ 20 h 20"/>
                    <a:gd name="T6" fmla="*/ 1 w 1"/>
                    <a:gd name="T7" fmla="*/ 0 h 20"/>
                    <a:gd name="T8" fmla="*/ 0 w 1"/>
                    <a:gd name="T9" fmla="*/ 0 h 20"/>
                  </a:gdLst>
                  <a:ahLst/>
                  <a:cxnLst>
                    <a:cxn ang="0">
                      <a:pos x="T0" y="T1"/>
                    </a:cxn>
                    <a:cxn ang="0">
                      <a:pos x="T2" y="T3"/>
                    </a:cxn>
                    <a:cxn ang="0">
                      <a:pos x="T4" y="T5"/>
                    </a:cxn>
                    <a:cxn ang="0">
                      <a:pos x="T6" y="T7"/>
                    </a:cxn>
                    <a:cxn ang="0">
                      <a:pos x="T8" y="T9"/>
                    </a:cxn>
                  </a:cxnLst>
                  <a:rect l="0" t="0" r="r" b="b"/>
                  <a:pathLst>
                    <a:path w="1" h="20">
                      <a:moveTo>
                        <a:pt x="0" y="0"/>
                      </a:moveTo>
                      <a:cubicBezTo>
                        <a:pt x="0" y="0"/>
                        <a:pt x="0" y="13"/>
                        <a:pt x="0" y="19"/>
                      </a:cubicBezTo>
                      <a:cubicBezTo>
                        <a:pt x="0" y="19"/>
                        <a:pt x="0" y="19"/>
                        <a:pt x="1" y="20"/>
                      </a:cubicBezTo>
                      <a:cubicBezTo>
                        <a:pt x="1" y="1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31" name="Freeform 1046"/>
                <p:cNvSpPr>
                  <a:spLocks/>
                </p:cNvSpPr>
                <p:nvPr/>
              </p:nvSpPr>
              <p:spPr bwMode="auto">
                <a:xfrm>
                  <a:off x="13830" y="2240"/>
                  <a:ext cx="3" cy="3"/>
                </a:xfrm>
                <a:custGeom>
                  <a:avLst/>
                  <a:gdLst>
                    <a:gd name="T0" fmla="*/ 0 w 1"/>
                    <a:gd name="T1" fmla="*/ 0 h 1"/>
                    <a:gd name="T2" fmla="*/ 0 w 1"/>
                    <a:gd name="T3" fmla="*/ 1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1"/>
                      </a:cubicBezTo>
                      <a:cubicBezTo>
                        <a:pt x="0" y="1"/>
                        <a:pt x="1" y="1"/>
                        <a:pt x="1" y="1"/>
                      </a:cubicBezTo>
                      <a:cubicBezTo>
                        <a:pt x="1" y="0"/>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32" name="Freeform 1047"/>
                <p:cNvSpPr>
                  <a:spLocks/>
                </p:cNvSpPr>
                <p:nvPr/>
              </p:nvSpPr>
              <p:spPr bwMode="auto">
                <a:xfrm>
                  <a:off x="14093" y="2240"/>
                  <a:ext cx="2" cy="10"/>
                </a:xfrm>
                <a:custGeom>
                  <a:avLst/>
                  <a:gdLst>
                    <a:gd name="T0" fmla="*/ 0 w 1"/>
                    <a:gd name="T1" fmla="*/ 0 h 4"/>
                    <a:gd name="T2" fmla="*/ 0 w 1"/>
                    <a:gd name="T3" fmla="*/ 4 h 4"/>
                    <a:gd name="T4" fmla="*/ 1 w 1"/>
                    <a:gd name="T5" fmla="*/ 3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1"/>
                        <a:pt x="0" y="4"/>
                      </a:cubicBezTo>
                      <a:cubicBezTo>
                        <a:pt x="0" y="3"/>
                        <a:pt x="0" y="3"/>
                        <a:pt x="1" y="3"/>
                      </a:cubicBezTo>
                      <a:cubicBezTo>
                        <a:pt x="1"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33" name="Freeform 1048"/>
                <p:cNvSpPr>
                  <a:spLocks/>
                </p:cNvSpPr>
                <p:nvPr/>
              </p:nvSpPr>
              <p:spPr bwMode="auto">
                <a:xfrm>
                  <a:off x="14233" y="2188"/>
                  <a:ext cx="9" cy="26"/>
                </a:xfrm>
                <a:custGeom>
                  <a:avLst/>
                  <a:gdLst>
                    <a:gd name="T0" fmla="*/ 0 w 4"/>
                    <a:gd name="T1" fmla="*/ 0 h 11"/>
                    <a:gd name="T2" fmla="*/ 3 w 4"/>
                    <a:gd name="T3" fmla="*/ 11 h 11"/>
                    <a:gd name="T4" fmla="*/ 4 w 4"/>
                    <a:gd name="T5" fmla="*/ 10 h 11"/>
                    <a:gd name="T6" fmla="*/ 1 w 4"/>
                    <a:gd name="T7" fmla="*/ 0 h 11"/>
                    <a:gd name="T8" fmla="*/ 0 w 4"/>
                    <a:gd name="T9" fmla="*/ 0 h 11"/>
                  </a:gdLst>
                  <a:ahLst/>
                  <a:cxnLst>
                    <a:cxn ang="0">
                      <a:pos x="T0" y="T1"/>
                    </a:cxn>
                    <a:cxn ang="0">
                      <a:pos x="T2" y="T3"/>
                    </a:cxn>
                    <a:cxn ang="0">
                      <a:pos x="T4" y="T5"/>
                    </a:cxn>
                    <a:cxn ang="0">
                      <a:pos x="T6" y="T7"/>
                    </a:cxn>
                    <a:cxn ang="0">
                      <a:pos x="T8" y="T9"/>
                    </a:cxn>
                  </a:cxnLst>
                  <a:rect l="0" t="0" r="r" b="b"/>
                  <a:pathLst>
                    <a:path w="4" h="11">
                      <a:moveTo>
                        <a:pt x="0" y="0"/>
                      </a:moveTo>
                      <a:cubicBezTo>
                        <a:pt x="0" y="0"/>
                        <a:pt x="0" y="0"/>
                        <a:pt x="3" y="11"/>
                      </a:cubicBezTo>
                      <a:cubicBezTo>
                        <a:pt x="4" y="10"/>
                        <a:pt x="4" y="10"/>
                        <a:pt x="4" y="10"/>
                      </a:cubicBezTo>
                      <a:cubicBezTo>
                        <a:pt x="3" y="6"/>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34" name="Freeform 1049"/>
                <p:cNvSpPr>
                  <a:spLocks/>
                </p:cNvSpPr>
                <p:nvPr/>
              </p:nvSpPr>
              <p:spPr bwMode="auto">
                <a:xfrm>
                  <a:off x="14157" y="2226"/>
                  <a:ext cx="2" cy="9"/>
                </a:xfrm>
                <a:custGeom>
                  <a:avLst/>
                  <a:gdLst>
                    <a:gd name="T0" fmla="*/ 0 w 1"/>
                    <a:gd name="T1" fmla="*/ 0 h 4"/>
                    <a:gd name="T2" fmla="*/ 0 w 1"/>
                    <a:gd name="T3" fmla="*/ 4 h 4"/>
                    <a:gd name="T4" fmla="*/ 1 w 1"/>
                    <a:gd name="T5" fmla="*/ 3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2"/>
                        <a:pt x="0" y="4"/>
                      </a:cubicBezTo>
                      <a:cubicBezTo>
                        <a:pt x="1" y="4"/>
                        <a:pt x="1" y="4"/>
                        <a:pt x="1" y="3"/>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35" name="Freeform 1050"/>
                <p:cNvSpPr>
                  <a:spLocks/>
                </p:cNvSpPr>
                <p:nvPr/>
              </p:nvSpPr>
              <p:spPr bwMode="auto">
                <a:xfrm>
                  <a:off x="14271" y="2191"/>
                  <a:ext cx="2" cy="11"/>
                </a:xfrm>
                <a:custGeom>
                  <a:avLst/>
                  <a:gdLst>
                    <a:gd name="T0" fmla="*/ 0 w 1"/>
                    <a:gd name="T1" fmla="*/ 0 h 5"/>
                    <a:gd name="T2" fmla="*/ 0 w 1"/>
                    <a:gd name="T3" fmla="*/ 5 h 5"/>
                    <a:gd name="T4" fmla="*/ 1 w 1"/>
                    <a:gd name="T5" fmla="*/ 5 h 5"/>
                    <a:gd name="T6" fmla="*/ 1 w 1"/>
                    <a:gd name="T7" fmla="*/ 0 h 5"/>
                    <a:gd name="T8" fmla="*/ 0 w 1"/>
                    <a:gd name="T9" fmla="*/ 0 h 5"/>
                  </a:gdLst>
                  <a:ahLst/>
                  <a:cxnLst>
                    <a:cxn ang="0">
                      <a:pos x="T0" y="T1"/>
                    </a:cxn>
                    <a:cxn ang="0">
                      <a:pos x="T2" y="T3"/>
                    </a:cxn>
                    <a:cxn ang="0">
                      <a:pos x="T4" y="T5"/>
                    </a:cxn>
                    <a:cxn ang="0">
                      <a:pos x="T6" y="T7"/>
                    </a:cxn>
                    <a:cxn ang="0">
                      <a:pos x="T8" y="T9"/>
                    </a:cxn>
                  </a:cxnLst>
                  <a:rect l="0" t="0" r="r" b="b"/>
                  <a:pathLst>
                    <a:path w="1" h="5">
                      <a:moveTo>
                        <a:pt x="0" y="0"/>
                      </a:moveTo>
                      <a:cubicBezTo>
                        <a:pt x="0" y="0"/>
                        <a:pt x="0" y="3"/>
                        <a:pt x="0" y="5"/>
                      </a:cubicBezTo>
                      <a:cubicBezTo>
                        <a:pt x="0" y="5"/>
                        <a:pt x="1" y="5"/>
                        <a:pt x="1" y="5"/>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36" name="Freeform 1051"/>
                <p:cNvSpPr>
                  <a:spLocks/>
                </p:cNvSpPr>
                <p:nvPr/>
              </p:nvSpPr>
              <p:spPr bwMode="auto">
                <a:xfrm>
                  <a:off x="12411" y="1459"/>
                  <a:ext cx="2" cy="5"/>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1"/>
                      </a:cubicBezTo>
                      <a:cubicBezTo>
                        <a:pt x="0" y="1"/>
                        <a:pt x="1" y="1"/>
                        <a:pt x="1" y="2"/>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37" name="Freeform 1052"/>
                <p:cNvSpPr>
                  <a:spLocks/>
                </p:cNvSpPr>
                <p:nvPr/>
              </p:nvSpPr>
              <p:spPr bwMode="auto">
                <a:xfrm>
                  <a:off x="14027" y="2226"/>
                  <a:ext cx="2" cy="35"/>
                </a:xfrm>
                <a:custGeom>
                  <a:avLst/>
                  <a:gdLst>
                    <a:gd name="T0" fmla="*/ 0 w 1"/>
                    <a:gd name="T1" fmla="*/ 0 h 15"/>
                    <a:gd name="T2" fmla="*/ 0 w 1"/>
                    <a:gd name="T3" fmla="*/ 15 h 15"/>
                    <a:gd name="T4" fmla="*/ 1 w 1"/>
                    <a:gd name="T5" fmla="*/ 15 h 15"/>
                    <a:gd name="T6" fmla="*/ 1 w 1"/>
                    <a:gd name="T7" fmla="*/ 0 h 15"/>
                    <a:gd name="T8" fmla="*/ 0 w 1"/>
                    <a:gd name="T9" fmla="*/ 0 h 15"/>
                  </a:gdLst>
                  <a:ahLst/>
                  <a:cxnLst>
                    <a:cxn ang="0">
                      <a:pos x="T0" y="T1"/>
                    </a:cxn>
                    <a:cxn ang="0">
                      <a:pos x="T2" y="T3"/>
                    </a:cxn>
                    <a:cxn ang="0">
                      <a:pos x="T4" y="T5"/>
                    </a:cxn>
                    <a:cxn ang="0">
                      <a:pos x="T6" y="T7"/>
                    </a:cxn>
                    <a:cxn ang="0">
                      <a:pos x="T8" y="T9"/>
                    </a:cxn>
                  </a:cxnLst>
                  <a:rect l="0" t="0" r="r" b="b"/>
                  <a:pathLst>
                    <a:path w="1" h="15">
                      <a:moveTo>
                        <a:pt x="0" y="0"/>
                      </a:moveTo>
                      <a:cubicBezTo>
                        <a:pt x="0" y="0"/>
                        <a:pt x="0" y="9"/>
                        <a:pt x="0" y="15"/>
                      </a:cubicBezTo>
                      <a:cubicBezTo>
                        <a:pt x="0" y="15"/>
                        <a:pt x="1" y="15"/>
                        <a:pt x="1" y="15"/>
                      </a:cubicBezTo>
                      <a:cubicBezTo>
                        <a:pt x="1" y="9"/>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38" name="Freeform 1053"/>
                <p:cNvSpPr>
                  <a:spLocks/>
                </p:cNvSpPr>
                <p:nvPr/>
              </p:nvSpPr>
              <p:spPr bwMode="auto">
                <a:xfrm>
                  <a:off x="13804" y="2188"/>
                  <a:ext cx="17" cy="38"/>
                </a:xfrm>
                <a:custGeom>
                  <a:avLst/>
                  <a:gdLst>
                    <a:gd name="T0" fmla="*/ 5 w 7"/>
                    <a:gd name="T1" fmla="*/ 0 h 16"/>
                    <a:gd name="T2" fmla="*/ 2 w 7"/>
                    <a:gd name="T3" fmla="*/ 13 h 16"/>
                    <a:gd name="T4" fmla="*/ 0 w 7"/>
                    <a:gd name="T5" fmla="*/ 14 h 16"/>
                    <a:gd name="T6" fmla="*/ 2 w 7"/>
                    <a:gd name="T7" fmla="*/ 16 h 16"/>
                    <a:gd name="T8" fmla="*/ 7 w 7"/>
                    <a:gd name="T9" fmla="*/ 0 h 16"/>
                    <a:gd name="T10" fmla="*/ 5 w 7"/>
                    <a:gd name="T11" fmla="*/ 0 h 16"/>
                  </a:gdLst>
                  <a:ahLst/>
                  <a:cxnLst>
                    <a:cxn ang="0">
                      <a:pos x="T0" y="T1"/>
                    </a:cxn>
                    <a:cxn ang="0">
                      <a:pos x="T2" y="T3"/>
                    </a:cxn>
                    <a:cxn ang="0">
                      <a:pos x="T4" y="T5"/>
                    </a:cxn>
                    <a:cxn ang="0">
                      <a:pos x="T6" y="T7"/>
                    </a:cxn>
                    <a:cxn ang="0">
                      <a:pos x="T8" y="T9"/>
                    </a:cxn>
                    <a:cxn ang="0">
                      <a:pos x="T10" y="T11"/>
                    </a:cxn>
                  </a:cxnLst>
                  <a:rect l="0" t="0" r="r" b="b"/>
                  <a:pathLst>
                    <a:path w="7" h="16">
                      <a:moveTo>
                        <a:pt x="5" y="0"/>
                      </a:moveTo>
                      <a:cubicBezTo>
                        <a:pt x="5" y="0"/>
                        <a:pt x="2" y="12"/>
                        <a:pt x="2" y="13"/>
                      </a:cubicBezTo>
                      <a:cubicBezTo>
                        <a:pt x="1" y="14"/>
                        <a:pt x="1" y="14"/>
                        <a:pt x="0" y="14"/>
                      </a:cubicBezTo>
                      <a:cubicBezTo>
                        <a:pt x="1" y="15"/>
                        <a:pt x="1" y="16"/>
                        <a:pt x="2" y="16"/>
                      </a:cubicBezTo>
                      <a:cubicBezTo>
                        <a:pt x="3" y="13"/>
                        <a:pt x="4" y="8"/>
                        <a:pt x="7" y="0"/>
                      </a:cubicBezTo>
                      <a:cubicBezTo>
                        <a:pt x="7" y="0"/>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39" name="Freeform 1054"/>
                <p:cNvSpPr>
                  <a:spLocks/>
                </p:cNvSpPr>
                <p:nvPr/>
              </p:nvSpPr>
              <p:spPr bwMode="auto">
                <a:xfrm>
                  <a:off x="13894" y="2226"/>
                  <a:ext cx="5" cy="40"/>
                </a:xfrm>
                <a:custGeom>
                  <a:avLst/>
                  <a:gdLst>
                    <a:gd name="T0" fmla="*/ 0 w 2"/>
                    <a:gd name="T1" fmla="*/ 0 h 17"/>
                    <a:gd name="T2" fmla="*/ 0 w 2"/>
                    <a:gd name="T3" fmla="*/ 17 h 17"/>
                    <a:gd name="T4" fmla="*/ 2 w 2"/>
                    <a:gd name="T5" fmla="*/ 17 h 17"/>
                    <a:gd name="T6" fmla="*/ 2 w 2"/>
                    <a:gd name="T7" fmla="*/ 0 h 17"/>
                    <a:gd name="T8" fmla="*/ 0 w 2"/>
                    <a:gd name="T9" fmla="*/ 0 h 17"/>
                  </a:gdLst>
                  <a:ahLst/>
                  <a:cxnLst>
                    <a:cxn ang="0">
                      <a:pos x="T0" y="T1"/>
                    </a:cxn>
                    <a:cxn ang="0">
                      <a:pos x="T2" y="T3"/>
                    </a:cxn>
                    <a:cxn ang="0">
                      <a:pos x="T4" y="T5"/>
                    </a:cxn>
                    <a:cxn ang="0">
                      <a:pos x="T6" y="T7"/>
                    </a:cxn>
                    <a:cxn ang="0">
                      <a:pos x="T8" y="T9"/>
                    </a:cxn>
                  </a:cxnLst>
                  <a:rect l="0" t="0" r="r" b="b"/>
                  <a:pathLst>
                    <a:path w="2" h="17">
                      <a:moveTo>
                        <a:pt x="0" y="0"/>
                      </a:moveTo>
                      <a:cubicBezTo>
                        <a:pt x="0" y="0"/>
                        <a:pt x="0" y="10"/>
                        <a:pt x="0" y="17"/>
                      </a:cubicBezTo>
                      <a:cubicBezTo>
                        <a:pt x="1" y="17"/>
                        <a:pt x="1" y="17"/>
                        <a:pt x="2" y="17"/>
                      </a:cubicBezTo>
                      <a:cubicBezTo>
                        <a:pt x="2" y="11"/>
                        <a:pt x="2" y="0"/>
                        <a:pt x="2"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40" name="Freeform 1055"/>
                <p:cNvSpPr>
                  <a:spLocks/>
                </p:cNvSpPr>
                <p:nvPr/>
              </p:nvSpPr>
              <p:spPr bwMode="auto">
                <a:xfrm>
                  <a:off x="14415" y="1350"/>
                  <a:ext cx="2" cy="34"/>
                </a:xfrm>
                <a:custGeom>
                  <a:avLst/>
                  <a:gdLst>
                    <a:gd name="T0" fmla="*/ 1 w 1"/>
                    <a:gd name="T1" fmla="*/ 0 h 14"/>
                    <a:gd name="T2" fmla="*/ 0 w 1"/>
                    <a:gd name="T3" fmla="*/ 0 h 14"/>
                    <a:gd name="T4" fmla="*/ 0 w 1"/>
                    <a:gd name="T5" fmla="*/ 14 h 14"/>
                    <a:gd name="T6" fmla="*/ 1 w 1"/>
                    <a:gd name="T7" fmla="*/ 13 h 14"/>
                    <a:gd name="T8" fmla="*/ 1 w 1"/>
                    <a:gd name="T9" fmla="*/ 0 h 14"/>
                  </a:gdLst>
                  <a:ahLst/>
                  <a:cxnLst>
                    <a:cxn ang="0">
                      <a:pos x="T0" y="T1"/>
                    </a:cxn>
                    <a:cxn ang="0">
                      <a:pos x="T2" y="T3"/>
                    </a:cxn>
                    <a:cxn ang="0">
                      <a:pos x="T4" y="T5"/>
                    </a:cxn>
                    <a:cxn ang="0">
                      <a:pos x="T6" y="T7"/>
                    </a:cxn>
                    <a:cxn ang="0">
                      <a:pos x="T8" y="T9"/>
                    </a:cxn>
                  </a:cxnLst>
                  <a:rect l="0" t="0" r="r" b="b"/>
                  <a:pathLst>
                    <a:path w="1" h="14">
                      <a:moveTo>
                        <a:pt x="1" y="0"/>
                      </a:moveTo>
                      <a:cubicBezTo>
                        <a:pt x="0" y="0"/>
                        <a:pt x="0" y="0"/>
                        <a:pt x="0" y="0"/>
                      </a:cubicBezTo>
                      <a:cubicBezTo>
                        <a:pt x="0" y="0"/>
                        <a:pt x="0" y="8"/>
                        <a:pt x="0" y="14"/>
                      </a:cubicBezTo>
                      <a:cubicBezTo>
                        <a:pt x="1" y="14"/>
                        <a:pt x="1" y="13"/>
                        <a:pt x="1" y="13"/>
                      </a:cubicBezTo>
                      <a:cubicBezTo>
                        <a:pt x="1" y="7"/>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41" name="Freeform 1056"/>
                <p:cNvSpPr>
                  <a:spLocks/>
                </p:cNvSpPr>
                <p:nvPr/>
              </p:nvSpPr>
              <p:spPr bwMode="auto">
                <a:xfrm>
                  <a:off x="12439" y="1457"/>
                  <a:ext cx="12" cy="31"/>
                </a:xfrm>
                <a:custGeom>
                  <a:avLst/>
                  <a:gdLst>
                    <a:gd name="T0" fmla="*/ 4 w 5"/>
                    <a:gd name="T1" fmla="*/ 0 h 13"/>
                    <a:gd name="T2" fmla="*/ 0 w 5"/>
                    <a:gd name="T3" fmla="*/ 13 h 13"/>
                    <a:gd name="T4" fmla="*/ 1 w 5"/>
                    <a:gd name="T5" fmla="*/ 13 h 13"/>
                    <a:gd name="T6" fmla="*/ 5 w 5"/>
                    <a:gd name="T7" fmla="*/ 0 h 13"/>
                    <a:gd name="T8" fmla="*/ 4 w 5"/>
                    <a:gd name="T9" fmla="*/ 0 h 13"/>
                  </a:gdLst>
                  <a:ahLst/>
                  <a:cxnLst>
                    <a:cxn ang="0">
                      <a:pos x="T0" y="T1"/>
                    </a:cxn>
                    <a:cxn ang="0">
                      <a:pos x="T2" y="T3"/>
                    </a:cxn>
                    <a:cxn ang="0">
                      <a:pos x="T4" y="T5"/>
                    </a:cxn>
                    <a:cxn ang="0">
                      <a:pos x="T6" y="T7"/>
                    </a:cxn>
                    <a:cxn ang="0">
                      <a:pos x="T8" y="T9"/>
                    </a:cxn>
                  </a:cxnLst>
                  <a:rect l="0" t="0" r="r" b="b"/>
                  <a:pathLst>
                    <a:path w="5" h="13">
                      <a:moveTo>
                        <a:pt x="4" y="0"/>
                      </a:moveTo>
                      <a:cubicBezTo>
                        <a:pt x="4" y="0"/>
                        <a:pt x="1" y="10"/>
                        <a:pt x="0" y="13"/>
                      </a:cubicBezTo>
                      <a:cubicBezTo>
                        <a:pt x="0" y="13"/>
                        <a:pt x="1" y="13"/>
                        <a:pt x="1" y="13"/>
                      </a:cubicBezTo>
                      <a:cubicBezTo>
                        <a:pt x="2" y="10"/>
                        <a:pt x="3" y="6"/>
                        <a:pt x="5" y="0"/>
                      </a:cubicBezTo>
                      <a:cubicBezTo>
                        <a:pt x="5"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42" name="Freeform 1057"/>
                <p:cNvSpPr>
                  <a:spLocks/>
                </p:cNvSpPr>
                <p:nvPr/>
              </p:nvSpPr>
              <p:spPr bwMode="auto">
                <a:xfrm>
                  <a:off x="12929" y="1899"/>
                  <a:ext cx="2" cy="10"/>
                </a:xfrm>
                <a:custGeom>
                  <a:avLst/>
                  <a:gdLst>
                    <a:gd name="T0" fmla="*/ 0 w 1"/>
                    <a:gd name="T1" fmla="*/ 0 h 4"/>
                    <a:gd name="T2" fmla="*/ 0 w 1"/>
                    <a:gd name="T3" fmla="*/ 4 h 4"/>
                    <a:gd name="T4" fmla="*/ 1 w 1"/>
                    <a:gd name="T5" fmla="*/ 4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2"/>
                        <a:pt x="0" y="4"/>
                      </a:cubicBezTo>
                      <a:cubicBezTo>
                        <a:pt x="1" y="4"/>
                        <a:pt x="1" y="4"/>
                        <a:pt x="1" y="4"/>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43" name="Freeform 1058"/>
                <p:cNvSpPr>
                  <a:spLocks/>
                </p:cNvSpPr>
                <p:nvPr/>
              </p:nvSpPr>
              <p:spPr bwMode="auto">
                <a:xfrm>
                  <a:off x="12898" y="1899"/>
                  <a:ext cx="2" cy="10"/>
                </a:xfrm>
                <a:custGeom>
                  <a:avLst/>
                  <a:gdLst>
                    <a:gd name="T0" fmla="*/ 0 w 1"/>
                    <a:gd name="T1" fmla="*/ 0 h 4"/>
                    <a:gd name="T2" fmla="*/ 0 w 1"/>
                    <a:gd name="T3" fmla="*/ 4 h 4"/>
                    <a:gd name="T4" fmla="*/ 1 w 1"/>
                    <a:gd name="T5" fmla="*/ 4 h 4"/>
                    <a:gd name="T6" fmla="*/ 1 w 1"/>
                    <a:gd name="T7" fmla="*/ 0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2"/>
                        <a:pt x="0" y="4"/>
                      </a:cubicBezTo>
                      <a:cubicBezTo>
                        <a:pt x="0" y="4"/>
                        <a:pt x="1" y="4"/>
                        <a:pt x="1" y="4"/>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44" name="Freeform 1059"/>
                <p:cNvSpPr>
                  <a:spLocks/>
                </p:cNvSpPr>
                <p:nvPr/>
              </p:nvSpPr>
              <p:spPr bwMode="auto">
                <a:xfrm>
                  <a:off x="12860" y="1897"/>
                  <a:ext cx="5" cy="7"/>
                </a:xfrm>
                <a:custGeom>
                  <a:avLst/>
                  <a:gdLst>
                    <a:gd name="T0" fmla="*/ 0 w 2"/>
                    <a:gd name="T1" fmla="*/ 0 h 3"/>
                    <a:gd name="T2" fmla="*/ 1 w 2"/>
                    <a:gd name="T3" fmla="*/ 3 h 3"/>
                    <a:gd name="T4" fmla="*/ 2 w 2"/>
                    <a:gd name="T5" fmla="*/ 3 h 3"/>
                    <a:gd name="T6" fmla="*/ 1 w 2"/>
                    <a:gd name="T7" fmla="*/ 0 h 3"/>
                    <a:gd name="T8" fmla="*/ 0 w 2"/>
                    <a:gd name="T9" fmla="*/ 0 h 3"/>
                  </a:gdLst>
                  <a:ahLst/>
                  <a:cxnLst>
                    <a:cxn ang="0">
                      <a:pos x="T0" y="T1"/>
                    </a:cxn>
                    <a:cxn ang="0">
                      <a:pos x="T2" y="T3"/>
                    </a:cxn>
                    <a:cxn ang="0">
                      <a:pos x="T4" y="T5"/>
                    </a:cxn>
                    <a:cxn ang="0">
                      <a:pos x="T6" y="T7"/>
                    </a:cxn>
                    <a:cxn ang="0">
                      <a:pos x="T8" y="T9"/>
                    </a:cxn>
                  </a:cxnLst>
                  <a:rect l="0" t="0" r="r" b="b"/>
                  <a:pathLst>
                    <a:path w="2" h="3">
                      <a:moveTo>
                        <a:pt x="0" y="0"/>
                      </a:moveTo>
                      <a:cubicBezTo>
                        <a:pt x="0" y="0"/>
                        <a:pt x="0" y="0"/>
                        <a:pt x="1" y="3"/>
                      </a:cubicBezTo>
                      <a:cubicBezTo>
                        <a:pt x="2" y="3"/>
                        <a:pt x="2" y="3"/>
                        <a:pt x="2" y="3"/>
                      </a:cubicBezTo>
                      <a:cubicBezTo>
                        <a:pt x="2"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45" name="Freeform 1060"/>
                <p:cNvSpPr>
                  <a:spLocks/>
                </p:cNvSpPr>
                <p:nvPr/>
              </p:nvSpPr>
              <p:spPr bwMode="auto">
                <a:xfrm>
                  <a:off x="13123" y="1897"/>
                  <a:ext cx="9" cy="24"/>
                </a:xfrm>
                <a:custGeom>
                  <a:avLst/>
                  <a:gdLst>
                    <a:gd name="T0" fmla="*/ 0 w 4"/>
                    <a:gd name="T1" fmla="*/ 0 h 10"/>
                    <a:gd name="T2" fmla="*/ 3 w 4"/>
                    <a:gd name="T3" fmla="*/ 10 h 10"/>
                    <a:gd name="T4" fmla="*/ 4 w 4"/>
                    <a:gd name="T5" fmla="*/ 10 h 10"/>
                    <a:gd name="T6" fmla="*/ 1 w 4"/>
                    <a:gd name="T7" fmla="*/ 0 h 10"/>
                    <a:gd name="T8" fmla="*/ 0 w 4"/>
                    <a:gd name="T9" fmla="*/ 0 h 10"/>
                  </a:gdLst>
                  <a:ahLst/>
                  <a:cxnLst>
                    <a:cxn ang="0">
                      <a:pos x="T0" y="T1"/>
                    </a:cxn>
                    <a:cxn ang="0">
                      <a:pos x="T2" y="T3"/>
                    </a:cxn>
                    <a:cxn ang="0">
                      <a:pos x="T4" y="T5"/>
                    </a:cxn>
                    <a:cxn ang="0">
                      <a:pos x="T6" y="T7"/>
                    </a:cxn>
                    <a:cxn ang="0">
                      <a:pos x="T8" y="T9"/>
                    </a:cxn>
                  </a:cxnLst>
                  <a:rect l="0" t="0" r="r" b="b"/>
                  <a:pathLst>
                    <a:path w="4" h="10">
                      <a:moveTo>
                        <a:pt x="0" y="0"/>
                      </a:moveTo>
                      <a:cubicBezTo>
                        <a:pt x="0" y="0"/>
                        <a:pt x="0" y="0"/>
                        <a:pt x="3" y="10"/>
                      </a:cubicBezTo>
                      <a:cubicBezTo>
                        <a:pt x="3" y="10"/>
                        <a:pt x="4" y="10"/>
                        <a:pt x="4" y="10"/>
                      </a:cubicBezTo>
                      <a:cubicBezTo>
                        <a:pt x="3" y="6"/>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46" name="Freeform 1061"/>
                <p:cNvSpPr>
                  <a:spLocks/>
                </p:cNvSpPr>
                <p:nvPr/>
              </p:nvSpPr>
              <p:spPr bwMode="auto">
                <a:xfrm>
                  <a:off x="13028" y="1899"/>
                  <a:ext cx="5" cy="19"/>
                </a:xfrm>
                <a:custGeom>
                  <a:avLst/>
                  <a:gdLst>
                    <a:gd name="T0" fmla="*/ 0 w 2"/>
                    <a:gd name="T1" fmla="*/ 0 h 8"/>
                    <a:gd name="T2" fmla="*/ 0 w 2"/>
                    <a:gd name="T3" fmla="*/ 7 h 8"/>
                    <a:gd name="T4" fmla="*/ 2 w 2"/>
                    <a:gd name="T5" fmla="*/ 8 h 8"/>
                    <a:gd name="T6" fmla="*/ 2 w 2"/>
                    <a:gd name="T7" fmla="*/ 0 h 8"/>
                    <a:gd name="T8" fmla="*/ 0 w 2"/>
                    <a:gd name="T9" fmla="*/ 0 h 8"/>
                  </a:gdLst>
                  <a:ahLst/>
                  <a:cxnLst>
                    <a:cxn ang="0">
                      <a:pos x="T0" y="T1"/>
                    </a:cxn>
                    <a:cxn ang="0">
                      <a:pos x="T2" y="T3"/>
                    </a:cxn>
                    <a:cxn ang="0">
                      <a:pos x="T4" y="T5"/>
                    </a:cxn>
                    <a:cxn ang="0">
                      <a:pos x="T6" y="T7"/>
                    </a:cxn>
                    <a:cxn ang="0">
                      <a:pos x="T8" y="T9"/>
                    </a:cxn>
                  </a:cxnLst>
                  <a:rect l="0" t="0" r="r" b="b"/>
                  <a:pathLst>
                    <a:path w="2" h="8">
                      <a:moveTo>
                        <a:pt x="0" y="0"/>
                      </a:moveTo>
                      <a:cubicBezTo>
                        <a:pt x="0" y="0"/>
                        <a:pt x="0" y="4"/>
                        <a:pt x="0" y="7"/>
                      </a:cubicBezTo>
                      <a:cubicBezTo>
                        <a:pt x="1" y="7"/>
                        <a:pt x="1" y="8"/>
                        <a:pt x="2" y="8"/>
                      </a:cubicBezTo>
                      <a:cubicBezTo>
                        <a:pt x="2" y="3"/>
                        <a:pt x="2" y="0"/>
                        <a:pt x="2"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47" name="Freeform 1062"/>
                <p:cNvSpPr>
                  <a:spLocks/>
                </p:cNvSpPr>
                <p:nvPr/>
              </p:nvSpPr>
              <p:spPr bwMode="auto">
                <a:xfrm>
                  <a:off x="13090" y="1897"/>
                  <a:ext cx="12" cy="26"/>
                </a:xfrm>
                <a:custGeom>
                  <a:avLst/>
                  <a:gdLst>
                    <a:gd name="T0" fmla="*/ 3 w 5"/>
                    <a:gd name="T1" fmla="*/ 0 h 11"/>
                    <a:gd name="T2" fmla="*/ 0 w 5"/>
                    <a:gd name="T3" fmla="*/ 11 h 11"/>
                    <a:gd name="T4" fmla="*/ 1 w 5"/>
                    <a:gd name="T5" fmla="*/ 11 h 11"/>
                    <a:gd name="T6" fmla="*/ 5 w 5"/>
                    <a:gd name="T7" fmla="*/ 0 h 11"/>
                    <a:gd name="T8" fmla="*/ 3 w 5"/>
                    <a:gd name="T9" fmla="*/ 0 h 11"/>
                  </a:gdLst>
                  <a:ahLst/>
                  <a:cxnLst>
                    <a:cxn ang="0">
                      <a:pos x="T0" y="T1"/>
                    </a:cxn>
                    <a:cxn ang="0">
                      <a:pos x="T2" y="T3"/>
                    </a:cxn>
                    <a:cxn ang="0">
                      <a:pos x="T4" y="T5"/>
                    </a:cxn>
                    <a:cxn ang="0">
                      <a:pos x="T6" y="T7"/>
                    </a:cxn>
                    <a:cxn ang="0">
                      <a:pos x="T8" y="T9"/>
                    </a:cxn>
                  </a:cxnLst>
                  <a:rect l="0" t="0" r="r" b="b"/>
                  <a:pathLst>
                    <a:path w="5" h="11">
                      <a:moveTo>
                        <a:pt x="3" y="0"/>
                      </a:moveTo>
                      <a:cubicBezTo>
                        <a:pt x="3" y="0"/>
                        <a:pt x="1" y="8"/>
                        <a:pt x="0" y="11"/>
                      </a:cubicBezTo>
                      <a:cubicBezTo>
                        <a:pt x="1" y="11"/>
                        <a:pt x="1" y="11"/>
                        <a:pt x="1" y="11"/>
                      </a:cubicBezTo>
                      <a:cubicBezTo>
                        <a:pt x="2" y="8"/>
                        <a:pt x="3" y="5"/>
                        <a:pt x="5" y="0"/>
                      </a:cubicBezTo>
                      <a:cubicBezTo>
                        <a:pt x="5" y="0"/>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48" name="Freeform 1063"/>
                <p:cNvSpPr>
                  <a:spLocks/>
                </p:cNvSpPr>
                <p:nvPr/>
              </p:nvSpPr>
              <p:spPr bwMode="auto">
                <a:xfrm>
                  <a:off x="12993" y="1897"/>
                  <a:ext cx="7" cy="17"/>
                </a:xfrm>
                <a:custGeom>
                  <a:avLst/>
                  <a:gdLst>
                    <a:gd name="T0" fmla="*/ 0 w 3"/>
                    <a:gd name="T1" fmla="*/ 0 h 7"/>
                    <a:gd name="T2" fmla="*/ 2 w 3"/>
                    <a:gd name="T3" fmla="*/ 6 h 7"/>
                    <a:gd name="T4" fmla="*/ 3 w 3"/>
                    <a:gd name="T5" fmla="*/ 7 h 7"/>
                    <a:gd name="T6" fmla="*/ 1 w 3"/>
                    <a:gd name="T7" fmla="*/ 0 h 7"/>
                    <a:gd name="T8" fmla="*/ 0 w 3"/>
                    <a:gd name="T9" fmla="*/ 0 h 7"/>
                  </a:gdLst>
                  <a:ahLst/>
                  <a:cxnLst>
                    <a:cxn ang="0">
                      <a:pos x="T0" y="T1"/>
                    </a:cxn>
                    <a:cxn ang="0">
                      <a:pos x="T2" y="T3"/>
                    </a:cxn>
                    <a:cxn ang="0">
                      <a:pos x="T4" y="T5"/>
                    </a:cxn>
                    <a:cxn ang="0">
                      <a:pos x="T6" y="T7"/>
                    </a:cxn>
                    <a:cxn ang="0">
                      <a:pos x="T8" y="T9"/>
                    </a:cxn>
                  </a:cxnLst>
                  <a:rect l="0" t="0" r="r" b="b"/>
                  <a:pathLst>
                    <a:path w="3" h="7">
                      <a:moveTo>
                        <a:pt x="0" y="0"/>
                      </a:moveTo>
                      <a:cubicBezTo>
                        <a:pt x="0" y="0"/>
                        <a:pt x="0" y="0"/>
                        <a:pt x="2" y="6"/>
                      </a:cubicBezTo>
                      <a:cubicBezTo>
                        <a:pt x="2" y="6"/>
                        <a:pt x="2" y="7"/>
                        <a:pt x="3" y="7"/>
                      </a:cubicBezTo>
                      <a:cubicBezTo>
                        <a:pt x="2" y="3"/>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49" name="Freeform 1064"/>
                <p:cNvSpPr>
                  <a:spLocks/>
                </p:cNvSpPr>
                <p:nvPr/>
              </p:nvSpPr>
              <p:spPr bwMode="auto">
                <a:xfrm>
                  <a:off x="12964" y="1897"/>
                  <a:ext cx="5" cy="12"/>
                </a:xfrm>
                <a:custGeom>
                  <a:avLst/>
                  <a:gdLst>
                    <a:gd name="T0" fmla="*/ 1 w 2"/>
                    <a:gd name="T1" fmla="*/ 0 h 5"/>
                    <a:gd name="T2" fmla="*/ 0 w 2"/>
                    <a:gd name="T3" fmla="*/ 5 h 5"/>
                    <a:gd name="T4" fmla="*/ 1 w 2"/>
                    <a:gd name="T5" fmla="*/ 5 h 5"/>
                    <a:gd name="T6" fmla="*/ 2 w 2"/>
                    <a:gd name="T7" fmla="*/ 0 h 5"/>
                    <a:gd name="T8" fmla="*/ 1 w 2"/>
                    <a:gd name="T9" fmla="*/ 0 h 5"/>
                  </a:gdLst>
                  <a:ahLst/>
                  <a:cxnLst>
                    <a:cxn ang="0">
                      <a:pos x="T0" y="T1"/>
                    </a:cxn>
                    <a:cxn ang="0">
                      <a:pos x="T2" y="T3"/>
                    </a:cxn>
                    <a:cxn ang="0">
                      <a:pos x="T4" y="T5"/>
                    </a:cxn>
                    <a:cxn ang="0">
                      <a:pos x="T6" y="T7"/>
                    </a:cxn>
                    <a:cxn ang="0">
                      <a:pos x="T8" y="T9"/>
                    </a:cxn>
                  </a:cxnLst>
                  <a:rect l="0" t="0" r="r" b="b"/>
                  <a:pathLst>
                    <a:path w="2" h="5">
                      <a:moveTo>
                        <a:pt x="1" y="0"/>
                      </a:moveTo>
                      <a:cubicBezTo>
                        <a:pt x="1" y="0"/>
                        <a:pt x="0" y="2"/>
                        <a:pt x="0" y="5"/>
                      </a:cubicBezTo>
                      <a:cubicBezTo>
                        <a:pt x="0" y="5"/>
                        <a:pt x="0" y="5"/>
                        <a:pt x="1" y="5"/>
                      </a:cubicBezTo>
                      <a:cubicBezTo>
                        <a:pt x="1" y="4"/>
                        <a:pt x="2" y="2"/>
                        <a:pt x="2" y="0"/>
                      </a:cubicBezTo>
                      <a:cubicBezTo>
                        <a:pt x="2" y="0"/>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50" name="Freeform 1065"/>
                <p:cNvSpPr>
                  <a:spLocks/>
                </p:cNvSpPr>
                <p:nvPr/>
              </p:nvSpPr>
              <p:spPr bwMode="auto">
                <a:xfrm>
                  <a:off x="12605" y="1753"/>
                  <a:ext cx="2" cy="4"/>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1"/>
                        <a:pt x="0" y="1"/>
                      </a:cubicBezTo>
                      <a:cubicBezTo>
                        <a:pt x="0" y="2"/>
                        <a:pt x="1" y="2"/>
                        <a:pt x="1" y="2"/>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51" name="Freeform 1066"/>
                <p:cNvSpPr>
                  <a:spLocks/>
                </p:cNvSpPr>
                <p:nvPr/>
              </p:nvSpPr>
              <p:spPr bwMode="auto">
                <a:xfrm>
                  <a:off x="12460" y="1509"/>
                  <a:ext cx="3" cy="5"/>
                </a:xfrm>
                <a:custGeom>
                  <a:avLst/>
                  <a:gdLst>
                    <a:gd name="T0" fmla="*/ 0 w 1"/>
                    <a:gd name="T1" fmla="*/ 0 h 2"/>
                    <a:gd name="T2" fmla="*/ 0 w 1"/>
                    <a:gd name="T3" fmla="*/ 1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1"/>
                      </a:cubicBezTo>
                      <a:cubicBezTo>
                        <a:pt x="0" y="1"/>
                        <a:pt x="1" y="2"/>
                        <a:pt x="1" y="2"/>
                      </a:cubicBezTo>
                      <a:cubicBezTo>
                        <a:pt x="1" y="1"/>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52" name="Freeform 1067"/>
                <p:cNvSpPr>
                  <a:spLocks/>
                </p:cNvSpPr>
                <p:nvPr/>
              </p:nvSpPr>
              <p:spPr bwMode="auto">
                <a:xfrm>
                  <a:off x="13061" y="1899"/>
                  <a:ext cx="3" cy="22"/>
                </a:xfrm>
                <a:custGeom>
                  <a:avLst/>
                  <a:gdLst>
                    <a:gd name="T0" fmla="*/ 0 w 1"/>
                    <a:gd name="T1" fmla="*/ 0 h 9"/>
                    <a:gd name="T2" fmla="*/ 0 w 1"/>
                    <a:gd name="T3" fmla="*/ 9 h 9"/>
                    <a:gd name="T4" fmla="*/ 1 w 1"/>
                    <a:gd name="T5" fmla="*/ 9 h 9"/>
                    <a:gd name="T6" fmla="*/ 1 w 1"/>
                    <a:gd name="T7" fmla="*/ 0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0" y="4"/>
                        <a:pt x="0" y="9"/>
                      </a:cubicBezTo>
                      <a:cubicBezTo>
                        <a:pt x="0" y="9"/>
                        <a:pt x="0" y="9"/>
                        <a:pt x="1" y="9"/>
                      </a:cubicBezTo>
                      <a:cubicBezTo>
                        <a:pt x="1" y="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53" name="Freeform 1068"/>
                <p:cNvSpPr>
                  <a:spLocks/>
                </p:cNvSpPr>
                <p:nvPr/>
              </p:nvSpPr>
              <p:spPr bwMode="auto">
                <a:xfrm>
                  <a:off x="13414" y="1899"/>
                  <a:ext cx="9" cy="67"/>
                </a:xfrm>
                <a:custGeom>
                  <a:avLst/>
                  <a:gdLst>
                    <a:gd name="T0" fmla="*/ 2 w 4"/>
                    <a:gd name="T1" fmla="*/ 0 h 28"/>
                    <a:gd name="T2" fmla="*/ 2 w 4"/>
                    <a:gd name="T3" fmla="*/ 13 h 28"/>
                    <a:gd name="T4" fmla="*/ 0 w 4"/>
                    <a:gd name="T5" fmla="*/ 15 h 28"/>
                    <a:gd name="T6" fmla="*/ 0 w 4"/>
                    <a:gd name="T7" fmla="*/ 15 h 28"/>
                    <a:gd name="T8" fmla="*/ 4 w 4"/>
                    <a:gd name="T9" fmla="*/ 28 h 28"/>
                    <a:gd name="T10" fmla="*/ 4 w 4"/>
                    <a:gd name="T11" fmla="*/ 0 h 28"/>
                    <a:gd name="T12" fmla="*/ 2 w 4"/>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4" h="28">
                      <a:moveTo>
                        <a:pt x="2" y="0"/>
                      </a:moveTo>
                      <a:cubicBezTo>
                        <a:pt x="2" y="0"/>
                        <a:pt x="2" y="12"/>
                        <a:pt x="2" y="13"/>
                      </a:cubicBezTo>
                      <a:cubicBezTo>
                        <a:pt x="2" y="14"/>
                        <a:pt x="2" y="15"/>
                        <a:pt x="0" y="15"/>
                      </a:cubicBezTo>
                      <a:cubicBezTo>
                        <a:pt x="0" y="15"/>
                        <a:pt x="0" y="15"/>
                        <a:pt x="0" y="15"/>
                      </a:cubicBezTo>
                      <a:cubicBezTo>
                        <a:pt x="2" y="19"/>
                        <a:pt x="3" y="24"/>
                        <a:pt x="4" y="28"/>
                      </a:cubicBezTo>
                      <a:cubicBezTo>
                        <a:pt x="4" y="17"/>
                        <a:pt x="4" y="0"/>
                        <a:pt x="4"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54" name="Freeform 1069"/>
                <p:cNvSpPr>
                  <a:spLocks/>
                </p:cNvSpPr>
                <p:nvPr/>
              </p:nvSpPr>
              <p:spPr bwMode="auto">
                <a:xfrm>
                  <a:off x="13423" y="2044"/>
                  <a:ext cx="3" cy="57"/>
                </a:xfrm>
                <a:custGeom>
                  <a:avLst/>
                  <a:gdLst>
                    <a:gd name="T0" fmla="*/ 1 w 1"/>
                    <a:gd name="T1" fmla="*/ 0 h 24"/>
                    <a:gd name="T2" fmla="*/ 1 w 1"/>
                    <a:gd name="T3" fmla="*/ 24 h 24"/>
                    <a:gd name="T4" fmla="*/ 1 w 1"/>
                    <a:gd name="T5" fmla="*/ 0 h 24"/>
                    <a:gd name="T6" fmla="*/ 1 w 1"/>
                    <a:gd name="T7" fmla="*/ 0 h 24"/>
                  </a:gdLst>
                  <a:ahLst/>
                  <a:cxnLst>
                    <a:cxn ang="0">
                      <a:pos x="T0" y="T1"/>
                    </a:cxn>
                    <a:cxn ang="0">
                      <a:pos x="T2" y="T3"/>
                    </a:cxn>
                    <a:cxn ang="0">
                      <a:pos x="T4" y="T5"/>
                    </a:cxn>
                    <a:cxn ang="0">
                      <a:pos x="T6" y="T7"/>
                    </a:cxn>
                  </a:cxnLst>
                  <a:rect l="0" t="0" r="r" b="b"/>
                  <a:pathLst>
                    <a:path w="1" h="24">
                      <a:moveTo>
                        <a:pt x="1" y="0"/>
                      </a:moveTo>
                      <a:cubicBezTo>
                        <a:pt x="0" y="8"/>
                        <a:pt x="0" y="16"/>
                        <a:pt x="1" y="24"/>
                      </a:cubicBezTo>
                      <a:cubicBezTo>
                        <a:pt x="1" y="13"/>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55" name="Freeform 1070"/>
                <p:cNvSpPr>
                  <a:spLocks/>
                </p:cNvSpPr>
                <p:nvPr/>
              </p:nvSpPr>
              <p:spPr bwMode="auto">
                <a:xfrm>
                  <a:off x="13158" y="1899"/>
                  <a:ext cx="3" cy="12"/>
                </a:xfrm>
                <a:custGeom>
                  <a:avLst/>
                  <a:gdLst>
                    <a:gd name="T0" fmla="*/ 0 w 1"/>
                    <a:gd name="T1" fmla="*/ 0 h 5"/>
                    <a:gd name="T2" fmla="*/ 0 w 1"/>
                    <a:gd name="T3" fmla="*/ 5 h 5"/>
                    <a:gd name="T4" fmla="*/ 1 w 1"/>
                    <a:gd name="T5" fmla="*/ 5 h 5"/>
                    <a:gd name="T6" fmla="*/ 1 w 1"/>
                    <a:gd name="T7" fmla="*/ 0 h 5"/>
                    <a:gd name="T8" fmla="*/ 0 w 1"/>
                    <a:gd name="T9" fmla="*/ 0 h 5"/>
                  </a:gdLst>
                  <a:ahLst/>
                  <a:cxnLst>
                    <a:cxn ang="0">
                      <a:pos x="T0" y="T1"/>
                    </a:cxn>
                    <a:cxn ang="0">
                      <a:pos x="T2" y="T3"/>
                    </a:cxn>
                    <a:cxn ang="0">
                      <a:pos x="T4" y="T5"/>
                    </a:cxn>
                    <a:cxn ang="0">
                      <a:pos x="T6" y="T7"/>
                    </a:cxn>
                    <a:cxn ang="0">
                      <a:pos x="T8" y="T9"/>
                    </a:cxn>
                  </a:cxnLst>
                  <a:rect l="0" t="0" r="r" b="b"/>
                  <a:pathLst>
                    <a:path w="1" h="5">
                      <a:moveTo>
                        <a:pt x="0" y="0"/>
                      </a:moveTo>
                      <a:cubicBezTo>
                        <a:pt x="0" y="0"/>
                        <a:pt x="0" y="2"/>
                        <a:pt x="0" y="5"/>
                      </a:cubicBezTo>
                      <a:cubicBezTo>
                        <a:pt x="0" y="5"/>
                        <a:pt x="0" y="5"/>
                        <a:pt x="1" y="5"/>
                      </a:cubicBezTo>
                      <a:cubicBezTo>
                        <a:pt x="1" y="2"/>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56" name="Freeform 1071"/>
                <p:cNvSpPr>
                  <a:spLocks/>
                </p:cNvSpPr>
                <p:nvPr/>
              </p:nvSpPr>
              <p:spPr bwMode="auto">
                <a:xfrm>
                  <a:off x="12836" y="1897"/>
                  <a:ext cx="3"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57" name="Freeform 1072"/>
                <p:cNvSpPr>
                  <a:spLocks/>
                </p:cNvSpPr>
                <p:nvPr/>
              </p:nvSpPr>
              <p:spPr bwMode="auto">
                <a:xfrm>
                  <a:off x="12631" y="1750"/>
                  <a:ext cx="11" cy="31"/>
                </a:xfrm>
                <a:custGeom>
                  <a:avLst/>
                  <a:gdLst>
                    <a:gd name="T0" fmla="*/ 4 w 5"/>
                    <a:gd name="T1" fmla="*/ 0 h 13"/>
                    <a:gd name="T2" fmla="*/ 0 w 5"/>
                    <a:gd name="T3" fmla="*/ 12 h 13"/>
                    <a:gd name="T4" fmla="*/ 1 w 5"/>
                    <a:gd name="T5" fmla="*/ 13 h 13"/>
                    <a:gd name="T6" fmla="*/ 5 w 5"/>
                    <a:gd name="T7" fmla="*/ 0 h 13"/>
                    <a:gd name="T8" fmla="*/ 4 w 5"/>
                    <a:gd name="T9" fmla="*/ 0 h 13"/>
                  </a:gdLst>
                  <a:ahLst/>
                  <a:cxnLst>
                    <a:cxn ang="0">
                      <a:pos x="T0" y="T1"/>
                    </a:cxn>
                    <a:cxn ang="0">
                      <a:pos x="T2" y="T3"/>
                    </a:cxn>
                    <a:cxn ang="0">
                      <a:pos x="T4" y="T5"/>
                    </a:cxn>
                    <a:cxn ang="0">
                      <a:pos x="T6" y="T7"/>
                    </a:cxn>
                    <a:cxn ang="0">
                      <a:pos x="T8" y="T9"/>
                    </a:cxn>
                  </a:cxnLst>
                  <a:rect l="0" t="0" r="r" b="b"/>
                  <a:pathLst>
                    <a:path w="5" h="13">
                      <a:moveTo>
                        <a:pt x="4" y="0"/>
                      </a:moveTo>
                      <a:cubicBezTo>
                        <a:pt x="4" y="0"/>
                        <a:pt x="1" y="8"/>
                        <a:pt x="0" y="12"/>
                      </a:cubicBezTo>
                      <a:cubicBezTo>
                        <a:pt x="1" y="12"/>
                        <a:pt x="1" y="12"/>
                        <a:pt x="1" y="13"/>
                      </a:cubicBezTo>
                      <a:cubicBezTo>
                        <a:pt x="2" y="10"/>
                        <a:pt x="3" y="6"/>
                        <a:pt x="5" y="0"/>
                      </a:cubicBezTo>
                      <a:cubicBezTo>
                        <a:pt x="5"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58" name="Freeform 1073"/>
                <p:cNvSpPr>
                  <a:spLocks/>
                </p:cNvSpPr>
                <p:nvPr/>
              </p:nvSpPr>
              <p:spPr bwMode="auto">
                <a:xfrm>
                  <a:off x="15068" y="908"/>
                  <a:ext cx="2" cy="5"/>
                </a:xfrm>
                <a:custGeom>
                  <a:avLst/>
                  <a:gdLst>
                    <a:gd name="T0" fmla="*/ 0 w 1"/>
                    <a:gd name="T1" fmla="*/ 0 h 2"/>
                    <a:gd name="T2" fmla="*/ 1 w 1"/>
                    <a:gd name="T3" fmla="*/ 2 h 2"/>
                    <a:gd name="T4" fmla="*/ 1 w 1"/>
                    <a:gd name="T5" fmla="*/ 0 h 2"/>
                    <a:gd name="T6" fmla="*/ 0 w 1"/>
                    <a:gd name="T7" fmla="*/ 0 h 2"/>
                  </a:gdLst>
                  <a:ahLst/>
                  <a:cxnLst>
                    <a:cxn ang="0">
                      <a:pos x="T0" y="T1"/>
                    </a:cxn>
                    <a:cxn ang="0">
                      <a:pos x="T2" y="T3"/>
                    </a:cxn>
                    <a:cxn ang="0">
                      <a:pos x="T4" y="T5"/>
                    </a:cxn>
                    <a:cxn ang="0">
                      <a:pos x="T6" y="T7"/>
                    </a:cxn>
                  </a:cxnLst>
                  <a:rect l="0" t="0" r="r" b="b"/>
                  <a:pathLst>
                    <a:path w="1" h="2">
                      <a:moveTo>
                        <a:pt x="0" y="0"/>
                      </a:moveTo>
                      <a:cubicBezTo>
                        <a:pt x="0" y="1"/>
                        <a:pt x="0" y="1"/>
                        <a:pt x="1" y="2"/>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59" name="Freeform 1074"/>
                <p:cNvSpPr>
                  <a:spLocks/>
                </p:cNvSpPr>
                <p:nvPr/>
              </p:nvSpPr>
              <p:spPr bwMode="auto">
                <a:xfrm>
                  <a:off x="14867" y="1055"/>
                  <a:ext cx="7" cy="54"/>
                </a:xfrm>
                <a:custGeom>
                  <a:avLst/>
                  <a:gdLst>
                    <a:gd name="T0" fmla="*/ 3 w 3"/>
                    <a:gd name="T1" fmla="*/ 21 h 23"/>
                    <a:gd name="T2" fmla="*/ 3 w 3"/>
                    <a:gd name="T3" fmla="*/ 0 h 23"/>
                    <a:gd name="T4" fmla="*/ 2 w 3"/>
                    <a:gd name="T5" fmla="*/ 0 h 23"/>
                    <a:gd name="T6" fmla="*/ 2 w 3"/>
                    <a:gd name="T7" fmla="*/ 21 h 23"/>
                    <a:gd name="T8" fmla="*/ 0 w 3"/>
                    <a:gd name="T9" fmla="*/ 23 h 23"/>
                    <a:gd name="T10" fmla="*/ 3 w 3"/>
                    <a:gd name="T11" fmla="*/ 23 h 23"/>
                    <a:gd name="T12" fmla="*/ 3 w 3"/>
                    <a:gd name="T13" fmla="*/ 21 h 23"/>
                  </a:gdLst>
                  <a:ahLst/>
                  <a:cxnLst>
                    <a:cxn ang="0">
                      <a:pos x="T0" y="T1"/>
                    </a:cxn>
                    <a:cxn ang="0">
                      <a:pos x="T2" y="T3"/>
                    </a:cxn>
                    <a:cxn ang="0">
                      <a:pos x="T4" y="T5"/>
                    </a:cxn>
                    <a:cxn ang="0">
                      <a:pos x="T6" y="T7"/>
                    </a:cxn>
                    <a:cxn ang="0">
                      <a:pos x="T8" y="T9"/>
                    </a:cxn>
                    <a:cxn ang="0">
                      <a:pos x="T10" y="T11"/>
                    </a:cxn>
                    <a:cxn ang="0">
                      <a:pos x="T12" y="T13"/>
                    </a:cxn>
                  </a:cxnLst>
                  <a:rect l="0" t="0" r="r" b="b"/>
                  <a:pathLst>
                    <a:path w="3" h="23">
                      <a:moveTo>
                        <a:pt x="3" y="21"/>
                      </a:moveTo>
                      <a:cubicBezTo>
                        <a:pt x="3" y="19"/>
                        <a:pt x="3" y="0"/>
                        <a:pt x="3" y="0"/>
                      </a:cubicBezTo>
                      <a:cubicBezTo>
                        <a:pt x="2" y="0"/>
                        <a:pt x="2" y="0"/>
                        <a:pt x="2" y="0"/>
                      </a:cubicBezTo>
                      <a:cubicBezTo>
                        <a:pt x="2" y="0"/>
                        <a:pt x="2" y="19"/>
                        <a:pt x="2" y="21"/>
                      </a:cubicBezTo>
                      <a:cubicBezTo>
                        <a:pt x="2" y="22"/>
                        <a:pt x="1" y="23"/>
                        <a:pt x="0" y="23"/>
                      </a:cubicBezTo>
                      <a:cubicBezTo>
                        <a:pt x="1" y="23"/>
                        <a:pt x="2" y="23"/>
                        <a:pt x="3" y="23"/>
                      </a:cubicBezTo>
                      <a:cubicBezTo>
                        <a:pt x="3" y="23"/>
                        <a:pt x="3" y="22"/>
                        <a:pt x="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60" name="Freeform 1075"/>
                <p:cNvSpPr>
                  <a:spLocks/>
                </p:cNvSpPr>
                <p:nvPr/>
              </p:nvSpPr>
              <p:spPr bwMode="auto">
                <a:xfrm>
                  <a:off x="15111" y="870"/>
                  <a:ext cx="12" cy="26"/>
                </a:xfrm>
                <a:custGeom>
                  <a:avLst/>
                  <a:gdLst>
                    <a:gd name="T0" fmla="*/ 4 w 5"/>
                    <a:gd name="T1" fmla="*/ 0 h 11"/>
                    <a:gd name="T2" fmla="*/ 0 w 5"/>
                    <a:gd name="T3" fmla="*/ 11 h 11"/>
                    <a:gd name="T4" fmla="*/ 3 w 5"/>
                    <a:gd name="T5" fmla="*/ 7 h 11"/>
                    <a:gd name="T6" fmla="*/ 5 w 5"/>
                    <a:gd name="T7" fmla="*/ 0 h 11"/>
                    <a:gd name="T8" fmla="*/ 4 w 5"/>
                    <a:gd name="T9" fmla="*/ 0 h 11"/>
                  </a:gdLst>
                  <a:ahLst/>
                  <a:cxnLst>
                    <a:cxn ang="0">
                      <a:pos x="T0" y="T1"/>
                    </a:cxn>
                    <a:cxn ang="0">
                      <a:pos x="T2" y="T3"/>
                    </a:cxn>
                    <a:cxn ang="0">
                      <a:pos x="T4" y="T5"/>
                    </a:cxn>
                    <a:cxn ang="0">
                      <a:pos x="T6" y="T7"/>
                    </a:cxn>
                    <a:cxn ang="0">
                      <a:pos x="T8" y="T9"/>
                    </a:cxn>
                  </a:cxnLst>
                  <a:rect l="0" t="0" r="r" b="b"/>
                  <a:pathLst>
                    <a:path w="5" h="11">
                      <a:moveTo>
                        <a:pt x="4" y="0"/>
                      </a:moveTo>
                      <a:cubicBezTo>
                        <a:pt x="4" y="0"/>
                        <a:pt x="1" y="8"/>
                        <a:pt x="0" y="11"/>
                      </a:cubicBezTo>
                      <a:cubicBezTo>
                        <a:pt x="1" y="10"/>
                        <a:pt x="2" y="8"/>
                        <a:pt x="3" y="7"/>
                      </a:cubicBezTo>
                      <a:cubicBezTo>
                        <a:pt x="4" y="5"/>
                        <a:pt x="4" y="2"/>
                        <a:pt x="5" y="0"/>
                      </a:cubicBezTo>
                      <a:cubicBezTo>
                        <a:pt x="5"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61" name="Freeform 1076"/>
                <p:cNvSpPr>
                  <a:spLocks/>
                </p:cNvSpPr>
                <p:nvPr/>
              </p:nvSpPr>
              <p:spPr bwMode="auto">
                <a:xfrm>
                  <a:off x="15018" y="1019"/>
                  <a:ext cx="3" cy="12"/>
                </a:xfrm>
                <a:custGeom>
                  <a:avLst/>
                  <a:gdLst>
                    <a:gd name="T0" fmla="*/ 0 w 1"/>
                    <a:gd name="T1" fmla="*/ 0 h 5"/>
                    <a:gd name="T2" fmla="*/ 0 w 1"/>
                    <a:gd name="T3" fmla="*/ 5 h 5"/>
                    <a:gd name="T4" fmla="*/ 1 w 1"/>
                    <a:gd name="T5" fmla="*/ 2 h 5"/>
                    <a:gd name="T6" fmla="*/ 1 w 1"/>
                    <a:gd name="T7" fmla="*/ 0 h 5"/>
                    <a:gd name="T8" fmla="*/ 0 w 1"/>
                    <a:gd name="T9" fmla="*/ 0 h 5"/>
                  </a:gdLst>
                  <a:ahLst/>
                  <a:cxnLst>
                    <a:cxn ang="0">
                      <a:pos x="T0" y="T1"/>
                    </a:cxn>
                    <a:cxn ang="0">
                      <a:pos x="T2" y="T3"/>
                    </a:cxn>
                    <a:cxn ang="0">
                      <a:pos x="T4" y="T5"/>
                    </a:cxn>
                    <a:cxn ang="0">
                      <a:pos x="T6" y="T7"/>
                    </a:cxn>
                    <a:cxn ang="0">
                      <a:pos x="T8" y="T9"/>
                    </a:cxn>
                  </a:cxnLst>
                  <a:rect l="0" t="0" r="r" b="b"/>
                  <a:pathLst>
                    <a:path w="1" h="5">
                      <a:moveTo>
                        <a:pt x="0" y="0"/>
                      </a:moveTo>
                      <a:cubicBezTo>
                        <a:pt x="0" y="0"/>
                        <a:pt x="0" y="2"/>
                        <a:pt x="0" y="5"/>
                      </a:cubicBezTo>
                      <a:cubicBezTo>
                        <a:pt x="0" y="4"/>
                        <a:pt x="0" y="3"/>
                        <a:pt x="1" y="2"/>
                      </a:cubicBez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62" name="Freeform 1077"/>
                <p:cNvSpPr>
                  <a:spLocks/>
                </p:cNvSpPr>
                <p:nvPr/>
              </p:nvSpPr>
              <p:spPr bwMode="auto">
                <a:xfrm>
                  <a:off x="15014" y="870"/>
                  <a:ext cx="11" cy="33"/>
                </a:xfrm>
                <a:custGeom>
                  <a:avLst/>
                  <a:gdLst>
                    <a:gd name="T0" fmla="*/ 0 w 5"/>
                    <a:gd name="T1" fmla="*/ 0 h 14"/>
                    <a:gd name="T2" fmla="*/ 4 w 5"/>
                    <a:gd name="T3" fmla="*/ 14 h 14"/>
                    <a:gd name="T4" fmla="*/ 5 w 5"/>
                    <a:gd name="T5" fmla="*/ 12 h 14"/>
                    <a:gd name="T6" fmla="*/ 1 w 5"/>
                    <a:gd name="T7" fmla="*/ 0 h 14"/>
                    <a:gd name="T8" fmla="*/ 0 w 5"/>
                    <a:gd name="T9" fmla="*/ 0 h 14"/>
                  </a:gdLst>
                  <a:ahLst/>
                  <a:cxnLst>
                    <a:cxn ang="0">
                      <a:pos x="T0" y="T1"/>
                    </a:cxn>
                    <a:cxn ang="0">
                      <a:pos x="T2" y="T3"/>
                    </a:cxn>
                    <a:cxn ang="0">
                      <a:pos x="T4" y="T5"/>
                    </a:cxn>
                    <a:cxn ang="0">
                      <a:pos x="T6" y="T7"/>
                    </a:cxn>
                    <a:cxn ang="0">
                      <a:pos x="T8" y="T9"/>
                    </a:cxn>
                  </a:cxnLst>
                  <a:rect l="0" t="0" r="r" b="b"/>
                  <a:pathLst>
                    <a:path w="5" h="14">
                      <a:moveTo>
                        <a:pt x="0" y="0"/>
                      </a:moveTo>
                      <a:cubicBezTo>
                        <a:pt x="0" y="0"/>
                        <a:pt x="0" y="0"/>
                        <a:pt x="4" y="14"/>
                      </a:cubicBezTo>
                      <a:cubicBezTo>
                        <a:pt x="5" y="13"/>
                        <a:pt x="5" y="13"/>
                        <a:pt x="5" y="12"/>
                      </a:cubicBezTo>
                      <a:cubicBezTo>
                        <a:pt x="5" y="10"/>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63" name="Freeform 1078"/>
                <p:cNvSpPr>
                  <a:spLocks/>
                </p:cNvSpPr>
                <p:nvPr/>
              </p:nvSpPr>
              <p:spPr bwMode="auto">
                <a:xfrm>
                  <a:off x="14417" y="468"/>
                  <a:ext cx="3" cy="23"/>
                </a:xfrm>
                <a:custGeom>
                  <a:avLst/>
                  <a:gdLst>
                    <a:gd name="T0" fmla="*/ 1 w 1"/>
                    <a:gd name="T1" fmla="*/ 0 h 10"/>
                    <a:gd name="T2" fmla="*/ 0 w 1"/>
                    <a:gd name="T3" fmla="*/ 0 h 10"/>
                    <a:gd name="T4" fmla="*/ 0 w 1"/>
                    <a:gd name="T5" fmla="*/ 5 h 10"/>
                    <a:gd name="T6" fmla="*/ 1 w 1"/>
                    <a:gd name="T7" fmla="*/ 10 h 10"/>
                    <a:gd name="T8" fmla="*/ 1 w 1"/>
                    <a:gd name="T9" fmla="*/ 0 h 10"/>
                  </a:gdLst>
                  <a:ahLst/>
                  <a:cxnLst>
                    <a:cxn ang="0">
                      <a:pos x="T0" y="T1"/>
                    </a:cxn>
                    <a:cxn ang="0">
                      <a:pos x="T2" y="T3"/>
                    </a:cxn>
                    <a:cxn ang="0">
                      <a:pos x="T4" y="T5"/>
                    </a:cxn>
                    <a:cxn ang="0">
                      <a:pos x="T6" y="T7"/>
                    </a:cxn>
                    <a:cxn ang="0">
                      <a:pos x="T8" y="T9"/>
                    </a:cxn>
                  </a:cxnLst>
                  <a:rect l="0" t="0" r="r" b="b"/>
                  <a:pathLst>
                    <a:path w="1" h="10">
                      <a:moveTo>
                        <a:pt x="1" y="0"/>
                      </a:moveTo>
                      <a:cubicBezTo>
                        <a:pt x="0" y="0"/>
                        <a:pt x="0" y="0"/>
                        <a:pt x="0" y="0"/>
                      </a:cubicBezTo>
                      <a:cubicBezTo>
                        <a:pt x="0" y="0"/>
                        <a:pt x="0" y="2"/>
                        <a:pt x="0" y="5"/>
                      </a:cubicBezTo>
                      <a:cubicBezTo>
                        <a:pt x="0" y="7"/>
                        <a:pt x="1" y="9"/>
                        <a:pt x="1" y="10"/>
                      </a:cubicBezTo>
                      <a:cubicBezTo>
                        <a:pt x="1" y="5"/>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64" name="Freeform 1079"/>
                <p:cNvSpPr>
                  <a:spLocks/>
                </p:cNvSpPr>
                <p:nvPr/>
              </p:nvSpPr>
              <p:spPr bwMode="auto">
                <a:xfrm>
                  <a:off x="14429" y="2039"/>
                  <a:ext cx="10" cy="24"/>
                </a:xfrm>
                <a:custGeom>
                  <a:avLst/>
                  <a:gdLst>
                    <a:gd name="T0" fmla="*/ 0 w 4"/>
                    <a:gd name="T1" fmla="*/ 0 h 10"/>
                    <a:gd name="T2" fmla="*/ 3 w 4"/>
                    <a:gd name="T3" fmla="*/ 10 h 10"/>
                    <a:gd name="T4" fmla="*/ 4 w 4"/>
                    <a:gd name="T5" fmla="*/ 8 h 10"/>
                    <a:gd name="T6" fmla="*/ 1 w 4"/>
                    <a:gd name="T7" fmla="*/ 0 h 10"/>
                    <a:gd name="T8" fmla="*/ 0 w 4"/>
                    <a:gd name="T9" fmla="*/ 0 h 10"/>
                  </a:gdLst>
                  <a:ahLst/>
                  <a:cxnLst>
                    <a:cxn ang="0">
                      <a:pos x="T0" y="T1"/>
                    </a:cxn>
                    <a:cxn ang="0">
                      <a:pos x="T2" y="T3"/>
                    </a:cxn>
                    <a:cxn ang="0">
                      <a:pos x="T4" y="T5"/>
                    </a:cxn>
                    <a:cxn ang="0">
                      <a:pos x="T6" y="T7"/>
                    </a:cxn>
                    <a:cxn ang="0">
                      <a:pos x="T8" y="T9"/>
                    </a:cxn>
                  </a:cxnLst>
                  <a:rect l="0" t="0" r="r" b="b"/>
                  <a:pathLst>
                    <a:path w="4" h="10">
                      <a:moveTo>
                        <a:pt x="0" y="0"/>
                      </a:moveTo>
                      <a:cubicBezTo>
                        <a:pt x="0" y="0"/>
                        <a:pt x="0" y="0"/>
                        <a:pt x="3" y="10"/>
                      </a:cubicBezTo>
                      <a:cubicBezTo>
                        <a:pt x="3" y="9"/>
                        <a:pt x="3" y="9"/>
                        <a:pt x="4" y="8"/>
                      </a:cubicBezTo>
                      <a:cubicBezTo>
                        <a:pt x="3" y="5"/>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65" name="Freeform 1080"/>
                <p:cNvSpPr>
                  <a:spLocks/>
                </p:cNvSpPr>
                <p:nvPr/>
              </p:nvSpPr>
              <p:spPr bwMode="auto">
                <a:xfrm>
                  <a:off x="15052" y="872"/>
                  <a:ext cx="2" cy="5"/>
                </a:xfrm>
                <a:custGeom>
                  <a:avLst/>
                  <a:gdLst>
                    <a:gd name="T0" fmla="*/ 0 w 1"/>
                    <a:gd name="T1" fmla="*/ 0 h 2"/>
                    <a:gd name="T2" fmla="*/ 0 w 1"/>
                    <a:gd name="T3" fmla="*/ 2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1"/>
                        <a:pt x="0" y="2"/>
                      </a:cubicBezTo>
                      <a:cubicBezTo>
                        <a:pt x="0" y="2"/>
                        <a:pt x="1" y="2"/>
                        <a:pt x="1" y="2"/>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66" name="Freeform 1081"/>
                <p:cNvSpPr>
                  <a:spLocks/>
                </p:cNvSpPr>
                <p:nvPr/>
              </p:nvSpPr>
              <p:spPr bwMode="auto">
                <a:xfrm>
                  <a:off x="14498" y="1166"/>
                  <a:ext cx="2" cy="26"/>
                </a:xfrm>
                <a:custGeom>
                  <a:avLst/>
                  <a:gdLst>
                    <a:gd name="T0" fmla="*/ 0 w 1"/>
                    <a:gd name="T1" fmla="*/ 0 h 11"/>
                    <a:gd name="T2" fmla="*/ 0 w 1"/>
                    <a:gd name="T3" fmla="*/ 11 h 11"/>
                    <a:gd name="T4" fmla="*/ 1 w 1"/>
                    <a:gd name="T5" fmla="*/ 10 h 11"/>
                    <a:gd name="T6" fmla="*/ 1 w 1"/>
                    <a:gd name="T7" fmla="*/ 0 h 11"/>
                    <a:gd name="T8" fmla="*/ 0 w 1"/>
                    <a:gd name="T9" fmla="*/ 0 h 11"/>
                  </a:gdLst>
                  <a:ahLst/>
                  <a:cxnLst>
                    <a:cxn ang="0">
                      <a:pos x="T0" y="T1"/>
                    </a:cxn>
                    <a:cxn ang="0">
                      <a:pos x="T2" y="T3"/>
                    </a:cxn>
                    <a:cxn ang="0">
                      <a:pos x="T4" y="T5"/>
                    </a:cxn>
                    <a:cxn ang="0">
                      <a:pos x="T6" y="T7"/>
                    </a:cxn>
                    <a:cxn ang="0">
                      <a:pos x="T8" y="T9"/>
                    </a:cxn>
                  </a:cxnLst>
                  <a:rect l="0" t="0" r="r" b="b"/>
                  <a:pathLst>
                    <a:path w="1" h="11">
                      <a:moveTo>
                        <a:pt x="0" y="0"/>
                      </a:moveTo>
                      <a:cubicBezTo>
                        <a:pt x="0" y="0"/>
                        <a:pt x="0" y="5"/>
                        <a:pt x="0" y="11"/>
                      </a:cubicBezTo>
                      <a:cubicBezTo>
                        <a:pt x="0" y="11"/>
                        <a:pt x="0" y="11"/>
                        <a:pt x="1" y="10"/>
                      </a:cubicBezTo>
                      <a:cubicBezTo>
                        <a:pt x="1" y="6"/>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67" name="Freeform 1082"/>
                <p:cNvSpPr>
                  <a:spLocks/>
                </p:cNvSpPr>
                <p:nvPr/>
              </p:nvSpPr>
              <p:spPr bwMode="auto">
                <a:xfrm>
                  <a:off x="14481" y="1201"/>
                  <a:ext cx="3" cy="5"/>
                </a:xfrm>
                <a:custGeom>
                  <a:avLst/>
                  <a:gdLst>
                    <a:gd name="T0" fmla="*/ 0 w 1"/>
                    <a:gd name="T1" fmla="*/ 0 h 2"/>
                    <a:gd name="T2" fmla="*/ 0 w 1"/>
                    <a:gd name="T3" fmla="*/ 2 h 2"/>
                    <a:gd name="T4" fmla="*/ 1 w 1"/>
                    <a:gd name="T5" fmla="*/ 1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1"/>
                        <a:pt x="0" y="2"/>
                      </a:cubicBezTo>
                      <a:cubicBezTo>
                        <a:pt x="0" y="2"/>
                        <a:pt x="1" y="2"/>
                        <a:pt x="1" y="1"/>
                      </a:cubicBezTo>
                      <a:cubicBezTo>
                        <a:pt x="1" y="1"/>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68" name="Freeform 1083"/>
                <p:cNvSpPr>
                  <a:spLocks/>
                </p:cNvSpPr>
                <p:nvPr/>
              </p:nvSpPr>
              <p:spPr bwMode="auto">
                <a:xfrm>
                  <a:off x="14559" y="1163"/>
                  <a:ext cx="5" cy="5"/>
                </a:xfrm>
                <a:custGeom>
                  <a:avLst/>
                  <a:gdLst>
                    <a:gd name="T0" fmla="*/ 1 w 2"/>
                    <a:gd name="T1" fmla="*/ 0 h 2"/>
                    <a:gd name="T2" fmla="*/ 0 w 2"/>
                    <a:gd name="T3" fmla="*/ 0 h 2"/>
                    <a:gd name="T4" fmla="*/ 1 w 2"/>
                    <a:gd name="T5" fmla="*/ 2 h 2"/>
                    <a:gd name="T6" fmla="*/ 2 w 2"/>
                    <a:gd name="T7" fmla="*/ 2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1" y="0"/>
                        <a:pt x="1" y="0"/>
                        <a:pt x="0" y="0"/>
                      </a:cubicBezTo>
                      <a:cubicBezTo>
                        <a:pt x="0" y="0"/>
                        <a:pt x="0" y="0"/>
                        <a:pt x="1" y="2"/>
                      </a:cubicBezTo>
                      <a:cubicBezTo>
                        <a:pt x="1" y="2"/>
                        <a:pt x="1" y="2"/>
                        <a:pt x="2" y="2"/>
                      </a:cubicBezTo>
                      <a:cubicBezTo>
                        <a:pt x="1"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69" name="Freeform 1084"/>
                <p:cNvSpPr>
                  <a:spLocks/>
                </p:cNvSpPr>
                <p:nvPr/>
              </p:nvSpPr>
              <p:spPr bwMode="auto">
                <a:xfrm>
                  <a:off x="14531" y="1163"/>
                  <a:ext cx="7" cy="10"/>
                </a:xfrm>
                <a:custGeom>
                  <a:avLst/>
                  <a:gdLst>
                    <a:gd name="T0" fmla="*/ 1 w 3"/>
                    <a:gd name="T1" fmla="*/ 0 h 4"/>
                    <a:gd name="T2" fmla="*/ 0 w 3"/>
                    <a:gd name="T3" fmla="*/ 4 h 4"/>
                    <a:gd name="T4" fmla="*/ 2 w 3"/>
                    <a:gd name="T5" fmla="*/ 3 h 4"/>
                    <a:gd name="T6" fmla="*/ 3 w 3"/>
                    <a:gd name="T7" fmla="*/ 0 h 4"/>
                    <a:gd name="T8" fmla="*/ 1 w 3"/>
                    <a:gd name="T9" fmla="*/ 0 h 4"/>
                  </a:gdLst>
                  <a:ahLst/>
                  <a:cxnLst>
                    <a:cxn ang="0">
                      <a:pos x="T0" y="T1"/>
                    </a:cxn>
                    <a:cxn ang="0">
                      <a:pos x="T2" y="T3"/>
                    </a:cxn>
                    <a:cxn ang="0">
                      <a:pos x="T4" y="T5"/>
                    </a:cxn>
                    <a:cxn ang="0">
                      <a:pos x="T6" y="T7"/>
                    </a:cxn>
                    <a:cxn ang="0">
                      <a:pos x="T8" y="T9"/>
                    </a:cxn>
                  </a:cxnLst>
                  <a:rect l="0" t="0" r="r" b="b"/>
                  <a:pathLst>
                    <a:path w="3" h="4">
                      <a:moveTo>
                        <a:pt x="1" y="0"/>
                      </a:moveTo>
                      <a:cubicBezTo>
                        <a:pt x="1" y="0"/>
                        <a:pt x="1" y="1"/>
                        <a:pt x="0" y="4"/>
                      </a:cubicBezTo>
                      <a:cubicBezTo>
                        <a:pt x="1" y="3"/>
                        <a:pt x="1" y="3"/>
                        <a:pt x="2" y="3"/>
                      </a:cubicBezTo>
                      <a:cubicBezTo>
                        <a:pt x="2" y="2"/>
                        <a:pt x="2" y="1"/>
                        <a:pt x="3" y="0"/>
                      </a:cubicBezTo>
                      <a:cubicBezTo>
                        <a:pt x="3" y="0"/>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70" name="Freeform 1085"/>
                <p:cNvSpPr>
                  <a:spLocks/>
                </p:cNvSpPr>
                <p:nvPr/>
              </p:nvSpPr>
              <p:spPr bwMode="auto">
                <a:xfrm>
                  <a:off x="14689" y="1163"/>
                  <a:ext cx="10" cy="19"/>
                </a:xfrm>
                <a:custGeom>
                  <a:avLst/>
                  <a:gdLst>
                    <a:gd name="T0" fmla="*/ 0 w 4"/>
                    <a:gd name="T1" fmla="*/ 0 h 8"/>
                    <a:gd name="T2" fmla="*/ 3 w 4"/>
                    <a:gd name="T3" fmla="*/ 8 h 8"/>
                    <a:gd name="T4" fmla="*/ 4 w 4"/>
                    <a:gd name="T5" fmla="*/ 7 h 8"/>
                    <a:gd name="T6" fmla="*/ 2 w 4"/>
                    <a:gd name="T7" fmla="*/ 0 h 8"/>
                    <a:gd name="T8" fmla="*/ 0 w 4"/>
                    <a:gd name="T9" fmla="*/ 0 h 8"/>
                  </a:gdLst>
                  <a:ahLst/>
                  <a:cxnLst>
                    <a:cxn ang="0">
                      <a:pos x="T0" y="T1"/>
                    </a:cxn>
                    <a:cxn ang="0">
                      <a:pos x="T2" y="T3"/>
                    </a:cxn>
                    <a:cxn ang="0">
                      <a:pos x="T4" y="T5"/>
                    </a:cxn>
                    <a:cxn ang="0">
                      <a:pos x="T6" y="T7"/>
                    </a:cxn>
                    <a:cxn ang="0">
                      <a:pos x="T8" y="T9"/>
                    </a:cxn>
                  </a:cxnLst>
                  <a:rect l="0" t="0" r="r" b="b"/>
                  <a:pathLst>
                    <a:path w="4" h="8">
                      <a:moveTo>
                        <a:pt x="0" y="0"/>
                      </a:moveTo>
                      <a:cubicBezTo>
                        <a:pt x="0" y="0"/>
                        <a:pt x="0" y="0"/>
                        <a:pt x="3" y="8"/>
                      </a:cubicBezTo>
                      <a:cubicBezTo>
                        <a:pt x="3" y="8"/>
                        <a:pt x="3" y="7"/>
                        <a:pt x="4" y="7"/>
                      </a:cubicBezTo>
                      <a:cubicBezTo>
                        <a:pt x="3" y="4"/>
                        <a:pt x="2" y="0"/>
                        <a:pt x="2" y="0"/>
                      </a:cubicBezTo>
                      <a:cubicBezTo>
                        <a:pt x="2"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71" name="Freeform 1086"/>
                <p:cNvSpPr>
                  <a:spLocks/>
                </p:cNvSpPr>
                <p:nvPr/>
              </p:nvSpPr>
              <p:spPr bwMode="auto">
                <a:xfrm>
                  <a:off x="14611" y="1201"/>
                  <a:ext cx="3" cy="50"/>
                </a:xfrm>
                <a:custGeom>
                  <a:avLst/>
                  <a:gdLst>
                    <a:gd name="T0" fmla="*/ 0 w 1"/>
                    <a:gd name="T1" fmla="*/ 0 h 21"/>
                    <a:gd name="T2" fmla="*/ 0 w 1"/>
                    <a:gd name="T3" fmla="*/ 21 h 21"/>
                    <a:gd name="T4" fmla="*/ 1 w 1"/>
                    <a:gd name="T5" fmla="*/ 20 h 21"/>
                    <a:gd name="T6" fmla="*/ 1 w 1"/>
                    <a:gd name="T7" fmla="*/ 0 h 21"/>
                    <a:gd name="T8" fmla="*/ 0 w 1"/>
                    <a:gd name="T9" fmla="*/ 0 h 21"/>
                  </a:gdLst>
                  <a:ahLst/>
                  <a:cxnLst>
                    <a:cxn ang="0">
                      <a:pos x="T0" y="T1"/>
                    </a:cxn>
                    <a:cxn ang="0">
                      <a:pos x="T2" y="T3"/>
                    </a:cxn>
                    <a:cxn ang="0">
                      <a:pos x="T4" y="T5"/>
                    </a:cxn>
                    <a:cxn ang="0">
                      <a:pos x="T6" y="T7"/>
                    </a:cxn>
                    <a:cxn ang="0">
                      <a:pos x="T8" y="T9"/>
                    </a:cxn>
                  </a:cxnLst>
                  <a:rect l="0" t="0" r="r" b="b"/>
                  <a:pathLst>
                    <a:path w="1" h="21">
                      <a:moveTo>
                        <a:pt x="0" y="0"/>
                      </a:moveTo>
                      <a:cubicBezTo>
                        <a:pt x="0" y="0"/>
                        <a:pt x="0" y="17"/>
                        <a:pt x="0" y="21"/>
                      </a:cubicBezTo>
                      <a:cubicBezTo>
                        <a:pt x="1" y="21"/>
                        <a:pt x="1" y="20"/>
                        <a:pt x="1" y="20"/>
                      </a:cubicBezTo>
                      <a:cubicBezTo>
                        <a:pt x="1" y="15"/>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72" name="Freeform 1087"/>
                <p:cNvSpPr>
                  <a:spLocks/>
                </p:cNvSpPr>
                <p:nvPr/>
              </p:nvSpPr>
              <p:spPr bwMode="auto">
                <a:xfrm>
                  <a:off x="14261" y="2172"/>
                  <a:ext cx="52" cy="35"/>
                </a:xfrm>
                <a:custGeom>
                  <a:avLst/>
                  <a:gdLst>
                    <a:gd name="T0" fmla="*/ 16 w 22"/>
                    <a:gd name="T1" fmla="*/ 0 h 15"/>
                    <a:gd name="T2" fmla="*/ 6 w 22"/>
                    <a:gd name="T3" fmla="*/ 0 h 15"/>
                    <a:gd name="T4" fmla="*/ 0 w 22"/>
                    <a:gd name="T5" fmla="*/ 7 h 15"/>
                    <a:gd name="T6" fmla="*/ 0 w 22"/>
                    <a:gd name="T7" fmla="*/ 15 h 15"/>
                    <a:gd name="T8" fmla="*/ 4 w 22"/>
                    <a:gd name="T9" fmla="*/ 13 h 15"/>
                    <a:gd name="T10" fmla="*/ 4 w 22"/>
                    <a:gd name="T11" fmla="*/ 8 h 15"/>
                    <a:gd name="T12" fmla="*/ 5 w 22"/>
                    <a:gd name="T13" fmla="*/ 8 h 15"/>
                    <a:gd name="T14" fmla="*/ 5 w 22"/>
                    <a:gd name="T15" fmla="*/ 13 h 15"/>
                    <a:gd name="T16" fmla="*/ 22 w 22"/>
                    <a:gd name="T17" fmla="*/ 6 h 15"/>
                    <a:gd name="T18" fmla="*/ 16 w 22"/>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15">
                      <a:moveTo>
                        <a:pt x="16" y="0"/>
                      </a:moveTo>
                      <a:cubicBezTo>
                        <a:pt x="15" y="0"/>
                        <a:pt x="7" y="0"/>
                        <a:pt x="6" y="0"/>
                      </a:cubicBezTo>
                      <a:cubicBezTo>
                        <a:pt x="2" y="0"/>
                        <a:pt x="0" y="3"/>
                        <a:pt x="0" y="7"/>
                      </a:cubicBezTo>
                      <a:cubicBezTo>
                        <a:pt x="0" y="7"/>
                        <a:pt x="0" y="11"/>
                        <a:pt x="0" y="15"/>
                      </a:cubicBezTo>
                      <a:cubicBezTo>
                        <a:pt x="1" y="14"/>
                        <a:pt x="2" y="14"/>
                        <a:pt x="4" y="13"/>
                      </a:cubicBezTo>
                      <a:cubicBezTo>
                        <a:pt x="4" y="11"/>
                        <a:pt x="4" y="8"/>
                        <a:pt x="4" y="8"/>
                      </a:cubicBezTo>
                      <a:cubicBezTo>
                        <a:pt x="4" y="8"/>
                        <a:pt x="4" y="8"/>
                        <a:pt x="5" y="8"/>
                      </a:cubicBezTo>
                      <a:cubicBezTo>
                        <a:pt x="5" y="8"/>
                        <a:pt x="5" y="10"/>
                        <a:pt x="5" y="13"/>
                      </a:cubicBezTo>
                      <a:cubicBezTo>
                        <a:pt x="11" y="11"/>
                        <a:pt x="17" y="8"/>
                        <a:pt x="22" y="6"/>
                      </a:cubicBezTo>
                      <a:cubicBezTo>
                        <a:pt x="22" y="3"/>
                        <a:pt x="19"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73" name="Freeform 1088"/>
                <p:cNvSpPr>
                  <a:spLocks/>
                </p:cNvSpPr>
                <p:nvPr/>
              </p:nvSpPr>
              <p:spPr bwMode="auto">
                <a:xfrm>
                  <a:off x="14190" y="2174"/>
                  <a:ext cx="62" cy="50"/>
                </a:xfrm>
                <a:custGeom>
                  <a:avLst/>
                  <a:gdLst>
                    <a:gd name="T0" fmla="*/ 17 w 26"/>
                    <a:gd name="T1" fmla="*/ 0 h 21"/>
                    <a:gd name="T2" fmla="*/ 10 w 26"/>
                    <a:gd name="T3" fmla="*/ 0 h 21"/>
                    <a:gd name="T4" fmla="*/ 4 w 26"/>
                    <a:gd name="T5" fmla="*/ 4 h 21"/>
                    <a:gd name="T6" fmla="*/ 0 w 26"/>
                    <a:gd name="T7" fmla="*/ 18 h 21"/>
                    <a:gd name="T8" fmla="*/ 1 w 26"/>
                    <a:gd name="T9" fmla="*/ 20 h 21"/>
                    <a:gd name="T10" fmla="*/ 4 w 26"/>
                    <a:gd name="T11" fmla="*/ 19 h 21"/>
                    <a:gd name="T12" fmla="*/ 8 w 26"/>
                    <a:gd name="T13" fmla="*/ 6 h 21"/>
                    <a:gd name="T14" fmla="*/ 9 w 26"/>
                    <a:gd name="T15" fmla="*/ 6 h 21"/>
                    <a:gd name="T16" fmla="*/ 4 w 26"/>
                    <a:gd name="T17" fmla="*/ 21 h 21"/>
                    <a:gd name="T18" fmla="*/ 21 w 26"/>
                    <a:gd name="T19" fmla="*/ 17 h 21"/>
                    <a:gd name="T20" fmla="*/ 18 w 26"/>
                    <a:gd name="T21" fmla="*/ 6 h 21"/>
                    <a:gd name="T22" fmla="*/ 19 w 26"/>
                    <a:gd name="T23" fmla="*/ 6 h 21"/>
                    <a:gd name="T24" fmla="*/ 22 w 26"/>
                    <a:gd name="T25" fmla="*/ 16 h 21"/>
                    <a:gd name="T26" fmla="*/ 26 w 26"/>
                    <a:gd name="T27" fmla="*/ 15 h 21"/>
                    <a:gd name="T28" fmla="*/ 23 w 26"/>
                    <a:gd name="T29" fmla="*/ 4 h 21"/>
                    <a:gd name="T30" fmla="*/ 17 w 26"/>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21">
                      <a:moveTo>
                        <a:pt x="17" y="0"/>
                      </a:moveTo>
                      <a:cubicBezTo>
                        <a:pt x="16" y="0"/>
                        <a:pt x="11" y="0"/>
                        <a:pt x="10" y="0"/>
                      </a:cubicBezTo>
                      <a:cubicBezTo>
                        <a:pt x="7" y="0"/>
                        <a:pt x="5" y="2"/>
                        <a:pt x="4" y="4"/>
                      </a:cubicBezTo>
                      <a:cubicBezTo>
                        <a:pt x="2" y="10"/>
                        <a:pt x="0" y="17"/>
                        <a:pt x="0" y="18"/>
                      </a:cubicBezTo>
                      <a:cubicBezTo>
                        <a:pt x="0" y="19"/>
                        <a:pt x="0" y="20"/>
                        <a:pt x="1" y="20"/>
                      </a:cubicBezTo>
                      <a:cubicBezTo>
                        <a:pt x="2" y="20"/>
                        <a:pt x="3" y="20"/>
                        <a:pt x="4" y="19"/>
                      </a:cubicBezTo>
                      <a:cubicBezTo>
                        <a:pt x="4" y="18"/>
                        <a:pt x="8" y="6"/>
                        <a:pt x="8" y="6"/>
                      </a:cubicBezTo>
                      <a:cubicBezTo>
                        <a:pt x="9" y="6"/>
                        <a:pt x="9" y="6"/>
                        <a:pt x="9" y="6"/>
                      </a:cubicBezTo>
                      <a:cubicBezTo>
                        <a:pt x="6" y="13"/>
                        <a:pt x="5" y="18"/>
                        <a:pt x="4" y="21"/>
                      </a:cubicBezTo>
                      <a:cubicBezTo>
                        <a:pt x="10" y="20"/>
                        <a:pt x="16" y="18"/>
                        <a:pt x="21" y="17"/>
                      </a:cubicBezTo>
                      <a:cubicBezTo>
                        <a:pt x="18" y="6"/>
                        <a:pt x="18" y="6"/>
                        <a:pt x="18" y="6"/>
                      </a:cubicBezTo>
                      <a:cubicBezTo>
                        <a:pt x="19" y="6"/>
                        <a:pt x="19" y="6"/>
                        <a:pt x="19" y="6"/>
                      </a:cubicBezTo>
                      <a:cubicBezTo>
                        <a:pt x="19" y="6"/>
                        <a:pt x="21" y="12"/>
                        <a:pt x="22" y="16"/>
                      </a:cubicBezTo>
                      <a:cubicBezTo>
                        <a:pt x="23" y="16"/>
                        <a:pt x="25" y="15"/>
                        <a:pt x="26" y="15"/>
                      </a:cubicBezTo>
                      <a:cubicBezTo>
                        <a:pt x="25" y="12"/>
                        <a:pt x="24" y="8"/>
                        <a:pt x="23" y="4"/>
                      </a:cubicBezTo>
                      <a:cubicBezTo>
                        <a:pt x="22"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74" name="Oval 1089"/>
                <p:cNvSpPr>
                  <a:spLocks noChangeArrowheads="1"/>
                </p:cNvSpPr>
                <p:nvPr/>
              </p:nvSpPr>
              <p:spPr bwMode="auto">
                <a:xfrm>
                  <a:off x="14211" y="1999"/>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75" name="Oval 1090"/>
                <p:cNvSpPr>
                  <a:spLocks noChangeArrowheads="1"/>
                </p:cNvSpPr>
                <p:nvPr/>
              </p:nvSpPr>
              <p:spPr bwMode="auto">
                <a:xfrm>
                  <a:off x="14342"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76" name="Oval 1091"/>
                <p:cNvSpPr>
                  <a:spLocks noChangeArrowheads="1"/>
                </p:cNvSpPr>
                <p:nvPr/>
              </p:nvSpPr>
              <p:spPr bwMode="auto">
                <a:xfrm>
                  <a:off x="14275" y="2148"/>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77" name="Freeform 1092"/>
                <p:cNvSpPr>
                  <a:spLocks/>
                </p:cNvSpPr>
                <p:nvPr/>
              </p:nvSpPr>
              <p:spPr bwMode="auto">
                <a:xfrm>
                  <a:off x="14387" y="2025"/>
                  <a:ext cx="56" cy="80"/>
                </a:xfrm>
                <a:custGeom>
                  <a:avLst/>
                  <a:gdLst>
                    <a:gd name="T0" fmla="*/ 23 w 24"/>
                    <a:gd name="T1" fmla="*/ 5 h 34"/>
                    <a:gd name="T2" fmla="*/ 17 w 24"/>
                    <a:gd name="T3" fmla="*/ 0 h 34"/>
                    <a:gd name="T4" fmla="*/ 10 w 24"/>
                    <a:gd name="T5" fmla="*/ 0 h 34"/>
                    <a:gd name="T6" fmla="*/ 4 w 24"/>
                    <a:gd name="T7" fmla="*/ 5 h 34"/>
                    <a:gd name="T8" fmla="*/ 0 w 24"/>
                    <a:gd name="T9" fmla="*/ 18 h 34"/>
                    <a:gd name="T10" fmla="*/ 1 w 24"/>
                    <a:gd name="T11" fmla="*/ 21 h 34"/>
                    <a:gd name="T12" fmla="*/ 4 w 24"/>
                    <a:gd name="T13" fmla="*/ 20 h 34"/>
                    <a:gd name="T14" fmla="*/ 7 w 24"/>
                    <a:gd name="T15" fmla="*/ 6 h 34"/>
                    <a:gd name="T16" fmla="*/ 9 w 24"/>
                    <a:gd name="T17" fmla="*/ 6 h 34"/>
                    <a:gd name="T18" fmla="*/ 2 w 24"/>
                    <a:gd name="T19" fmla="*/ 28 h 34"/>
                    <a:gd name="T20" fmla="*/ 8 w 24"/>
                    <a:gd name="T21" fmla="*/ 28 h 34"/>
                    <a:gd name="T22" fmla="*/ 8 w 24"/>
                    <a:gd name="T23" fmla="*/ 34 h 34"/>
                    <a:gd name="T24" fmla="*/ 21 w 24"/>
                    <a:gd name="T25" fmla="*/ 16 h 34"/>
                    <a:gd name="T26" fmla="*/ 18 w 24"/>
                    <a:gd name="T27" fmla="*/ 6 h 34"/>
                    <a:gd name="T28" fmla="*/ 19 w 24"/>
                    <a:gd name="T29" fmla="*/ 6 h 34"/>
                    <a:gd name="T30" fmla="*/ 22 w 24"/>
                    <a:gd name="T31" fmla="*/ 14 h 34"/>
                    <a:gd name="T32" fmla="*/ 24 w 24"/>
                    <a:gd name="T33" fmla="*/ 10 h 34"/>
                    <a:gd name="T34" fmla="*/ 23 w 24"/>
                    <a:gd name="T35"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34">
                      <a:moveTo>
                        <a:pt x="23" y="5"/>
                      </a:moveTo>
                      <a:cubicBezTo>
                        <a:pt x="22" y="2"/>
                        <a:pt x="20" y="0"/>
                        <a:pt x="17" y="0"/>
                      </a:cubicBezTo>
                      <a:cubicBezTo>
                        <a:pt x="16" y="0"/>
                        <a:pt x="11" y="0"/>
                        <a:pt x="10" y="0"/>
                      </a:cubicBezTo>
                      <a:cubicBezTo>
                        <a:pt x="7" y="0"/>
                        <a:pt x="5" y="2"/>
                        <a:pt x="4" y="5"/>
                      </a:cubicBezTo>
                      <a:cubicBezTo>
                        <a:pt x="2" y="10"/>
                        <a:pt x="0" y="18"/>
                        <a:pt x="0" y="18"/>
                      </a:cubicBezTo>
                      <a:cubicBezTo>
                        <a:pt x="0" y="19"/>
                        <a:pt x="0" y="20"/>
                        <a:pt x="1" y="21"/>
                      </a:cubicBezTo>
                      <a:cubicBezTo>
                        <a:pt x="2" y="21"/>
                        <a:pt x="3" y="20"/>
                        <a:pt x="4" y="20"/>
                      </a:cubicBezTo>
                      <a:cubicBezTo>
                        <a:pt x="4" y="18"/>
                        <a:pt x="7" y="6"/>
                        <a:pt x="7" y="6"/>
                      </a:cubicBezTo>
                      <a:cubicBezTo>
                        <a:pt x="9" y="6"/>
                        <a:pt x="9" y="6"/>
                        <a:pt x="9" y="6"/>
                      </a:cubicBezTo>
                      <a:cubicBezTo>
                        <a:pt x="2" y="28"/>
                        <a:pt x="2" y="28"/>
                        <a:pt x="2" y="28"/>
                      </a:cubicBezTo>
                      <a:cubicBezTo>
                        <a:pt x="8" y="28"/>
                        <a:pt x="8" y="28"/>
                        <a:pt x="8" y="28"/>
                      </a:cubicBezTo>
                      <a:cubicBezTo>
                        <a:pt x="8" y="30"/>
                        <a:pt x="8" y="32"/>
                        <a:pt x="8" y="34"/>
                      </a:cubicBezTo>
                      <a:cubicBezTo>
                        <a:pt x="13" y="28"/>
                        <a:pt x="17" y="22"/>
                        <a:pt x="21" y="16"/>
                      </a:cubicBezTo>
                      <a:cubicBezTo>
                        <a:pt x="18" y="6"/>
                        <a:pt x="18" y="6"/>
                        <a:pt x="18" y="6"/>
                      </a:cubicBezTo>
                      <a:cubicBezTo>
                        <a:pt x="19" y="6"/>
                        <a:pt x="19" y="6"/>
                        <a:pt x="19" y="6"/>
                      </a:cubicBezTo>
                      <a:cubicBezTo>
                        <a:pt x="19" y="6"/>
                        <a:pt x="21" y="11"/>
                        <a:pt x="22" y="14"/>
                      </a:cubicBezTo>
                      <a:cubicBezTo>
                        <a:pt x="22" y="13"/>
                        <a:pt x="23" y="12"/>
                        <a:pt x="24" y="10"/>
                      </a:cubicBezTo>
                      <a:cubicBezTo>
                        <a:pt x="24" y="8"/>
                        <a:pt x="23" y="6"/>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78" name="Freeform 1093"/>
                <p:cNvSpPr>
                  <a:spLocks/>
                </p:cNvSpPr>
                <p:nvPr/>
              </p:nvSpPr>
              <p:spPr bwMode="auto">
                <a:xfrm>
                  <a:off x="14195" y="2025"/>
                  <a:ext cx="54"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7 w 23"/>
                    <a:gd name="T31" fmla="*/ 44 h 47"/>
                    <a:gd name="T32" fmla="*/ 17 w 23"/>
                    <a:gd name="T33" fmla="*/ 8 h 47"/>
                    <a:gd name="T34" fmla="*/ 18 w 23"/>
                    <a:gd name="T35" fmla="*/ 8 h 47"/>
                    <a:gd name="T36" fmla="*/ 18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79" name="Freeform 1094"/>
                <p:cNvSpPr>
                  <a:spLocks/>
                </p:cNvSpPr>
                <p:nvPr/>
              </p:nvSpPr>
              <p:spPr bwMode="auto">
                <a:xfrm>
                  <a:off x="14325" y="2025"/>
                  <a:ext cx="54" cy="111"/>
                </a:xfrm>
                <a:custGeom>
                  <a:avLst/>
                  <a:gdLst>
                    <a:gd name="T0" fmla="*/ 17 w 23"/>
                    <a:gd name="T1" fmla="*/ 0 h 47"/>
                    <a:gd name="T2" fmla="*/ 7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6 w 23"/>
                    <a:gd name="T15" fmla="*/ 8 h 47"/>
                    <a:gd name="T16" fmla="*/ 6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7" y="0"/>
                      </a:cubicBezTo>
                      <a:cubicBezTo>
                        <a:pt x="3" y="0"/>
                        <a:pt x="0" y="3"/>
                        <a:pt x="0" y="6"/>
                      </a:cubicBezTo>
                      <a:cubicBezTo>
                        <a:pt x="0" y="8"/>
                        <a:pt x="0" y="20"/>
                        <a:pt x="0" y="21"/>
                      </a:cubicBezTo>
                      <a:cubicBezTo>
                        <a:pt x="0" y="22"/>
                        <a:pt x="1" y="23"/>
                        <a:pt x="2" y="23"/>
                      </a:cubicBezTo>
                      <a:cubicBezTo>
                        <a:pt x="4" y="23"/>
                        <a:pt x="4" y="22"/>
                        <a:pt x="4" y="21"/>
                      </a:cubicBezTo>
                      <a:cubicBezTo>
                        <a:pt x="4" y="19"/>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7"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80" name="Oval 1095"/>
                <p:cNvSpPr>
                  <a:spLocks noChangeArrowheads="1"/>
                </p:cNvSpPr>
                <p:nvPr/>
              </p:nvSpPr>
              <p:spPr bwMode="auto">
                <a:xfrm>
                  <a:off x="14211" y="2148"/>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81" name="Freeform 1096"/>
                <p:cNvSpPr>
                  <a:spLocks/>
                </p:cNvSpPr>
                <p:nvPr/>
              </p:nvSpPr>
              <p:spPr bwMode="auto">
                <a:xfrm>
                  <a:off x="14254" y="2025"/>
                  <a:ext cx="66" cy="111"/>
                </a:xfrm>
                <a:custGeom>
                  <a:avLst/>
                  <a:gdLst>
                    <a:gd name="T0" fmla="*/ 23 w 28"/>
                    <a:gd name="T1" fmla="*/ 5 h 47"/>
                    <a:gd name="T2" fmla="*/ 18 w 28"/>
                    <a:gd name="T3" fmla="*/ 0 h 47"/>
                    <a:gd name="T4" fmla="*/ 10 w 28"/>
                    <a:gd name="T5" fmla="*/ 0 h 47"/>
                    <a:gd name="T6" fmla="*/ 5 w 28"/>
                    <a:gd name="T7" fmla="*/ 5 h 47"/>
                    <a:gd name="T8" fmla="*/ 1 w 28"/>
                    <a:gd name="T9" fmla="*/ 18 h 47"/>
                    <a:gd name="T10" fmla="*/ 2 w 28"/>
                    <a:gd name="T11" fmla="*/ 21 h 47"/>
                    <a:gd name="T12" fmla="*/ 4 w 28"/>
                    <a:gd name="T13" fmla="*/ 20 h 47"/>
                    <a:gd name="T14" fmla="*/ 8 w 28"/>
                    <a:gd name="T15" fmla="*/ 6 h 47"/>
                    <a:gd name="T16" fmla="*/ 9 w 28"/>
                    <a:gd name="T17" fmla="*/ 6 h 47"/>
                    <a:gd name="T18" fmla="*/ 3 w 28"/>
                    <a:gd name="T19" fmla="*/ 28 h 47"/>
                    <a:gd name="T20" fmla="*/ 9 w 28"/>
                    <a:gd name="T21" fmla="*/ 28 h 47"/>
                    <a:gd name="T22" fmla="*/ 9 w 28"/>
                    <a:gd name="T23" fmla="*/ 45 h 47"/>
                    <a:gd name="T24" fmla="*/ 11 w 28"/>
                    <a:gd name="T25" fmla="*/ 47 h 47"/>
                    <a:gd name="T26" fmla="*/ 14 w 28"/>
                    <a:gd name="T27" fmla="*/ 45 h 47"/>
                    <a:gd name="T28" fmla="*/ 14 w 28"/>
                    <a:gd name="T29" fmla="*/ 28 h 47"/>
                    <a:gd name="T30" fmla="*/ 15 w 28"/>
                    <a:gd name="T31" fmla="*/ 28 h 47"/>
                    <a:gd name="T32" fmla="*/ 15 w 28"/>
                    <a:gd name="T33" fmla="*/ 45 h 47"/>
                    <a:gd name="T34" fmla="*/ 17 w 28"/>
                    <a:gd name="T35" fmla="*/ 47 h 47"/>
                    <a:gd name="T36" fmla="*/ 19 w 28"/>
                    <a:gd name="T37" fmla="*/ 45 h 47"/>
                    <a:gd name="T38" fmla="*/ 19 w 28"/>
                    <a:gd name="T39" fmla="*/ 28 h 47"/>
                    <a:gd name="T40" fmla="*/ 25 w 28"/>
                    <a:gd name="T41" fmla="*/ 28 h 47"/>
                    <a:gd name="T42" fmla="*/ 19 w 28"/>
                    <a:gd name="T43" fmla="*/ 6 h 47"/>
                    <a:gd name="T44" fmla="*/ 20 w 28"/>
                    <a:gd name="T45" fmla="*/ 6 h 47"/>
                    <a:gd name="T46" fmla="*/ 24 w 28"/>
                    <a:gd name="T47" fmla="*/ 20 h 47"/>
                    <a:gd name="T48" fmla="*/ 26 w 28"/>
                    <a:gd name="T49" fmla="*/ 21 h 47"/>
                    <a:gd name="T50" fmla="*/ 27 w 28"/>
                    <a:gd name="T51" fmla="*/ 18 h 47"/>
                    <a:gd name="T52" fmla="*/ 23 w 28"/>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5"/>
                      </a:moveTo>
                      <a:cubicBezTo>
                        <a:pt x="23" y="2"/>
                        <a:pt x="20" y="0"/>
                        <a:pt x="18" y="0"/>
                      </a:cubicBezTo>
                      <a:cubicBezTo>
                        <a:pt x="17" y="0"/>
                        <a:pt x="11" y="0"/>
                        <a:pt x="10" y="0"/>
                      </a:cubicBezTo>
                      <a:cubicBezTo>
                        <a:pt x="8" y="0"/>
                        <a:pt x="5" y="2"/>
                        <a:pt x="5" y="5"/>
                      </a:cubicBezTo>
                      <a:cubicBezTo>
                        <a:pt x="3" y="10"/>
                        <a:pt x="1" y="18"/>
                        <a:pt x="1" y="18"/>
                      </a:cubicBezTo>
                      <a:cubicBezTo>
                        <a:pt x="0" y="19"/>
                        <a:pt x="1" y="20"/>
                        <a:pt x="2" y="21"/>
                      </a:cubicBezTo>
                      <a:cubicBezTo>
                        <a:pt x="3" y="21"/>
                        <a:pt x="4" y="20"/>
                        <a:pt x="4" y="20"/>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20"/>
                      </a:cubicBezTo>
                      <a:cubicBezTo>
                        <a:pt x="24" y="20"/>
                        <a:pt x="25" y="21"/>
                        <a:pt x="26" y="21"/>
                      </a:cubicBezTo>
                      <a:cubicBezTo>
                        <a:pt x="27" y="20"/>
                        <a:pt x="28"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82" name="Oval 1097"/>
                <p:cNvSpPr>
                  <a:spLocks noChangeArrowheads="1"/>
                </p:cNvSpPr>
                <p:nvPr/>
              </p:nvSpPr>
              <p:spPr bwMode="auto">
                <a:xfrm>
                  <a:off x="14275" y="1999"/>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83" name="Oval 1098"/>
                <p:cNvSpPr>
                  <a:spLocks noChangeArrowheads="1"/>
                </p:cNvSpPr>
                <p:nvPr/>
              </p:nvSpPr>
              <p:spPr bwMode="auto">
                <a:xfrm>
                  <a:off x="14408"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84" name="Freeform 1099"/>
                <p:cNvSpPr>
                  <a:spLocks/>
                </p:cNvSpPr>
                <p:nvPr/>
              </p:nvSpPr>
              <p:spPr bwMode="auto">
                <a:xfrm>
                  <a:off x="14342" y="2148"/>
                  <a:ext cx="21" cy="19"/>
                </a:xfrm>
                <a:custGeom>
                  <a:avLst/>
                  <a:gdLst>
                    <a:gd name="T0" fmla="*/ 5 w 9"/>
                    <a:gd name="T1" fmla="*/ 0 h 8"/>
                    <a:gd name="T2" fmla="*/ 0 w 9"/>
                    <a:gd name="T3" fmla="*/ 5 h 8"/>
                    <a:gd name="T4" fmla="*/ 1 w 9"/>
                    <a:gd name="T5" fmla="*/ 8 h 8"/>
                    <a:gd name="T6" fmla="*/ 9 w 9"/>
                    <a:gd name="T7" fmla="*/ 2 h 8"/>
                    <a:gd name="T8" fmla="*/ 5 w 9"/>
                    <a:gd name="T9" fmla="*/ 0 h 8"/>
                  </a:gdLst>
                  <a:ahLst/>
                  <a:cxnLst>
                    <a:cxn ang="0">
                      <a:pos x="T0" y="T1"/>
                    </a:cxn>
                    <a:cxn ang="0">
                      <a:pos x="T2" y="T3"/>
                    </a:cxn>
                    <a:cxn ang="0">
                      <a:pos x="T4" y="T5"/>
                    </a:cxn>
                    <a:cxn ang="0">
                      <a:pos x="T6" y="T7"/>
                    </a:cxn>
                    <a:cxn ang="0">
                      <a:pos x="T8" y="T9"/>
                    </a:cxn>
                  </a:cxnLst>
                  <a:rect l="0" t="0" r="r" b="b"/>
                  <a:pathLst>
                    <a:path w="9" h="8">
                      <a:moveTo>
                        <a:pt x="5" y="0"/>
                      </a:moveTo>
                      <a:cubicBezTo>
                        <a:pt x="2" y="0"/>
                        <a:pt x="0" y="2"/>
                        <a:pt x="0" y="5"/>
                      </a:cubicBezTo>
                      <a:cubicBezTo>
                        <a:pt x="0" y="6"/>
                        <a:pt x="1" y="7"/>
                        <a:pt x="1" y="8"/>
                      </a:cubicBezTo>
                      <a:cubicBezTo>
                        <a:pt x="4" y="6"/>
                        <a:pt x="7" y="4"/>
                        <a:pt x="9" y="2"/>
                      </a:cubicBezTo>
                      <a:cubicBezTo>
                        <a:pt x="8" y="1"/>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85" name="Oval 1100"/>
                <p:cNvSpPr>
                  <a:spLocks noChangeArrowheads="1"/>
                </p:cNvSpPr>
                <p:nvPr/>
              </p:nvSpPr>
              <p:spPr bwMode="auto">
                <a:xfrm>
                  <a:off x="13688" y="1999"/>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86" name="Freeform 1101"/>
                <p:cNvSpPr>
                  <a:spLocks/>
                </p:cNvSpPr>
                <p:nvPr/>
              </p:nvSpPr>
              <p:spPr bwMode="auto">
                <a:xfrm>
                  <a:off x="13956" y="2295"/>
                  <a:ext cx="16" cy="19"/>
                </a:xfrm>
                <a:custGeom>
                  <a:avLst/>
                  <a:gdLst>
                    <a:gd name="T0" fmla="*/ 7 w 7"/>
                    <a:gd name="T1" fmla="*/ 4 h 8"/>
                    <a:gd name="T2" fmla="*/ 3 w 7"/>
                    <a:gd name="T3" fmla="*/ 0 h 8"/>
                    <a:gd name="T4" fmla="*/ 0 w 7"/>
                    <a:gd name="T5" fmla="*/ 1 h 8"/>
                    <a:gd name="T6" fmla="*/ 6 w 7"/>
                    <a:gd name="T7" fmla="*/ 8 h 8"/>
                    <a:gd name="T8" fmla="*/ 7 w 7"/>
                    <a:gd name="T9" fmla="*/ 4 h 8"/>
                  </a:gdLst>
                  <a:ahLst/>
                  <a:cxnLst>
                    <a:cxn ang="0">
                      <a:pos x="T0" y="T1"/>
                    </a:cxn>
                    <a:cxn ang="0">
                      <a:pos x="T2" y="T3"/>
                    </a:cxn>
                    <a:cxn ang="0">
                      <a:pos x="T4" y="T5"/>
                    </a:cxn>
                    <a:cxn ang="0">
                      <a:pos x="T6" y="T7"/>
                    </a:cxn>
                    <a:cxn ang="0">
                      <a:pos x="T8" y="T9"/>
                    </a:cxn>
                  </a:cxnLst>
                  <a:rect l="0" t="0" r="r" b="b"/>
                  <a:pathLst>
                    <a:path w="7" h="8">
                      <a:moveTo>
                        <a:pt x="7" y="4"/>
                      </a:moveTo>
                      <a:cubicBezTo>
                        <a:pt x="7" y="2"/>
                        <a:pt x="5" y="0"/>
                        <a:pt x="3" y="0"/>
                      </a:cubicBezTo>
                      <a:cubicBezTo>
                        <a:pt x="2" y="0"/>
                        <a:pt x="1" y="0"/>
                        <a:pt x="0" y="1"/>
                      </a:cubicBezTo>
                      <a:cubicBezTo>
                        <a:pt x="2" y="3"/>
                        <a:pt x="4" y="5"/>
                        <a:pt x="6" y="8"/>
                      </a:cubicBezTo>
                      <a:cubicBezTo>
                        <a:pt x="7" y="7"/>
                        <a:pt x="7" y="6"/>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87" name="Freeform 1102"/>
                <p:cNvSpPr>
                  <a:spLocks/>
                </p:cNvSpPr>
                <p:nvPr/>
              </p:nvSpPr>
              <p:spPr bwMode="auto">
                <a:xfrm>
                  <a:off x="13871" y="2172"/>
                  <a:ext cx="52" cy="99"/>
                </a:xfrm>
                <a:custGeom>
                  <a:avLst/>
                  <a:gdLst>
                    <a:gd name="T0" fmla="*/ 18 w 22"/>
                    <a:gd name="T1" fmla="*/ 8 h 42"/>
                    <a:gd name="T2" fmla="*/ 18 w 22"/>
                    <a:gd name="T3" fmla="*/ 21 h 42"/>
                    <a:gd name="T4" fmla="*/ 20 w 22"/>
                    <a:gd name="T5" fmla="*/ 23 h 42"/>
                    <a:gd name="T6" fmla="*/ 22 w 22"/>
                    <a:gd name="T7" fmla="*/ 21 h 42"/>
                    <a:gd name="T8" fmla="*/ 22 w 22"/>
                    <a:gd name="T9" fmla="*/ 7 h 42"/>
                    <a:gd name="T10" fmla="*/ 16 w 22"/>
                    <a:gd name="T11" fmla="*/ 0 h 42"/>
                    <a:gd name="T12" fmla="*/ 6 w 22"/>
                    <a:gd name="T13" fmla="*/ 0 h 42"/>
                    <a:gd name="T14" fmla="*/ 0 w 22"/>
                    <a:gd name="T15" fmla="*/ 7 h 42"/>
                    <a:gd name="T16" fmla="*/ 0 w 22"/>
                    <a:gd name="T17" fmla="*/ 21 h 42"/>
                    <a:gd name="T18" fmla="*/ 2 w 22"/>
                    <a:gd name="T19" fmla="*/ 23 h 42"/>
                    <a:gd name="T20" fmla="*/ 4 w 22"/>
                    <a:gd name="T21" fmla="*/ 21 h 42"/>
                    <a:gd name="T22" fmla="*/ 4 w 22"/>
                    <a:gd name="T23" fmla="*/ 8 h 42"/>
                    <a:gd name="T24" fmla="*/ 5 w 22"/>
                    <a:gd name="T25" fmla="*/ 8 h 42"/>
                    <a:gd name="T26" fmla="*/ 5 w 22"/>
                    <a:gd name="T27" fmla="*/ 38 h 42"/>
                    <a:gd name="T28" fmla="*/ 10 w 22"/>
                    <a:gd name="T29" fmla="*/ 40 h 42"/>
                    <a:gd name="T30" fmla="*/ 10 w 22"/>
                    <a:gd name="T31" fmla="*/ 23 h 42"/>
                    <a:gd name="T32" fmla="*/ 12 w 22"/>
                    <a:gd name="T33" fmla="*/ 23 h 42"/>
                    <a:gd name="T34" fmla="*/ 12 w 22"/>
                    <a:gd name="T35" fmla="*/ 40 h 42"/>
                    <a:gd name="T36" fmla="*/ 17 w 22"/>
                    <a:gd name="T37" fmla="*/ 42 h 42"/>
                    <a:gd name="T38" fmla="*/ 17 w 22"/>
                    <a:gd name="T39" fmla="*/ 8 h 42"/>
                    <a:gd name="T40" fmla="*/ 18 w 22"/>
                    <a:gd name="T4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 h="42">
                      <a:moveTo>
                        <a:pt x="18" y="8"/>
                      </a:moveTo>
                      <a:cubicBezTo>
                        <a:pt x="18" y="8"/>
                        <a:pt x="18" y="20"/>
                        <a:pt x="18" y="21"/>
                      </a:cubicBezTo>
                      <a:cubicBezTo>
                        <a:pt x="18" y="22"/>
                        <a:pt x="19" y="23"/>
                        <a:pt x="20" y="23"/>
                      </a:cubicBezTo>
                      <a:cubicBezTo>
                        <a:pt x="21" y="23"/>
                        <a:pt x="22" y="22"/>
                        <a:pt x="22" y="21"/>
                      </a:cubicBezTo>
                      <a:cubicBezTo>
                        <a:pt x="22" y="20"/>
                        <a:pt x="22" y="8"/>
                        <a:pt x="22" y="7"/>
                      </a:cubicBezTo>
                      <a:cubicBezTo>
                        <a:pt x="22" y="3"/>
                        <a:pt x="20" y="0"/>
                        <a:pt x="16" y="0"/>
                      </a:cubicBezTo>
                      <a:cubicBezTo>
                        <a:pt x="15" y="0"/>
                        <a:pt x="7" y="0"/>
                        <a:pt x="6" y="0"/>
                      </a:cubicBezTo>
                      <a:cubicBezTo>
                        <a:pt x="2"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27"/>
                        <a:pt x="5" y="38"/>
                      </a:cubicBezTo>
                      <a:cubicBezTo>
                        <a:pt x="7" y="39"/>
                        <a:pt x="9" y="39"/>
                        <a:pt x="10" y="40"/>
                      </a:cubicBezTo>
                      <a:cubicBezTo>
                        <a:pt x="10" y="33"/>
                        <a:pt x="10" y="23"/>
                        <a:pt x="10" y="23"/>
                      </a:cubicBezTo>
                      <a:cubicBezTo>
                        <a:pt x="10" y="23"/>
                        <a:pt x="10" y="23"/>
                        <a:pt x="12" y="23"/>
                      </a:cubicBezTo>
                      <a:cubicBezTo>
                        <a:pt x="12" y="23"/>
                        <a:pt x="12" y="34"/>
                        <a:pt x="12" y="40"/>
                      </a:cubicBezTo>
                      <a:cubicBezTo>
                        <a:pt x="13" y="41"/>
                        <a:pt x="15" y="41"/>
                        <a:pt x="17" y="42"/>
                      </a:cubicBezTo>
                      <a:cubicBezTo>
                        <a:pt x="17" y="34"/>
                        <a:pt x="17" y="8"/>
                        <a:pt x="17" y="8"/>
                      </a:cubicBezTo>
                      <a:cubicBezTo>
                        <a:pt x="17" y="8"/>
                        <a:pt x="17"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88" name="Freeform 1103"/>
                <p:cNvSpPr>
                  <a:spLocks/>
                </p:cNvSpPr>
                <p:nvPr/>
              </p:nvSpPr>
              <p:spPr bwMode="auto">
                <a:xfrm>
                  <a:off x="13972" y="2318"/>
                  <a:ext cx="17" cy="55"/>
                </a:xfrm>
                <a:custGeom>
                  <a:avLst/>
                  <a:gdLst>
                    <a:gd name="T0" fmla="*/ 3 w 7"/>
                    <a:gd name="T1" fmla="*/ 8 h 23"/>
                    <a:gd name="T2" fmla="*/ 3 w 7"/>
                    <a:gd name="T3" fmla="*/ 21 h 23"/>
                    <a:gd name="T4" fmla="*/ 5 w 7"/>
                    <a:gd name="T5" fmla="*/ 23 h 23"/>
                    <a:gd name="T6" fmla="*/ 7 w 7"/>
                    <a:gd name="T7" fmla="*/ 21 h 23"/>
                    <a:gd name="T8" fmla="*/ 7 w 7"/>
                    <a:gd name="T9" fmla="*/ 6 h 23"/>
                    <a:gd name="T10" fmla="*/ 1 w 7"/>
                    <a:gd name="T11" fmla="*/ 0 h 23"/>
                    <a:gd name="T12" fmla="*/ 0 w 7"/>
                    <a:gd name="T13" fmla="*/ 0 h 23"/>
                    <a:gd name="T14" fmla="*/ 2 w 7"/>
                    <a:gd name="T15" fmla="*/ 5 h 23"/>
                    <a:gd name="T16" fmla="*/ 2 w 7"/>
                    <a:gd name="T17" fmla="*/ 21 h 23"/>
                    <a:gd name="T18" fmla="*/ 2 w 7"/>
                    <a:gd name="T19" fmla="*/ 8 h 23"/>
                    <a:gd name="T20" fmla="*/ 3 w 7"/>
                    <a:gd name="T21"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23">
                      <a:moveTo>
                        <a:pt x="3" y="8"/>
                      </a:moveTo>
                      <a:cubicBezTo>
                        <a:pt x="3" y="8"/>
                        <a:pt x="3" y="20"/>
                        <a:pt x="3" y="21"/>
                      </a:cubicBezTo>
                      <a:cubicBezTo>
                        <a:pt x="3" y="22"/>
                        <a:pt x="4" y="23"/>
                        <a:pt x="5" y="23"/>
                      </a:cubicBezTo>
                      <a:cubicBezTo>
                        <a:pt x="6" y="23"/>
                        <a:pt x="7" y="22"/>
                        <a:pt x="7" y="21"/>
                      </a:cubicBezTo>
                      <a:cubicBezTo>
                        <a:pt x="7" y="20"/>
                        <a:pt x="7" y="8"/>
                        <a:pt x="7" y="6"/>
                      </a:cubicBezTo>
                      <a:cubicBezTo>
                        <a:pt x="7" y="3"/>
                        <a:pt x="4" y="0"/>
                        <a:pt x="1" y="0"/>
                      </a:cubicBezTo>
                      <a:cubicBezTo>
                        <a:pt x="1" y="0"/>
                        <a:pt x="0" y="0"/>
                        <a:pt x="0" y="0"/>
                      </a:cubicBezTo>
                      <a:cubicBezTo>
                        <a:pt x="1" y="2"/>
                        <a:pt x="1" y="3"/>
                        <a:pt x="2" y="5"/>
                      </a:cubicBezTo>
                      <a:cubicBezTo>
                        <a:pt x="2" y="5"/>
                        <a:pt x="1" y="13"/>
                        <a:pt x="2" y="21"/>
                      </a:cubicBezTo>
                      <a:cubicBezTo>
                        <a:pt x="2" y="14"/>
                        <a:pt x="2" y="8"/>
                        <a:pt x="2" y="8"/>
                      </a:cubicBezTo>
                      <a:cubicBezTo>
                        <a:pt x="2" y="8"/>
                        <a:pt x="2"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89" name="Oval 1104"/>
                <p:cNvSpPr>
                  <a:spLocks noChangeArrowheads="1"/>
                </p:cNvSpPr>
                <p:nvPr/>
              </p:nvSpPr>
              <p:spPr bwMode="auto">
                <a:xfrm>
                  <a:off x="13688" y="2148"/>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90" name="Freeform 1105"/>
                <p:cNvSpPr>
                  <a:spLocks/>
                </p:cNvSpPr>
                <p:nvPr/>
              </p:nvSpPr>
              <p:spPr bwMode="auto">
                <a:xfrm>
                  <a:off x="13755" y="2148"/>
                  <a:ext cx="21" cy="12"/>
                </a:xfrm>
                <a:custGeom>
                  <a:avLst/>
                  <a:gdLst>
                    <a:gd name="T0" fmla="*/ 5 w 9"/>
                    <a:gd name="T1" fmla="*/ 0 h 5"/>
                    <a:gd name="T2" fmla="*/ 0 w 9"/>
                    <a:gd name="T3" fmla="*/ 5 h 5"/>
                    <a:gd name="T4" fmla="*/ 0 w 9"/>
                    <a:gd name="T5" fmla="*/ 5 h 5"/>
                    <a:gd name="T6" fmla="*/ 9 w 9"/>
                    <a:gd name="T7" fmla="*/ 4 h 5"/>
                    <a:gd name="T8" fmla="*/ 5 w 9"/>
                    <a:gd name="T9" fmla="*/ 0 h 5"/>
                  </a:gdLst>
                  <a:ahLst/>
                  <a:cxnLst>
                    <a:cxn ang="0">
                      <a:pos x="T0" y="T1"/>
                    </a:cxn>
                    <a:cxn ang="0">
                      <a:pos x="T2" y="T3"/>
                    </a:cxn>
                    <a:cxn ang="0">
                      <a:pos x="T4" y="T5"/>
                    </a:cxn>
                    <a:cxn ang="0">
                      <a:pos x="T6" y="T7"/>
                    </a:cxn>
                    <a:cxn ang="0">
                      <a:pos x="T8" y="T9"/>
                    </a:cxn>
                  </a:cxnLst>
                  <a:rect l="0" t="0" r="r" b="b"/>
                  <a:pathLst>
                    <a:path w="9" h="5">
                      <a:moveTo>
                        <a:pt x="5" y="0"/>
                      </a:moveTo>
                      <a:cubicBezTo>
                        <a:pt x="2" y="0"/>
                        <a:pt x="0" y="2"/>
                        <a:pt x="0" y="5"/>
                      </a:cubicBezTo>
                      <a:cubicBezTo>
                        <a:pt x="0" y="5"/>
                        <a:pt x="0" y="5"/>
                        <a:pt x="0" y="5"/>
                      </a:cubicBezTo>
                      <a:cubicBezTo>
                        <a:pt x="3" y="4"/>
                        <a:pt x="6" y="4"/>
                        <a:pt x="9" y="4"/>
                      </a:cubicBezTo>
                      <a:cubicBezTo>
                        <a:pt x="9" y="2"/>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91" name="Freeform 1106"/>
                <p:cNvSpPr>
                  <a:spLocks/>
                </p:cNvSpPr>
                <p:nvPr/>
              </p:nvSpPr>
              <p:spPr bwMode="auto">
                <a:xfrm>
                  <a:off x="13800" y="2174"/>
                  <a:ext cx="64" cy="73"/>
                </a:xfrm>
                <a:custGeom>
                  <a:avLst/>
                  <a:gdLst>
                    <a:gd name="T0" fmla="*/ 25 w 27"/>
                    <a:gd name="T1" fmla="*/ 28 h 31"/>
                    <a:gd name="T2" fmla="*/ 18 w 27"/>
                    <a:gd name="T3" fmla="*/ 6 h 31"/>
                    <a:gd name="T4" fmla="*/ 19 w 27"/>
                    <a:gd name="T5" fmla="*/ 6 h 31"/>
                    <a:gd name="T6" fmla="*/ 23 w 27"/>
                    <a:gd name="T7" fmla="*/ 19 h 31"/>
                    <a:gd name="T8" fmla="*/ 25 w 27"/>
                    <a:gd name="T9" fmla="*/ 20 h 31"/>
                    <a:gd name="T10" fmla="*/ 26 w 27"/>
                    <a:gd name="T11" fmla="*/ 18 h 31"/>
                    <a:gd name="T12" fmla="*/ 23 w 27"/>
                    <a:gd name="T13" fmla="*/ 4 h 31"/>
                    <a:gd name="T14" fmla="*/ 17 w 27"/>
                    <a:gd name="T15" fmla="*/ 0 h 31"/>
                    <a:gd name="T16" fmla="*/ 10 w 27"/>
                    <a:gd name="T17" fmla="*/ 0 h 31"/>
                    <a:gd name="T18" fmla="*/ 4 w 27"/>
                    <a:gd name="T19" fmla="*/ 4 h 31"/>
                    <a:gd name="T20" fmla="*/ 0 w 27"/>
                    <a:gd name="T21" fmla="*/ 18 h 31"/>
                    <a:gd name="T22" fmla="*/ 2 w 27"/>
                    <a:gd name="T23" fmla="*/ 20 h 31"/>
                    <a:gd name="T24" fmla="*/ 4 w 27"/>
                    <a:gd name="T25" fmla="*/ 19 h 31"/>
                    <a:gd name="T26" fmla="*/ 7 w 27"/>
                    <a:gd name="T27" fmla="*/ 6 h 31"/>
                    <a:gd name="T28" fmla="*/ 9 w 27"/>
                    <a:gd name="T29" fmla="*/ 6 h 31"/>
                    <a:gd name="T30" fmla="*/ 4 w 27"/>
                    <a:gd name="T31" fmla="*/ 22 h 31"/>
                    <a:gd name="T32" fmla="*/ 13 w 27"/>
                    <a:gd name="T33" fmla="*/ 29 h 31"/>
                    <a:gd name="T34" fmla="*/ 13 w 27"/>
                    <a:gd name="T35" fmla="*/ 28 h 31"/>
                    <a:gd name="T36" fmla="*/ 14 w 27"/>
                    <a:gd name="T37" fmla="*/ 28 h 31"/>
                    <a:gd name="T38" fmla="*/ 14 w 27"/>
                    <a:gd name="T39" fmla="*/ 29 h 31"/>
                    <a:gd name="T40" fmla="*/ 18 w 27"/>
                    <a:gd name="T41" fmla="*/ 31 h 31"/>
                    <a:gd name="T42" fmla="*/ 18 w 27"/>
                    <a:gd name="T43" fmla="*/ 28 h 31"/>
                    <a:gd name="T44" fmla="*/ 25 w 27"/>
                    <a:gd name="T45"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31">
                      <a:moveTo>
                        <a:pt x="25" y="28"/>
                      </a:moveTo>
                      <a:cubicBezTo>
                        <a:pt x="18" y="6"/>
                        <a:pt x="18" y="6"/>
                        <a:pt x="18" y="6"/>
                      </a:cubicBezTo>
                      <a:cubicBezTo>
                        <a:pt x="19" y="6"/>
                        <a:pt x="19" y="6"/>
                        <a:pt x="19" y="6"/>
                      </a:cubicBezTo>
                      <a:cubicBezTo>
                        <a:pt x="19" y="6"/>
                        <a:pt x="23" y="18"/>
                        <a:pt x="23" y="19"/>
                      </a:cubicBezTo>
                      <a:cubicBezTo>
                        <a:pt x="23" y="20"/>
                        <a:pt x="24" y="20"/>
                        <a:pt x="25" y="20"/>
                      </a:cubicBezTo>
                      <a:cubicBezTo>
                        <a:pt x="26" y="20"/>
                        <a:pt x="27" y="19"/>
                        <a:pt x="26" y="18"/>
                      </a:cubicBezTo>
                      <a:cubicBezTo>
                        <a:pt x="26" y="17"/>
                        <a:pt x="24" y="10"/>
                        <a:pt x="23" y="4"/>
                      </a:cubicBezTo>
                      <a:cubicBezTo>
                        <a:pt x="22" y="2"/>
                        <a:pt x="20" y="0"/>
                        <a:pt x="17" y="0"/>
                      </a:cubicBezTo>
                      <a:cubicBezTo>
                        <a:pt x="16" y="0"/>
                        <a:pt x="11" y="0"/>
                        <a:pt x="10" y="0"/>
                      </a:cubicBezTo>
                      <a:cubicBezTo>
                        <a:pt x="7" y="0"/>
                        <a:pt x="5" y="2"/>
                        <a:pt x="4" y="4"/>
                      </a:cubicBezTo>
                      <a:cubicBezTo>
                        <a:pt x="3" y="9"/>
                        <a:pt x="1" y="16"/>
                        <a:pt x="0" y="18"/>
                      </a:cubicBezTo>
                      <a:cubicBezTo>
                        <a:pt x="1" y="18"/>
                        <a:pt x="1" y="19"/>
                        <a:pt x="2" y="20"/>
                      </a:cubicBezTo>
                      <a:cubicBezTo>
                        <a:pt x="3" y="20"/>
                        <a:pt x="3" y="20"/>
                        <a:pt x="4" y="19"/>
                      </a:cubicBezTo>
                      <a:cubicBezTo>
                        <a:pt x="4" y="18"/>
                        <a:pt x="7" y="6"/>
                        <a:pt x="7" y="6"/>
                      </a:cubicBezTo>
                      <a:cubicBezTo>
                        <a:pt x="9" y="6"/>
                        <a:pt x="9" y="6"/>
                        <a:pt x="9" y="6"/>
                      </a:cubicBezTo>
                      <a:cubicBezTo>
                        <a:pt x="6" y="14"/>
                        <a:pt x="5" y="19"/>
                        <a:pt x="4" y="22"/>
                      </a:cubicBezTo>
                      <a:cubicBezTo>
                        <a:pt x="6" y="25"/>
                        <a:pt x="9" y="27"/>
                        <a:pt x="13" y="29"/>
                      </a:cubicBezTo>
                      <a:cubicBezTo>
                        <a:pt x="13" y="28"/>
                        <a:pt x="13" y="28"/>
                        <a:pt x="13" y="28"/>
                      </a:cubicBezTo>
                      <a:cubicBezTo>
                        <a:pt x="14" y="28"/>
                        <a:pt x="14" y="28"/>
                        <a:pt x="14" y="28"/>
                      </a:cubicBezTo>
                      <a:cubicBezTo>
                        <a:pt x="14" y="28"/>
                        <a:pt x="14" y="28"/>
                        <a:pt x="14" y="29"/>
                      </a:cubicBezTo>
                      <a:cubicBezTo>
                        <a:pt x="15" y="30"/>
                        <a:pt x="17" y="31"/>
                        <a:pt x="18" y="31"/>
                      </a:cubicBezTo>
                      <a:cubicBezTo>
                        <a:pt x="18" y="30"/>
                        <a:pt x="18" y="29"/>
                        <a:pt x="18" y="28"/>
                      </a:cubicBezTo>
                      <a:cubicBezTo>
                        <a:pt x="25" y="28"/>
                        <a:pt x="25" y="28"/>
                        <a:pt x="25"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92" name="Freeform 1107"/>
                <p:cNvSpPr>
                  <a:spLocks/>
                </p:cNvSpPr>
                <p:nvPr/>
              </p:nvSpPr>
              <p:spPr bwMode="auto">
                <a:xfrm>
                  <a:off x="13790" y="2181"/>
                  <a:ext cx="3" cy="12"/>
                </a:xfrm>
                <a:custGeom>
                  <a:avLst/>
                  <a:gdLst>
                    <a:gd name="T0" fmla="*/ 0 w 1"/>
                    <a:gd name="T1" fmla="*/ 0 h 5"/>
                    <a:gd name="T2" fmla="*/ 1 w 1"/>
                    <a:gd name="T3" fmla="*/ 5 h 5"/>
                    <a:gd name="T4" fmla="*/ 1 w 1"/>
                    <a:gd name="T5" fmla="*/ 3 h 5"/>
                    <a:gd name="T6" fmla="*/ 0 w 1"/>
                    <a:gd name="T7" fmla="*/ 0 h 5"/>
                  </a:gdLst>
                  <a:ahLst/>
                  <a:cxnLst>
                    <a:cxn ang="0">
                      <a:pos x="T0" y="T1"/>
                    </a:cxn>
                    <a:cxn ang="0">
                      <a:pos x="T2" y="T3"/>
                    </a:cxn>
                    <a:cxn ang="0">
                      <a:pos x="T4" y="T5"/>
                    </a:cxn>
                    <a:cxn ang="0">
                      <a:pos x="T6" y="T7"/>
                    </a:cxn>
                  </a:cxnLst>
                  <a:rect l="0" t="0" r="r" b="b"/>
                  <a:pathLst>
                    <a:path w="1" h="5">
                      <a:moveTo>
                        <a:pt x="0" y="0"/>
                      </a:moveTo>
                      <a:cubicBezTo>
                        <a:pt x="0" y="2"/>
                        <a:pt x="1" y="4"/>
                        <a:pt x="1" y="5"/>
                      </a:cubicBezTo>
                      <a:cubicBezTo>
                        <a:pt x="1" y="4"/>
                        <a:pt x="1" y="3"/>
                        <a:pt x="1" y="3"/>
                      </a:cubicBezTo>
                      <a:cubicBezTo>
                        <a:pt x="1" y="2"/>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93" name="Freeform 1108"/>
                <p:cNvSpPr>
                  <a:spLocks/>
                </p:cNvSpPr>
                <p:nvPr/>
              </p:nvSpPr>
              <p:spPr bwMode="auto">
                <a:xfrm>
                  <a:off x="13672" y="2174"/>
                  <a:ext cx="52" cy="33"/>
                </a:xfrm>
                <a:custGeom>
                  <a:avLst/>
                  <a:gdLst>
                    <a:gd name="T0" fmla="*/ 16 w 22"/>
                    <a:gd name="T1" fmla="*/ 0 h 14"/>
                    <a:gd name="T2" fmla="*/ 8 w 22"/>
                    <a:gd name="T3" fmla="*/ 0 h 14"/>
                    <a:gd name="T4" fmla="*/ 3 w 22"/>
                    <a:gd name="T5" fmla="*/ 4 h 14"/>
                    <a:gd name="T6" fmla="*/ 0 w 22"/>
                    <a:gd name="T7" fmla="*/ 14 h 14"/>
                    <a:gd name="T8" fmla="*/ 4 w 22"/>
                    <a:gd name="T9" fmla="*/ 14 h 14"/>
                    <a:gd name="T10" fmla="*/ 6 w 22"/>
                    <a:gd name="T11" fmla="*/ 6 h 14"/>
                    <a:gd name="T12" fmla="*/ 7 w 22"/>
                    <a:gd name="T13" fmla="*/ 6 h 14"/>
                    <a:gd name="T14" fmla="*/ 5 w 22"/>
                    <a:gd name="T15" fmla="*/ 14 h 14"/>
                    <a:gd name="T16" fmla="*/ 11 w 22"/>
                    <a:gd name="T17" fmla="*/ 13 h 14"/>
                    <a:gd name="T18" fmla="*/ 18 w 22"/>
                    <a:gd name="T19" fmla="*/ 10 h 14"/>
                    <a:gd name="T20" fmla="*/ 17 w 22"/>
                    <a:gd name="T21" fmla="*/ 6 h 14"/>
                    <a:gd name="T22" fmla="*/ 18 w 22"/>
                    <a:gd name="T23" fmla="*/ 6 h 14"/>
                    <a:gd name="T24" fmla="*/ 19 w 22"/>
                    <a:gd name="T25" fmla="*/ 9 h 14"/>
                    <a:gd name="T26" fmla="*/ 22 w 22"/>
                    <a:gd name="T27" fmla="*/ 6 h 14"/>
                    <a:gd name="T28" fmla="*/ 21 w 22"/>
                    <a:gd name="T29" fmla="*/ 4 h 14"/>
                    <a:gd name="T30" fmla="*/ 16 w 22"/>
                    <a:gd name="T3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4">
                      <a:moveTo>
                        <a:pt x="16" y="0"/>
                      </a:moveTo>
                      <a:cubicBezTo>
                        <a:pt x="15" y="0"/>
                        <a:pt x="9" y="0"/>
                        <a:pt x="8" y="0"/>
                      </a:cubicBezTo>
                      <a:cubicBezTo>
                        <a:pt x="6" y="0"/>
                        <a:pt x="4" y="2"/>
                        <a:pt x="3" y="4"/>
                      </a:cubicBezTo>
                      <a:cubicBezTo>
                        <a:pt x="2" y="7"/>
                        <a:pt x="1" y="11"/>
                        <a:pt x="0" y="14"/>
                      </a:cubicBezTo>
                      <a:cubicBezTo>
                        <a:pt x="1" y="14"/>
                        <a:pt x="2" y="14"/>
                        <a:pt x="4" y="14"/>
                      </a:cubicBezTo>
                      <a:cubicBezTo>
                        <a:pt x="5" y="10"/>
                        <a:pt x="6" y="6"/>
                        <a:pt x="6" y="6"/>
                      </a:cubicBezTo>
                      <a:cubicBezTo>
                        <a:pt x="7" y="6"/>
                        <a:pt x="7" y="6"/>
                        <a:pt x="7" y="6"/>
                      </a:cubicBezTo>
                      <a:cubicBezTo>
                        <a:pt x="6" y="9"/>
                        <a:pt x="6" y="12"/>
                        <a:pt x="5" y="14"/>
                      </a:cubicBezTo>
                      <a:cubicBezTo>
                        <a:pt x="7" y="14"/>
                        <a:pt x="9" y="14"/>
                        <a:pt x="11" y="13"/>
                      </a:cubicBezTo>
                      <a:cubicBezTo>
                        <a:pt x="14" y="12"/>
                        <a:pt x="16" y="11"/>
                        <a:pt x="18" y="10"/>
                      </a:cubicBezTo>
                      <a:cubicBezTo>
                        <a:pt x="17" y="6"/>
                        <a:pt x="17" y="6"/>
                        <a:pt x="17" y="6"/>
                      </a:cubicBezTo>
                      <a:cubicBezTo>
                        <a:pt x="18" y="6"/>
                        <a:pt x="18" y="6"/>
                        <a:pt x="18" y="6"/>
                      </a:cubicBezTo>
                      <a:cubicBezTo>
                        <a:pt x="18" y="6"/>
                        <a:pt x="18" y="7"/>
                        <a:pt x="19" y="9"/>
                      </a:cubicBezTo>
                      <a:cubicBezTo>
                        <a:pt x="20" y="8"/>
                        <a:pt x="21" y="7"/>
                        <a:pt x="22" y="6"/>
                      </a:cubicBezTo>
                      <a:cubicBezTo>
                        <a:pt x="22" y="5"/>
                        <a:pt x="21" y="5"/>
                        <a:pt x="21" y="4"/>
                      </a:cubicBezTo>
                      <a:cubicBezTo>
                        <a:pt x="20" y="2"/>
                        <a:pt x="18"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94" name="Freeform 1109"/>
                <p:cNvSpPr>
                  <a:spLocks/>
                </p:cNvSpPr>
                <p:nvPr/>
              </p:nvSpPr>
              <p:spPr bwMode="auto">
                <a:xfrm>
                  <a:off x="13996" y="2318"/>
                  <a:ext cx="33" cy="88"/>
                </a:xfrm>
                <a:custGeom>
                  <a:avLst/>
                  <a:gdLst>
                    <a:gd name="T0" fmla="*/ 4 w 14"/>
                    <a:gd name="T1" fmla="*/ 5 h 37"/>
                    <a:gd name="T2" fmla="*/ 0 w 14"/>
                    <a:gd name="T3" fmla="*/ 19 h 37"/>
                    <a:gd name="T4" fmla="*/ 1 w 14"/>
                    <a:gd name="T5" fmla="*/ 21 h 37"/>
                    <a:gd name="T6" fmla="*/ 4 w 14"/>
                    <a:gd name="T7" fmla="*/ 20 h 37"/>
                    <a:gd name="T8" fmla="*/ 7 w 14"/>
                    <a:gd name="T9" fmla="*/ 7 h 37"/>
                    <a:gd name="T10" fmla="*/ 9 w 14"/>
                    <a:gd name="T11" fmla="*/ 7 h 37"/>
                    <a:gd name="T12" fmla="*/ 2 w 14"/>
                    <a:gd name="T13" fmla="*/ 28 h 37"/>
                    <a:gd name="T14" fmla="*/ 8 w 14"/>
                    <a:gd name="T15" fmla="*/ 28 h 37"/>
                    <a:gd name="T16" fmla="*/ 8 w 14"/>
                    <a:gd name="T17" fmla="*/ 37 h 37"/>
                    <a:gd name="T18" fmla="*/ 11 w 14"/>
                    <a:gd name="T19" fmla="*/ 33 h 37"/>
                    <a:gd name="T20" fmla="*/ 10 w 14"/>
                    <a:gd name="T21" fmla="*/ 0 h 37"/>
                    <a:gd name="T22" fmla="*/ 10 w 14"/>
                    <a:gd name="T23" fmla="*/ 0 h 37"/>
                    <a:gd name="T24" fmla="*/ 4 w 14"/>
                    <a:gd name="T25" fmla="*/ 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37">
                      <a:moveTo>
                        <a:pt x="4" y="5"/>
                      </a:moveTo>
                      <a:cubicBezTo>
                        <a:pt x="2" y="11"/>
                        <a:pt x="0" y="18"/>
                        <a:pt x="0" y="19"/>
                      </a:cubicBezTo>
                      <a:cubicBezTo>
                        <a:pt x="0" y="20"/>
                        <a:pt x="0" y="21"/>
                        <a:pt x="1" y="21"/>
                      </a:cubicBezTo>
                      <a:cubicBezTo>
                        <a:pt x="2" y="21"/>
                        <a:pt x="3" y="21"/>
                        <a:pt x="4" y="20"/>
                      </a:cubicBezTo>
                      <a:cubicBezTo>
                        <a:pt x="4" y="18"/>
                        <a:pt x="7" y="7"/>
                        <a:pt x="7" y="7"/>
                      </a:cubicBezTo>
                      <a:cubicBezTo>
                        <a:pt x="9" y="7"/>
                        <a:pt x="9" y="7"/>
                        <a:pt x="9" y="7"/>
                      </a:cubicBezTo>
                      <a:cubicBezTo>
                        <a:pt x="2" y="28"/>
                        <a:pt x="2" y="28"/>
                        <a:pt x="2" y="28"/>
                      </a:cubicBezTo>
                      <a:cubicBezTo>
                        <a:pt x="8" y="28"/>
                        <a:pt x="8" y="28"/>
                        <a:pt x="8" y="28"/>
                      </a:cubicBezTo>
                      <a:cubicBezTo>
                        <a:pt x="8" y="31"/>
                        <a:pt x="8" y="35"/>
                        <a:pt x="8" y="37"/>
                      </a:cubicBezTo>
                      <a:cubicBezTo>
                        <a:pt x="9" y="36"/>
                        <a:pt x="10" y="35"/>
                        <a:pt x="11" y="33"/>
                      </a:cubicBezTo>
                      <a:cubicBezTo>
                        <a:pt x="14" y="27"/>
                        <a:pt x="12" y="13"/>
                        <a:pt x="10" y="0"/>
                      </a:cubicBezTo>
                      <a:cubicBezTo>
                        <a:pt x="10" y="0"/>
                        <a:pt x="10" y="0"/>
                        <a:pt x="10" y="0"/>
                      </a:cubicBezTo>
                      <a:cubicBezTo>
                        <a:pt x="7" y="0"/>
                        <a:pt x="5" y="3"/>
                        <a:pt x="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95" name="Oval 1110"/>
                <p:cNvSpPr>
                  <a:spLocks noChangeArrowheads="1"/>
                </p:cNvSpPr>
                <p:nvPr/>
              </p:nvSpPr>
              <p:spPr bwMode="auto">
                <a:xfrm>
                  <a:off x="14017" y="1999"/>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96" name="Oval 1111"/>
                <p:cNvSpPr>
                  <a:spLocks noChangeArrowheads="1"/>
                </p:cNvSpPr>
                <p:nvPr/>
              </p:nvSpPr>
              <p:spPr bwMode="auto">
                <a:xfrm>
                  <a:off x="13951"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97" name="Freeform 1112"/>
                <p:cNvSpPr>
                  <a:spLocks/>
                </p:cNvSpPr>
                <p:nvPr/>
              </p:nvSpPr>
              <p:spPr bwMode="auto">
                <a:xfrm>
                  <a:off x="13935" y="2025"/>
                  <a:ext cx="54" cy="111"/>
                </a:xfrm>
                <a:custGeom>
                  <a:avLst/>
                  <a:gdLst>
                    <a:gd name="T0" fmla="*/ 21 w 23"/>
                    <a:gd name="T1" fmla="*/ 23 h 47"/>
                    <a:gd name="T2" fmla="*/ 23 w 23"/>
                    <a:gd name="T3" fmla="*/ 21 h 47"/>
                    <a:gd name="T4" fmla="*/ 23 w 23"/>
                    <a:gd name="T5" fmla="*/ 6 h 47"/>
                    <a:gd name="T6" fmla="*/ 17 w 23"/>
                    <a:gd name="T7" fmla="*/ 0 h 47"/>
                    <a:gd name="T8" fmla="*/ 6 w 23"/>
                    <a:gd name="T9" fmla="*/ 0 h 47"/>
                    <a:gd name="T10" fmla="*/ 0 w 23"/>
                    <a:gd name="T11" fmla="*/ 6 h 47"/>
                    <a:gd name="T12" fmla="*/ 0 w 23"/>
                    <a:gd name="T13" fmla="*/ 21 h 47"/>
                    <a:gd name="T14" fmla="*/ 2 w 23"/>
                    <a:gd name="T15" fmla="*/ 23 h 47"/>
                    <a:gd name="T16" fmla="*/ 4 w 23"/>
                    <a:gd name="T17" fmla="*/ 21 h 47"/>
                    <a:gd name="T18" fmla="*/ 4 w 23"/>
                    <a:gd name="T19" fmla="*/ 8 h 47"/>
                    <a:gd name="T20" fmla="*/ 6 w 23"/>
                    <a:gd name="T21" fmla="*/ 8 h 47"/>
                    <a:gd name="T22" fmla="*/ 6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8 w 23"/>
                    <a:gd name="T37" fmla="*/ 44 h 47"/>
                    <a:gd name="T38" fmla="*/ 18 w 23"/>
                    <a:gd name="T39" fmla="*/ 8 h 47"/>
                    <a:gd name="T40" fmla="*/ 19 w 23"/>
                    <a:gd name="T41" fmla="*/ 8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ubicBezTo>
                        <a:pt x="0" y="22"/>
                        <a:pt x="1" y="23"/>
                        <a:pt x="2" y="23"/>
                      </a:cubicBezTo>
                      <a:cubicBezTo>
                        <a:pt x="4" y="23"/>
                        <a:pt x="4" y="22"/>
                        <a:pt x="4" y="21"/>
                      </a:cubicBezTo>
                      <a:cubicBezTo>
                        <a:pt x="4" y="19"/>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98" name="Oval 1113"/>
                <p:cNvSpPr>
                  <a:spLocks noChangeArrowheads="1"/>
                </p:cNvSpPr>
                <p:nvPr/>
              </p:nvSpPr>
              <p:spPr bwMode="auto">
                <a:xfrm>
                  <a:off x="13951" y="2148"/>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199" name="Freeform 1114"/>
                <p:cNvSpPr>
                  <a:spLocks/>
                </p:cNvSpPr>
                <p:nvPr/>
              </p:nvSpPr>
              <p:spPr bwMode="auto">
                <a:xfrm>
                  <a:off x="14017" y="2299"/>
                  <a:ext cx="3" cy="15"/>
                </a:xfrm>
                <a:custGeom>
                  <a:avLst/>
                  <a:gdLst>
                    <a:gd name="T0" fmla="*/ 1 w 1"/>
                    <a:gd name="T1" fmla="*/ 6 h 6"/>
                    <a:gd name="T2" fmla="*/ 0 w 1"/>
                    <a:gd name="T3" fmla="*/ 0 h 6"/>
                    <a:gd name="T4" fmla="*/ 0 w 1"/>
                    <a:gd name="T5" fmla="*/ 2 h 6"/>
                    <a:gd name="T6" fmla="*/ 1 w 1"/>
                    <a:gd name="T7" fmla="*/ 6 h 6"/>
                  </a:gdLst>
                  <a:ahLst/>
                  <a:cxnLst>
                    <a:cxn ang="0">
                      <a:pos x="T0" y="T1"/>
                    </a:cxn>
                    <a:cxn ang="0">
                      <a:pos x="T2" y="T3"/>
                    </a:cxn>
                    <a:cxn ang="0">
                      <a:pos x="T4" y="T5"/>
                    </a:cxn>
                    <a:cxn ang="0">
                      <a:pos x="T6" y="T7"/>
                    </a:cxn>
                  </a:cxnLst>
                  <a:rect l="0" t="0" r="r" b="b"/>
                  <a:pathLst>
                    <a:path w="1" h="6">
                      <a:moveTo>
                        <a:pt x="1" y="6"/>
                      </a:moveTo>
                      <a:cubicBezTo>
                        <a:pt x="1" y="4"/>
                        <a:pt x="0" y="2"/>
                        <a:pt x="0" y="0"/>
                      </a:cubicBezTo>
                      <a:cubicBezTo>
                        <a:pt x="0" y="1"/>
                        <a:pt x="0" y="2"/>
                        <a:pt x="0" y="2"/>
                      </a:cubicBezTo>
                      <a:cubicBezTo>
                        <a:pt x="0" y="4"/>
                        <a:pt x="0" y="5"/>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00" name="Freeform 1115"/>
                <p:cNvSpPr>
                  <a:spLocks/>
                </p:cNvSpPr>
                <p:nvPr/>
              </p:nvSpPr>
              <p:spPr bwMode="auto">
                <a:xfrm>
                  <a:off x="13996" y="2025"/>
                  <a:ext cx="64" cy="111"/>
                </a:xfrm>
                <a:custGeom>
                  <a:avLst/>
                  <a:gdLst>
                    <a:gd name="T0" fmla="*/ 23 w 27"/>
                    <a:gd name="T1" fmla="*/ 5 h 47"/>
                    <a:gd name="T2" fmla="*/ 17 w 27"/>
                    <a:gd name="T3" fmla="*/ 0 h 47"/>
                    <a:gd name="T4" fmla="*/ 10 w 27"/>
                    <a:gd name="T5" fmla="*/ 0 h 47"/>
                    <a:gd name="T6" fmla="*/ 4 w 27"/>
                    <a:gd name="T7" fmla="*/ 5 h 47"/>
                    <a:gd name="T8" fmla="*/ 0 w 27"/>
                    <a:gd name="T9" fmla="*/ 18 h 47"/>
                    <a:gd name="T10" fmla="*/ 1 w 27"/>
                    <a:gd name="T11" fmla="*/ 21 h 47"/>
                    <a:gd name="T12" fmla="*/ 4 w 27"/>
                    <a:gd name="T13" fmla="*/ 20 h 47"/>
                    <a:gd name="T14" fmla="*/ 7 w 27"/>
                    <a:gd name="T15" fmla="*/ 6 h 47"/>
                    <a:gd name="T16" fmla="*/ 9 w 27"/>
                    <a:gd name="T17" fmla="*/ 6 h 47"/>
                    <a:gd name="T18" fmla="*/ 2 w 27"/>
                    <a:gd name="T19" fmla="*/ 28 h 47"/>
                    <a:gd name="T20" fmla="*/ 8 w 27"/>
                    <a:gd name="T21" fmla="*/ 28 h 47"/>
                    <a:gd name="T22" fmla="*/ 8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8 w 27"/>
                    <a:gd name="T37" fmla="*/ 45 h 47"/>
                    <a:gd name="T38" fmla="*/ 18 w 27"/>
                    <a:gd name="T39" fmla="*/ 28 h 47"/>
                    <a:gd name="T40" fmla="*/ 25 w 27"/>
                    <a:gd name="T41" fmla="*/ 28 h 47"/>
                    <a:gd name="T42" fmla="*/ 18 w 27"/>
                    <a:gd name="T43" fmla="*/ 6 h 47"/>
                    <a:gd name="T44" fmla="*/ 19 w 27"/>
                    <a:gd name="T45" fmla="*/ 6 h 47"/>
                    <a:gd name="T46" fmla="*/ 23 w 27"/>
                    <a:gd name="T47" fmla="*/ 20 h 47"/>
                    <a:gd name="T48" fmla="*/ 25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7" y="0"/>
                      </a:cubicBezTo>
                      <a:cubicBezTo>
                        <a:pt x="16" y="0"/>
                        <a:pt x="11" y="0"/>
                        <a:pt x="10" y="0"/>
                      </a:cubicBezTo>
                      <a:cubicBezTo>
                        <a:pt x="7" y="0"/>
                        <a:pt x="5" y="2"/>
                        <a:pt x="4" y="5"/>
                      </a:cubicBezTo>
                      <a:cubicBezTo>
                        <a:pt x="2" y="10"/>
                        <a:pt x="0" y="18"/>
                        <a:pt x="0" y="18"/>
                      </a:cubicBezTo>
                      <a:cubicBezTo>
                        <a:pt x="0" y="19"/>
                        <a:pt x="0" y="20"/>
                        <a:pt x="1" y="21"/>
                      </a:cubicBezTo>
                      <a:cubicBezTo>
                        <a:pt x="2" y="21"/>
                        <a:pt x="3" y="20"/>
                        <a:pt x="4" y="20"/>
                      </a:cubicBezTo>
                      <a:cubicBezTo>
                        <a:pt x="4" y="18"/>
                        <a:pt x="7" y="6"/>
                        <a:pt x="7"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6"/>
                        <a:pt x="18" y="6"/>
                        <a:pt x="18" y="6"/>
                      </a:cubicBezTo>
                      <a:cubicBezTo>
                        <a:pt x="19" y="6"/>
                        <a:pt x="19" y="6"/>
                        <a:pt x="19" y="6"/>
                      </a:cubicBezTo>
                      <a:cubicBezTo>
                        <a:pt x="19" y="6"/>
                        <a:pt x="23" y="18"/>
                        <a:pt x="23" y="20"/>
                      </a:cubicBezTo>
                      <a:cubicBezTo>
                        <a:pt x="23" y="20"/>
                        <a:pt x="24" y="21"/>
                        <a:pt x="25" y="21"/>
                      </a:cubicBezTo>
                      <a:cubicBezTo>
                        <a:pt x="26" y="20"/>
                        <a:pt x="27" y="19"/>
                        <a:pt x="27" y="18"/>
                      </a:cubicBezTo>
                      <a:cubicBezTo>
                        <a:pt x="26" y="18"/>
                        <a:pt x="24"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01" name="Oval 1116"/>
                <p:cNvSpPr>
                  <a:spLocks noChangeArrowheads="1"/>
                </p:cNvSpPr>
                <p:nvPr/>
              </p:nvSpPr>
              <p:spPr bwMode="auto">
                <a:xfrm>
                  <a:off x="13821"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02" name="Oval 1117"/>
                <p:cNvSpPr>
                  <a:spLocks noChangeArrowheads="1"/>
                </p:cNvSpPr>
                <p:nvPr/>
              </p:nvSpPr>
              <p:spPr bwMode="auto">
                <a:xfrm>
                  <a:off x="14017" y="2148"/>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03" name="Freeform 1118"/>
                <p:cNvSpPr>
                  <a:spLocks/>
                </p:cNvSpPr>
                <p:nvPr/>
              </p:nvSpPr>
              <p:spPr bwMode="auto">
                <a:xfrm>
                  <a:off x="13804" y="2025"/>
                  <a:ext cx="55"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7 w 23"/>
                    <a:gd name="T31" fmla="*/ 44 h 47"/>
                    <a:gd name="T32" fmla="*/ 17 w 23"/>
                    <a:gd name="T33" fmla="*/ 8 h 47"/>
                    <a:gd name="T34" fmla="*/ 18 w 23"/>
                    <a:gd name="T35" fmla="*/ 8 h 47"/>
                    <a:gd name="T36" fmla="*/ 18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04" name="Oval 1119"/>
                <p:cNvSpPr>
                  <a:spLocks noChangeArrowheads="1"/>
                </p:cNvSpPr>
                <p:nvPr/>
              </p:nvSpPr>
              <p:spPr bwMode="auto">
                <a:xfrm>
                  <a:off x="13821" y="2148"/>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05" name="Freeform 1120"/>
                <p:cNvSpPr>
                  <a:spLocks/>
                </p:cNvSpPr>
                <p:nvPr/>
              </p:nvSpPr>
              <p:spPr bwMode="auto">
                <a:xfrm>
                  <a:off x="13864" y="2025"/>
                  <a:ext cx="63" cy="111"/>
                </a:xfrm>
                <a:custGeom>
                  <a:avLst/>
                  <a:gdLst>
                    <a:gd name="T0" fmla="*/ 23 w 27"/>
                    <a:gd name="T1" fmla="*/ 5 h 47"/>
                    <a:gd name="T2" fmla="*/ 18 w 27"/>
                    <a:gd name="T3" fmla="*/ 0 h 47"/>
                    <a:gd name="T4" fmla="*/ 10 w 27"/>
                    <a:gd name="T5" fmla="*/ 0 h 47"/>
                    <a:gd name="T6" fmla="*/ 5 w 27"/>
                    <a:gd name="T7" fmla="*/ 5 h 47"/>
                    <a:gd name="T8" fmla="*/ 1 w 27"/>
                    <a:gd name="T9" fmla="*/ 18 h 47"/>
                    <a:gd name="T10" fmla="*/ 2 w 27"/>
                    <a:gd name="T11" fmla="*/ 21 h 47"/>
                    <a:gd name="T12" fmla="*/ 4 w 27"/>
                    <a:gd name="T13" fmla="*/ 20 h 47"/>
                    <a:gd name="T14" fmla="*/ 8 w 27"/>
                    <a:gd name="T15" fmla="*/ 6 h 47"/>
                    <a:gd name="T16" fmla="*/ 9 w 27"/>
                    <a:gd name="T17" fmla="*/ 6 h 47"/>
                    <a:gd name="T18" fmla="*/ 3 w 27"/>
                    <a:gd name="T19" fmla="*/ 28 h 47"/>
                    <a:gd name="T20" fmla="*/ 9 w 27"/>
                    <a:gd name="T21" fmla="*/ 28 h 47"/>
                    <a:gd name="T22" fmla="*/ 9 w 27"/>
                    <a:gd name="T23" fmla="*/ 45 h 47"/>
                    <a:gd name="T24" fmla="*/ 11 w 27"/>
                    <a:gd name="T25" fmla="*/ 47 h 47"/>
                    <a:gd name="T26" fmla="*/ 14 w 27"/>
                    <a:gd name="T27" fmla="*/ 45 h 47"/>
                    <a:gd name="T28" fmla="*/ 14 w 27"/>
                    <a:gd name="T29" fmla="*/ 28 h 47"/>
                    <a:gd name="T30" fmla="*/ 15 w 27"/>
                    <a:gd name="T31" fmla="*/ 28 h 47"/>
                    <a:gd name="T32" fmla="*/ 15 w 27"/>
                    <a:gd name="T33" fmla="*/ 45 h 47"/>
                    <a:gd name="T34" fmla="*/ 17 w 27"/>
                    <a:gd name="T35" fmla="*/ 47 h 47"/>
                    <a:gd name="T36" fmla="*/ 19 w 27"/>
                    <a:gd name="T37" fmla="*/ 45 h 47"/>
                    <a:gd name="T38" fmla="*/ 19 w 27"/>
                    <a:gd name="T39" fmla="*/ 28 h 47"/>
                    <a:gd name="T40" fmla="*/ 25 w 27"/>
                    <a:gd name="T41" fmla="*/ 28 h 47"/>
                    <a:gd name="T42" fmla="*/ 19 w 27"/>
                    <a:gd name="T43" fmla="*/ 6 h 47"/>
                    <a:gd name="T44" fmla="*/ 20 w 27"/>
                    <a:gd name="T45" fmla="*/ 6 h 47"/>
                    <a:gd name="T46" fmla="*/ 24 w 27"/>
                    <a:gd name="T47" fmla="*/ 20 h 47"/>
                    <a:gd name="T48" fmla="*/ 26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3" y="2"/>
                        <a:pt x="20" y="0"/>
                        <a:pt x="18" y="0"/>
                      </a:cubicBezTo>
                      <a:cubicBezTo>
                        <a:pt x="17" y="0"/>
                        <a:pt x="11" y="0"/>
                        <a:pt x="10" y="0"/>
                      </a:cubicBezTo>
                      <a:cubicBezTo>
                        <a:pt x="8" y="0"/>
                        <a:pt x="5" y="2"/>
                        <a:pt x="5" y="5"/>
                      </a:cubicBezTo>
                      <a:cubicBezTo>
                        <a:pt x="3" y="10"/>
                        <a:pt x="1" y="18"/>
                        <a:pt x="1" y="18"/>
                      </a:cubicBezTo>
                      <a:cubicBezTo>
                        <a:pt x="0" y="19"/>
                        <a:pt x="1" y="20"/>
                        <a:pt x="2" y="21"/>
                      </a:cubicBezTo>
                      <a:cubicBezTo>
                        <a:pt x="3" y="21"/>
                        <a:pt x="4" y="20"/>
                        <a:pt x="4" y="20"/>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20"/>
                      </a:cubicBezTo>
                      <a:cubicBezTo>
                        <a:pt x="24" y="20"/>
                        <a:pt x="25" y="21"/>
                        <a:pt x="26" y="21"/>
                      </a:cubicBezTo>
                      <a:cubicBezTo>
                        <a:pt x="27" y="20"/>
                        <a:pt x="27"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06" name="Freeform 1121"/>
                <p:cNvSpPr>
                  <a:spLocks/>
                </p:cNvSpPr>
                <p:nvPr/>
              </p:nvSpPr>
              <p:spPr bwMode="auto">
                <a:xfrm>
                  <a:off x="13733" y="2025"/>
                  <a:ext cx="64" cy="111"/>
                </a:xfrm>
                <a:custGeom>
                  <a:avLst/>
                  <a:gdLst>
                    <a:gd name="T0" fmla="*/ 23 w 27"/>
                    <a:gd name="T1" fmla="*/ 5 h 47"/>
                    <a:gd name="T2" fmla="*/ 17 w 27"/>
                    <a:gd name="T3" fmla="*/ 0 h 47"/>
                    <a:gd name="T4" fmla="*/ 10 w 27"/>
                    <a:gd name="T5" fmla="*/ 0 h 47"/>
                    <a:gd name="T6" fmla="*/ 4 w 27"/>
                    <a:gd name="T7" fmla="*/ 5 h 47"/>
                    <a:gd name="T8" fmla="*/ 0 w 27"/>
                    <a:gd name="T9" fmla="*/ 18 h 47"/>
                    <a:gd name="T10" fmla="*/ 2 w 27"/>
                    <a:gd name="T11" fmla="*/ 21 h 47"/>
                    <a:gd name="T12" fmla="*/ 4 w 27"/>
                    <a:gd name="T13" fmla="*/ 20 h 47"/>
                    <a:gd name="T14" fmla="*/ 8 w 27"/>
                    <a:gd name="T15" fmla="*/ 6 h 47"/>
                    <a:gd name="T16" fmla="*/ 9 w 27"/>
                    <a:gd name="T17" fmla="*/ 6 h 47"/>
                    <a:gd name="T18" fmla="*/ 2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9 w 27"/>
                    <a:gd name="T37" fmla="*/ 45 h 47"/>
                    <a:gd name="T38" fmla="*/ 19 w 27"/>
                    <a:gd name="T39" fmla="*/ 28 h 47"/>
                    <a:gd name="T40" fmla="*/ 25 w 27"/>
                    <a:gd name="T41" fmla="*/ 28 h 47"/>
                    <a:gd name="T42" fmla="*/ 18 w 27"/>
                    <a:gd name="T43" fmla="*/ 6 h 47"/>
                    <a:gd name="T44" fmla="*/ 20 w 27"/>
                    <a:gd name="T45" fmla="*/ 6 h 47"/>
                    <a:gd name="T46" fmla="*/ 23 w 27"/>
                    <a:gd name="T47" fmla="*/ 20 h 47"/>
                    <a:gd name="T48" fmla="*/ 26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7" y="0"/>
                      </a:cubicBezTo>
                      <a:cubicBezTo>
                        <a:pt x="16" y="0"/>
                        <a:pt x="11" y="0"/>
                        <a:pt x="10" y="0"/>
                      </a:cubicBezTo>
                      <a:cubicBezTo>
                        <a:pt x="8" y="0"/>
                        <a:pt x="5" y="2"/>
                        <a:pt x="4" y="5"/>
                      </a:cubicBezTo>
                      <a:cubicBezTo>
                        <a:pt x="3" y="10"/>
                        <a:pt x="1" y="18"/>
                        <a:pt x="0" y="18"/>
                      </a:cubicBezTo>
                      <a:cubicBezTo>
                        <a:pt x="0" y="19"/>
                        <a:pt x="1" y="20"/>
                        <a:pt x="2" y="21"/>
                      </a:cubicBezTo>
                      <a:cubicBezTo>
                        <a:pt x="3" y="21"/>
                        <a:pt x="4" y="20"/>
                        <a:pt x="4" y="20"/>
                      </a:cubicBezTo>
                      <a:cubicBezTo>
                        <a:pt x="4" y="18"/>
                        <a:pt x="8" y="6"/>
                        <a:pt x="8" y="6"/>
                      </a:cubicBezTo>
                      <a:cubicBezTo>
                        <a:pt x="9" y="6"/>
                        <a:pt x="9" y="6"/>
                        <a:pt x="9" y="6"/>
                      </a:cubicBezTo>
                      <a:cubicBezTo>
                        <a:pt x="2" y="28"/>
                        <a:pt x="2" y="28"/>
                        <a:pt x="2"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6"/>
                        <a:pt x="18" y="6"/>
                        <a:pt x="18" y="6"/>
                      </a:cubicBezTo>
                      <a:cubicBezTo>
                        <a:pt x="20" y="6"/>
                        <a:pt x="20" y="6"/>
                        <a:pt x="20" y="6"/>
                      </a:cubicBezTo>
                      <a:cubicBezTo>
                        <a:pt x="20" y="6"/>
                        <a:pt x="23" y="18"/>
                        <a:pt x="23" y="20"/>
                      </a:cubicBezTo>
                      <a:cubicBezTo>
                        <a:pt x="24" y="20"/>
                        <a:pt x="25" y="21"/>
                        <a:pt x="26" y="21"/>
                      </a:cubicBezTo>
                      <a:cubicBezTo>
                        <a:pt x="27" y="20"/>
                        <a:pt x="27"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07" name="Oval 1122"/>
                <p:cNvSpPr>
                  <a:spLocks noChangeArrowheads="1"/>
                </p:cNvSpPr>
                <p:nvPr/>
              </p:nvSpPr>
              <p:spPr bwMode="auto">
                <a:xfrm>
                  <a:off x="13885" y="2148"/>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08" name="Oval 1123"/>
                <p:cNvSpPr>
                  <a:spLocks noChangeArrowheads="1"/>
                </p:cNvSpPr>
                <p:nvPr/>
              </p:nvSpPr>
              <p:spPr bwMode="auto">
                <a:xfrm>
                  <a:off x="13885" y="1999"/>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09" name="Freeform 1124"/>
                <p:cNvSpPr>
                  <a:spLocks/>
                </p:cNvSpPr>
                <p:nvPr/>
              </p:nvSpPr>
              <p:spPr bwMode="auto">
                <a:xfrm>
                  <a:off x="13930" y="2174"/>
                  <a:ext cx="64" cy="109"/>
                </a:xfrm>
                <a:custGeom>
                  <a:avLst/>
                  <a:gdLst>
                    <a:gd name="T0" fmla="*/ 23 w 27"/>
                    <a:gd name="T1" fmla="*/ 4 h 46"/>
                    <a:gd name="T2" fmla="*/ 18 w 27"/>
                    <a:gd name="T3" fmla="*/ 0 h 46"/>
                    <a:gd name="T4" fmla="*/ 10 w 27"/>
                    <a:gd name="T5" fmla="*/ 0 h 46"/>
                    <a:gd name="T6" fmla="*/ 5 w 27"/>
                    <a:gd name="T7" fmla="*/ 4 h 46"/>
                    <a:gd name="T8" fmla="*/ 0 w 27"/>
                    <a:gd name="T9" fmla="*/ 18 h 46"/>
                    <a:gd name="T10" fmla="*/ 2 w 27"/>
                    <a:gd name="T11" fmla="*/ 20 h 46"/>
                    <a:gd name="T12" fmla="*/ 4 w 27"/>
                    <a:gd name="T13" fmla="*/ 19 h 46"/>
                    <a:gd name="T14" fmla="*/ 8 w 27"/>
                    <a:gd name="T15" fmla="*/ 6 h 46"/>
                    <a:gd name="T16" fmla="*/ 9 w 27"/>
                    <a:gd name="T17" fmla="*/ 6 h 46"/>
                    <a:gd name="T18" fmla="*/ 3 w 27"/>
                    <a:gd name="T19" fmla="*/ 28 h 46"/>
                    <a:gd name="T20" fmla="*/ 9 w 27"/>
                    <a:gd name="T21" fmla="*/ 28 h 46"/>
                    <a:gd name="T22" fmla="*/ 9 w 27"/>
                    <a:gd name="T23" fmla="*/ 44 h 46"/>
                    <a:gd name="T24" fmla="*/ 11 w 27"/>
                    <a:gd name="T25" fmla="*/ 46 h 46"/>
                    <a:gd name="T26" fmla="*/ 13 w 27"/>
                    <a:gd name="T27" fmla="*/ 44 h 46"/>
                    <a:gd name="T28" fmla="*/ 13 w 27"/>
                    <a:gd name="T29" fmla="*/ 28 h 46"/>
                    <a:gd name="T30" fmla="*/ 14 w 27"/>
                    <a:gd name="T31" fmla="*/ 28 h 46"/>
                    <a:gd name="T32" fmla="*/ 14 w 27"/>
                    <a:gd name="T33" fmla="*/ 44 h 46"/>
                    <a:gd name="T34" fmla="*/ 17 w 27"/>
                    <a:gd name="T35" fmla="*/ 46 h 46"/>
                    <a:gd name="T36" fmla="*/ 19 w 27"/>
                    <a:gd name="T37" fmla="*/ 44 h 46"/>
                    <a:gd name="T38" fmla="*/ 19 w 27"/>
                    <a:gd name="T39" fmla="*/ 28 h 46"/>
                    <a:gd name="T40" fmla="*/ 25 w 27"/>
                    <a:gd name="T41" fmla="*/ 28 h 46"/>
                    <a:gd name="T42" fmla="*/ 18 w 27"/>
                    <a:gd name="T43" fmla="*/ 6 h 46"/>
                    <a:gd name="T44" fmla="*/ 20 w 27"/>
                    <a:gd name="T45" fmla="*/ 6 h 46"/>
                    <a:gd name="T46" fmla="*/ 23 w 27"/>
                    <a:gd name="T47" fmla="*/ 19 h 46"/>
                    <a:gd name="T48" fmla="*/ 26 w 27"/>
                    <a:gd name="T49" fmla="*/ 20 h 46"/>
                    <a:gd name="T50" fmla="*/ 27 w 27"/>
                    <a:gd name="T51" fmla="*/ 18 h 46"/>
                    <a:gd name="T52" fmla="*/ 23 w 27"/>
                    <a:gd name="T53"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23" y="4"/>
                      </a:move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ubicBezTo>
                        <a:pt x="3" y="20"/>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5"/>
                        <a:pt x="10"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7" y="46"/>
                      </a:cubicBezTo>
                      <a:cubicBezTo>
                        <a:pt x="18" y="46"/>
                        <a:pt x="19" y="45"/>
                        <a:pt x="19" y="44"/>
                      </a:cubicBezTo>
                      <a:cubicBezTo>
                        <a:pt x="19" y="43"/>
                        <a:pt x="19" y="35"/>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0"/>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10" name="Freeform 1125"/>
                <p:cNvSpPr>
                  <a:spLocks/>
                </p:cNvSpPr>
                <p:nvPr/>
              </p:nvSpPr>
              <p:spPr bwMode="auto">
                <a:xfrm>
                  <a:off x="14126" y="2025"/>
                  <a:ext cx="64" cy="111"/>
                </a:xfrm>
                <a:custGeom>
                  <a:avLst/>
                  <a:gdLst>
                    <a:gd name="T0" fmla="*/ 23 w 27"/>
                    <a:gd name="T1" fmla="*/ 5 h 47"/>
                    <a:gd name="T2" fmla="*/ 18 w 27"/>
                    <a:gd name="T3" fmla="*/ 0 h 47"/>
                    <a:gd name="T4" fmla="*/ 10 w 27"/>
                    <a:gd name="T5" fmla="*/ 0 h 47"/>
                    <a:gd name="T6" fmla="*/ 5 w 27"/>
                    <a:gd name="T7" fmla="*/ 5 h 47"/>
                    <a:gd name="T8" fmla="*/ 0 w 27"/>
                    <a:gd name="T9" fmla="*/ 18 h 47"/>
                    <a:gd name="T10" fmla="*/ 2 w 27"/>
                    <a:gd name="T11" fmla="*/ 21 h 47"/>
                    <a:gd name="T12" fmla="*/ 4 w 27"/>
                    <a:gd name="T13" fmla="*/ 20 h 47"/>
                    <a:gd name="T14" fmla="*/ 8 w 27"/>
                    <a:gd name="T15" fmla="*/ 6 h 47"/>
                    <a:gd name="T16" fmla="*/ 9 w 27"/>
                    <a:gd name="T17" fmla="*/ 6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7 w 27"/>
                    <a:gd name="T35" fmla="*/ 47 h 47"/>
                    <a:gd name="T36" fmla="*/ 19 w 27"/>
                    <a:gd name="T37" fmla="*/ 45 h 47"/>
                    <a:gd name="T38" fmla="*/ 19 w 27"/>
                    <a:gd name="T39" fmla="*/ 28 h 47"/>
                    <a:gd name="T40" fmla="*/ 25 w 27"/>
                    <a:gd name="T41" fmla="*/ 28 h 47"/>
                    <a:gd name="T42" fmla="*/ 19 w 27"/>
                    <a:gd name="T43" fmla="*/ 6 h 47"/>
                    <a:gd name="T44" fmla="*/ 20 w 27"/>
                    <a:gd name="T45" fmla="*/ 6 h 47"/>
                    <a:gd name="T46" fmla="*/ 23 w 27"/>
                    <a:gd name="T47" fmla="*/ 20 h 47"/>
                    <a:gd name="T48" fmla="*/ 26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8" y="0"/>
                      </a:cubicBezTo>
                      <a:cubicBezTo>
                        <a:pt x="16" y="0"/>
                        <a:pt x="11" y="0"/>
                        <a:pt x="10" y="0"/>
                      </a:cubicBezTo>
                      <a:cubicBezTo>
                        <a:pt x="8" y="0"/>
                        <a:pt x="5" y="2"/>
                        <a:pt x="5" y="5"/>
                      </a:cubicBezTo>
                      <a:cubicBezTo>
                        <a:pt x="3" y="10"/>
                        <a:pt x="1" y="18"/>
                        <a:pt x="0" y="18"/>
                      </a:cubicBezTo>
                      <a:cubicBezTo>
                        <a:pt x="0" y="19"/>
                        <a:pt x="1" y="20"/>
                        <a:pt x="2" y="21"/>
                      </a:cubicBezTo>
                      <a:cubicBezTo>
                        <a:pt x="3" y="21"/>
                        <a:pt x="4" y="20"/>
                        <a:pt x="4" y="20"/>
                      </a:cubicBezTo>
                      <a:cubicBezTo>
                        <a:pt x="4"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3" y="20"/>
                      </a:cubicBezTo>
                      <a:cubicBezTo>
                        <a:pt x="24" y="20"/>
                        <a:pt x="25" y="21"/>
                        <a:pt x="26" y="21"/>
                      </a:cubicBezTo>
                      <a:cubicBezTo>
                        <a:pt x="27" y="20"/>
                        <a:pt x="27"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11" name="Oval 1126"/>
                <p:cNvSpPr>
                  <a:spLocks noChangeArrowheads="1"/>
                </p:cNvSpPr>
                <p:nvPr/>
              </p:nvSpPr>
              <p:spPr bwMode="auto">
                <a:xfrm>
                  <a:off x="13755"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12" name="Oval 1127"/>
                <p:cNvSpPr>
                  <a:spLocks noChangeArrowheads="1"/>
                </p:cNvSpPr>
                <p:nvPr/>
              </p:nvSpPr>
              <p:spPr bwMode="auto">
                <a:xfrm>
                  <a:off x="14148" y="2148"/>
                  <a:ext cx="23"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13" name="Oval 1128"/>
                <p:cNvSpPr>
                  <a:spLocks noChangeArrowheads="1"/>
                </p:cNvSpPr>
                <p:nvPr/>
              </p:nvSpPr>
              <p:spPr bwMode="auto">
                <a:xfrm>
                  <a:off x="14081" y="1999"/>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14" name="Freeform 1129"/>
                <p:cNvSpPr>
                  <a:spLocks/>
                </p:cNvSpPr>
                <p:nvPr/>
              </p:nvSpPr>
              <p:spPr bwMode="auto">
                <a:xfrm>
                  <a:off x="14067" y="2025"/>
                  <a:ext cx="52" cy="111"/>
                </a:xfrm>
                <a:custGeom>
                  <a:avLst/>
                  <a:gdLst>
                    <a:gd name="T0" fmla="*/ 16 w 22"/>
                    <a:gd name="T1" fmla="*/ 0 h 47"/>
                    <a:gd name="T2" fmla="*/ 6 w 22"/>
                    <a:gd name="T3" fmla="*/ 0 h 47"/>
                    <a:gd name="T4" fmla="*/ 0 w 22"/>
                    <a:gd name="T5" fmla="*/ 6 h 47"/>
                    <a:gd name="T6" fmla="*/ 0 w 22"/>
                    <a:gd name="T7" fmla="*/ 21 h 47"/>
                    <a:gd name="T8" fmla="*/ 2 w 22"/>
                    <a:gd name="T9" fmla="*/ 23 h 47"/>
                    <a:gd name="T10" fmla="*/ 4 w 22"/>
                    <a:gd name="T11" fmla="*/ 21 h 47"/>
                    <a:gd name="T12" fmla="*/ 4 w 22"/>
                    <a:gd name="T13" fmla="*/ 8 h 47"/>
                    <a:gd name="T14" fmla="*/ 5 w 22"/>
                    <a:gd name="T15" fmla="*/ 8 h 47"/>
                    <a:gd name="T16" fmla="*/ 5 w 22"/>
                    <a:gd name="T17" fmla="*/ 44 h 47"/>
                    <a:gd name="T18" fmla="*/ 8 w 22"/>
                    <a:gd name="T19" fmla="*/ 47 h 47"/>
                    <a:gd name="T20" fmla="*/ 10 w 22"/>
                    <a:gd name="T21" fmla="*/ 44 h 47"/>
                    <a:gd name="T22" fmla="*/ 10 w 22"/>
                    <a:gd name="T23" fmla="*/ 23 h 47"/>
                    <a:gd name="T24" fmla="*/ 12 w 22"/>
                    <a:gd name="T25" fmla="*/ 23 h 47"/>
                    <a:gd name="T26" fmla="*/ 12 w 22"/>
                    <a:gd name="T27" fmla="*/ 44 h 47"/>
                    <a:gd name="T28" fmla="*/ 14 w 22"/>
                    <a:gd name="T29" fmla="*/ 47 h 47"/>
                    <a:gd name="T30" fmla="*/ 17 w 22"/>
                    <a:gd name="T31" fmla="*/ 44 h 47"/>
                    <a:gd name="T32" fmla="*/ 17 w 22"/>
                    <a:gd name="T33" fmla="*/ 8 h 47"/>
                    <a:gd name="T34" fmla="*/ 18 w 22"/>
                    <a:gd name="T35" fmla="*/ 8 h 47"/>
                    <a:gd name="T36" fmla="*/ 18 w 22"/>
                    <a:gd name="T37" fmla="*/ 21 h 47"/>
                    <a:gd name="T38" fmla="*/ 20 w 22"/>
                    <a:gd name="T39" fmla="*/ 23 h 47"/>
                    <a:gd name="T40" fmla="*/ 22 w 22"/>
                    <a:gd name="T41" fmla="*/ 21 h 47"/>
                    <a:gd name="T42" fmla="*/ 22 w 22"/>
                    <a:gd name="T43" fmla="*/ 6 h 47"/>
                    <a:gd name="T44" fmla="*/ 16 w 22"/>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16" y="0"/>
                      </a:moveTo>
                      <a:cubicBezTo>
                        <a:pt x="15" y="0"/>
                        <a:pt x="7" y="0"/>
                        <a:pt x="6" y="0"/>
                      </a:cubicBezTo>
                      <a:cubicBezTo>
                        <a:pt x="2"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15" name="Oval 1130"/>
                <p:cNvSpPr>
                  <a:spLocks noChangeArrowheads="1"/>
                </p:cNvSpPr>
                <p:nvPr/>
              </p:nvSpPr>
              <p:spPr bwMode="auto">
                <a:xfrm>
                  <a:off x="14148" y="1999"/>
                  <a:ext cx="23"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16" name="Freeform 1131"/>
                <p:cNvSpPr>
                  <a:spLocks/>
                </p:cNvSpPr>
                <p:nvPr/>
              </p:nvSpPr>
              <p:spPr bwMode="auto">
                <a:xfrm>
                  <a:off x="14001" y="2172"/>
                  <a:ext cx="54" cy="111"/>
                </a:xfrm>
                <a:custGeom>
                  <a:avLst/>
                  <a:gdLst>
                    <a:gd name="T0" fmla="*/ 19 w 23"/>
                    <a:gd name="T1" fmla="*/ 8 h 47"/>
                    <a:gd name="T2" fmla="*/ 19 w 23"/>
                    <a:gd name="T3" fmla="*/ 21 h 47"/>
                    <a:gd name="T4" fmla="*/ 21 w 23"/>
                    <a:gd name="T5" fmla="*/ 23 h 47"/>
                    <a:gd name="T6" fmla="*/ 23 w 23"/>
                    <a:gd name="T7" fmla="*/ 21 h 47"/>
                    <a:gd name="T8" fmla="*/ 23 w 23"/>
                    <a:gd name="T9" fmla="*/ 7 h 47"/>
                    <a:gd name="T10" fmla="*/ 17 w 23"/>
                    <a:gd name="T11" fmla="*/ 0 h 47"/>
                    <a:gd name="T12" fmla="*/ 6 w 23"/>
                    <a:gd name="T13" fmla="*/ 0 h 47"/>
                    <a:gd name="T14" fmla="*/ 0 w 23"/>
                    <a:gd name="T15" fmla="*/ 7 h 47"/>
                    <a:gd name="T16" fmla="*/ 0 w 23"/>
                    <a:gd name="T17" fmla="*/ 21 h 47"/>
                    <a:gd name="T18" fmla="*/ 2 w 23"/>
                    <a:gd name="T19" fmla="*/ 23 h 47"/>
                    <a:gd name="T20" fmla="*/ 4 w 23"/>
                    <a:gd name="T21" fmla="*/ 21 h 47"/>
                    <a:gd name="T22" fmla="*/ 4 w 23"/>
                    <a:gd name="T23" fmla="*/ 8 h 47"/>
                    <a:gd name="T24" fmla="*/ 5 w 23"/>
                    <a:gd name="T25" fmla="*/ 8 h 47"/>
                    <a:gd name="T26" fmla="*/ 5 w 23"/>
                    <a:gd name="T27" fmla="*/ 45 h 47"/>
                    <a:gd name="T28" fmla="*/ 6 w 23"/>
                    <a:gd name="T29" fmla="*/ 47 h 47"/>
                    <a:gd name="T30" fmla="*/ 6 w 23"/>
                    <a:gd name="T31" fmla="*/ 39 h 47"/>
                    <a:gd name="T32" fmla="*/ 11 w 23"/>
                    <a:gd name="T33" fmla="*/ 38 h 47"/>
                    <a:gd name="T34" fmla="*/ 11 w 23"/>
                    <a:gd name="T35" fmla="*/ 23 h 47"/>
                    <a:gd name="T36" fmla="*/ 12 w 23"/>
                    <a:gd name="T37" fmla="*/ 23 h 47"/>
                    <a:gd name="T38" fmla="*/ 12 w 23"/>
                    <a:gd name="T39" fmla="*/ 38 h 47"/>
                    <a:gd name="T40" fmla="*/ 17 w 23"/>
                    <a:gd name="T41" fmla="*/ 37 h 47"/>
                    <a:gd name="T42" fmla="*/ 17 w 23"/>
                    <a:gd name="T43" fmla="*/ 8 h 47"/>
                    <a:gd name="T44" fmla="*/ 19 w 23"/>
                    <a:gd name="T45" fmla="*/ 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9" y="8"/>
                      </a:moveTo>
                      <a:cubicBezTo>
                        <a:pt x="19" y="8"/>
                        <a:pt x="19" y="20"/>
                        <a:pt x="19" y="21"/>
                      </a:cubicBezTo>
                      <a:cubicBezTo>
                        <a:pt x="19" y="22"/>
                        <a:pt x="19" y="23"/>
                        <a:pt x="21" y="23"/>
                      </a:cubicBezTo>
                      <a:cubicBezTo>
                        <a:pt x="22" y="23"/>
                        <a:pt x="23" y="22"/>
                        <a:pt x="23" y="21"/>
                      </a:cubicBezTo>
                      <a:cubicBezTo>
                        <a:pt x="23" y="20"/>
                        <a:pt x="23" y="8"/>
                        <a:pt x="23" y="7"/>
                      </a:cubicBezTo>
                      <a:cubicBezTo>
                        <a:pt x="23" y="3"/>
                        <a:pt x="20" y="0"/>
                        <a:pt x="17" y="0"/>
                      </a:cubicBezTo>
                      <a:cubicBezTo>
                        <a:pt x="15" y="0"/>
                        <a:pt x="8"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5"/>
                      </a:cubicBezTo>
                      <a:cubicBezTo>
                        <a:pt x="5" y="45"/>
                        <a:pt x="6" y="46"/>
                        <a:pt x="6" y="47"/>
                      </a:cubicBezTo>
                      <a:cubicBezTo>
                        <a:pt x="6" y="44"/>
                        <a:pt x="6" y="41"/>
                        <a:pt x="6" y="39"/>
                      </a:cubicBezTo>
                      <a:cubicBezTo>
                        <a:pt x="8" y="39"/>
                        <a:pt x="9" y="39"/>
                        <a:pt x="11" y="38"/>
                      </a:cubicBezTo>
                      <a:cubicBezTo>
                        <a:pt x="11" y="32"/>
                        <a:pt x="11" y="23"/>
                        <a:pt x="11" y="23"/>
                      </a:cubicBezTo>
                      <a:cubicBezTo>
                        <a:pt x="11" y="23"/>
                        <a:pt x="11" y="23"/>
                        <a:pt x="12" y="23"/>
                      </a:cubicBezTo>
                      <a:cubicBezTo>
                        <a:pt x="12" y="23"/>
                        <a:pt x="12" y="32"/>
                        <a:pt x="12" y="38"/>
                      </a:cubicBezTo>
                      <a:cubicBezTo>
                        <a:pt x="14" y="38"/>
                        <a:pt x="16" y="37"/>
                        <a:pt x="17" y="37"/>
                      </a:cubicBezTo>
                      <a:cubicBezTo>
                        <a:pt x="17" y="26"/>
                        <a:pt x="17" y="8"/>
                        <a:pt x="17" y="8"/>
                      </a:cubicBezTo>
                      <a:cubicBezTo>
                        <a:pt x="17" y="8"/>
                        <a:pt x="17" y="8"/>
                        <a:pt x="1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17" name="Freeform 1132"/>
                <p:cNvSpPr>
                  <a:spLocks/>
                </p:cNvSpPr>
                <p:nvPr/>
              </p:nvSpPr>
              <p:spPr bwMode="auto">
                <a:xfrm>
                  <a:off x="13674" y="2025"/>
                  <a:ext cx="52" cy="111"/>
                </a:xfrm>
                <a:custGeom>
                  <a:avLst/>
                  <a:gdLst>
                    <a:gd name="T0" fmla="*/ 16 w 22"/>
                    <a:gd name="T1" fmla="*/ 0 h 47"/>
                    <a:gd name="T2" fmla="*/ 6 w 22"/>
                    <a:gd name="T3" fmla="*/ 0 h 47"/>
                    <a:gd name="T4" fmla="*/ 0 w 22"/>
                    <a:gd name="T5" fmla="*/ 6 h 47"/>
                    <a:gd name="T6" fmla="*/ 0 w 22"/>
                    <a:gd name="T7" fmla="*/ 21 h 47"/>
                    <a:gd name="T8" fmla="*/ 2 w 22"/>
                    <a:gd name="T9" fmla="*/ 23 h 47"/>
                    <a:gd name="T10" fmla="*/ 4 w 22"/>
                    <a:gd name="T11" fmla="*/ 21 h 47"/>
                    <a:gd name="T12" fmla="*/ 4 w 22"/>
                    <a:gd name="T13" fmla="*/ 8 h 47"/>
                    <a:gd name="T14" fmla="*/ 5 w 22"/>
                    <a:gd name="T15" fmla="*/ 8 h 47"/>
                    <a:gd name="T16" fmla="*/ 5 w 22"/>
                    <a:gd name="T17" fmla="*/ 44 h 47"/>
                    <a:gd name="T18" fmla="*/ 8 w 22"/>
                    <a:gd name="T19" fmla="*/ 47 h 47"/>
                    <a:gd name="T20" fmla="*/ 10 w 22"/>
                    <a:gd name="T21" fmla="*/ 44 h 47"/>
                    <a:gd name="T22" fmla="*/ 10 w 22"/>
                    <a:gd name="T23" fmla="*/ 23 h 47"/>
                    <a:gd name="T24" fmla="*/ 11 w 22"/>
                    <a:gd name="T25" fmla="*/ 23 h 47"/>
                    <a:gd name="T26" fmla="*/ 11 w 22"/>
                    <a:gd name="T27" fmla="*/ 44 h 47"/>
                    <a:gd name="T28" fmla="*/ 14 w 22"/>
                    <a:gd name="T29" fmla="*/ 47 h 47"/>
                    <a:gd name="T30" fmla="*/ 17 w 22"/>
                    <a:gd name="T31" fmla="*/ 44 h 47"/>
                    <a:gd name="T32" fmla="*/ 17 w 22"/>
                    <a:gd name="T33" fmla="*/ 8 h 47"/>
                    <a:gd name="T34" fmla="*/ 18 w 22"/>
                    <a:gd name="T35" fmla="*/ 8 h 47"/>
                    <a:gd name="T36" fmla="*/ 18 w 22"/>
                    <a:gd name="T37" fmla="*/ 21 h 47"/>
                    <a:gd name="T38" fmla="*/ 20 w 22"/>
                    <a:gd name="T39" fmla="*/ 23 h 47"/>
                    <a:gd name="T40" fmla="*/ 22 w 22"/>
                    <a:gd name="T41" fmla="*/ 21 h 47"/>
                    <a:gd name="T42" fmla="*/ 22 w 22"/>
                    <a:gd name="T43" fmla="*/ 6 h 47"/>
                    <a:gd name="T44" fmla="*/ 16 w 22"/>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16" y="0"/>
                      </a:moveTo>
                      <a:cubicBezTo>
                        <a:pt x="14" y="0"/>
                        <a:pt x="7" y="0"/>
                        <a:pt x="6" y="0"/>
                      </a:cubicBezTo>
                      <a:cubicBezTo>
                        <a:pt x="2" y="0"/>
                        <a:pt x="0" y="3"/>
                        <a:pt x="0" y="6"/>
                      </a:cubicBezTo>
                      <a:cubicBezTo>
                        <a:pt x="0" y="8"/>
                        <a:pt x="0" y="20"/>
                        <a:pt x="0" y="21"/>
                      </a:cubicBezTo>
                      <a:cubicBezTo>
                        <a:pt x="0" y="22"/>
                        <a:pt x="0"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19"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18" name="Freeform 1133"/>
                <p:cNvSpPr>
                  <a:spLocks/>
                </p:cNvSpPr>
                <p:nvPr/>
              </p:nvSpPr>
              <p:spPr bwMode="auto">
                <a:xfrm>
                  <a:off x="14062" y="2174"/>
                  <a:ext cx="64" cy="76"/>
                </a:xfrm>
                <a:custGeom>
                  <a:avLst/>
                  <a:gdLst>
                    <a:gd name="T0" fmla="*/ 24 w 27"/>
                    <a:gd name="T1" fmla="*/ 28 h 32"/>
                    <a:gd name="T2" fmla="*/ 18 w 27"/>
                    <a:gd name="T3" fmla="*/ 6 h 32"/>
                    <a:gd name="T4" fmla="*/ 19 w 27"/>
                    <a:gd name="T5" fmla="*/ 6 h 32"/>
                    <a:gd name="T6" fmla="*/ 23 w 27"/>
                    <a:gd name="T7" fmla="*/ 19 h 32"/>
                    <a:gd name="T8" fmla="*/ 25 w 27"/>
                    <a:gd name="T9" fmla="*/ 20 h 32"/>
                    <a:gd name="T10" fmla="*/ 26 w 27"/>
                    <a:gd name="T11" fmla="*/ 18 h 32"/>
                    <a:gd name="T12" fmla="*/ 22 w 27"/>
                    <a:gd name="T13" fmla="*/ 4 h 32"/>
                    <a:gd name="T14" fmla="*/ 17 w 27"/>
                    <a:gd name="T15" fmla="*/ 0 h 32"/>
                    <a:gd name="T16" fmla="*/ 9 w 27"/>
                    <a:gd name="T17" fmla="*/ 0 h 32"/>
                    <a:gd name="T18" fmla="*/ 4 w 27"/>
                    <a:gd name="T19" fmla="*/ 4 h 32"/>
                    <a:gd name="T20" fmla="*/ 0 w 27"/>
                    <a:gd name="T21" fmla="*/ 18 h 32"/>
                    <a:gd name="T22" fmla="*/ 1 w 27"/>
                    <a:gd name="T23" fmla="*/ 20 h 32"/>
                    <a:gd name="T24" fmla="*/ 3 w 27"/>
                    <a:gd name="T25" fmla="*/ 19 h 32"/>
                    <a:gd name="T26" fmla="*/ 7 w 27"/>
                    <a:gd name="T27" fmla="*/ 6 h 32"/>
                    <a:gd name="T28" fmla="*/ 8 w 27"/>
                    <a:gd name="T29" fmla="*/ 6 h 32"/>
                    <a:gd name="T30" fmla="*/ 2 w 27"/>
                    <a:gd name="T31" fmla="*/ 28 h 32"/>
                    <a:gd name="T32" fmla="*/ 8 w 27"/>
                    <a:gd name="T33" fmla="*/ 28 h 32"/>
                    <a:gd name="T34" fmla="*/ 8 w 27"/>
                    <a:gd name="T35" fmla="*/ 32 h 32"/>
                    <a:gd name="T36" fmla="*/ 13 w 27"/>
                    <a:gd name="T37" fmla="*/ 32 h 32"/>
                    <a:gd name="T38" fmla="*/ 13 w 27"/>
                    <a:gd name="T39" fmla="*/ 28 h 32"/>
                    <a:gd name="T40" fmla="*/ 14 w 27"/>
                    <a:gd name="T41" fmla="*/ 28 h 32"/>
                    <a:gd name="T42" fmla="*/ 14 w 27"/>
                    <a:gd name="T43" fmla="*/ 31 h 32"/>
                    <a:gd name="T44" fmla="*/ 18 w 27"/>
                    <a:gd name="T45" fmla="*/ 30 h 32"/>
                    <a:gd name="T46" fmla="*/ 18 w 27"/>
                    <a:gd name="T47" fmla="*/ 28 h 32"/>
                    <a:gd name="T48" fmla="*/ 24 w 27"/>
                    <a:gd name="T4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7" h="32">
                      <a:moveTo>
                        <a:pt x="24" y="28"/>
                      </a:moveTo>
                      <a:cubicBezTo>
                        <a:pt x="18" y="6"/>
                        <a:pt x="18" y="6"/>
                        <a:pt x="18" y="6"/>
                      </a:cubicBezTo>
                      <a:cubicBezTo>
                        <a:pt x="19" y="6"/>
                        <a:pt x="19" y="6"/>
                        <a:pt x="19" y="6"/>
                      </a:cubicBezTo>
                      <a:cubicBezTo>
                        <a:pt x="19" y="6"/>
                        <a:pt x="22" y="18"/>
                        <a:pt x="23" y="19"/>
                      </a:cubicBezTo>
                      <a:cubicBezTo>
                        <a:pt x="23" y="20"/>
                        <a:pt x="24" y="20"/>
                        <a:pt x="25" y="20"/>
                      </a:cubicBezTo>
                      <a:cubicBezTo>
                        <a:pt x="26" y="20"/>
                        <a:pt x="27" y="19"/>
                        <a:pt x="26" y="18"/>
                      </a:cubicBezTo>
                      <a:cubicBezTo>
                        <a:pt x="26" y="17"/>
                        <a:pt x="24" y="10"/>
                        <a:pt x="22" y="4"/>
                      </a:cubicBez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0"/>
                        <a:pt x="3" y="20"/>
                        <a:pt x="3" y="19"/>
                      </a:cubicBezTo>
                      <a:cubicBezTo>
                        <a:pt x="4" y="18"/>
                        <a:pt x="7" y="6"/>
                        <a:pt x="7" y="6"/>
                      </a:cubicBezTo>
                      <a:cubicBezTo>
                        <a:pt x="8" y="6"/>
                        <a:pt x="8" y="6"/>
                        <a:pt x="8" y="6"/>
                      </a:cubicBezTo>
                      <a:cubicBezTo>
                        <a:pt x="2" y="28"/>
                        <a:pt x="2" y="28"/>
                        <a:pt x="2" y="28"/>
                      </a:cubicBezTo>
                      <a:cubicBezTo>
                        <a:pt x="8" y="28"/>
                        <a:pt x="8" y="28"/>
                        <a:pt x="8" y="28"/>
                      </a:cubicBezTo>
                      <a:cubicBezTo>
                        <a:pt x="8" y="29"/>
                        <a:pt x="8" y="31"/>
                        <a:pt x="8" y="32"/>
                      </a:cubicBezTo>
                      <a:cubicBezTo>
                        <a:pt x="10" y="32"/>
                        <a:pt x="11" y="32"/>
                        <a:pt x="13" y="32"/>
                      </a:cubicBezTo>
                      <a:cubicBezTo>
                        <a:pt x="13" y="29"/>
                        <a:pt x="13" y="28"/>
                        <a:pt x="13" y="28"/>
                      </a:cubicBezTo>
                      <a:cubicBezTo>
                        <a:pt x="14" y="28"/>
                        <a:pt x="14" y="28"/>
                        <a:pt x="14" y="28"/>
                      </a:cubicBezTo>
                      <a:cubicBezTo>
                        <a:pt x="14" y="28"/>
                        <a:pt x="14" y="29"/>
                        <a:pt x="14" y="31"/>
                      </a:cubicBezTo>
                      <a:cubicBezTo>
                        <a:pt x="15" y="31"/>
                        <a:pt x="17" y="31"/>
                        <a:pt x="18" y="30"/>
                      </a:cubicBezTo>
                      <a:cubicBezTo>
                        <a:pt x="18" y="30"/>
                        <a:pt x="18" y="29"/>
                        <a:pt x="18" y="28"/>
                      </a:cubicBezTo>
                      <a:cubicBezTo>
                        <a:pt x="24" y="28"/>
                        <a:pt x="24" y="28"/>
                        <a:pt x="2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19" name="Freeform 1134"/>
                <p:cNvSpPr>
                  <a:spLocks/>
                </p:cNvSpPr>
                <p:nvPr/>
              </p:nvSpPr>
              <p:spPr bwMode="auto">
                <a:xfrm>
                  <a:off x="14131" y="2172"/>
                  <a:ext cx="54" cy="66"/>
                </a:xfrm>
                <a:custGeom>
                  <a:avLst/>
                  <a:gdLst>
                    <a:gd name="T0" fmla="*/ 19 w 23"/>
                    <a:gd name="T1" fmla="*/ 8 h 28"/>
                    <a:gd name="T2" fmla="*/ 19 w 23"/>
                    <a:gd name="T3" fmla="*/ 21 h 28"/>
                    <a:gd name="T4" fmla="*/ 21 w 23"/>
                    <a:gd name="T5" fmla="*/ 23 h 28"/>
                    <a:gd name="T6" fmla="*/ 23 w 23"/>
                    <a:gd name="T7" fmla="*/ 21 h 28"/>
                    <a:gd name="T8" fmla="*/ 23 w 23"/>
                    <a:gd name="T9" fmla="*/ 7 h 28"/>
                    <a:gd name="T10" fmla="*/ 17 w 23"/>
                    <a:gd name="T11" fmla="*/ 0 h 28"/>
                    <a:gd name="T12" fmla="*/ 7 w 23"/>
                    <a:gd name="T13" fmla="*/ 0 h 28"/>
                    <a:gd name="T14" fmla="*/ 0 w 23"/>
                    <a:gd name="T15" fmla="*/ 7 h 28"/>
                    <a:gd name="T16" fmla="*/ 0 w 23"/>
                    <a:gd name="T17" fmla="*/ 21 h 28"/>
                    <a:gd name="T18" fmla="*/ 3 w 23"/>
                    <a:gd name="T19" fmla="*/ 23 h 28"/>
                    <a:gd name="T20" fmla="*/ 5 w 23"/>
                    <a:gd name="T21" fmla="*/ 21 h 28"/>
                    <a:gd name="T22" fmla="*/ 5 w 23"/>
                    <a:gd name="T23" fmla="*/ 8 h 28"/>
                    <a:gd name="T24" fmla="*/ 6 w 23"/>
                    <a:gd name="T25" fmla="*/ 8 h 28"/>
                    <a:gd name="T26" fmla="*/ 6 w 23"/>
                    <a:gd name="T27" fmla="*/ 28 h 28"/>
                    <a:gd name="T28" fmla="*/ 11 w 23"/>
                    <a:gd name="T29" fmla="*/ 27 h 28"/>
                    <a:gd name="T30" fmla="*/ 11 w 23"/>
                    <a:gd name="T31" fmla="*/ 23 h 28"/>
                    <a:gd name="T32" fmla="*/ 12 w 23"/>
                    <a:gd name="T33" fmla="*/ 23 h 28"/>
                    <a:gd name="T34" fmla="*/ 12 w 23"/>
                    <a:gd name="T35" fmla="*/ 26 h 28"/>
                    <a:gd name="T36" fmla="*/ 18 w 23"/>
                    <a:gd name="T37" fmla="*/ 25 h 28"/>
                    <a:gd name="T38" fmla="*/ 18 w 23"/>
                    <a:gd name="T39" fmla="*/ 8 h 28"/>
                    <a:gd name="T40" fmla="*/ 19 w 23"/>
                    <a:gd name="T41"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 h="28">
                      <a:moveTo>
                        <a:pt x="19" y="8"/>
                      </a:move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ubicBezTo>
                        <a:pt x="15" y="0"/>
                        <a:pt x="8" y="0"/>
                        <a:pt x="7" y="0"/>
                      </a:cubicBezTo>
                      <a:cubicBezTo>
                        <a:pt x="3" y="0"/>
                        <a:pt x="0" y="3"/>
                        <a:pt x="0" y="7"/>
                      </a:cubicBezTo>
                      <a:cubicBezTo>
                        <a:pt x="0" y="8"/>
                        <a:pt x="0" y="20"/>
                        <a:pt x="0" y="21"/>
                      </a:cubicBezTo>
                      <a:cubicBezTo>
                        <a:pt x="0" y="22"/>
                        <a:pt x="1" y="23"/>
                        <a:pt x="3" y="23"/>
                      </a:cubicBezTo>
                      <a:cubicBezTo>
                        <a:pt x="4" y="23"/>
                        <a:pt x="5" y="22"/>
                        <a:pt x="5" y="21"/>
                      </a:cubicBezTo>
                      <a:cubicBezTo>
                        <a:pt x="5" y="20"/>
                        <a:pt x="5" y="8"/>
                        <a:pt x="5" y="8"/>
                      </a:cubicBezTo>
                      <a:cubicBezTo>
                        <a:pt x="5" y="8"/>
                        <a:pt x="5" y="8"/>
                        <a:pt x="6" y="8"/>
                      </a:cubicBezTo>
                      <a:cubicBezTo>
                        <a:pt x="6" y="8"/>
                        <a:pt x="6" y="18"/>
                        <a:pt x="6" y="28"/>
                      </a:cubicBezTo>
                      <a:cubicBezTo>
                        <a:pt x="7" y="28"/>
                        <a:pt x="9" y="27"/>
                        <a:pt x="11" y="27"/>
                      </a:cubicBezTo>
                      <a:cubicBezTo>
                        <a:pt x="11" y="25"/>
                        <a:pt x="11" y="23"/>
                        <a:pt x="11" y="23"/>
                      </a:cubicBezTo>
                      <a:cubicBezTo>
                        <a:pt x="11" y="23"/>
                        <a:pt x="11" y="23"/>
                        <a:pt x="12" y="23"/>
                      </a:cubicBezTo>
                      <a:cubicBezTo>
                        <a:pt x="12" y="23"/>
                        <a:pt x="12" y="25"/>
                        <a:pt x="12" y="26"/>
                      </a:cubicBezTo>
                      <a:cubicBezTo>
                        <a:pt x="14" y="26"/>
                        <a:pt x="16" y="26"/>
                        <a:pt x="18" y="25"/>
                      </a:cubicBezTo>
                      <a:cubicBezTo>
                        <a:pt x="18" y="16"/>
                        <a:pt x="18" y="8"/>
                        <a:pt x="18" y="8"/>
                      </a:cubicBezTo>
                      <a:cubicBezTo>
                        <a:pt x="18" y="8"/>
                        <a:pt x="18" y="8"/>
                        <a:pt x="1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20" name="Oval 1135"/>
                <p:cNvSpPr>
                  <a:spLocks noChangeArrowheads="1"/>
                </p:cNvSpPr>
                <p:nvPr/>
              </p:nvSpPr>
              <p:spPr bwMode="auto">
                <a:xfrm>
                  <a:off x="14081" y="2148"/>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21" name="Freeform 1136"/>
                <p:cNvSpPr>
                  <a:spLocks/>
                </p:cNvSpPr>
                <p:nvPr/>
              </p:nvSpPr>
              <p:spPr bwMode="auto">
                <a:xfrm>
                  <a:off x="13473" y="2025"/>
                  <a:ext cx="64" cy="111"/>
                </a:xfrm>
                <a:custGeom>
                  <a:avLst/>
                  <a:gdLst>
                    <a:gd name="T0" fmla="*/ 23 w 27"/>
                    <a:gd name="T1" fmla="*/ 5 h 47"/>
                    <a:gd name="T2" fmla="*/ 18 w 27"/>
                    <a:gd name="T3" fmla="*/ 0 h 47"/>
                    <a:gd name="T4" fmla="*/ 10 w 27"/>
                    <a:gd name="T5" fmla="*/ 0 h 47"/>
                    <a:gd name="T6" fmla="*/ 5 w 27"/>
                    <a:gd name="T7" fmla="*/ 5 h 47"/>
                    <a:gd name="T8" fmla="*/ 1 w 27"/>
                    <a:gd name="T9" fmla="*/ 18 h 47"/>
                    <a:gd name="T10" fmla="*/ 2 w 27"/>
                    <a:gd name="T11" fmla="*/ 21 h 47"/>
                    <a:gd name="T12" fmla="*/ 4 w 27"/>
                    <a:gd name="T13" fmla="*/ 20 h 47"/>
                    <a:gd name="T14" fmla="*/ 8 w 27"/>
                    <a:gd name="T15" fmla="*/ 6 h 47"/>
                    <a:gd name="T16" fmla="*/ 9 w 27"/>
                    <a:gd name="T17" fmla="*/ 6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5 w 27"/>
                    <a:gd name="T31" fmla="*/ 28 h 47"/>
                    <a:gd name="T32" fmla="*/ 15 w 27"/>
                    <a:gd name="T33" fmla="*/ 45 h 47"/>
                    <a:gd name="T34" fmla="*/ 17 w 27"/>
                    <a:gd name="T35" fmla="*/ 47 h 47"/>
                    <a:gd name="T36" fmla="*/ 19 w 27"/>
                    <a:gd name="T37" fmla="*/ 45 h 47"/>
                    <a:gd name="T38" fmla="*/ 19 w 27"/>
                    <a:gd name="T39" fmla="*/ 28 h 47"/>
                    <a:gd name="T40" fmla="*/ 25 w 27"/>
                    <a:gd name="T41" fmla="*/ 28 h 47"/>
                    <a:gd name="T42" fmla="*/ 19 w 27"/>
                    <a:gd name="T43" fmla="*/ 6 h 47"/>
                    <a:gd name="T44" fmla="*/ 20 w 27"/>
                    <a:gd name="T45" fmla="*/ 6 h 47"/>
                    <a:gd name="T46" fmla="*/ 24 w 27"/>
                    <a:gd name="T47" fmla="*/ 20 h 47"/>
                    <a:gd name="T48" fmla="*/ 26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8" y="0"/>
                      </a:cubicBezTo>
                      <a:cubicBezTo>
                        <a:pt x="17" y="0"/>
                        <a:pt x="11" y="0"/>
                        <a:pt x="10" y="0"/>
                      </a:cubicBezTo>
                      <a:cubicBezTo>
                        <a:pt x="8" y="0"/>
                        <a:pt x="5" y="2"/>
                        <a:pt x="5" y="5"/>
                      </a:cubicBezTo>
                      <a:cubicBezTo>
                        <a:pt x="3" y="10"/>
                        <a:pt x="1" y="18"/>
                        <a:pt x="1" y="18"/>
                      </a:cubicBezTo>
                      <a:cubicBezTo>
                        <a:pt x="0" y="19"/>
                        <a:pt x="1" y="20"/>
                        <a:pt x="2" y="21"/>
                      </a:cubicBezTo>
                      <a:cubicBezTo>
                        <a:pt x="3" y="21"/>
                        <a:pt x="4" y="20"/>
                        <a:pt x="4" y="20"/>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20"/>
                      </a:cubicBezTo>
                      <a:cubicBezTo>
                        <a:pt x="24" y="20"/>
                        <a:pt x="25" y="21"/>
                        <a:pt x="26" y="21"/>
                      </a:cubicBezTo>
                      <a:cubicBezTo>
                        <a:pt x="27" y="20"/>
                        <a:pt x="27"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22" name="Oval 1137"/>
                <p:cNvSpPr>
                  <a:spLocks noChangeArrowheads="1"/>
                </p:cNvSpPr>
                <p:nvPr/>
              </p:nvSpPr>
              <p:spPr bwMode="auto">
                <a:xfrm>
                  <a:off x="13561"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23" name="Oval 1138"/>
                <p:cNvSpPr>
                  <a:spLocks noChangeArrowheads="1"/>
                </p:cNvSpPr>
                <p:nvPr/>
              </p:nvSpPr>
              <p:spPr bwMode="auto">
                <a:xfrm>
                  <a:off x="13561" y="2148"/>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24" name="Freeform 1139"/>
                <p:cNvSpPr>
                  <a:spLocks/>
                </p:cNvSpPr>
                <p:nvPr/>
              </p:nvSpPr>
              <p:spPr bwMode="auto">
                <a:xfrm>
                  <a:off x="13438" y="2148"/>
                  <a:ext cx="14" cy="19"/>
                </a:xfrm>
                <a:custGeom>
                  <a:avLst/>
                  <a:gdLst>
                    <a:gd name="T0" fmla="*/ 6 w 6"/>
                    <a:gd name="T1" fmla="*/ 5 h 8"/>
                    <a:gd name="T2" fmla="*/ 1 w 6"/>
                    <a:gd name="T3" fmla="*/ 0 h 8"/>
                    <a:gd name="T4" fmla="*/ 0 w 6"/>
                    <a:gd name="T5" fmla="*/ 0 h 8"/>
                    <a:gd name="T6" fmla="*/ 5 w 6"/>
                    <a:gd name="T7" fmla="*/ 8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6" y="2"/>
                        <a:pt x="4" y="0"/>
                        <a:pt x="1" y="0"/>
                      </a:cubicBezTo>
                      <a:cubicBezTo>
                        <a:pt x="1" y="0"/>
                        <a:pt x="1" y="0"/>
                        <a:pt x="0" y="0"/>
                      </a:cubicBezTo>
                      <a:cubicBezTo>
                        <a:pt x="2" y="3"/>
                        <a:pt x="3" y="5"/>
                        <a:pt x="5" y="8"/>
                      </a:cubicBezTo>
                      <a:cubicBezTo>
                        <a:pt x="6" y="7"/>
                        <a:pt x="6" y="6"/>
                        <a:pt x="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25" name="Oval 1140"/>
                <p:cNvSpPr>
                  <a:spLocks noChangeArrowheads="1"/>
                </p:cNvSpPr>
                <p:nvPr/>
              </p:nvSpPr>
              <p:spPr bwMode="auto">
                <a:xfrm>
                  <a:off x="13494" y="2148"/>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26" name="Freeform 1141"/>
                <p:cNvSpPr>
                  <a:spLocks/>
                </p:cNvSpPr>
                <p:nvPr/>
              </p:nvSpPr>
              <p:spPr bwMode="auto">
                <a:xfrm>
                  <a:off x="13544" y="2025"/>
                  <a:ext cx="54"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6 w 23"/>
                    <a:gd name="T15" fmla="*/ 8 h 47"/>
                    <a:gd name="T16" fmla="*/ 6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4" y="23"/>
                        <a:pt x="4" y="22"/>
                        <a:pt x="4" y="21"/>
                      </a:cubicBezTo>
                      <a:cubicBezTo>
                        <a:pt x="4" y="19"/>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27" name="Freeform 1142"/>
                <p:cNvSpPr>
                  <a:spLocks/>
                </p:cNvSpPr>
                <p:nvPr/>
              </p:nvSpPr>
              <p:spPr bwMode="auto">
                <a:xfrm>
                  <a:off x="13539" y="2174"/>
                  <a:ext cx="64" cy="80"/>
                </a:xfrm>
                <a:custGeom>
                  <a:avLst/>
                  <a:gdLst>
                    <a:gd name="T0" fmla="*/ 18 w 27"/>
                    <a:gd name="T1" fmla="*/ 0 h 34"/>
                    <a:gd name="T2" fmla="*/ 10 w 27"/>
                    <a:gd name="T3" fmla="*/ 0 h 34"/>
                    <a:gd name="T4" fmla="*/ 4 w 27"/>
                    <a:gd name="T5" fmla="*/ 4 h 34"/>
                    <a:gd name="T6" fmla="*/ 0 w 27"/>
                    <a:gd name="T7" fmla="*/ 18 h 34"/>
                    <a:gd name="T8" fmla="*/ 2 w 27"/>
                    <a:gd name="T9" fmla="*/ 20 h 34"/>
                    <a:gd name="T10" fmla="*/ 4 w 27"/>
                    <a:gd name="T11" fmla="*/ 19 h 34"/>
                    <a:gd name="T12" fmla="*/ 8 w 27"/>
                    <a:gd name="T13" fmla="*/ 6 h 34"/>
                    <a:gd name="T14" fmla="*/ 9 w 27"/>
                    <a:gd name="T15" fmla="*/ 6 h 34"/>
                    <a:gd name="T16" fmla="*/ 3 w 27"/>
                    <a:gd name="T17" fmla="*/ 28 h 34"/>
                    <a:gd name="T18" fmla="*/ 9 w 27"/>
                    <a:gd name="T19" fmla="*/ 28 h 34"/>
                    <a:gd name="T20" fmla="*/ 9 w 27"/>
                    <a:gd name="T21" fmla="*/ 32 h 34"/>
                    <a:gd name="T22" fmla="*/ 13 w 27"/>
                    <a:gd name="T23" fmla="*/ 33 h 34"/>
                    <a:gd name="T24" fmla="*/ 13 w 27"/>
                    <a:gd name="T25" fmla="*/ 28 h 34"/>
                    <a:gd name="T26" fmla="*/ 14 w 27"/>
                    <a:gd name="T27" fmla="*/ 28 h 34"/>
                    <a:gd name="T28" fmla="*/ 14 w 27"/>
                    <a:gd name="T29" fmla="*/ 34 h 34"/>
                    <a:gd name="T30" fmla="*/ 19 w 27"/>
                    <a:gd name="T31" fmla="*/ 34 h 34"/>
                    <a:gd name="T32" fmla="*/ 19 w 27"/>
                    <a:gd name="T33" fmla="*/ 28 h 34"/>
                    <a:gd name="T34" fmla="*/ 25 w 27"/>
                    <a:gd name="T35" fmla="*/ 28 h 34"/>
                    <a:gd name="T36" fmla="*/ 19 w 27"/>
                    <a:gd name="T37" fmla="*/ 6 h 34"/>
                    <a:gd name="T38" fmla="*/ 20 w 27"/>
                    <a:gd name="T39" fmla="*/ 6 h 34"/>
                    <a:gd name="T40" fmla="*/ 23 w 27"/>
                    <a:gd name="T41" fmla="*/ 19 h 34"/>
                    <a:gd name="T42" fmla="*/ 24 w 27"/>
                    <a:gd name="T43" fmla="*/ 20 h 34"/>
                    <a:gd name="T44" fmla="*/ 27 w 27"/>
                    <a:gd name="T45" fmla="*/ 17 h 34"/>
                    <a:gd name="T46" fmla="*/ 23 w 27"/>
                    <a:gd name="T47" fmla="*/ 4 h 34"/>
                    <a:gd name="T48" fmla="*/ 18 w 27"/>
                    <a:gd name="T4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7" h="34">
                      <a:moveTo>
                        <a:pt x="18" y="0"/>
                      </a:moveTo>
                      <a:cubicBezTo>
                        <a:pt x="16" y="0"/>
                        <a:pt x="11" y="0"/>
                        <a:pt x="10" y="0"/>
                      </a:cubicBezTo>
                      <a:cubicBezTo>
                        <a:pt x="8" y="0"/>
                        <a:pt x="5" y="2"/>
                        <a:pt x="4" y="4"/>
                      </a:cubicBezTo>
                      <a:cubicBezTo>
                        <a:pt x="3" y="10"/>
                        <a:pt x="1" y="17"/>
                        <a:pt x="0" y="18"/>
                      </a:cubicBezTo>
                      <a:cubicBezTo>
                        <a:pt x="0" y="19"/>
                        <a:pt x="1" y="20"/>
                        <a:pt x="2" y="20"/>
                      </a:cubicBezTo>
                      <a:cubicBezTo>
                        <a:pt x="3" y="20"/>
                        <a:pt x="4" y="20"/>
                        <a:pt x="4" y="19"/>
                      </a:cubicBezTo>
                      <a:cubicBezTo>
                        <a:pt x="4" y="18"/>
                        <a:pt x="8" y="6"/>
                        <a:pt x="8" y="6"/>
                      </a:cubicBezTo>
                      <a:cubicBezTo>
                        <a:pt x="9" y="6"/>
                        <a:pt x="9" y="6"/>
                        <a:pt x="9" y="6"/>
                      </a:cubicBezTo>
                      <a:cubicBezTo>
                        <a:pt x="3" y="28"/>
                        <a:pt x="3" y="28"/>
                        <a:pt x="3" y="28"/>
                      </a:cubicBezTo>
                      <a:cubicBezTo>
                        <a:pt x="9" y="28"/>
                        <a:pt x="9" y="28"/>
                        <a:pt x="9" y="28"/>
                      </a:cubicBezTo>
                      <a:cubicBezTo>
                        <a:pt x="9" y="29"/>
                        <a:pt x="9" y="31"/>
                        <a:pt x="9" y="32"/>
                      </a:cubicBezTo>
                      <a:cubicBezTo>
                        <a:pt x="10" y="33"/>
                        <a:pt x="12" y="33"/>
                        <a:pt x="13" y="33"/>
                      </a:cubicBezTo>
                      <a:cubicBezTo>
                        <a:pt x="13" y="30"/>
                        <a:pt x="13" y="28"/>
                        <a:pt x="13" y="28"/>
                      </a:cubicBezTo>
                      <a:cubicBezTo>
                        <a:pt x="14" y="28"/>
                        <a:pt x="14" y="28"/>
                        <a:pt x="14" y="28"/>
                      </a:cubicBezTo>
                      <a:cubicBezTo>
                        <a:pt x="14" y="28"/>
                        <a:pt x="14" y="30"/>
                        <a:pt x="14" y="34"/>
                      </a:cubicBezTo>
                      <a:cubicBezTo>
                        <a:pt x="16" y="34"/>
                        <a:pt x="17" y="34"/>
                        <a:pt x="19" y="34"/>
                      </a:cubicBezTo>
                      <a:cubicBezTo>
                        <a:pt x="19" y="32"/>
                        <a:pt x="19" y="30"/>
                        <a:pt x="19" y="28"/>
                      </a:cubicBezTo>
                      <a:cubicBezTo>
                        <a:pt x="25" y="28"/>
                        <a:pt x="25" y="28"/>
                        <a:pt x="25" y="28"/>
                      </a:cubicBezTo>
                      <a:cubicBezTo>
                        <a:pt x="19" y="6"/>
                        <a:pt x="19" y="6"/>
                        <a:pt x="19" y="6"/>
                      </a:cubicBezTo>
                      <a:cubicBezTo>
                        <a:pt x="20" y="6"/>
                        <a:pt x="20" y="6"/>
                        <a:pt x="20" y="6"/>
                      </a:cubicBezTo>
                      <a:cubicBezTo>
                        <a:pt x="20" y="6"/>
                        <a:pt x="23" y="18"/>
                        <a:pt x="23" y="19"/>
                      </a:cubicBezTo>
                      <a:cubicBezTo>
                        <a:pt x="24" y="19"/>
                        <a:pt x="24" y="20"/>
                        <a:pt x="24" y="20"/>
                      </a:cubicBezTo>
                      <a:cubicBezTo>
                        <a:pt x="25" y="19"/>
                        <a:pt x="26" y="18"/>
                        <a:pt x="27" y="17"/>
                      </a:cubicBezTo>
                      <a:cubicBezTo>
                        <a:pt x="26" y="15"/>
                        <a:pt x="24" y="9"/>
                        <a:pt x="23" y="4"/>
                      </a:cubicBezTo>
                      <a:cubicBezTo>
                        <a:pt x="22" y="2"/>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28" name="Oval 1143"/>
                <p:cNvSpPr>
                  <a:spLocks noChangeArrowheads="1"/>
                </p:cNvSpPr>
                <p:nvPr/>
              </p:nvSpPr>
              <p:spPr bwMode="auto">
                <a:xfrm>
                  <a:off x="13627" y="1999"/>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29" name="Freeform 1144"/>
                <p:cNvSpPr>
                  <a:spLocks/>
                </p:cNvSpPr>
                <p:nvPr/>
              </p:nvSpPr>
              <p:spPr bwMode="auto">
                <a:xfrm>
                  <a:off x="13480" y="2172"/>
                  <a:ext cx="52" cy="61"/>
                </a:xfrm>
                <a:custGeom>
                  <a:avLst/>
                  <a:gdLst>
                    <a:gd name="T0" fmla="*/ 18 w 22"/>
                    <a:gd name="T1" fmla="*/ 8 h 26"/>
                    <a:gd name="T2" fmla="*/ 18 w 22"/>
                    <a:gd name="T3" fmla="*/ 21 h 26"/>
                    <a:gd name="T4" fmla="*/ 20 w 22"/>
                    <a:gd name="T5" fmla="*/ 23 h 26"/>
                    <a:gd name="T6" fmla="*/ 22 w 22"/>
                    <a:gd name="T7" fmla="*/ 21 h 26"/>
                    <a:gd name="T8" fmla="*/ 22 w 22"/>
                    <a:gd name="T9" fmla="*/ 7 h 26"/>
                    <a:gd name="T10" fmla="*/ 16 w 22"/>
                    <a:gd name="T11" fmla="*/ 0 h 26"/>
                    <a:gd name="T12" fmla="*/ 6 w 22"/>
                    <a:gd name="T13" fmla="*/ 0 h 26"/>
                    <a:gd name="T14" fmla="*/ 0 w 22"/>
                    <a:gd name="T15" fmla="*/ 7 h 26"/>
                    <a:gd name="T16" fmla="*/ 0 w 22"/>
                    <a:gd name="T17" fmla="*/ 13 h 26"/>
                    <a:gd name="T18" fmla="*/ 4 w 22"/>
                    <a:gd name="T19" fmla="*/ 17 h 26"/>
                    <a:gd name="T20" fmla="*/ 4 w 22"/>
                    <a:gd name="T21" fmla="*/ 8 h 26"/>
                    <a:gd name="T22" fmla="*/ 5 w 22"/>
                    <a:gd name="T23" fmla="*/ 8 h 26"/>
                    <a:gd name="T24" fmla="*/ 5 w 22"/>
                    <a:gd name="T25" fmla="*/ 18 h 26"/>
                    <a:gd name="T26" fmla="*/ 17 w 22"/>
                    <a:gd name="T27" fmla="*/ 26 h 26"/>
                    <a:gd name="T28" fmla="*/ 17 w 22"/>
                    <a:gd name="T29" fmla="*/ 8 h 26"/>
                    <a:gd name="T30" fmla="*/ 18 w 22"/>
                    <a:gd name="T31"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6">
                      <a:moveTo>
                        <a:pt x="18" y="8"/>
                      </a:moveTo>
                      <a:cubicBezTo>
                        <a:pt x="18" y="8"/>
                        <a:pt x="18" y="20"/>
                        <a:pt x="18" y="21"/>
                      </a:cubicBezTo>
                      <a:cubicBezTo>
                        <a:pt x="18" y="22"/>
                        <a:pt x="19" y="23"/>
                        <a:pt x="20" y="23"/>
                      </a:cubicBezTo>
                      <a:cubicBezTo>
                        <a:pt x="21" y="23"/>
                        <a:pt x="22" y="22"/>
                        <a:pt x="22" y="21"/>
                      </a:cubicBezTo>
                      <a:cubicBezTo>
                        <a:pt x="22" y="20"/>
                        <a:pt x="22" y="8"/>
                        <a:pt x="22" y="7"/>
                      </a:cubicBezTo>
                      <a:cubicBezTo>
                        <a:pt x="22" y="3"/>
                        <a:pt x="20" y="0"/>
                        <a:pt x="16" y="0"/>
                      </a:cubicBezTo>
                      <a:cubicBezTo>
                        <a:pt x="15" y="0"/>
                        <a:pt x="7" y="0"/>
                        <a:pt x="6" y="0"/>
                      </a:cubicBezTo>
                      <a:cubicBezTo>
                        <a:pt x="2" y="0"/>
                        <a:pt x="0" y="3"/>
                        <a:pt x="0" y="7"/>
                      </a:cubicBezTo>
                      <a:cubicBezTo>
                        <a:pt x="0" y="7"/>
                        <a:pt x="0" y="10"/>
                        <a:pt x="0" y="13"/>
                      </a:cubicBezTo>
                      <a:cubicBezTo>
                        <a:pt x="1" y="14"/>
                        <a:pt x="2" y="15"/>
                        <a:pt x="4" y="17"/>
                      </a:cubicBezTo>
                      <a:cubicBezTo>
                        <a:pt x="4" y="13"/>
                        <a:pt x="4" y="8"/>
                        <a:pt x="4" y="8"/>
                      </a:cubicBezTo>
                      <a:cubicBezTo>
                        <a:pt x="4" y="8"/>
                        <a:pt x="4" y="8"/>
                        <a:pt x="5" y="8"/>
                      </a:cubicBezTo>
                      <a:cubicBezTo>
                        <a:pt x="5" y="8"/>
                        <a:pt x="5" y="12"/>
                        <a:pt x="5" y="18"/>
                      </a:cubicBezTo>
                      <a:cubicBezTo>
                        <a:pt x="9" y="20"/>
                        <a:pt x="13" y="23"/>
                        <a:pt x="17" y="26"/>
                      </a:cubicBezTo>
                      <a:cubicBezTo>
                        <a:pt x="17" y="17"/>
                        <a:pt x="17" y="8"/>
                        <a:pt x="17" y="8"/>
                      </a:cubicBezTo>
                      <a:cubicBezTo>
                        <a:pt x="17" y="8"/>
                        <a:pt x="17"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30" name="Freeform 1145"/>
                <p:cNvSpPr>
                  <a:spLocks/>
                </p:cNvSpPr>
                <p:nvPr/>
              </p:nvSpPr>
              <p:spPr bwMode="auto">
                <a:xfrm>
                  <a:off x="13426" y="2025"/>
                  <a:ext cx="42" cy="111"/>
                </a:xfrm>
                <a:custGeom>
                  <a:avLst/>
                  <a:gdLst>
                    <a:gd name="T0" fmla="*/ 6 w 18"/>
                    <a:gd name="T1" fmla="*/ 44 h 47"/>
                    <a:gd name="T2" fmla="*/ 6 w 18"/>
                    <a:gd name="T3" fmla="*/ 23 h 47"/>
                    <a:gd name="T4" fmla="*/ 7 w 18"/>
                    <a:gd name="T5" fmla="*/ 23 h 47"/>
                    <a:gd name="T6" fmla="*/ 7 w 18"/>
                    <a:gd name="T7" fmla="*/ 44 h 47"/>
                    <a:gd name="T8" fmla="*/ 10 w 18"/>
                    <a:gd name="T9" fmla="*/ 47 h 47"/>
                    <a:gd name="T10" fmla="*/ 12 w 18"/>
                    <a:gd name="T11" fmla="*/ 44 h 47"/>
                    <a:gd name="T12" fmla="*/ 12 w 18"/>
                    <a:gd name="T13" fmla="*/ 8 h 47"/>
                    <a:gd name="T14" fmla="*/ 13 w 18"/>
                    <a:gd name="T15" fmla="*/ 8 h 47"/>
                    <a:gd name="T16" fmla="*/ 13 w 18"/>
                    <a:gd name="T17" fmla="*/ 21 h 47"/>
                    <a:gd name="T18" fmla="*/ 16 w 18"/>
                    <a:gd name="T19" fmla="*/ 23 h 47"/>
                    <a:gd name="T20" fmla="*/ 18 w 18"/>
                    <a:gd name="T21" fmla="*/ 21 h 47"/>
                    <a:gd name="T22" fmla="*/ 18 w 18"/>
                    <a:gd name="T23" fmla="*/ 6 h 47"/>
                    <a:gd name="T24" fmla="*/ 11 w 18"/>
                    <a:gd name="T25" fmla="*/ 0 h 47"/>
                    <a:gd name="T26" fmla="*/ 1 w 18"/>
                    <a:gd name="T27" fmla="*/ 0 h 47"/>
                    <a:gd name="T28" fmla="*/ 0 w 18"/>
                    <a:gd name="T29" fmla="*/ 0 h 47"/>
                    <a:gd name="T30" fmla="*/ 0 w 18"/>
                    <a:gd name="T31" fmla="*/ 8 h 47"/>
                    <a:gd name="T32" fmla="*/ 0 w 18"/>
                    <a:gd name="T33" fmla="*/ 8 h 47"/>
                    <a:gd name="T34" fmla="*/ 0 w 18"/>
                    <a:gd name="T35" fmla="*/ 32 h 47"/>
                    <a:gd name="T36" fmla="*/ 3 w 18"/>
                    <a:gd name="T37" fmla="*/ 47 h 47"/>
                    <a:gd name="T38" fmla="*/ 6 w 18"/>
                    <a:gd name="T39"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47">
                      <a:moveTo>
                        <a:pt x="6" y="44"/>
                      </a:moveTo>
                      <a:cubicBezTo>
                        <a:pt x="6" y="42"/>
                        <a:pt x="6" y="23"/>
                        <a:pt x="6" y="23"/>
                      </a:cubicBezTo>
                      <a:cubicBezTo>
                        <a:pt x="6" y="23"/>
                        <a:pt x="6" y="23"/>
                        <a:pt x="7" y="23"/>
                      </a:cubicBezTo>
                      <a:cubicBezTo>
                        <a:pt x="7" y="23"/>
                        <a:pt x="7" y="42"/>
                        <a:pt x="7" y="44"/>
                      </a:cubicBezTo>
                      <a:cubicBezTo>
                        <a:pt x="7" y="46"/>
                        <a:pt x="8" y="47"/>
                        <a:pt x="10" y="47"/>
                      </a:cubicBezTo>
                      <a:cubicBezTo>
                        <a:pt x="11" y="47"/>
                        <a:pt x="12" y="46"/>
                        <a:pt x="12" y="44"/>
                      </a:cubicBezTo>
                      <a:cubicBezTo>
                        <a:pt x="12" y="42"/>
                        <a:pt x="12" y="8"/>
                        <a:pt x="12" y="8"/>
                      </a:cubicBezTo>
                      <a:cubicBezTo>
                        <a:pt x="12" y="8"/>
                        <a:pt x="12" y="8"/>
                        <a:pt x="13" y="8"/>
                      </a:cubicBezTo>
                      <a:cubicBezTo>
                        <a:pt x="13" y="8"/>
                        <a:pt x="13" y="19"/>
                        <a:pt x="13" y="21"/>
                      </a:cubicBezTo>
                      <a:cubicBezTo>
                        <a:pt x="13" y="22"/>
                        <a:pt x="14" y="23"/>
                        <a:pt x="16" y="23"/>
                      </a:cubicBezTo>
                      <a:cubicBezTo>
                        <a:pt x="17" y="23"/>
                        <a:pt x="18" y="22"/>
                        <a:pt x="18" y="21"/>
                      </a:cubicBezTo>
                      <a:cubicBezTo>
                        <a:pt x="18" y="20"/>
                        <a:pt x="18" y="8"/>
                        <a:pt x="18" y="6"/>
                      </a:cubicBezTo>
                      <a:cubicBezTo>
                        <a:pt x="18" y="3"/>
                        <a:pt x="15" y="0"/>
                        <a:pt x="11" y="0"/>
                      </a:cubicBezTo>
                      <a:cubicBezTo>
                        <a:pt x="10" y="0"/>
                        <a:pt x="3" y="0"/>
                        <a:pt x="1" y="0"/>
                      </a:cubicBezTo>
                      <a:cubicBezTo>
                        <a:pt x="1" y="0"/>
                        <a:pt x="0" y="0"/>
                        <a:pt x="0" y="0"/>
                      </a:cubicBezTo>
                      <a:cubicBezTo>
                        <a:pt x="0" y="3"/>
                        <a:pt x="0" y="5"/>
                        <a:pt x="0" y="8"/>
                      </a:cubicBezTo>
                      <a:cubicBezTo>
                        <a:pt x="0" y="8"/>
                        <a:pt x="0" y="8"/>
                        <a:pt x="0" y="8"/>
                      </a:cubicBezTo>
                      <a:cubicBezTo>
                        <a:pt x="0" y="8"/>
                        <a:pt x="0" y="21"/>
                        <a:pt x="0" y="32"/>
                      </a:cubicBezTo>
                      <a:cubicBezTo>
                        <a:pt x="1" y="37"/>
                        <a:pt x="2" y="42"/>
                        <a:pt x="3" y="47"/>
                      </a:cubicBezTo>
                      <a:cubicBezTo>
                        <a:pt x="5" y="46"/>
                        <a:pt x="6" y="45"/>
                        <a:pt x="6"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31" name="Oval 1146"/>
                <p:cNvSpPr>
                  <a:spLocks noChangeArrowheads="1"/>
                </p:cNvSpPr>
                <p:nvPr/>
              </p:nvSpPr>
              <p:spPr bwMode="auto">
                <a:xfrm>
                  <a:off x="13494" y="1999"/>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32" name="Freeform 1147"/>
                <p:cNvSpPr>
                  <a:spLocks/>
                </p:cNvSpPr>
                <p:nvPr/>
              </p:nvSpPr>
              <p:spPr bwMode="auto">
                <a:xfrm>
                  <a:off x="13454" y="2174"/>
                  <a:ext cx="10" cy="14"/>
                </a:xfrm>
                <a:custGeom>
                  <a:avLst/>
                  <a:gdLst>
                    <a:gd name="T0" fmla="*/ 0 w 4"/>
                    <a:gd name="T1" fmla="*/ 0 h 6"/>
                    <a:gd name="T2" fmla="*/ 3 w 4"/>
                    <a:gd name="T3" fmla="*/ 4 h 6"/>
                    <a:gd name="T4" fmla="*/ 4 w 4"/>
                    <a:gd name="T5" fmla="*/ 6 h 6"/>
                    <a:gd name="T6" fmla="*/ 4 w 4"/>
                    <a:gd name="T7" fmla="*/ 4 h 6"/>
                    <a:gd name="T8" fmla="*/ 0 w 4"/>
                    <a:gd name="T9" fmla="*/ 0 h 6"/>
                  </a:gdLst>
                  <a:ahLst/>
                  <a:cxnLst>
                    <a:cxn ang="0">
                      <a:pos x="T0" y="T1"/>
                    </a:cxn>
                    <a:cxn ang="0">
                      <a:pos x="T2" y="T3"/>
                    </a:cxn>
                    <a:cxn ang="0">
                      <a:pos x="T4" y="T5"/>
                    </a:cxn>
                    <a:cxn ang="0">
                      <a:pos x="T6" y="T7"/>
                    </a:cxn>
                    <a:cxn ang="0">
                      <a:pos x="T8" y="T9"/>
                    </a:cxn>
                  </a:cxnLst>
                  <a:rect l="0" t="0" r="r" b="b"/>
                  <a:pathLst>
                    <a:path w="4" h="6">
                      <a:moveTo>
                        <a:pt x="0" y="0"/>
                      </a:moveTo>
                      <a:cubicBezTo>
                        <a:pt x="0" y="1"/>
                        <a:pt x="1" y="2"/>
                        <a:pt x="3" y="4"/>
                      </a:cubicBezTo>
                      <a:cubicBezTo>
                        <a:pt x="3" y="4"/>
                        <a:pt x="3" y="5"/>
                        <a:pt x="4" y="6"/>
                      </a:cubicBezTo>
                      <a:cubicBezTo>
                        <a:pt x="4" y="5"/>
                        <a:pt x="4" y="4"/>
                        <a:pt x="4" y="4"/>
                      </a:cubicBezTo>
                      <a:cubicBezTo>
                        <a:pt x="3" y="2"/>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33" name="Oval 1148"/>
                <p:cNvSpPr>
                  <a:spLocks noChangeArrowheads="1"/>
                </p:cNvSpPr>
                <p:nvPr/>
              </p:nvSpPr>
              <p:spPr bwMode="auto">
                <a:xfrm>
                  <a:off x="13430" y="1999"/>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34" name="Oval 1149"/>
                <p:cNvSpPr>
                  <a:spLocks noChangeArrowheads="1"/>
                </p:cNvSpPr>
                <p:nvPr/>
              </p:nvSpPr>
              <p:spPr bwMode="auto">
                <a:xfrm>
                  <a:off x="13627" y="2148"/>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35" name="Freeform 1150"/>
                <p:cNvSpPr>
                  <a:spLocks/>
                </p:cNvSpPr>
                <p:nvPr/>
              </p:nvSpPr>
              <p:spPr bwMode="auto">
                <a:xfrm>
                  <a:off x="13610" y="2172"/>
                  <a:ext cx="55" cy="35"/>
                </a:xfrm>
                <a:custGeom>
                  <a:avLst/>
                  <a:gdLst>
                    <a:gd name="T0" fmla="*/ 17 w 23"/>
                    <a:gd name="T1" fmla="*/ 0 h 15"/>
                    <a:gd name="T2" fmla="*/ 6 w 23"/>
                    <a:gd name="T3" fmla="*/ 0 h 15"/>
                    <a:gd name="T4" fmla="*/ 0 w 23"/>
                    <a:gd name="T5" fmla="*/ 7 h 15"/>
                    <a:gd name="T6" fmla="*/ 0 w 23"/>
                    <a:gd name="T7" fmla="*/ 15 h 15"/>
                    <a:gd name="T8" fmla="*/ 4 w 23"/>
                    <a:gd name="T9" fmla="*/ 12 h 15"/>
                    <a:gd name="T10" fmla="*/ 4 w 23"/>
                    <a:gd name="T11" fmla="*/ 8 h 15"/>
                    <a:gd name="T12" fmla="*/ 5 w 23"/>
                    <a:gd name="T13" fmla="*/ 8 h 15"/>
                    <a:gd name="T14" fmla="*/ 5 w 23"/>
                    <a:gd name="T15" fmla="*/ 12 h 15"/>
                    <a:gd name="T16" fmla="*/ 17 w 23"/>
                    <a:gd name="T17" fmla="*/ 13 h 15"/>
                    <a:gd name="T18" fmla="*/ 17 w 23"/>
                    <a:gd name="T19" fmla="*/ 8 h 15"/>
                    <a:gd name="T20" fmla="*/ 19 w 23"/>
                    <a:gd name="T21" fmla="*/ 8 h 15"/>
                    <a:gd name="T22" fmla="*/ 19 w 23"/>
                    <a:gd name="T23" fmla="*/ 13 h 15"/>
                    <a:gd name="T24" fmla="*/ 23 w 23"/>
                    <a:gd name="T25" fmla="*/ 14 h 15"/>
                    <a:gd name="T26" fmla="*/ 23 w 23"/>
                    <a:gd name="T27" fmla="*/ 7 h 15"/>
                    <a:gd name="T28" fmla="*/ 17 w 23"/>
                    <a:gd name="T2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15">
                      <a:moveTo>
                        <a:pt x="17" y="0"/>
                      </a:moveTo>
                      <a:cubicBezTo>
                        <a:pt x="15" y="0"/>
                        <a:pt x="8" y="0"/>
                        <a:pt x="6" y="0"/>
                      </a:cubicBezTo>
                      <a:cubicBezTo>
                        <a:pt x="3" y="0"/>
                        <a:pt x="0" y="3"/>
                        <a:pt x="0" y="7"/>
                      </a:cubicBezTo>
                      <a:cubicBezTo>
                        <a:pt x="0" y="7"/>
                        <a:pt x="0" y="11"/>
                        <a:pt x="0" y="15"/>
                      </a:cubicBezTo>
                      <a:cubicBezTo>
                        <a:pt x="1" y="14"/>
                        <a:pt x="3" y="13"/>
                        <a:pt x="4" y="12"/>
                      </a:cubicBezTo>
                      <a:cubicBezTo>
                        <a:pt x="4" y="10"/>
                        <a:pt x="4" y="8"/>
                        <a:pt x="4" y="8"/>
                      </a:cubicBezTo>
                      <a:cubicBezTo>
                        <a:pt x="4" y="8"/>
                        <a:pt x="4" y="8"/>
                        <a:pt x="5" y="8"/>
                      </a:cubicBezTo>
                      <a:cubicBezTo>
                        <a:pt x="5" y="8"/>
                        <a:pt x="5" y="10"/>
                        <a:pt x="5" y="12"/>
                      </a:cubicBezTo>
                      <a:cubicBezTo>
                        <a:pt x="9" y="11"/>
                        <a:pt x="13" y="12"/>
                        <a:pt x="17" y="13"/>
                      </a:cubicBezTo>
                      <a:cubicBezTo>
                        <a:pt x="17" y="10"/>
                        <a:pt x="17" y="8"/>
                        <a:pt x="17" y="8"/>
                      </a:cubicBezTo>
                      <a:cubicBezTo>
                        <a:pt x="17" y="8"/>
                        <a:pt x="17" y="8"/>
                        <a:pt x="19" y="8"/>
                      </a:cubicBezTo>
                      <a:cubicBezTo>
                        <a:pt x="19" y="8"/>
                        <a:pt x="19" y="10"/>
                        <a:pt x="19" y="13"/>
                      </a:cubicBezTo>
                      <a:cubicBezTo>
                        <a:pt x="20" y="13"/>
                        <a:pt x="21" y="14"/>
                        <a:pt x="23" y="14"/>
                      </a:cubicBezTo>
                      <a:cubicBezTo>
                        <a:pt x="23" y="11"/>
                        <a:pt x="23" y="7"/>
                        <a:pt x="23" y="7"/>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36" name="Freeform 1151"/>
                <p:cNvSpPr>
                  <a:spLocks/>
                </p:cNvSpPr>
                <p:nvPr/>
              </p:nvSpPr>
              <p:spPr bwMode="auto">
                <a:xfrm>
                  <a:off x="13606" y="2025"/>
                  <a:ext cx="63" cy="111"/>
                </a:xfrm>
                <a:custGeom>
                  <a:avLst/>
                  <a:gdLst>
                    <a:gd name="T0" fmla="*/ 23 w 27"/>
                    <a:gd name="T1" fmla="*/ 5 h 47"/>
                    <a:gd name="T2" fmla="*/ 17 w 27"/>
                    <a:gd name="T3" fmla="*/ 0 h 47"/>
                    <a:gd name="T4" fmla="*/ 10 w 27"/>
                    <a:gd name="T5" fmla="*/ 0 h 47"/>
                    <a:gd name="T6" fmla="*/ 4 w 27"/>
                    <a:gd name="T7" fmla="*/ 5 h 47"/>
                    <a:gd name="T8" fmla="*/ 0 w 27"/>
                    <a:gd name="T9" fmla="*/ 18 h 47"/>
                    <a:gd name="T10" fmla="*/ 1 w 27"/>
                    <a:gd name="T11" fmla="*/ 21 h 47"/>
                    <a:gd name="T12" fmla="*/ 4 w 27"/>
                    <a:gd name="T13" fmla="*/ 20 h 47"/>
                    <a:gd name="T14" fmla="*/ 8 w 27"/>
                    <a:gd name="T15" fmla="*/ 6 h 47"/>
                    <a:gd name="T16" fmla="*/ 9 w 27"/>
                    <a:gd name="T17" fmla="*/ 6 h 47"/>
                    <a:gd name="T18" fmla="*/ 2 w 27"/>
                    <a:gd name="T19" fmla="*/ 28 h 47"/>
                    <a:gd name="T20" fmla="*/ 8 w 27"/>
                    <a:gd name="T21" fmla="*/ 28 h 47"/>
                    <a:gd name="T22" fmla="*/ 8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8 w 27"/>
                    <a:gd name="T37" fmla="*/ 45 h 47"/>
                    <a:gd name="T38" fmla="*/ 18 w 27"/>
                    <a:gd name="T39" fmla="*/ 28 h 47"/>
                    <a:gd name="T40" fmla="*/ 25 w 27"/>
                    <a:gd name="T41" fmla="*/ 28 h 47"/>
                    <a:gd name="T42" fmla="*/ 18 w 27"/>
                    <a:gd name="T43" fmla="*/ 6 h 47"/>
                    <a:gd name="T44" fmla="*/ 19 w 27"/>
                    <a:gd name="T45" fmla="*/ 6 h 47"/>
                    <a:gd name="T46" fmla="*/ 23 w 27"/>
                    <a:gd name="T47" fmla="*/ 20 h 47"/>
                    <a:gd name="T48" fmla="*/ 25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7" y="0"/>
                      </a:cubicBezTo>
                      <a:cubicBezTo>
                        <a:pt x="16" y="0"/>
                        <a:pt x="11" y="0"/>
                        <a:pt x="10" y="0"/>
                      </a:cubicBezTo>
                      <a:cubicBezTo>
                        <a:pt x="7" y="0"/>
                        <a:pt x="5" y="2"/>
                        <a:pt x="4" y="5"/>
                      </a:cubicBezTo>
                      <a:cubicBezTo>
                        <a:pt x="2" y="10"/>
                        <a:pt x="0" y="18"/>
                        <a:pt x="0" y="18"/>
                      </a:cubicBezTo>
                      <a:cubicBezTo>
                        <a:pt x="0" y="19"/>
                        <a:pt x="0" y="20"/>
                        <a:pt x="1" y="21"/>
                      </a:cubicBezTo>
                      <a:cubicBezTo>
                        <a:pt x="2" y="21"/>
                        <a:pt x="3" y="20"/>
                        <a:pt x="4" y="20"/>
                      </a:cubicBezTo>
                      <a:cubicBezTo>
                        <a:pt x="4" y="18"/>
                        <a:pt x="8" y="6"/>
                        <a:pt x="8"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6"/>
                        <a:pt x="18" y="6"/>
                        <a:pt x="18" y="6"/>
                      </a:cubicBezTo>
                      <a:cubicBezTo>
                        <a:pt x="19" y="6"/>
                        <a:pt x="19" y="6"/>
                        <a:pt x="19" y="6"/>
                      </a:cubicBezTo>
                      <a:cubicBezTo>
                        <a:pt x="19" y="6"/>
                        <a:pt x="23" y="18"/>
                        <a:pt x="23" y="20"/>
                      </a:cubicBezTo>
                      <a:cubicBezTo>
                        <a:pt x="23" y="20"/>
                        <a:pt x="24" y="21"/>
                        <a:pt x="25" y="21"/>
                      </a:cubicBezTo>
                      <a:cubicBezTo>
                        <a:pt x="26" y="20"/>
                        <a:pt x="27" y="19"/>
                        <a:pt x="27" y="18"/>
                      </a:cubicBezTo>
                      <a:cubicBezTo>
                        <a:pt x="26" y="18"/>
                        <a:pt x="24"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37" name="Oval 1152"/>
                <p:cNvSpPr>
                  <a:spLocks noChangeArrowheads="1"/>
                </p:cNvSpPr>
                <p:nvPr/>
              </p:nvSpPr>
              <p:spPr bwMode="auto">
                <a:xfrm>
                  <a:off x="14732" y="39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38" name="Freeform 1153"/>
                <p:cNvSpPr>
                  <a:spLocks/>
                </p:cNvSpPr>
                <p:nvPr/>
              </p:nvSpPr>
              <p:spPr bwMode="auto">
                <a:xfrm>
                  <a:off x="14798" y="390"/>
                  <a:ext cx="15" cy="21"/>
                </a:xfrm>
                <a:custGeom>
                  <a:avLst/>
                  <a:gdLst>
                    <a:gd name="T0" fmla="*/ 0 w 6"/>
                    <a:gd name="T1" fmla="*/ 5 h 9"/>
                    <a:gd name="T2" fmla="*/ 5 w 6"/>
                    <a:gd name="T3" fmla="*/ 9 h 9"/>
                    <a:gd name="T4" fmla="*/ 6 w 6"/>
                    <a:gd name="T5" fmla="*/ 9 h 9"/>
                    <a:gd name="T6" fmla="*/ 5 w 6"/>
                    <a:gd name="T7" fmla="*/ 0 h 9"/>
                    <a:gd name="T8" fmla="*/ 5 w 6"/>
                    <a:gd name="T9" fmla="*/ 0 h 9"/>
                    <a:gd name="T10" fmla="*/ 0 w 6"/>
                    <a:gd name="T11" fmla="*/ 5 h 9"/>
                  </a:gdLst>
                  <a:ahLst/>
                  <a:cxnLst>
                    <a:cxn ang="0">
                      <a:pos x="T0" y="T1"/>
                    </a:cxn>
                    <a:cxn ang="0">
                      <a:pos x="T2" y="T3"/>
                    </a:cxn>
                    <a:cxn ang="0">
                      <a:pos x="T4" y="T5"/>
                    </a:cxn>
                    <a:cxn ang="0">
                      <a:pos x="T6" y="T7"/>
                    </a:cxn>
                    <a:cxn ang="0">
                      <a:pos x="T8" y="T9"/>
                    </a:cxn>
                    <a:cxn ang="0">
                      <a:pos x="T10" y="T11"/>
                    </a:cxn>
                  </a:cxnLst>
                  <a:rect l="0" t="0" r="r" b="b"/>
                  <a:pathLst>
                    <a:path w="6" h="9">
                      <a:moveTo>
                        <a:pt x="0" y="5"/>
                      </a:moveTo>
                      <a:cubicBezTo>
                        <a:pt x="0" y="7"/>
                        <a:pt x="2" y="9"/>
                        <a:pt x="5" y="9"/>
                      </a:cubicBezTo>
                      <a:cubicBezTo>
                        <a:pt x="5" y="9"/>
                        <a:pt x="6" y="9"/>
                        <a:pt x="6" y="9"/>
                      </a:cubicBezTo>
                      <a:cubicBezTo>
                        <a:pt x="6" y="6"/>
                        <a:pt x="5" y="3"/>
                        <a:pt x="5" y="0"/>
                      </a:cubicBezTo>
                      <a:cubicBezTo>
                        <a:pt x="5" y="0"/>
                        <a:pt x="5" y="0"/>
                        <a:pt x="5" y="0"/>
                      </a:cubicBezTo>
                      <a:cubicBezTo>
                        <a:pt x="2" y="0"/>
                        <a:pt x="0"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39" name="Freeform 1154"/>
                <p:cNvSpPr>
                  <a:spLocks/>
                </p:cNvSpPr>
                <p:nvPr/>
              </p:nvSpPr>
              <p:spPr bwMode="auto">
                <a:xfrm>
                  <a:off x="14796" y="352"/>
                  <a:ext cx="9" cy="26"/>
                </a:xfrm>
                <a:custGeom>
                  <a:avLst/>
                  <a:gdLst>
                    <a:gd name="T0" fmla="*/ 0 w 4"/>
                    <a:gd name="T1" fmla="*/ 9 h 11"/>
                    <a:gd name="T2" fmla="*/ 3 w 4"/>
                    <a:gd name="T3" fmla="*/ 11 h 11"/>
                    <a:gd name="T4" fmla="*/ 4 w 4"/>
                    <a:gd name="T5" fmla="*/ 10 h 11"/>
                    <a:gd name="T6" fmla="*/ 0 w 4"/>
                    <a:gd name="T7" fmla="*/ 0 h 11"/>
                    <a:gd name="T8" fmla="*/ 0 w 4"/>
                    <a:gd name="T9" fmla="*/ 9 h 11"/>
                  </a:gdLst>
                  <a:ahLst/>
                  <a:cxnLst>
                    <a:cxn ang="0">
                      <a:pos x="T0" y="T1"/>
                    </a:cxn>
                    <a:cxn ang="0">
                      <a:pos x="T2" y="T3"/>
                    </a:cxn>
                    <a:cxn ang="0">
                      <a:pos x="T4" y="T5"/>
                    </a:cxn>
                    <a:cxn ang="0">
                      <a:pos x="T6" y="T7"/>
                    </a:cxn>
                    <a:cxn ang="0">
                      <a:pos x="T8" y="T9"/>
                    </a:cxn>
                  </a:cxnLst>
                  <a:rect l="0" t="0" r="r" b="b"/>
                  <a:pathLst>
                    <a:path w="4" h="11">
                      <a:moveTo>
                        <a:pt x="0" y="9"/>
                      </a:moveTo>
                      <a:cubicBezTo>
                        <a:pt x="0" y="10"/>
                        <a:pt x="1" y="11"/>
                        <a:pt x="3" y="11"/>
                      </a:cubicBezTo>
                      <a:cubicBezTo>
                        <a:pt x="3" y="11"/>
                        <a:pt x="4" y="11"/>
                        <a:pt x="4" y="10"/>
                      </a:cubicBezTo>
                      <a:cubicBezTo>
                        <a:pt x="3" y="7"/>
                        <a:pt x="2" y="3"/>
                        <a:pt x="0" y="0"/>
                      </a:cubicBezTo>
                      <a:cubicBezTo>
                        <a:pt x="0" y="4"/>
                        <a:pt x="0" y="8"/>
                        <a:pt x="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40" name="Freeform 1155"/>
                <p:cNvSpPr>
                  <a:spLocks/>
                </p:cNvSpPr>
                <p:nvPr/>
              </p:nvSpPr>
              <p:spPr bwMode="auto">
                <a:xfrm>
                  <a:off x="14782" y="413"/>
                  <a:ext cx="42" cy="112"/>
                </a:xfrm>
                <a:custGeom>
                  <a:avLst/>
                  <a:gdLst>
                    <a:gd name="T0" fmla="*/ 0 w 18"/>
                    <a:gd name="T1" fmla="*/ 6 h 47"/>
                    <a:gd name="T2" fmla="*/ 0 w 18"/>
                    <a:gd name="T3" fmla="*/ 21 h 47"/>
                    <a:gd name="T4" fmla="*/ 2 w 18"/>
                    <a:gd name="T5" fmla="*/ 23 h 47"/>
                    <a:gd name="T6" fmla="*/ 4 w 18"/>
                    <a:gd name="T7" fmla="*/ 21 h 47"/>
                    <a:gd name="T8" fmla="*/ 4 w 18"/>
                    <a:gd name="T9" fmla="*/ 8 h 47"/>
                    <a:gd name="T10" fmla="*/ 5 w 18"/>
                    <a:gd name="T11" fmla="*/ 8 h 47"/>
                    <a:gd name="T12" fmla="*/ 5 w 18"/>
                    <a:gd name="T13" fmla="*/ 44 h 47"/>
                    <a:gd name="T14" fmla="*/ 8 w 18"/>
                    <a:gd name="T15" fmla="*/ 47 h 47"/>
                    <a:gd name="T16" fmla="*/ 11 w 18"/>
                    <a:gd name="T17" fmla="*/ 44 h 47"/>
                    <a:gd name="T18" fmla="*/ 11 w 18"/>
                    <a:gd name="T19" fmla="*/ 23 h 47"/>
                    <a:gd name="T20" fmla="*/ 12 w 18"/>
                    <a:gd name="T21" fmla="*/ 23 h 47"/>
                    <a:gd name="T22" fmla="*/ 12 w 18"/>
                    <a:gd name="T23" fmla="*/ 44 h 47"/>
                    <a:gd name="T24" fmla="*/ 15 w 18"/>
                    <a:gd name="T25" fmla="*/ 47 h 47"/>
                    <a:gd name="T26" fmla="*/ 18 w 18"/>
                    <a:gd name="T27" fmla="*/ 44 h 47"/>
                    <a:gd name="T28" fmla="*/ 18 w 18"/>
                    <a:gd name="T29" fmla="*/ 20 h 47"/>
                    <a:gd name="T30" fmla="*/ 14 w 18"/>
                    <a:gd name="T31" fmla="*/ 0 h 47"/>
                    <a:gd name="T32" fmla="*/ 6 w 18"/>
                    <a:gd name="T33" fmla="*/ 0 h 47"/>
                    <a:gd name="T34" fmla="*/ 0 w 18"/>
                    <a:gd name="T3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7">
                      <a:moveTo>
                        <a:pt x="0" y="6"/>
                      </a:move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3"/>
                        <a:pt x="18" y="30"/>
                        <a:pt x="18" y="20"/>
                      </a:cubicBezTo>
                      <a:cubicBezTo>
                        <a:pt x="16" y="14"/>
                        <a:pt x="15" y="7"/>
                        <a:pt x="14" y="0"/>
                      </a:cubicBezTo>
                      <a:cubicBezTo>
                        <a:pt x="11" y="0"/>
                        <a:pt x="7"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41" name="Freeform 1156"/>
                <p:cNvSpPr>
                  <a:spLocks/>
                </p:cNvSpPr>
                <p:nvPr/>
              </p:nvSpPr>
              <p:spPr bwMode="auto">
                <a:xfrm>
                  <a:off x="14782" y="328"/>
                  <a:ext cx="4" cy="5"/>
                </a:xfrm>
                <a:custGeom>
                  <a:avLst/>
                  <a:gdLst>
                    <a:gd name="T0" fmla="*/ 2 w 2"/>
                    <a:gd name="T1" fmla="*/ 2 h 2"/>
                    <a:gd name="T2" fmla="*/ 1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cubicBezTo>
                        <a:pt x="2" y="2"/>
                        <a:pt x="1" y="1"/>
                        <a:pt x="1" y="0"/>
                      </a:cubicBezTo>
                      <a:cubicBezTo>
                        <a:pt x="0" y="2"/>
                        <a:pt x="0" y="2"/>
                        <a:pt x="0" y="2"/>
                      </a:cubicBezTo>
                      <a:cubicBezTo>
                        <a:pt x="1" y="2"/>
                        <a:pt x="2"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42" name="Freeform 1157"/>
                <p:cNvSpPr>
                  <a:spLocks/>
                </p:cNvSpPr>
                <p:nvPr/>
              </p:nvSpPr>
              <p:spPr bwMode="auto">
                <a:xfrm>
                  <a:off x="14954" y="581"/>
                  <a:ext cx="17" cy="29"/>
                </a:xfrm>
                <a:custGeom>
                  <a:avLst/>
                  <a:gdLst>
                    <a:gd name="T0" fmla="*/ 0 w 7"/>
                    <a:gd name="T1" fmla="*/ 0 h 12"/>
                    <a:gd name="T2" fmla="*/ 4 w 7"/>
                    <a:gd name="T3" fmla="*/ 11 h 12"/>
                    <a:gd name="T4" fmla="*/ 6 w 7"/>
                    <a:gd name="T5" fmla="*/ 12 h 12"/>
                    <a:gd name="T6" fmla="*/ 7 w 7"/>
                    <a:gd name="T7" fmla="*/ 10 h 12"/>
                    <a:gd name="T8" fmla="*/ 7 w 7"/>
                    <a:gd name="T9" fmla="*/ 8 h 12"/>
                    <a:gd name="T10" fmla="*/ 5 w 7"/>
                    <a:gd name="T11" fmla="*/ 6 h 12"/>
                    <a:gd name="T12" fmla="*/ 0 w 7"/>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7" h="12">
                      <a:moveTo>
                        <a:pt x="0" y="0"/>
                      </a:moveTo>
                      <a:cubicBezTo>
                        <a:pt x="1" y="3"/>
                        <a:pt x="3" y="10"/>
                        <a:pt x="4" y="11"/>
                      </a:cubicBezTo>
                      <a:cubicBezTo>
                        <a:pt x="4" y="12"/>
                        <a:pt x="5" y="12"/>
                        <a:pt x="6" y="12"/>
                      </a:cubicBezTo>
                      <a:cubicBezTo>
                        <a:pt x="7" y="12"/>
                        <a:pt x="7" y="11"/>
                        <a:pt x="7" y="10"/>
                      </a:cubicBezTo>
                      <a:cubicBezTo>
                        <a:pt x="7" y="9"/>
                        <a:pt x="7" y="9"/>
                        <a:pt x="7" y="8"/>
                      </a:cubicBezTo>
                      <a:cubicBezTo>
                        <a:pt x="6" y="8"/>
                        <a:pt x="6" y="7"/>
                        <a:pt x="5" y="6"/>
                      </a:cubicBezTo>
                      <a:cubicBezTo>
                        <a:pt x="4" y="4"/>
                        <a:pt x="2"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43" name="Freeform 1158"/>
                <p:cNvSpPr>
                  <a:spLocks/>
                </p:cNvSpPr>
                <p:nvPr/>
              </p:nvSpPr>
              <p:spPr bwMode="auto">
                <a:xfrm>
                  <a:off x="14907" y="560"/>
                  <a:ext cx="59" cy="111"/>
                </a:xfrm>
                <a:custGeom>
                  <a:avLst/>
                  <a:gdLst>
                    <a:gd name="T0" fmla="*/ 5 w 25"/>
                    <a:gd name="T1" fmla="*/ 5 h 47"/>
                    <a:gd name="T2" fmla="*/ 1 w 25"/>
                    <a:gd name="T3" fmla="*/ 19 h 47"/>
                    <a:gd name="T4" fmla="*/ 2 w 25"/>
                    <a:gd name="T5" fmla="*/ 21 h 47"/>
                    <a:gd name="T6" fmla="*/ 4 w 25"/>
                    <a:gd name="T7" fmla="*/ 20 h 47"/>
                    <a:gd name="T8" fmla="*/ 8 w 25"/>
                    <a:gd name="T9" fmla="*/ 7 h 47"/>
                    <a:gd name="T10" fmla="*/ 9 w 25"/>
                    <a:gd name="T11" fmla="*/ 7 h 47"/>
                    <a:gd name="T12" fmla="*/ 3 w 25"/>
                    <a:gd name="T13" fmla="*/ 28 h 47"/>
                    <a:gd name="T14" fmla="*/ 9 w 25"/>
                    <a:gd name="T15" fmla="*/ 28 h 47"/>
                    <a:gd name="T16" fmla="*/ 9 w 25"/>
                    <a:gd name="T17" fmla="*/ 45 h 47"/>
                    <a:gd name="T18" fmla="*/ 11 w 25"/>
                    <a:gd name="T19" fmla="*/ 47 h 47"/>
                    <a:gd name="T20" fmla="*/ 13 w 25"/>
                    <a:gd name="T21" fmla="*/ 45 h 47"/>
                    <a:gd name="T22" fmla="*/ 13 w 25"/>
                    <a:gd name="T23" fmla="*/ 28 h 47"/>
                    <a:gd name="T24" fmla="*/ 14 w 25"/>
                    <a:gd name="T25" fmla="*/ 28 h 47"/>
                    <a:gd name="T26" fmla="*/ 14 w 25"/>
                    <a:gd name="T27" fmla="*/ 45 h 47"/>
                    <a:gd name="T28" fmla="*/ 17 w 25"/>
                    <a:gd name="T29" fmla="*/ 47 h 47"/>
                    <a:gd name="T30" fmla="*/ 19 w 25"/>
                    <a:gd name="T31" fmla="*/ 45 h 47"/>
                    <a:gd name="T32" fmla="*/ 19 w 25"/>
                    <a:gd name="T33" fmla="*/ 28 h 47"/>
                    <a:gd name="T34" fmla="*/ 25 w 25"/>
                    <a:gd name="T35" fmla="*/ 28 h 47"/>
                    <a:gd name="T36" fmla="*/ 19 w 25"/>
                    <a:gd name="T37" fmla="*/ 7 h 47"/>
                    <a:gd name="T38" fmla="*/ 10 w 25"/>
                    <a:gd name="T39" fmla="*/ 0 h 47"/>
                    <a:gd name="T40" fmla="*/ 5 w 25"/>
                    <a:gd name="T41"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47">
                      <a:moveTo>
                        <a:pt x="5" y="5"/>
                      </a:move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20" y="13"/>
                        <a:pt x="19" y="8"/>
                        <a:pt x="19" y="7"/>
                      </a:cubicBezTo>
                      <a:cubicBezTo>
                        <a:pt x="16" y="5"/>
                        <a:pt x="13" y="2"/>
                        <a:pt x="10" y="0"/>
                      </a:cubicBezTo>
                      <a:cubicBezTo>
                        <a:pt x="8" y="1"/>
                        <a:pt x="5" y="3"/>
                        <a:pt x="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44" name="Freeform 1159"/>
                <p:cNvSpPr>
                  <a:spLocks/>
                </p:cNvSpPr>
                <p:nvPr/>
              </p:nvSpPr>
              <p:spPr bwMode="auto">
                <a:xfrm>
                  <a:off x="14760" y="309"/>
                  <a:ext cx="10" cy="12"/>
                </a:xfrm>
                <a:custGeom>
                  <a:avLst/>
                  <a:gdLst>
                    <a:gd name="T0" fmla="*/ 0 w 4"/>
                    <a:gd name="T1" fmla="*/ 3 h 5"/>
                    <a:gd name="T2" fmla="*/ 2 w 4"/>
                    <a:gd name="T3" fmla="*/ 5 h 5"/>
                    <a:gd name="T4" fmla="*/ 4 w 4"/>
                    <a:gd name="T5" fmla="*/ 3 h 5"/>
                    <a:gd name="T6" fmla="*/ 0 w 4"/>
                    <a:gd name="T7" fmla="*/ 0 h 5"/>
                    <a:gd name="T8" fmla="*/ 0 w 4"/>
                    <a:gd name="T9" fmla="*/ 3 h 5"/>
                  </a:gdLst>
                  <a:ahLst/>
                  <a:cxnLst>
                    <a:cxn ang="0">
                      <a:pos x="T0" y="T1"/>
                    </a:cxn>
                    <a:cxn ang="0">
                      <a:pos x="T2" y="T3"/>
                    </a:cxn>
                    <a:cxn ang="0">
                      <a:pos x="T4" y="T5"/>
                    </a:cxn>
                    <a:cxn ang="0">
                      <a:pos x="T6" y="T7"/>
                    </a:cxn>
                    <a:cxn ang="0">
                      <a:pos x="T8" y="T9"/>
                    </a:cxn>
                  </a:cxnLst>
                  <a:rect l="0" t="0" r="r" b="b"/>
                  <a:pathLst>
                    <a:path w="4" h="5">
                      <a:moveTo>
                        <a:pt x="0" y="3"/>
                      </a:moveTo>
                      <a:cubicBezTo>
                        <a:pt x="0" y="4"/>
                        <a:pt x="1" y="5"/>
                        <a:pt x="2" y="5"/>
                      </a:cubicBezTo>
                      <a:cubicBezTo>
                        <a:pt x="3" y="5"/>
                        <a:pt x="4" y="4"/>
                        <a:pt x="4" y="3"/>
                      </a:cubicBezTo>
                      <a:cubicBezTo>
                        <a:pt x="3" y="2"/>
                        <a:pt x="1" y="1"/>
                        <a:pt x="0" y="0"/>
                      </a:cubicBezTo>
                      <a:cubicBezTo>
                        <a:pt x="0" y="2"/>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45" name="Freeform 1160"/>
                <p:cNvSpPr>
                  <a:spLocks/>
                </p:cNvSpPr>
                <p:nvPr/>
              </p:nvSpPr>
              <p:spPr bwMode="auto">
                <a:xfrm>
                  <a:off x="14715" y="560"/>
                  <a:ext cx="55" cy="111"/>
                </a:xfrm>
                <a:custGeom>
                  <a:avLst/>
                  <a:gdLst>
                    <a:gd name="T0" fmla="*/ 23 w 23"/>
                    <a:gd name="T1" fmla="*/ 21 h 47"/>
                    <a:gd name="T2" fmla="*/ 23 w 23"/>
                    <a:gd name="T3" fmla="*/ 6 h 47"/>
                    <a:gd name="T4" fmla="*/ 17 w 23"/>
                    <a:gd name="T5" fmla="*/ 0 h 47"/>
                    <a:gd name="T6" fmla="*/ 7 w 23"/>
                    <a:gd name="T7" fmla="*/ 0 h 47"/>
                    <a:gd name="T8" fmla="*/ 0 w 23"/>
                    <a:gd name="T9" fmla="*/ 6 h 47"/>
                    <a:gd name="T10" fmla="*/ 0 w 23"/>
                    <a:gd name="T11" fmla="*/ 21 h 47"/>
                    <a:gd name="T12" fmla="*/ 3 w 23"/>
                    <a:gd name="T13" fmla="*/ 23 h 47"/>
                    <a:gd name="T14" fmla="*/ 5 w 23"/>
                    <a:gd name="T15" fmla="*/ 21 h 47"/>
                    <a:gd name="T16" fmla="*/ 5 w 23"/>
                    <a:gd name="T17" fmla="*/ 8 h 47"/>
                    <a:gd name="T18" fmla="*/ 6 w 23"/>
                    <a:gd name="T19" fmla="*/ 8 h 47"/>
                    <a:gd name="T20" fmla="*/ 6 w 23"/>
                    <a:gd name="T21" fmla="*/ 44 h 47"/>
                    <a:gd name="T22" fmla="*/ 8 w 23"/>
                    <a:gd name="T23" fmla="*/ 47 h 47"/>
                    <a:gd name="T24" fmla="*/ 11 w 23"/>
                    <a:gd name="T25" fmla="*/ 44 h 47"/>
                    <a:gd name="T26" fmla="*/ 11 w 23"/>
                    <a:gd name="T27" fmla="*/ 23 h 47"/>
                    <a:gd name="T28" fmla="*/ 12 w 23"/>
                    <a:gd name="T29" fmla="*/ 23 h 47"/>
                    <a:gd name="T30" fmla="*/ 12 w 23"/>
                    <a:gd name="T31" fmla="*/ 44 h 47"/>
                    <a:gd name="T32" fmla="*/ 15 w 23"/>
                    <a:gd name="T33" fmla="*/ 47 h 47"/>
                    <a:gd name="T34" fmla="*/ 18 w 23"/>
                    <a:gd name="T35" fmla="*/ 44 h 47"/>
                    <a:gd name="T36" fmla="*/ 18 w 23"/>
                    <a:gd name="T37" fmla="*/ 8 h 47"/>
                    <a:gd name="T38" fmla="*/ 19 w 23"/>
                    <a:gd name="T39" fmla="*/ 8 h 47"/>
                    <a:gd name="T40" fmla="*/ 19 w 23"/>
                    <a:gd name="T41" fmla="*/ 21 h 47"/>
                    <a:gd name="T42" fmla="*/ 21 w 23"/>
                    <a:gd name="T43" fmla="*/ 23 h 47"/>
                    <a:gd name="T44" fmla="*/ 23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3" y="21"/>
                      </a:moveTo>
                      <a:cubicBezTo>
                        <a:pt x="23" y="20"/>
                        <a:pt x="23" y="8"/>
                        <a:pt x="23" y="6"/>
                      </a:cubicBezTo>
                      <a:cubicBezTo>
                        <a:pt x="23" y="3"/>
                        <a:pt x="20" y="0"/>
                        <a:pt x="17" y="0"/>
                      </a:cubicBezTo>
                      <a:cubicBezTo>
                        <a:pt x="15" y="0"/>
                        <a:pt x="8" y="0"/>
                        <a:pt x="7" y="0"/>
                      </a:cubicBezTo>
                      <a:cubicBezTo>
                        <a:pt x="3" y="0"/>
                        <a:pt x="0" y="3"/>
                        <a:pt x="0" y="6"/>
                      </a:cubicBezTo>
                      <a:cubicBezTo>
                        <a:pt x="0" y="8"/>
                        <a:pt x="0" y="20"/>
                        <a:pt x="0" y="21"/>
                      </a:cubicBezTo>
                      <a:cubicBezTo>
                        <a:pt x="0" y="22"/>
                        <a:pt x="1" y="23"/>
                        <a:pt x="3" y="23"/>
                      </a:cubicBez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46" name="Oval 1161"/>
                <p:cNvSpPr>
                  <a:spLocks noChangeArrowheads="1"/>
                </p:cNvSpPr>
                <p:nvPr/>
              </p:nvSpPr>
              <p:spPr bwMode="auto">
                <a:xfrm>
                  <a:off x="14732" y="536"/>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47" name="Freeform 1162"/>
                <p:cNvSpPr>
                  <a:spLocks/>
                </p:cNvSpPr>
                <p:nvPr/>
              </p:nvSpPr>
              <p:spPr bwMode="auto">
                <a:xfrm>
                  <a:off x="14730" y="302"/>
                  <a:ext cx="28" cy="76"/>
                </a:xfrm>
                <a:custGeom>
                  <a:avLst/>
                  <a:gdLst>
                    <a:gd name="T0" fmla="*/ 0 w 12"/>
                    <a:gd name="T1" fmla="*/ 29 h 32"/>
                    <a:gd name="T2" fmla="*/ 2 w 12"/>
                    <a:gd name="T3" fmla="*/ 32 h 32"/>
                    <a:gd name="T4" fmla="*/ 5 w 12"/>
                    <a:gd name="T5" fmla="*/ 29 h 32"/>
                    <a:gd name="T6" fmla="*/ 5 w 12"/>
                    <a:gd name="T7" fmla="*/ 8 h 32"/>
                    <a:gd name="T8" fmla="*/ 6 w 12"/>
                    <a:gd name="T9" fmla="*/ 8 h 32"/>
                    <a:gd name="T10" fmla="*/ 6 w 12"/>
                    <a:gd name="T11" fmla="*/ 29 h 32"/>
                    <a:gd name="T12" fmla="*/ 9 w 12"/>
                    <a:gd name="T13" fmla="*/ 32 h 32"/>
                    <a:gd name="T14" fmla="*/ 12 w 12"/>
                    <a:gd name="T15" fmla="*/ 29 h 32"/>
                    <a:gd name="T16" fmla="*/ 12 w 12"/>
                    <a:gd name="T17" fmla="*/ 3 h 32"/>
                    <a:gd name="T18" fmla="*/ 0 w 12"/>
                    <a:gd name="T19" fmla="*/ 0 h 32"/>
                    <a:gd name="T20" fmla="*/ 0 w 12"/>
                    <a:gd name="T21" fmla="*/ 2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32">
                      <a:moveTo>
                        <a:pt x="0" y="29"/>
                      </a:moveTo>
                      <a:cubicBezTo>
                        <a:pt x="0" y="30"/>
                        <a:pt x="1" y="32"/>
                        <a:pt x="2" y="32"/>
                      </a:cubicBezTo>
                      <a:cubicBezTo>
                        <a:pt x="4" y="32"/>
                        <a:pt x="5" y="30"/>
                        <a:pt x="5" y="29"/>
                      </a:cubicBezTo>
                      <a:cubicBezTo>
                        <a:pt x="5" y="27"/>
                        <a:pt x="5" y="8"/>
                        <a:pt x="5" y="8"/>
                      </a:cubicBezTo>
                      <a:cubicBezTo>
                        <a:pt x="5" y="8"/>
                        <a:pt x="5" y="8"/>
                        <a:pt x="6" y="8"/>
                      </a:cubicBezTo>
                      <a:cubicBezTo>
                        <a:pt x="6" y="8"/>
                        <a:pt x="6" y="27"/>
                        <a:pt x="6" y="29"/>
                      </a:cubicBezTo>
                      <a:cubicBezTo>
                        <a:pt x="6" y="30"/>
                        <a:pt x="8" y="32"/>
                        <a:pt x="9" y="32"/>
                      </a:cubicBezTo>
                      <a:cubicBezTo>
                        <a:pt x="11" y="32"/>
                        <a:pt x="12" y="30"/>
                        <a:pt x="12" y="29"/>
                      </a:cubicBezTo>
                      <a:cubicBezTo>
                        <a:pt x="12" y="27"/>
                        <a:pt x="12" y="13"/>
                        <a:pt x="12" y="3"/>
                      </a:cubicBezTo>
                      <a:cubicBezTo>
                        <a:pt x="9" y="1"/>
                        <a:pt x="5" y="0"/>
                        <a:pt x="0" y="0"/>
                      </a:cubicBezTo>
                      <a:cubicBezTo>
                        <a:pt x="0" y="10"/>
                        <a:pt x="0" y="27"/>
                        <a:pt x="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48" name="Freeform 1163"/>
                <p:cNvSpPr>
                  <a:spLocks/>
                </p:cNvSpPr>
                <p:nvPr/>
              </p:nvSpPr>
              <p:spPr bwMode="auto">
                <a:xfrm>
                  <a:off x="14715" y="302"/>
                  <a:ext cx="12" cy="19"/>
                </a:xfrm>
                <a:custGeom>
                  <a:avLst/>
                  <a:gdLst>
                    <a:gd name="T0" fmla="*/ 3 w 5"/>
                    <a:gd name="T1" fmla="*/ 8 h 8"/>
                    <a:gd name="T2" fmla="*/ 5 w 5"/>
                    <a:gd name="T3" fmla="*/ 6 h 8"/>
                    <a:gd name="T4" fmla="*/ 5 w 5"/>
                    <a:gd name="T5" fmla="*/ 0 h 8"/>
                    <a:gd name="T6" fmla="*/ 0 w 5"/>
                    <a:gd name="T7" fmla="*/ 0 h 8"/>
                    <a:gd name="T8" fmla="*/ 0 w 5"/>
                    <a:gd name="T9" fmla="*/ 6 h 8"/>
                    <a:gd name="T10" fmla="*/ 3 w 5"/>
                    <a:gd name="T11" fmla="*/ 8 h 8"/>
                  </a:gdLst>
                  <a:ahLst/>
                  <a:cxnLst>
                    <a:cxn ang="0">
                      <a:pos x="T0" y="T1"/>
                    </a:cxn>
                    <a:cxn ang="0">
                      <a:pos x="T2" y="T3"/>
                    </a:cxn>
                    <a:cxn ang="0">
                      <a:pos x="T4" y="T5"/>
                    </a:cxn>
                    <a:cxn ang="0">
                      <a:pos x="T6" y="T7"/>
                    </a:cxn>
                    <a:cxn ang="0">
                      <a:pos x="T8" y="T9"/>
                    </a:cxn>
                    <a:cxn ang="0">
                      <a:pos x="T10" y="T11"/>
                    </a:cxn>
                  </a:cxnLst>
                  <a:rect l="0" t="0" r="r" b="b"/>
                  <a:pathLst>
                    <a:path w="5" h="8">
                      <a:moveTo>
                        <a:pt x="3" y="8"/>
                      </a:moveTo>
                      <a:cubicBezTo>
                        <a:pt x="4" y="8"/>
                        <a:pt x="5" y="7"/>
                        <a:pt x="5" y="6"/>
                      </a:cubicBezTo>
                      <a:cubicBezTo>
                        <a:pt x="5" y="5"/>
                        <a:pt x="5" y="3"/>
                        <a:pt x="5" y="0"/>
                      </a:cubicBezTo>
                      <a:cubicBezTo>
                        <a:pt x="3" y="0"/>
                        <a:pt x="2" y="0"/>
                        <a:pt x="0" y="0"/>
                      </a:cubicBezTo>
                      <a:cubicBezTo>
                        <a:pt x="0" y="2"/>
                        <a:pt x="0" y="5"/>
                        <a:pt x="0" y="6"/>
                      </a:cubicBezTo>
                      <a:cubicBezTo>
                        <a:pt x="0" y="7"/>
                        <a:pt x="1"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49" name="Oval 1164"/>
                <p:cNvSpPr>
                  <a:spLocks noChangeArrowheads="1"/>
                </p:cNvSpPr>
                <p:nvPr/>
              </p:nvSpPr>
              <p:spPr bwMode="auto">
                <a:xfrm>
                  <a:off x="14798" y="536"/>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50" name="Freeform 1165"/>
                <p:cNvSpPr>
                  <a:spLocks/>
                </p:cNvSpPr>
                <p:nvPr/>
              </p:nvSpPr>
              <p:spPr bwMode="auto">
                <a:xfrm>
                  <a:off x="14711" y="413"/>
                  <a:ext cx="64" cy="112"/>
                </a:xfrm>
                <a:custGeom>
                  <a:avLst/>
                  <a:gdLst>
                    <a:gd name="T0" fmla="*/ 2 w 27"/>
                    <a:gd name="T1" fmla="*/ 21 h 47"/>
                    <a:gd name="T2" fmla="*/ 4 w 27"/>
                    <a:gd name="T3" fmla="*/ 20 h 47"/>
                    <a:gd name="T4" fmla="*/ 8 w 27"/>
                    <a:gd name="T5" fmla="*/ 7 h 47"/>
                    <a:gd name="T6" fmla="*/ 9 w 27"/>
                    <a:gd name="T7" fmla="*/ 7 h 47"/>
                    <a:gd name="T8" fmla="*/ 3 w 27"/>
                    <a:gd name="T9" fmla="*/ 29 h 47"/>
                    <a:gd name="T10" fmla="*/ 9 w 27"/>
                    <a:gd name="T11" fmla="*/ 29 h 47"/>
                    <a:gd name="T12" fmla="*/ 9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7 w 27"/>
                    <a:gd name="T25" fmla="*/ 47 h 47"/>
                    <a:gd name="T26" fmla="*/ 19 w 27"/>
                    <a:gd name="T27" fmla="*/ 45 h 47"/>
                    <a:gd name="T28" fmla="*/ 19 w 27"/>
                    <a:gd name="T29" fmla="*/ 29 h 47"/>
                    <a:gd name="T30" fmla="*/ 25 w 27"/>
                    <a:gd name="T31" fmla="*/ 29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51" name="Oval 1166"/>
                <p:cNvSpPr>
                  <a:spLocks noChangeArrowheads="1"/>
                </p:cNvSpPr>
                <p:nvPr/>
              </p:nvSpPr>
              <p:spPr bwMode="auto">
                <a:xfrm>
                  <a:off x="14862" y="536"/>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52" name="Freeform 1167"/>
                <p:cNvSpPr>
                  <a:spLocks/>
                </p:cNvSpPr>
                <p:nvPr/>
              </p:nvSpPr>
              <p:spPr bwMode="auto">
                <a:xfrm>
                  <a:off x="14848" y="560"/>
                  <a:ext cx="52" cy="111"/>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8 w 22"/>
                    <a:gd name="T11" fmla="*/ 47 h 47"/>
                    <a:gd name="T12" fmla="*/ 11 w 22"/>
                    <a:gd name="T13" fmla="*/ 44 h 47"/>
                    <a:gd name="T14" fmla="*/ 11 w 22"/>
                    <a:gd name="T15" fmla="*/ 23 h 47"/>
                    <a:gd name="T16" fmla="*/ 12 w 22"/>
                    <a:gd name="T17" fmla="*/ 23 h 47"/>
                    <a:gd name="T18" fmla="*/ 12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6 h 47"/>
                    <a:gd name="T36" fmla="*/ 16 w 22"/>
                    <a:gd name="T37" fmla="*/ 0 h 47"/>
                    <a:gd name="T38" fmla="*/ 6 w 22"/>
                    <a:gd name="T39" fmla="*/ 0 h 47"/>
                    <a:gd name="T40" fmla="*/ 0 w 22"/>
                    <a:gd name="T41" fmla="*/ 6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53" name="Freeform 1168"/>
                <p:cNvSpPr>
                  <a:spLocks/>
                </p:cNvSpPr>
                <p:nvPr/>
              </p:nvSpPr>
              <p:spPr bwMode="auto">
                <a:xfrm>
                  <a:off x="14777" y="560"/>
                  <a:ext cx="64" cy="111"/>
                </a:xfrm>
                <a:custGeom>
                  <a:avLst/>
                  <a:gdLst>
                    <a:gd name="T0" fmla="*/ 1 w 27"/>
                    <a:gd name="T1" fmla="*/ 21 h 47"/>
                    <a:gd name="T2" fmla="*/ 4 w 27"/>
                    <a:gd name="T3" fmla="*/ 20 h 47"/>
                    <a:gd name="T4" fmla="*/ 8 w 27"/>
                    <a:gd name="T5" fmla="*/ 7 h 47"/>
                    <a:gd name="T6" fmla="*/ 9 w 27"/>
                    <a:gd name="T7" fmla="*/ 7 h 47"/>
                    <a:gd name="T8" fmla="*/ 2 w 27"/>
                    <a:gd name="T9" fmla="*/ 28 h 47"/>
                    <a:gd name="T10" fmla="*/ 8 w 27"/>
                    <a:gd name="T11" fmla="*/ 28 h 47"/>
                    <a:gd name="T12" fmla="*/ 8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5 w 27"/>
                    <a:gd name="T31" fmla="*/ 28 h 47"/>
                    <a:gd name="T32" fmla="*/ 18 w 27"/>
                    <a:gd name="T33" fmla="*/ 7 h 47"/>
                    <a:gd name="T34" fmla="*/ 19 w 27"/>
                    <a:gd name="T35" fmla="*/ 7 h 47"/>
                    <a:gd name="T36" fmla="*/ 23 w 27"/>
                    <a:gd name="T37" fmla="*/ 20 h 47"/>
                    <a:gd name="T38" fmla="*/ 25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8" y="7"/>
                        <a:pt x="8"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5" y="21"/>
                        <a:pt x="25" y="21"/>
                      </a:cubicBezTo>
                      <a:cubicBezTo>
                        <a:pt x="26" y="21"/>
                        <a:pt x="27" y="20"/>
                        <a:pt x="27" y="19"/>
                      </a:cubicBezTo>
                      <a:cubicBezTo>
                        <a:pt x="26" y="18"/>
                        <a:pt x="24" y="11"/>
                        <a:pt x="23" y="5"/>
                      </a:cubicBezTo>
                      <a:cubicBezTo>
                        <a:pt x="22" y="2"/>
                        <a:pt x="20" y="0"/>
                        <a:pt x="17" y="0"/>
                      </a:cubicBezTo>
                      <a:cubicBezTo>
                        <a:pt x="16" y="0"/>
                        <a:pt x="11" y="0"/>
                        <a:pt x="10" y="0"/>
                      </a:cubicBezTo>
                      <a:cubicBezTo>
                        <a:pt x="7" y="0"/>
                        <a:pt x="5" y="2"/>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54" name="Oval 1169"/>
                <p:cNvSpPr>
                  <a:spLocks noChangeArrowheads="1"/>
                </p:cNvSpPr>
                <p:nvPr/>
              </p:nvSpPr>
              <p:spPr bwMode="auto">
                <a:xfrm>
                  <a:off x="14538" y="39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55" name="Freeform 1170"/>
                <p:cNvSpPr>
                  <a:spLocks/>
                </p:cNvSpPr>
                <p:nvPr/>
              </p:nvSpPr>
              <p:spPr bwMode="auto">
                <a:xfrm>
                  <a:off x="14304" y="577"/>
                  <a:ext cx="16" cy="33"/>
                </a:xfrm>
                <a:custGeom>
                  <a:avLst/>
                  <a:gdLst>
                    <a:gd name="T0" fmla="*/ 3 w 7"/>
                    <a:gd name="T1" fmla="*/ 13 h 14"/>
                    <a:gd name="T2" fmla="*/ 5 w 7"/>
                    <a:gd name="T3" fmla="*/ 14 h 14"/>
                    <a:gd name="T4" fmla="*/ 6 w 7"/>
                    <a:gd name="T5" fmla="*/ 12 h 14"/>
                    <a:gd name="T6" fmla="*/ 3 w 7"/>
                    <a:gd name="T7" fmla="*/ 0 h 14"/>
                    <a:gd name="T8" fmla="*/ 0 w 7"/>
                    <a:gd name="T9" fmla="*/ 3 h 14"/>
                    <a:gd name="T10" fmla="*/ 3 w 7"/>
                    <a:gd name="T11" fmla="*/ 13 h 14"/>
                  </a:gdLst>
                  <a:ahLst/>
                  <a:cxnLst>
                    <a:cxn ang="0">
                      <a:pos x="T0" y="T1"/>
                    </a:cxn>
                    <a:cxn ang="0">
                      <a:pos x="T2" y="T3"/>
                    </a:cxn>
                    <a:cxn ang="0">
                      <a:pos x="T4" y="T5"/>
                    </a:cxn>
                    <a:cxn ang="0">
                      <a:pos x="T6" y="T7"/>
                    </a:cxn>
                    <a:cxn ang="0">
                      <a:pos x="T8" y="T9"/>
                    </a:cxn>
                    <a:cxn ang="0">
                      <a:pos x="T10" y="T11"/>
                    </a:cxn>
                  </a:cxnLst>
                  <a:rect l="0" t="0" r="r" b="b"/>
                  <a:pathLst>
                    <a:path w="7" h="14">
                      <a:moveTo>
                        <a:pt x="3" y="13"/>
                      </a:moveTo>
                      <a:cubicBezTo>
                        <a:pt x="3" y="14"/>
                        <a:pt x="4" y="14"/>
                        <a:pt x="5" y="14"/>
                      </a:cubicBezTo>
                      <a:cubicBezTo>
                        <a:pt x="6" y="14"/>
                        <a:pt x="7" y="13"/>
                        <a:pt x="6" y="12"/>
                      </a:cubicBezTo>
                      <a:cubicBezTo>
                        <a:pt x="6" y="11"/>
                        <a:pt x="4" y="5"/>
                        <a:pt x="3" y="0"/>
                      </a:cubicBezTo>
                      <a:cubicBezTo>
                        <a:pt x="2" y="1"/>
                        <a:pt x="1" y="2"/>
                        <a:pt x="0" y="3"/>
                      </a:cubicBezTo>
                      <a:cubicBezTo>
                        <a:pt x="1" y="6"/>
                        <a:pt x="2" y="12"/>
                        <a:pt x="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56" name="Freeform 1171"/>
                <p:cNvSpPr>
                  <a:spLocks/>
                </p:cNvSpPr>
                <p:nvPr/>
              </p:nvSpPr>
              <p:spPr bwMode="auto">
                <a:xfrm>
                  <a:off x="14524" y="413"/>
                  <a:ext cx="52" cy="112"/>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7 w 22"/>
                    <a:gd name="T11" fmla="*/ 47 h 47"/>
                    <a:gd name="T12" fmla="*/ 10 w 22"/>
                    <a:gd name="T13" fmla="*/ 44 h 47"/>
                    <a:gd name="T14" fmla="*/ 10 w 22"/>
                    <a:gd name="T15" fmla="*/ 23 h 47"/>
                    <a:gd name="T16" fmla="*/ 11 w 22"/>
                    <a:gd name="T17" fmla="*/ 23 h 47"/>
                    <a:gd name="T18" fmla="*/ 11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6 h 47"/>
                    <a:gd name="T36" fmla="*/ 16 w 22"/>
                    <a:gd name="T37" fmla="*/ 0 h 47"/>
                    <a:gd name="T38" fmla="*/ 6 w 22"/>
                    <a:gd name="T39" fmla="*/ 0 h 47"/>
                    <a:gd name="T40" fmla="*/ 0 w 22"/>
                    <a:gd name="T41" fmla="*/ 6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7"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19" y="0"/>
                        <a:pt x="16" y="0"/>
                      </a:cubicBezTo>
                      <a:cubicBezTo>
                        <a:pt x="14" y="0"/>
                        <a:pt x="7" y="0"/>
                        <a:pt x="6" y="0"/>
                      </a:cubicBezTo>
                      <a:cubicBezTo>
                        <a:pt x="2" y="0"/>
                        <a:pt x="0" y="3"/>
                        <a:pt x="0" y="6"/>
                      </a:cubicBezTo>
                      <a:cubicBezTo>
                        <a:pt x="0" y="8"/>
                        <a:pt x="0" y="20"/>
                        <a:pt x="0" y="21"/>
                      </a:cubicBezTo>
                      <a:cubicBezTo>
                        <a:pt x="0" y="22"/>
                        <a:pt x="0"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57" name="Oval 1172"/>
                <p:cNvSpPr>
                  <a:spLocks noChangeArrowheads="1"/>
                </p:cNvSpPr>
                <p:nvPr/>
              </p:nvSpPr>
              <p:spPr bwMode="auto">
                <a:xfrm>
                  <a:off x="14668" y="536"/>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58" name="Freeform 1173"/>
                <p:cNvSpPr>
                  <a:spLocks/>
                </p:cNvSpPr>
                <p:nvPr/>
              </p:nvSpPr>
              <p:spPr bwMode="auto">
                <a:xfrm>
                  <a:off x="14583" y="413"/>
                  <a:ext cx="64" cy="112"/>
                </a:xfrm>
                <a:custGeom>
                  <a:avLst/>
                  <a:gdLst>
                    <a:gd name="T0" fmla="*/ 1 w 27"/>
                    <a:gd name="T1" fmla="*/ 21 h 47"/>
                    <a:gd name="T2" fmla="*/ 4 w 27"/>
                    <a:gd name="T3" fmla="*/ 20 h 47"/>
                    <a:gd name="T4" fmla="*/ 8 w 27"/>
                    <a:gd name="T5" fmla="*/ 7 h 47"/>
                    <a:gd name="T6" fmla="*/ 9 w 27"/>
                    <a:gd name="T7" fmla="*/ 7 h 47"/>
                    <a:gd name="T8" fmla="*/ 2 w 27"/>
                    <a:gd name="T9" fmla="*/ 29 h 47"/>
                    <a:gd name="T10" fmla="*/ 9 w 27"/>
                    <a:gd name="T11" fmla="*/ 29 h 47"/>
                    <a:gd name="T12" fmla="*/ 9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6 w 27"/>
                    <a:gd name="T25" fmla="*/ 47 h 47"/>
                    <a:gd name="T26" fmla="*/ 19 w 27"/>
                    <a:gd name="T27" fmla="*/ 45 h 47"/>
                    <a:gd name="T28" fmla="*/ 19 w 27"/>
                    <a:gd name="T29" fmla="*/ 29 h 47"/>
                    <a:gd name="T30" fmla="*/ 25 w 27"/>
                    <a:gd name="T31" fmla="*/ 29 h 47"/>
                    <a:gd name="T32" fmla="*/ 18 w 27"/>
                    <a:gd name="T33" fmla="*/ 7 h 47"/>
                    <a:gd name="T34" fmla="*/ 19 w 27"/>
                    <a:gd name="T35" fmla="*/ 7 h 47"/>
                    <a:gd name="T36" fmla="*/ 23 w 27"/>
                    <a:gd name="T37" fmla="*/ 20 h 47"/>
                    <a:gd name="T38" fmla="*/ 26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4" y="21"/>
                        <a:pt x="4" y="20"/>
                      </a:cubicBezTo>
                      <a:cubicBezTo>
                        <a:pt x="4" y="18"/>
                        <a:pt x="8" y="7"/>
                        <a:pt x="8" y="7"/>
                      </a:cubicBezTo>
                      <a:cubicBezTo>
                        <a:pt x="9" y="7"/>
                        <a:pt x="9" y="7"/>
                        <a:pt x="9" y="7"/>
                      </a:cubicBezTo>
                      <a:cubicBezTo>
                        <a:pt x="2" y="29"/>
                        <a:pt x="2" y="29"/>
                        <a:pt x="2"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19" y="7"/>
                        <a:pt x="19" y="7"/>
                        <a:pt x="19" y="7"/>
                      </a:cubicBezTo>
                      <a:cubicBezTo>
                        <a:pt x="19" y="7"/>
                        <a:pt x="23" y="18"/>
                        <a:pt x="23" y="20"/>
                      </a:cubicBezTo>
                      <a:cubicBezTo>
                        <a:pt x="24" y="21"/>
                        <a:pt x="25" y="21"/>
                        <a:pt x="26" y="21"/>
                      </a:cubicBezTo>
                      <a:cubicBezTo>
                        <a:pt x="27" y="21"/>
                        <a:pt x="27" y="20"/>
                        <a:pt x="27" y="19"/>
                      </a:cubicBezTo>
                      <a:cubicBezTo>
                        <a:pt x="27" y="18"/>
                        <a:pt x="24" y="11"/>
                        <a:pt x="23" y="5"/>
                      </a:cubicBezTo>
                      <a:cubicBezTo>
                        <a:pt x="22" y="3"/>
                        <a:pt x="20" y="0"/>
                        <a:pt x="17" y="0"/>
                      </a:cubicBezTo>
                      <a:cubicBezTo>
                        <a:pt x="16" y="0"/>
                        <a:pt x="11" y="0"/>
                        <a:pt x="10" y="0"/>
                      </a:cubicBezTo>
                      <a:cubicBezTo>
                        <a:pt x="7" y="0"/>
                        <a:pt x="5" y="3"/>
                        <a:pt x="4" y="5"/>
                      </a:cubicBezTo>
                      <a:cubicBezTo>
                        <a:pt x="3"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59" name="Freeform 1174"/>
                <p:cNvSpPr>
                  <a:spLocks/>
                </p:cNvSpPr>
                <p:nvPr/>
              </p:nvSpPr>
              <p:spPr bwMode="auto">
                <a:xfrm>
                  <a:off x="14342" y="539"/>
                  <a:ext cx="21" cy="19"/>
                </a:xfrm>
                <a:custGeom>
                  <a:avLst/>
                  <a:gdLst>
                    <a:gd name="T0" fmla="*/ 5 w 9"/>
                    <a:gd name="T1" fmla="*/ 8 h 8"/>
                    <a:gd name="T2" fmla="*/ 9 w 9"/>
                    <a:gd name="T3" fmla="*/ 3 h 8"/>
                    <a:gd name="T4" fmla="*/ 8 w 9"/>
                    <a:gd name="T5" fmla="*/ 0 h 8"/>
                    <a:gd name="T6" fmla="*/ 4 w 9"/>
                    <a:gd name="T7" fmla="*/ 3 h 8"/>
                    <a:gd name="T8" fmla="*/ 0 w 9"/>
                    <a:gd name="T9" fmla="*/ 5 h 8"/>
                    <a:gd name="T10" fmla="*/ 5 w 9"/>
                    <a:gd name="T11" fmla="*/ 8 h 8"/>
                  </a:gdLst>
                  <a:ahLst/>
                  <a:cxnLst>
                    <a:cxn ang="0">
                      <a:pos x="T0" y="T1"/>
                    </a:cxn>
                    <a:cxn ang="0">
                      <a:pos x="T2" y="T3"/>
                    </a:cxn>
                    <a:cxn ang="0">
                      <a:pos x="T4" y="T5"/>
                    </a:cxn>
                    <a:cxn ang="0">
                      <a:pos x="T6" y="T7"/>
                    </a:cxn>
                    <a:cxn ang="0">
                      <a:pos x="T8" y="T9"/>
                    </a:cxn>
                    <a:cxn ang="0">
                      <a:pos x="T10" y="T11"/>
                    </a:cxn>
                  </a:cxnLst>
                  <a:rect l="0" t="0" r="r" b="b"/>
                  <a:pathLst>
                    <a:path w="9" h="8">
                      <a:moveTo>
                        <a:pt x="5" y="8"/>
                      </a:moveTo>
                      <a:cubicBezTo>
                        <a:pt x="7" y="8"/>
                        <a:pt x="9" y="6"/>
                        <a:pt x="9" y="3"/>
                      </a:cubicBezTo>
                      <a:cubicBezTo>
                        <a:pt x="9" y="2"/>
                        <a:pt x="9" y="1"/>
                        <a:pt x="8" y="0"/>
                      </a:cubicBezTo>
                      <a:cubicBezTo>
                        <a:pt x="7" y="1"/>
                        <a:pt x="6" y="2"/>
                        <a:pt x="4" y="3"/>
                      </a:cubicBezTo>
                      <a:cubicBezTo>
                        <a:pt x="3" y="3"/>
                        <a:pt x="2" y="4"/>
                        <a:pt x="0" y="5"/>
                      </a:cubicBezTo>
                      <a:cubicBezTo>
                        <a:pt x="1" y="7"/>
                        <a:pt x="3" y="8"/>
                        <a:pt x="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60" name="Freeform 1175"/>
                <p:cNvSpPr>
                  <a:spLocks/>
                </p:cNvSpPr>
                <p:nvPr/>
              </p:nvSpPr>
              <p:spPr bwMode="auto">
                <a:xfrm>
                  <a:off x="14649" y="560"/>
                  <a:ext cx="64" cy="111"/>
                </a:xfrm>
                <a:custGeom>
                  <a:avLst/>
                  <a:gdLst>
                    <a:gd name="T0" fmla="*/ 1 w 27"/>
                    <a:gd name="T1" fmla="*/ 21 h 47"/>
                    <a:gd name="T2" fmla="*/ 3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9 h 47"/>
                    <a:gd name="T42" fmla="*/ 22 w 27"/>
                    <a:gd name="T43" fmla="*/ 5 h 47"/>
                    <a:gd name="T44" fmla="*/ 17 w 27"/>
                    <a:gd name="T45" fmla="*/ 0 h 47"/>
                    <a:gd name="T46" fmla="*/ 9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2"/>
                        <a:pt x="19" y="0"/>
                        <a:pt x="17" y="0"/>
                      </a:cubicBezTo>
                      <a:cubicBezTo>
                        <a:pt x="16" y="0"/>
                        <a:pt x="10" y="0"/>
                        <a:pt x="9" y="0"/>
                      </a:cubicBezTo>
                      <a:cubicBezTo>
                        <a:pt x="7" y="0"/>
                        <a:pt x="5" y="2"/>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61" name="Oval 1176"/>
                <p:cNvSpPr>
                  <a:spLocks noChangeArrowheads="1"/>
                </p:cNvSpPr>
                <p:nvPr/>
              </p:nvSpPr>
              <p:spPr bwMode="auto">
                <a:xfrm>
                  <a:off x="14604" y="390"/>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62" name="Oval 1177"/>
                <p:cNvSpPr>
                  <a:spLocks noChangeArrowheads="1"/>
                </p:cNvSpPr>
                <p:nvPr/>
              </p:nvSpPr>
              <p:spPr bwMode="auto">
                <a:xfrm>
                  <a:off x="14538" y="536"/>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63" name="Freeform 1178"/>
                <p:cNvSpPr>
                  <a:spLocks/>
                </p:cNvSpPr>
                <p:nvPr/>
              </p:nvSpPr>
              <p:spPr bwMode="auto">
                <a:xfrm>
                  <a:off x="14275" y="586"/>
                  <a:ext cx="38" cy="85"/>
                </a:xfrm>
                <a:custGeom>
                  <a:avLst/>
                  <a:gdLst>
                    <a:gd name="T0" fmla="*/ 2 w 16"/>
                    <a:gd name="T1" fmla="*/ 36 h 36"/>
                    <a:gd name="T2" fmla="*/ 5 w 16"/>
                    <a:gd name="T3" fmla="*/ 34 h 36"/>
                    <a:gd name="T4" fmla="*/ 5 w 16"/>
                    <a:gd name="T5" fmla="*/ 17 h 36"/>
                    <a:gd name="T6" fmla="*/ 6 w 16"/>
                    <a:gd name="T7" fmla="*/ 17 h 36"/>
                    <a:gd name="T8" fmla="*/ 6 w 16"/>
                    <a:gd name="T9" fmla="*/ 34 h 36"/>
                    <a:gd name="T10" fmla="*/ 8 w 16"/>
                    <a:gd name="T11" fmla="*/ 36 h 36"/>
                    <a:gd name="T12" fmla="*/ 10 w 16"/>
                    <a:gd name="T13" fmla="*/ 34 h 36"/>
                    <a:gd name="T14" fmla="*/ 10 w 16"/>
                    <a:gd name="T15" fmla="*/ 17 h 36"/>
                    <a:gd name="T16" fmla="*/ 16 w 16"/>
                    <a:gd name="T17" fmla="*/ 17 h 36"/>
                    <a:gd name="T18" fmla="*/ 11 w 16"/>
                    <a:gd name="T19" fmla="*/ 0 h 36"/>
                    <a:gd name="T20" fmla="*/ 0 w 16"/>
                    <a:gd name="T21" fmla="*/ 20 h 36"/>
                    <a:gd name="T22" fmla="*/ 0 w 16"/>
                    <a:gd name="T23" fmla="*/ 34 h 36"/>
                    <a:gd name="T24" fmla="*/ 2 w 1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36">
                      <a:moveTo>
                        <a:pt x="2" y="36"/>
                      </a:moveTo>
                      <a:cubicBezTo>
                        <a:pt x="3" y="36"/>
                        <a:pt x="5" y="35"/>
                        <a:pt x="5" y="34"/>
                      </a:cubicBezTo>
                      <a:cubicBezTo>
                        <a:pt x="5" y="32"/>
                        <a:pt x="5" y="17"/>
                        <a:pt x="5" y="17"/>
                      </a:cubicBezTo>
                      <a:cubicBezTo>
                        <a:pt x="6" y="17"/>
                        <a:pt x="6" y="17"/>
                        <a:pt x="6" y="17"/>
                      </a:cubicBezTo>
                      <a:cubicBezTo>
                        <a:pt x="6" y="17"/>
                        <a:pt x="6" y="32"/>
                        <a:pt x="6" y="34"/>
                      </a:cubicBezTo>
                      <a:cubicBezTo>
                        <a:pt x="6" y="35"/>
                        <a:pt x="7" y="36"/>
                        <a:pt x="8" y="36"/>
                      </a:cubicBezTo>
                      <a:cubicBezTo>
                        <a:pt x="9" y="36"/>
                        <a:pt x="10" y="35"/>
                        <a:pt x="10" y="34"/>
                      </a:cubicBezTo>
                      <a:cubicBezTo>
                        <a:pt x="10" y="33"/>
                        <a:pt x="10" y="25"/>
                        <a:pt x="10" y="17"/>
                      </a:cubicBezTo>
                      <a:cubicBezTo>
                        <a:pt x="16" y="17"/>
                        <a:pt x="16" y="17"/>
                        <a:pt x="16" y="17"/>
                      </a:cubicBezTo>
                      <a:cubicBezTo>
                        <a:pt x="14" y="8"/>
                        <a:pt x="12" y="3"/>
                        <a:pt x="11" y="0"/>
                      </a:cubicBezTo>
                      <a:cubicBezTo>
                        <a:pt x="6" y="6"/>
                        <a:pt x="2" y="12"/>
                        <a:pt x="0" y="20"/>
                      </a:cubicBezTo>
                      <a:cubicBezTo>
                        <a:pt x="0" y="27"/>
                        <a:pt x="0" y="33"/>
                        <a:pt x="0" y="34"/>
                      </a:cubicBezTo>
                      <a:cubicBezTo>
                        <a:pt x="0" y="35"/>
                        <a:pt x="1" y="36"/>
                        <a:pt x="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64" name="Freeform 1179"/>
                <p:cNvSpPr>
                  <a:spLocks/>
                </p:cNvSpPr>
                <p:nvPr/>
              </p:nvSpPr>
              <p:spPr bwMode="auto">
                <a:xfrm>
                  <a:off x="14325" y="560"/>
                  <a:ext cx="54" cy="111"/>
                </a:xfrm>
                <a:custGeom>
                  <a:avLst/>
                  <a:gdLst>
                    <a:gd name="T0" fmla="*/ 17 w 23"/>
                    <a:gd name="T1" fmla="*/ 0 h 47"/>
                    <a:gd name="T2" fmla="*/ 7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6 w 23"/>
                    <a:gd name="T15" fmla="*/ 8 h 47"/>
                    <a:gd name="T16" fmla="*/ 6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7" y="0"/>
                      </a:cubicBezTo>
                      <a:cubicBezTo>
                        <a:pt x="3" y="0"/>
                        <a:pt x="0" y="3"/>
                        <a:pt x="0" y="6"/>
                      </a:cubicBezTo>
                      <a:cubicBezTo>
                        <a:pt x="0" y="8"/>
                        <a:pt x="0" y="20"/>
                        <a:pt x="0" y="21"/>
                      </a:cubicBezTo>
                      <a:cubicBezTo>
                        <a:pt x="0" y="22"/>
                        <a:pt x="1" y="23"/>
                        <a:pt x="2" y="23"/>
                      </a:cubicBezTo>
                      <a:cubicBezTo>
                        <a:pt x="4"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65" name="Oval 1180"/>
                <p:cNvSpPr>
                  <a:spLocks noChangeArrowheads="1"/>
                </p:cNvSpPr>
                <p:nvPr/>
              </p:nvSpPr>
              <p:spPr bwMode="auto">
                <a:xfrm>
                  <a:off x="14408" y="536"/>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66" name="Oval 1181"/>
                <p:cNvSpPr>
                  <a:spLocks noChangeArrowheads="1"/>
                </p:cNvSpPr>
                <p:nvPr/>
              </p:nvSpPr>
              <p:spPr bwMode="auto">
                <a:xfrm>
                  <a:off x="14472" y="536"/>
                  <a:ext cx="23"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67" name="Freeform 1182"/>
                <p:cNvSpPr>
                  <a:spLocks/>
                </p:cNvSpPr>
                <p:nvPr/>
              </p:nvSpPr>
              <p:spPr bwMode="auto">
                <a:xfrm>
                  <a:off x="14387" y="560"/>
                  <a:ext cx="63" cy="111"/>
                </a:xfrm>
                <a:custGeom>
                  <a:avLst/>
                  <a:gdLst>
                    <a:gd name="T0" fmla="*/ 27 w 27"/>
                    <a:gd name="T1" fmla="*/ 19 h 47"/>
                    <a:gd name="T2" fmla="*/ 23 w 27"/>
                    <a:gd name="T3" fmla="*/ 5 h 47"/>
                    <a:gd name="T4" fmla="*/ 17 w 27"/>
                    <a:gd name="T5" fmla="*/ 0 h 47"/>
                    <a:gd name="T6" fmla="*/ 10 w 27"/>
                    <a:gd name="T7" fmla="*/ 0 h 47"/>
                    <a:gd name="T8" fmla="*/ 4 w 27"/>
                    <a:gd name="T9" fmla="*/ 5 h 47"/>
                    <a:gd name="T10" fmla="*/ 0 w 27"/>
                    <a:gd name="T11" fmla="*/ 19 h 47"/>
                    <a:gd name="T12" fmla="*/ 1 w 27"/>
                    <a:gd name="T13" fmla="*/ 21 h 47"/>
                    <a:gd name="T14" fmla="*/ 4 w 27"/>
                    <a:gd name="T15" fmla="*/ 20 h 47"/>
                    <a:gd name="T16" fmla="*/ 8 w 27"/>
                    <a:gd name="T17" fmla="*/ 7 h 47"/>
                    <a:gd name="T18" fmla="*/ 9 w 27"/>
                    <a:gd name="T19" fmla="*/ 7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9 w 27"/>
                    <a:gd name="T39" fmla="*/ 45 h 47"/>
                    <a:gd name="T40" fmla="*/ 19 w 27"/>
                    <a:gd name="T41" fmla="*/ 28 h 47"/>
                    <a:gd name="T42" fmla="*/ 25 w 27"/>
                    <a:gd name="T43" fmla="*/ 28 h 47"/>
                    <a:gd name="T44" fmla="*/ 18 w 27"/>
                    <a:gd name="T45" fmla="*/ 7 h 47"/>
                    <a:gd name="T46" fmla="*/ 19 w 27"/>
                    <a:gd name="T47" fmla="*/ 7 h 47"/>
                    <a:gd name="T48" fmla="*/ 23 w 27"/>
                    <a:gd name="T49" fmla="*/ 20 h 47"/>
                    <a:gd name="T50" fmla="*/ 25 w 27"/>
                    <a:gd name="T51" fmla="*/ 21 h 47"/>
                    <a:gd name="T52" fmla="*/ 27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9"/>
                      </a:moveTo>
                      <a:cubicBezTo>
                        <a:pt x="26" y="18"/>
                        <a:pt x="24" y="11"/>
                        <a:pt x="23" y="5"/>
                      </a:cubicBezTo>
                      <a:cubicBezTo>
                        <a:pt x="22" y="2"/>
                        <a:pt x="20" y="0"/>
                        <a:pt x="17" y="0"/>
                      </a:cubicBezTo>
                      <a:cubicBezTo>
                        <a:pt x="16" y="0"/>
                        <a:pt x="11" y="0"/>
                        <a:pt x="10" y="0"/>
                      </a:cubicBezTo>
                      <a:cubicBezTo>
                        <a:pt x="7" y="0"/>
                        <a:pt x="5" y="2"/>
                        <a:pt x="4" y="5"/>
                      </a:cubicBezTo>
                      <a:cubicBezTo>
                        <a:pt x="2" y="11"/>
                        <a:pt x="0" y="18"/>
                        <a:pt x="0" y="19"/>
                      </a:cubicBezTo>
                      <a:cubicBezTo>
                        <a:pt x="0" y="20"/>
                        <a:pt x="0" y="21"/>
                        <a:pt x="1" y="21"/>
                      </a:cubicBezTo>
                      <a:cubicBezTo>
                        <a:pt x="2" y="21"/>
                        <a:pt x="3" y="21"/>
                        <a:pt x="4" y="20"/>
                      </a:cubicBezTo>
                      <a:cubicBezTo>
                        <a:pt x="4" y="18"/>
                        <a:pt x="8" y="7"/>
                        <a:pt x="8"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68" name="Freeform 1183"/>
                <p:cNvSpPr>
                  <a:spLocks/>
                </p:cNvSpPr>
                <p:nvPr/>
              </p:nvSpPr>
              <p:spPr bwMode="auto">
                <a:xfrm>
                  <a:off x="14458" y="560"/>
                  <a:ext cx="52" cy="111"/>
                </a:xfrm>
                <a:custGeom>
                  <a:avLst/>
                  <a:gdLst>
                    <a:gd name="T0" fmla="*/ 22 w 22"/>
                    <a:gd name="T1" fmla="*/ 21 h 47"/>
                    <a:gd name="T2" fmla="*/ 22 w 22"/>
                    <a:gd name="T3" fmla="*/ 6 h 47"/>
                    <a:gd name="T4" fmla="*/ 16 w 22"/>
                    <a:gd name="T5" fmla="*/ 0 h 47"/>
                    <a:gd name="T6" fmla="*/ 6 w 22"/>
                    <a:gd name="T7" fmla="*/ 0 h 47"/>
                    <a:gd name="T8" fmla="*/ 0 w 22"/>
                    <a:gd name="T9" fmla="*/ 6 h 47"/>
                    <a:gd name="T10" fmla="*/ 0 w 22"/>
                    <a:gd name="T11" fmla="*/ 21 h 47"/>
                    <a:gd name="T12" fmla="*/ 2 w 22"/>
                    <a:gd name="T13" fmla="*/ 23 h 47"/>
                    <a:gd name="T14" fmla="*/ 4 w 22"/>
                    <a:gd name="T15" fmla="*/ 21 h 47"/>
                    <a:gd name="T16" fmla="*/ 4 w 22"/>
                    <a:gd name="T17" fmla="*/ 8 h 47"/>
                    <a:gd name="T18" fmla="*/ 5 w 22"/>
                    <a:gd name="T19" fmla="*/ 8 h 47"/>
                    <a:gd name="T20" fmla="*/ 5 w 22"/>
                    <a:gd name="T21" fmla="*/ 44 h 47"/>
                    <a:gd name="T22" fmla="*/ 8 w 22"/>
                    <a:gd name="T23" fmla="*/ 47 h 47"/>
                    <a:gd name="T24" fmla="*/ 11 w 22"/>
                    <a:gd name="T25" fmla="*/ 44 h 47"/>
                    <a:gd name="T26" fmla="*/ 11 w 22"/>
                    <a:gd name="T27" fmla="*/ 23 h 47"/>
                    <a:gd name="T28" fmla="*/ 12 w 22"/>
                    <a:gd name="T29" fmla="*/ 23 h 47"/>
                    <a:gd name="T30" fmla="*/ 12 w 22"/>
                    <a:gd name="T31" fmla="*/ 44 h 47"/>
                    <a:gd name="T32" fmla="*/ 14 w 22"/>
                    <a:gd name="T33" fmla="*/ 47 h 47"/>
                    <a:gd name="T34" fmla="*/ 17 w 22"/>
                    <a:gd name="T35" fmla="*/ 44 h 47"/>
                    <a:gd name="T36" fmla="*/ 17 w 22"/>
                    <a:gd name="T37" fmla="*/ 8 h 47"/>
                    <a:gd name="T38" fmla="*/ 18 w 22"/>
                    <a:gd name="T39" fmla="*/ 8 h 47"/>
                    <a:gd name="T40" fmla="*/ 18 w 22"/>
                    <a:gd name="T41" fmla="*/ 21 h 47"/>
                    <a:gd name="T42" fmla="*/ 20 w 22"/>
                    <a:gd name="T43" fmla="*/ 23 h 47"/>
                    <a:gd name="T44" fmla="*/ 22 w 22"/>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2" y="21"/>
                      </a:moveTo>
                      <a:cubicBezTo>
                        <a:pt x="22" y="20"/>
                        <a:pt x="22" y="8"/>
                        <a:pt x="22" y="6"/>
                      </a:cubicBezTo>
                      <a:cubicBezTo>
                        <a:pt x="22" y="3"/>
                        <a:pt x="20" y="0"/>
                        <a:pt x="16" y="0"/>
                      </a:cubicBezTo>
                      <a:cubicBezTo>
                        <a:pt x="15" y="0"/>
                        <a:pt x="8" y="0"/>
                        <a:pt x="6" y="0"/>
                      </a:cubicBezTo>
                      <a:cubicBezTo>
                        <a:pt x="2"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69" name="Oval 1184"/>
                <p:cNvSpPr>
                  <a:spLocks noChangeArrowheads="1"/>
                </p:cNvSpPr>
                <p:nvPr/>
              </p:nvSpPr>
              <p:spPr bwMode="auto">
                <a:xfrm>
                  <a:off x="14668" y="39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70" name="Freeform 1185"/>
                <p:cNvSpPr>
                  <a:spLocks/>
                </p:cNvSpPr>
                <p:nvPr/>
              </p:nvSpPr>
              <p:spPr bwMode="auto">
                <a:xfrm>
                  <a:off x="14654" y="413"/>
                  <a:ext cx="54" cy="112"/>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7 w 23"/>
                    <a:gd name="T23" fmla="*/ 44 h 47"/>
                    <a:gd name="T24" fmla="*/ 17 w 23"/>
                    <a:gd name="T25" fmla="*/ 8 h 47"/>
                    <a:gd name="T26" fmla="*/ 18 w 23"/>
                    <a:gd name="T27" fmla="*/ 8 h 47"/>
                    <a:gd name="T28" fmla="*/ 18 w 23"/>
                    <a:gd name="T29" fmla="*/ 21 h 47"/>
                    <a:gd name="T30" fmla="*/ 20 w 23"/>
                    <a:gd name="T31" fmla="*/ 23 h 47"/>
                    <a:gd name="T32" fmla="*/ 23 w 23"/>
                    <a:gd name="T33" fmla="*/ 21 h 47"/>
                    <a:gd name="T34" fmla="*/ 23 w 23"/>
                    <a:gd name="T35" fmla="*/ 6 h 47"/>
                    <a:gd name="T36" fmla="*/ 16 w 23"/>
                    <a:gd name="T37" fmla="*/ 0 h 47"/>
                    <a:gd name="T38" fmla="*/ 6 w 23"/>
                    <a:gd name="T39" fmla="*/ 0 h 47"/>
                    <a:gd name="T40" fmla="*/ 0 w 23"/>
                    <a:gd name="T41" fmla="*/ 6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2" y="23"/>
                        <a:pt x="23" y="22"/>
                        <a:pt x="23" y="21"/>
                      </a:cubicBezTo>
                      <a:cubicBezTo>
                        <a:pt x="23" y="20"/>
                        <a:pt x="23" y="8"/>
                        <a:pt x="23" y="6"/>
                      </a:cubicBezTo>
                      <a:cubicBezTo>
                        <a:pt x="23" y="3"/>
                        <a:pt x="20" y="0"/>
                        <a:pt x="16" y="0"/>
                      </a:cubicBezTo>
                      <a:cubicBezTo>
                        <a:pt x="15" y="0"/>
                        <a:pt x="8" y="0"/>
                        <a:pt x="6" y="0"/>
                      </a:cubicBezTo>
                      <a:cubicBezTo>
                        <a:pt x="3"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71" name="Freeform 1186"/>
                <p:cNvSpPr>
                  <a:spLocks/>
                </p:cNvSpPr>
                <p:nvPr/>
              </p:nvSpPr>
              <p:spPr bwMode="auto">
                <a:xfrm>
                  <a:off x="14517" y="560"/>
                  <a:ext cx="64" cy="111"/>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2"/>
                        <a:pt x="20" y="0"/>
                        <a:pt x="18" y="0"/>
                      </a:cubicBezTo>
                      <a:cubicBezTo>
                        <a:pt x="16" y="0"/>
                        <a:pt x="11" y="0"/>
                        <a:pt x="10" y="0"/>
                      </a:cubicBezTo>
                      <a:cubicBezTo>
                        <a:pt x="8" y="0"/>
                        <a:pt x="5" y="2"/>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72" name="Freeform 1187"/>
                <p:cNvSpPr>
                  <a:spLocks/>
                </p:cNvSpPr>
                <p:nvPr/>
              </p:nvSpPr>
              <p:spPr bwMode="auto">
                <a:xfrm>
                  <a:off x="14453" y="413"/>
                  <a:ext cx="64" cy="112"/>
                </a:xfrm>
                <a:custGeom>
                  <a:avLst/>
                  <a:gdLst>
                    <a:gd name="T0" fmla="*/ 1 w 27"/>
                    <a:gd name="T1" fmla="*/ 21 h 47"/>
                    <a:gd name="T2" fmla="*/ 3 w 27"/>
                    <a:gd name="T3" fmla="*/ 20 h 47"/>
                    <a:gd name="T4" fmla="*/ 7 w 27"/>
                    <a:gd name="T5" fmla="*/ 7 h 47"/>
                    <a:gd name="T6" fmla="*/ 8 w 27"/>
                    <a:gd name="T7" fmla="*/ 7 h 47"/>
                    <a:gd name="T8" fmla="*/ 2 w 27"/>
                    <a:gd name="T9" fmla="*/ 29 h 47"/>
                    <a:gd name="T10" fmla="*/ 8 w 27"/>
                    <a:gd name="T11" fmla="*/ 29 h 47"/>
                    <a:gd name="T12" fmla="*/ 8 w 27"/>
                    <a:gd name="T13" fmla="*/ 45 h 47"/>
                    <a:gd name="T14" fmla="*/ 10 w 27"/>
                    <a:gd name="T15" fmla="*/ 47 h 47"/>
                    <a:gd name="T16" fmla="*/ 13 w 27"/>
                    <a:gd name="T17" fmla="*/ 45 h 47"/>
                    <a:gd name="T18" fmla="*/ 13 w 27"/>
                    <a:gd name="T19" fmla="*/ 29 h 47"/>
                    <a:gd name="T20" fmla="*/ 14 w 27"/>
                    <a:gd name="T21" fmla="*/ 29 h 47"/>
                    <a:gd name="T22" fmla="*/ 14 w 27"/>
                    <a:gd name="T23" fmla="*/ 45 h 47"/>
                    <a:gd name="T24" fmla="*/ 16 w 27"/>
                    <a:gd name="T25" fmla="*/ 47 h 47"/>
                    <a:gd name="T26" fmla="*/ 18 w 27"/>
                    <a:gd name="T27" fmla="*/ 45 h 47"/>
                    <a:gd name="T28" fmla="*/ 18 w 27"/>
                    <a:gd name="T29" fmla="*/ 29 h 47"/>
                    <a:gd name="T30" fmla="*/ 24 w 27"/>
                    <a:gd name="T31" fmla="*/ 29 h 47"/>
                    <a:gd name="T32" fmla="*/ 18 w 27"/>
                    <a:gd name="T33" fmla="*/ 7 h 47"/>
                    <a:gd name="T34" fmla="*/ 19 w 27"/>
                    <a:gd name="T35" fmla="*/ 7 h 47"/>
                    <a:gd name="T36" fmla="*/ 23 w 27"/>
                    <a:gd name="T37" fmla="*/ 20 h 47"/>
                    <a:gd name="T38" fmla="*/ 25 w 27"/>
                    <a:gd name="T39" fmla="*/ 21 h 47"/>
                    <a:gd name="T40" fmla="*/ 26 w 27"/>
                    <a:gd name="T41" fmla="*/ 19 h 47"/>
                    <a:gd name="T42" fmla="*/ 22 w 27"/>
                    <a:gd name="T43" fmla="*/ 5 h 47"/>
                    <a:gd name="T44" fmla="*/ 17 w 27"/>
                    <a:gd name="T45" fmla="*/ 0 h 47"/>
                    <a:gd name="T46" fmla="*/ 9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3" y="20"/>
                      </a:cubicBezTo>
                      <a:cubicBezTo>
                        <a:pt x="4" y="18"/>
                        <a:pt x="7" y="7"/>
                        <a:pt x="7" y="7"/>
                      </a:cubicBezTo>
                      <a:cubicBezTo>
                        <a:pt x="8" y="7"/>
                        <a:pt x="8" y="7"/>
                        <a:pt x="8" y="7"/>
                      </a:cubicBezTo>
                      <a:cubicBezTo>
                        <a:pt x="2" y="29"/>
                        <a:pt x="2" y="29"/>
                        <a:pt x="2" y="29"/>
                      </a:cubicBezTo>
                      <a:cubicBezTo>
                        <a:pt x="8" y="29"/>
                        <a:pt x="8" y="29"/>
                        <a:pt x="8" y="29"/>
                      </a:cubicBezTo>
                      <a:cubicBezTo>
                        <a:pt x="8" y="36"/>
                        <a:pt x="8" y="44"/>
                        <a:pt x="8" y="45"/>
                      </a:cubicBezTo>
                      <a:cubicBezTo>
                        <a:pt x="8" y="46"/>
                        <a:pt x="9" y="47"/>
                        <a:pt x="10"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7" y="47"/>
                        <a:pt x="18" y="46"/>
                        <a:pt x="18" y="45"/>
                      </a:cubicBezTo>
                      <a:cubicBezTo>
                        <a:pt x="18" y="44"/>
                        <a:pt x="18" y="36"/>
                        <a:pt x="18" y="29"/>
                      </a:cubicBezTo>
                      <a:cubicBezTo>
                        <a:pt x="24" y="29"/>
                        <a:pt x="24" y="29"/>
                        <a:pt x="24" y="29"/>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73" name="Freeform 1188"/>
                <p:cNvSpPr>
                  <a:spLocks/>
                </p:cNvSpPr>
                <p:nvPr/>
              </p:nvSpPr>
              <p:spPr bwMode="auto">
                <a:xfrm>
                  <a:off x="14699" y="300"/>
                  <a:ext cx="14" cy="16"/>
                </a:xfrm>
                <a:custGeom>
                  <a:avLst/>
                  <a:gdLst>
                    <a:gd name="T0" fmla="*/ 0 w 6"/>
                    <a:gd name="T1" fmla="*/ 0 h 7"/>
                    <a:gd name="T2" fmla="*/ 2 w 6"/>
                    <a:gd name="T3" fmla="*/ 5 h 7"/>
                    <a:gd name="T4" fmla="*/ 4 w 6"/>
                    <a:gd name="T5" fmla="*/ 7 h 7"/>
                    <a:gd name="T6" fmla="*/ 5 w 6"/>
                    <a:gd name="T7" fmla="*/ 4 h 7"/>
                    <a:gd name="T8" fmla="*/ 4 w 6"/>
                    <a:gd name="T9" fmla="*/ 0 h 7"/>
                    <a:gd name="T10" fmla="*/ 0 w 6"/>
                    <a:gd name="T11" fmla="*/ 0 h 7"/>
                  </a:gdLst>
                  <a:ahLst/>
                  <a:cxnLst>
                    <a:cxn ang="0">
                      <a:pos x="T0" y="T1"/>
                    </a:cxn>
                    <a:cxn ang="0">
                      <a:pos x="T2" y="T3"/>
                    </a:cxn>
                    <a:cxn ang="0">
                      <a:pos x="T4" y="T5"/>
                    </a:cxn>
                    <a:cxn ang="0">
                      <a:pos x="T6" y="T7"/>
                    </a:cxn>
                    <a:cxn ang="0">
                      <a:pos x="T8" y="T9"/>
                    </a:cxn>
                    <a:cxn ang="0">
                      <a:pos x="T10" y="T11"/>
                    </a:cxn>
                  </a:cxnLst>
                  <a:rect l="0" t="0" r="r" b="b"/>
                  <a:pathLst>
                    <a:path w="6" h="7">
                      <a:moveTo>
                        <a:pt x="0" y="0"/>
                      </a:moveTo>
                      <a:cubicBezTo>
                        <a:pt x="1" y="3"/>
                        <a:pt x="2" y="5"/>
                        <a:pt x="2" y="5"/>
                      </a:cubicBezTo>
                      <a:cubicBezTo>
                        <a:pt x="2" y="6"/>
                        <a:pt x="3" y="7"/>
                        <a:pt x="4" y="7"/>
                      </a:cubicBezTo>
                      <a:cubicBezTo>
                        <a:pt x="5" y="6"/>
                        <a:pt x="6" y="5"/>
                        <a:pt x="5" y="4"/>
                      </a:cubicBezTo>
                      <a:cubicBezTo>
                        <a:pt x="5" y="4"/>
                        <a:pt x="5" y="2"/>
                        <a:pt x="4" y="0"/>
                      </a:cubicBezTo>
                      <a:cubicBezTo>
                        <a:pt x="3"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74" name="Freeform 1189"/>
                <p:cNvSpPr>
                  <a:spLocks/>
                </p:cNvSpPr>
                <p:nvPr/>
              </p:nvSpPr>
              <p:spPr bwMode="auto">
                <a:xfrm>
                  <a:off x="14524" y="314"/>
                  <a:ext cx="52" cy="64"/>
                </a:xfrm>
                <a:custGeom>
                  <a:avLst/>
                  <a:gdLst>
                    <a:gd name="T0" fmla="*/ 6 w 22"/>
                    <a:gd name="T1" fmla="*/ 8 h 27"/>
                    <a:gd name="T2" fmla="*/ 6 w 22"/>
                    <a:gd name="T3" fmla="*/ 25 h 27"/>
                    <a:gd name="T4" fmla="*/ 8 w 22"/>
                    <a:gd name="T5" fmla="*/ 27 h 27"/>
                    <a:gd name="T6" fmla="*/ 10 w 22"/>
                    <a:gd name="T7" fmla="*/ 25 h 27"/>
                    <a:gd name="T8" fmla="*/ 10 w 22"/>
                    <a:gd name="T9" fmla="*/ 8 h 27"/>
                    <a:gd name="T10" fmla="*/ 11 w 22"/>
                    <a:gd name="T11" fmla="*/ 8 h 27"/>
                    <a:gd name="T12" fmla="*/ 11 w 22"/>
                    <a:gd name="T13" fmla="*/ 25 h 27"/>
                    <a:gd name="T14" fmla="*/ 14 w 22"/>
                    <a:gd name="T15" fmla="*/ 27 h 27"/>
                    <a:gd name="T16" fmla="*/ 16 w 22"/>
                    <a:gd name="T17" fmla="*/ 25 h 27"/>
                    <a:gd name="T18" fmla="*/ 16 w 22"/>
                    <a:gd name="T19" fmla="*/ 8 h 27"/>
                    <a:gd name="T20" fmla="*/ 22 w 22"/>
                    <a:gd name="T21" fmla="*/ 8 h 27"/>
                    <a:gd name="T22" fmla="*/ 20 w 22"/>
                    <a:gd name="T23" fmla="*/ 0 h 27"/>
                    <a:gd name="T24" fmla="*/ 11 w 22"/>
                    <a:gd name="T25" fmla="*/ 1 h 27"/>
                    <a:gd name="T26" fmla="*/ 1 w 22"/>
                    <a:gd name="T27" fmla="*/ 4 h 27"/>
                    <a:gd name="T28" fmla="*/ 0 w 22"/>
                    <a:gd name="T29" fmla="*/ 8 h 27"/>
                    <a:gd name="T30" fmla="*/ 6 w 22"/>
                    <a:gd name="T31"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7">
                      <a:moveTo>
                        <a:pt x="6" y="8"/>
                      </a:moveTo>
                      <a:cubicBezTo>
                        <a:pt x="6" y="16"/>
                        <a:pt x="6" y="24"/>
                        <a:pt x="6" y="25"/>
                      </a:cubicBezTo>
                      <a:cubicBezTo>
                        <a:pt x="6" y="26"/>
                        <a:pt x="7" y="27"/>
                        <a:pt x="8" y="27"/>
                      </a:cubicBezTo>
                      <a:cubicBezTo>
                        <a:pt x="9" y="27"/>
                        <a:pt x="10" y="26"/>
                        <a:pt x="10" y="25"/>
                      </a:cubicBezTo>
                      <a:cubicBezTo>
                        <a:pt x="10" y="23"/>
                        <a:pt x="10" y="8"/>
                        <a:pt x="10" y="8"/>
                      </a:cubicBezTo>
                      <a:cubicBezTo>
                        <a:pt x="11" y="8"/>
                        <a:pt x="11" y="8"/>
                        <a:pt x="11" y="8"/>
                      </a:cubicBezTo>
                      <a:cubicBezTo>
                        <a:pt x="11" y="8"/>
                        <a:pt x="11" y="23"/>
                        <a:pt x="11" y="25"/>
                      </a:cubicBezTo>
                      <a:cubicBezTo>
                        <a:pt x="11" y="26"/>
                        <a:pt x="12" y="27"/>
                        <a:pt x="14" y="27"/>
                      </a:cubicBezTo>
                      <a:cubicBezTo>
                        <a:pt x="15" y="27"/>
                        <a:pt x="16" y="26"/>
                        <a:pt x="16" y="25"/>
                      </a:cubicBezTo>
                      <a:cubicBezTo>
                        <a:pt x="16" y="24"/>
                        <a:pt x="16" y="16"/>
                        <a:pt x="16" y="8"/>
                      </a:cubicBezTo>
                      <a:cubicBezTo>
                        <a:pt x="22" y="8"/>
                        <a:pt x="22" y="8"/>
                        <a:pt x="22" y="8"/>
                      </a:cubicBezTo>
                      <a:cubicBezTo>
                        <a:pt x="21" y="5"/>
                        <a:pt x="20" y="2"/>
                        <a:pt x="20" y="0"/>
                      </a:cubicBezTo>
                      <a:cubicBezTo>
                        <a:pt x="16" y="0"/>
                        <a:pt x="14" y="1"/>
                        <a:pt x="11" y="1"/>
                      </a:cubicBezTo>
                      <a:cubicBezTo>
                        <a:pt x="7" y="2"/>
                        <a:pt x="4" y="3"/>
                        <a:pt x="1" y="4"/>
                      </a:cubicBezTo>
                      <a:cubicBezTo>
                        <a:pt x="0" y="8"/>
                        <a:pt x="0" y="8"/>
                        <a:pt x="0" y="8"/>
                      </a:cubicBezTo>
                      <a:cubicBezTo>
                        <a:pt x="6" y="8"/>
                        <a:pt x="6" y="8"/>
                        <a:pt x="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75" name="Freeform 1190"/>
                <p:cNvSpPr>
                  <a:spLocks/>
                </p:cNvSpPr>
                <p:nvPr/>
              </p:nvSpPr>
              <p:spPr bwMode="auto">
                <a:xfrm>
                  <a:off x="14573" y="312"/>
                  <a:ext cx="8" cy="4"/>
                </a:xfrm>
                <a:custGeom>
                  <a:avLst/>
                  <a:gdLst>
                    <a:gd name="T0" fmla="*/ 2 w 3"/>
                    <a:gd name="T1" fmla="*/ 2 h 2"/>
                    <a:gd name="T2" fmla="*/ 3 w 3"/>
                    <a:gd name="T3" fmla="*/ 0 h 2"/>
                    <a:gd name="T4" fmla="*/ 0 w 3"/>
                    <a:gd name="T5" fmla="*/ 1 h 2"/>
                    <a:gd name="T6" fmla="*/ 2 w 3"/>
                    <a:gd name="T7" fmla="*/ 2 h 2"/>
                  </a:gdLst>
                  <a:ahLst/>
                  <a:cxnLst>
                    <a:cxn ang="0">
                      <a:pos x="T0" y="T1"/>
                    </a:cxn>
                    <a:cxn ang="0">
                      <a:pos x="T2" y="T3"/>
                    </a:cxn>
                    <a:cxn ang="0">
                      <a:pos x="T4" y="T5"/>
                    </a:cxn>
                    <a:cxn ang="0">
                      <a:pos x="T6" y="T7"/>
                    </a:cxn>
                  </a:cxnLst>
                  <a:rect l="0" t="0" r="r" b="b"/>
                  <a:pathLst>
                    <a:path w="3" h="2">
                      <a:moveTo>
                        <a:pt x="2" y="2"/>
                      </a:moveTo>
                      <a:cubicBezTo>
                        <a:pt x="3" y="1"/>
                        <a:pt x="3" y="1"/>
                        <a:pt x="3" y="0"/>
                      </a:cubicBezTo>
                      <a:cubicBezTo>
                        <a:pt x="2" y="0"/>
                        <a:pt x="1" y="0"/>
                        <a:pt x="0" y="1"/>
                      </a:cubicBezTo>
                      <a:cubicBezTo>
                        <a:pt x="0" y="1"/>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76" name="Freeform 1191"/>
                <p:cNvSpPr>
                  <a:spLocks/>
                </p:cNvSpPr>
                <p:nvPr/>
              </p:nvSpPr>
              <p:spPr bwMode="auto">
                <a:xfrm>
                  <a:off x="14600" y="304"/>
                  <a:ext cx="30" cy="74"/>
                </a:xfrm>
                <a:custGeom>
                  <a:avLst/>
                  <a:gdLst>
                    <a:gd name="T0" fmla="*/ 0 w 13"/>
                    <a:gd name="T1" fmla="*/ 28 h 31"/>
                    <a:gd name="T2" fmla="*/ 3 w 13"/>
                    <a:gd name="T3" fmla="*/ 31 h 31"/>
                    <a:gd name="T4" fmla="*/ 6 w 13"/>
                    <a:gd name="T5" fmla="*/ 28 h 31"/>
                    <a:gd name="T6" fmla="*/ 6 w 13"/>
                    <a:gd name="T7" fmla="*/ 7 h 31"/>
                    <a:gd name="T8" fmla="*/ 7 w 13"/>
                    <a:gd name="T9" fmla="*/ 7 h 31"/>
                    <a:gd name="T10" fmla="*/ 7 w 13"/>
                    <a:gd name="T11" fmla="*/ 28 h 31"/>
                    <a:gd name="T12" fmla="*/ 10 w 13"/>
                    <a:gd name="T13" fmla="*/ 31 h 31"/>
                    <a:gd name="T14" fmla="*/ 13 w 13"/>
                    <a:gd name="T15" fmla="*/ 28 h 31"/>
                    <a:gd name="T16" fmla="*/ 13 w 13"/>
                    <a:gd name="T17" fmla="*/ 0 h 31"/>
                    <a:gd name="T18" fmla="*/ 0 w 13"/>
                    <a:gd name="T19" fmla="*/ 2 h 31"/>
                    <a:gd name="T20" fmla="*/ 0 w 13"/>
                    <a:gd name="T21"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31">
                      <a:moveTo>
                        <a:pt x="0" y="28"/>
                      </a:moveTo>
                      <a:cubicBezTo>
                        <a:pt x="0" y="29"/>
                        <a:pt x="2" y="31"/>
                        <a:pt x="3" y="31"/>
                      </a:cubicBezTo>
                      <a:cubicBezTo>
                        <a:pt x="5" y="31"/>
                        <a:pt x="6" y="29"/>
                        <a:pt x="6" y="28"/>
                      </a:cubicBezTo>
                      <a:cubicBezTo>
                        <a:pt x="6" y="26"/>
                        <a:pt x="6" y="7"/>
                        <a:pt x="6" y="7"/>
                      </a:cubicBezTo>
                      <a:cubicBezTo>
                        <a:pt x="6" y="7"/>
                        <a:pt x="6" y="7"/>
                        <a:pt x="7" y="7"/>
                      </a:cubicBezTo>
                      <a:cubicBezTo>
                        <a:pt x="7" y="7"/>
                        <a:pt x="7" y="26"/>
                        <a:pt x="7" y="28"/>
                      </a:cubicBezTo>
                      <a:cubicBezTo>
                        <a:pt x="7" y="29"/>
                        <a:pt x="8" y="31"/>
                        <a:pt x="10" y="31"/>
                      </a:cubicBezTo>
                      <a:cubicBezTo>
                        <a:pt x="11" y="31"/>
                        <a:pt x="13" y="29"/>
                        <a:pt x="13" y="28"/>
                      </a:cubicBezTo>
                      <a:cubicBezTo>
                        <a:pt x="13" y="26"/>
                        <a:pt x="13" y="10"/>
                        <a:pt x="13" y="0"/>
                      </a:cubicBezTo>
                      <a:cubicBezTo>
                        <a:pt x="8" y="1"/>
                        <a:pt x="4" y="1"/>
                        <a:pt x="0" y="2"/>
                      </a:cubicBezTo>
                      <a:cubicBezTo>
                        <a:pt x="0" y="12"/>
                        <a:pt x="0" y="26"/>
                        <a:pt x="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77" name="Freeform 1192"/>
                <p:cNvSpPr>
                  <a:spLocks/>
                </p:cNvSpPr>
                <p:nvPr/>
              </p:nvSpPr>
              <p:spPr bwMode="auto">
                <a:xfrm>
                  <a:off x="14588" y="309"/>
                  <a:ext cx="9" cy="12"/>
                </a:xfrm>
                <a:custGeom>
                  <a:avLst/>
                  <a:gdLst>
                    <a:gd name="T0" fmla="*/ 2 w 4"/>
                    <a:gd name="T1" fmla="*/ 5 h 5"/>
                    <a:gd name="T2" fmla="*/ 4 w 4"/>
                    <a:gd name="T3" fmla="*/ 3 h 5"/>
                    <a:gd name="T4" fmla="*/ 4 w 4"/>
                    <a:gd name="T5" fmla="*/ 0 h 5"/>
                    <a:gd name="T6" fmla="*/ 0 w 4"/>
                    <a:gd name="T7" fmla="*/ 0 h 5"/>
                    <a:gd name="T8" fmla="*/ 0 w 4"/>
                    <a:gd name="T9" fmla="*/ 3 h 5"/>
                    <a:gd name="T10" fmla="*/ 2 w 4"/>
                    <a:gd name="T11" fmla="*/ 5 h 5"/>
                  </a:gdLst>
                  <a:ahLst/>
                  <a:cxnLst>
                    <a:cxn ang="0">
                      <a:pos x="T0" y="T1"/>
                    </a:cxn>
                    <a:cxn ang="0">
                      <a:pos x="T2" y="T3"/>
                    </a:cxn>
                    <a:cxn ang="0">
                      <a:pos x="T4" y="T5"/>
                    </a:cxn>
                    <a:cxn ang="0">
                      <a:pos x="T6" y="T7"/>
                    </a:cxn>
                    <a:cxn ang="0">
                      <a:pos x="T8" y="T9"/>
                    </a:cxn>
                    <a:cxn ang="0">
                      <a:pos x="T10" y="T11"/>
                    </a:cxn>
                  </a:cxnLst>
                  <a:rect l="0" t="0" r="r" b="b"/>
                  <a:pathLst>
                    <a:path w="4" h="5">
                      <a:moveTo>
                        <a:pt x="2" y="5"/>
                      </a:moveTo>
                      <a:cubicBezTo>
                        <a:pt x="3" y="5"/>
                        <a:pt x="4" y="4"/>
                        <a:pt x="4" y="3"/>
                      </a:cubicBezTo>
                      <a:cubicBezTo>
                        <a:pt x="4" y="2"/>
                        <a:pt x="4" y="1"/>
                        <a:pt x="4" y="0"/>
                      </a:cubicBezTo>
                      <a:cubicBezTo>
                        <a:pt x="3" y="0"/>
                        <a:pt x="1" y="0"/>
                        <a:pt x="0" y="0"/>
                      </a:cubicBezTo>
                      <a:cubicBezTo>
                        <a:pt x="0" y="2"/>
                        <a:pt x="0" y="2"/>
                        <a:pt x="0" y="3"/>
                      </a:cubicBezTo>
                      <a:cubicBezTo>
                        <a:pt x="0" y="4"/>
                        <a:pt x="1" y="5"/>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78" name="Freeform 1193"/>
                <p:cNvSpPr>
                  <a:spLocks/>
                </p:cNvSpPr>
                <p:nvPr/>
              </p:nvSpPr>
              <p:spPr bwMode="auto">
                <a:xfrm>
                  <a:off x="14633" y="304"/>
                  <a:ext cx="9" cy="17"/>
                </a:xfrm>
                <a:custGeom>
                  <a:avLst/>
                  <a:gdLst>
                    <a:gd name="T0" fmla="*/ 0 w 4"/>
                    <a:gd name="T1" fmla="*/ 5 h 7"/>
                    <a:gd name="T2" fmla="*/ 2 w 4"/>
                    <a:gd name="T3" fmla="*/ 7 h 7"/>
                    <a:gd name="T4" fmla="*/ 4 w 4"/>
                    <a:gd name="T5" fmla="*/ 5 h 7"/>
                    <a:gd name="T6" fmla="*/ 4 w 4"/>
                    <a:gd name="T7" fmla="*/ 0 h 7"/>
                    <a:gd name="T8" fmla="*/ 0 w 4"/>
                    <a:gd name="T9" fmla="*/ 0 h 7"/>
                    <a:gd name="T10" fmla="*/ 0 w 4"/>
                    <a:gd name="T11" fmla="*/ 5 h 7"/>
                  </a:gdLst>
                  <a:ahLst/>
                  <a:cxnLst>
                    <a:cxn ang="0">
                      <a:pos x="T0" y="T1"/>
                    </a:cxn>
                    <a:cxn ang="0">
                      <a:pos x="T2" y="T3"/>
                    </a:cxn>
                    <a:cxn ang="0">
                      <a:pos x="T4" y="T5"/>
                    </a:cxn>
                    <a:cxn ang="0">
                      <a:pos x="T6" y="T7"/>
                    </a:cxn>
                    <a:cxn ang="0">
                      <a:pos x="T8" y="T9"/>
                    </a:cxn>
                    <a:cxn ang="0">
                      <a:pos x="T10" y="T11"/>
                    </a:cxn>
                  </a:cxnLst>
                  <a:rect l="0" t="0" r="r" b="b"/>
                  <a:pathLst>
                    <a:path w="4" h="7">
                      <a:moveTo>
                        <a:pt x="0" y="5"/>
                      </a:moveTo>
                      <a:cubicBezTo>
                        <a:pt x="0" y="6"/>
                        <a:pt x="1" y="7"/>
                        <a:pt x="2" y="7"/>
                      </a:cubicBezTo>
                      <a:cubicBezTo>
                        <a:pt x="3" y="7"/>
                        <a:pt x="4" y="6"/>
                        <a:pt x="4" y="5"/>
                      </a:cubicBezTo>
                      <a:cubicBezTo>
                        <a:pt x="4" y="4"/>
                        <a:pt x="4" y="2"/>
                        <a:pt x="4" y="0"/>
                      </a:cubicBezTo>
                      <a:cubicBezTo>
                        <a:pt x="2" y="0"/>
                        <a:pt x="1" y="0"/>
                        <a:pt x="0" y="0"/>
                      </a:cubicBezTo>
                      <a:cubicBezTo>
                        <a:pt x="0" y="2"/>
                        <a:pt x="0"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79" name="Freeform 1194"/>
                <p:cNvSpPr>
                  <a:spLocks/>
                </p:cNvSpPr>
                <p:nvPr/>
              </p:nvSpPr>
              <p:spPr bwMode="auto">
                <a:xfrm>
                  <a:off x="14654" y="300"/>
                  <a:ext cx="52" cy="78"/>
                </a:xfrm>
                <a:custGeom>
                  <a:avLst/>
                  <a:gdLst>
                    <a:gd name="T0" fmla="*/ 0 w 22"/>
                    <a:gd name="T1" fmla="*/ 14 h 33"/>
                    <a:gd name="T2" fmla="*/ 6 w 22"/>
                    <a:gd name="T3" fmla="*/ 14 h 33"/>
                    <a:gd name="T4" fmla="*/ 6 w 22"/>
                    <a:gd name="T5" fmla="*/ 31 h 33"/>
                    <a:gd name="T6" fmla="*/ 8 w 22"/>
                    <a:gd name="T7" fmla="*/ 33 h 33"/>
                    <a:gd name="T8" fmla="*/ 11 w 22"/>
                    <a:gd name="T9" fmla="*/ 31 h 33"/>
                    <a:gd name="T10" fmla="*/ 11 w 22"/>
                    <a:gd name="T11" fmla="*/ 14 h 33"/>
                    <a:gd name="T12" fmla="*/ 12 w 22"/>
                    <a:gd name="T13" fmla="*/ 14 h 33"/>
                    <a:gd name="T14" fmla="*/ 12 w 22"/>
                    <a:gd name="T15" fmla="*/ 31 h 33"/>
                    <a:gd name="T16" fmla="*/ 14 w 22"/>
                    <a:gd name="T17" fmla="*/ 33 h 33"/>
                    <a:gd name="T18" fmla="*/ 16 w 22"/>
                    <a:gd name="T19" fmla="*/ 31 h 33"/>
                    <a:gd name="T20" fmla="*/ 16 w 22"/>
                    <a:gd name="T21" fmla="*/ 14 h 33"/>
                    <a:gd name="T22" fmla="*/ 22 w 22"/>
                    <a:gd name="T23" fmla="*/ 14 h 33"/>
                    <a:gd name="T24" fmla="*/ 18 w 22"/>
                    <a:gd name="T25" fmla="*/ 0 h 33"/>
                    <a:gd name="T26" fmla="*/ 4 w 22"/>
                    <a:gd name="T27" fmla="*/ 1 h 33"/>
                    <a:gd name="T28" fmla="*/ 0 w 22"/>
                    <a:gd name="T29"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33">
                      <a:moveTo>
                        <a:pt x="0" y="14"/>
                      </a:moveTo>
                      <a:cubicBezTo>
                        <a:pt x="6" y="14"/>
                        <a:pt x="6" y="14"/>
                        <a:pt x="6" y="14"/>
                      </a:cubicBezTo>
                      <a:cubicBezTo>
                        <a:pt x="6" y="22"/>
                        <a:pt x="6" y="30"/>
                        <a:pt x="6" y="31"/>
                      </a:cubicBezTo>
                      <a:cubicBezTo>
                        <a:pt x="6" y="32"/>
                        <a:pt x="7" y="33"/>
                        <a:pt x="8" y="33"/>
                      </a:cubicBezTo>
                      <a:cubicBezTo>
                        <a:pt x="10" y="33"/>
                        <a:pt x="11" y="32"/>
                        <a:pt x="11" y="31"/>
                      </a:cubicBezTo>
                      <a:cubicBezTo>
                        <a:pt x="11" y="29"/>
                        <a:pt x="11" y="14"/>
                        <a:pt x="11" y="14"/>
                      </a:cubicBezTo>
                      <a:cubicBezTo>
                        <a:pt x="12" y="14"/>
                        <a:pt x="12" y="14"/>
                        <a:pt x="12" y="14"/>
                      </a:cubicBezTo>
                      <a:cubicBezTo>
                        <a:pt x="12" y="14"/>
                        <a:pt x="12" y="29"/>
                        <a:pt x="12" y="31"/>
                      </a:cubicBezTo>
                      <a:cubicBezTo>
                        <a:pt x="12" y="32"/>
                        <a:pt x="13" y="33"/>
                        <a:pt x="14" y="33"/>
                      </a:cubicBezTo>
                      <a:cubicBezTo>
                        <a:pt x="15" y="33"/>
                        <a:pt x="16" y="32"/>
                        <a:pt x="16" y="31"/>
                      </a:cubicBezTo>
                      <a:cubicBezTo>
                        <a:pt x="16" y="30"/>
                        <a:pt x="16" y="22"/>
                        <a:pt x="16" y="14"/>
                      </a:cubicBezTo>
                      <a:cubicBezTo>
                        <a:pt x="22" y="14"/>
                        <a:pt x="22" y="14"/>
                        <a:pt x="22" y="14"/>
                      </a:cubicBezTo>
                      <a:cubicBezTo>
                        <a:pt x="21" y="8"/>
                        <a:pt x="19" y="3"/>
                        <a:pt x="18" y="0"/>
                      </a:cubicBezTo>
                      <a:cubicBezTo>
                        <a:pt x="14" y="0"/>
                        <a:pt x="9" y="1"/>
                        <a:pt x="4" y="1"/>
                      </a:cubicBezTo>
                      <a:cubicBezTo>
                        <a:pt x="0" y="14"/>
                        <a:pt x="0" y="14"/>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80" name="Freeform 1195"/>
                <p:cNvSpPr>
                  <a:spLocks/>
                </p:cNvSpPr>
                <p:nvPr/>
              </p:nvSpPr>
              <p:spPr bwMode="auto">
                <a:xfrm>
                  <a:off x="14649" y="302"/>
                  <a:ext cx="12" cy="14"/>
                </a:xfrm>
                <a:custGeom>
                  <a:avLst/>
                  <a:gdLst>
                    <a:gd name="T0" fmla="*/ 1 w 5"/>
                    <a:gd name="T1" fmla="*/ 6 h 6"/>
                    <a:gd name="T2" fmla="*/ 3 w 5"/>
                    <a:gd name="T3" fmla="*/ 4 h 6"/>
                    <a:gd name="T4" fmla="*/ 5 w 5"/>
                    <a:gd name="T5" fmla="*/ 0 h 6"/>
                    <a:gd name="T6" fmla="*/ 1 w 5"/>
                    <a:gd name="T7" fmla="*/ 0 h 6"/>
                    <a:gd name="T8" fmla="*/ 0 w 5"/>
                    <a:gd name="T9" fmla="*/ 3 h 6"/>
                    <a:gd name="T10" fmla="*/ 1 w 5"/>
                    <a:gd name="T11" fmla="*/ 6 h 6"/>
                  </a:gdLst>
                  <a:ahLst/>
                  <a:cxnLst>
                    <a:cxn ang="0">
                      <a:pos x="T0" y="T1"/>
                    </a:cxn>
                    <a:cxn ang="0">
                      <a:pos x="T2" y="T3"/>
                    </a:cxn>
                    <a:cxn ang="0">
                      <a:pos x="T4" y="T5"/>
                    </a:cxn>
                    <a:cxn ang="0">
                      <a:pos x="T6" y="T7"/>
                    </a:cxn>
                    <a:cxn ang="0">
                      <a:pos x="T8" y="T9"/>
                    </a:cxn>
                    <a:cxn ang="0">
                      <a:pos x="T10" y="T11"/>
                    </a:cxn>
                  </a:cxnLst>
                  <a:rect l="0" t="0" r="r" b="b"/>
                  <a:pathLst>
                    <a:path w="5" h="6">
                      <a:moveTo>
                        <a:pt x="1" y="6"/>
                      </a:moveTo>
                      <a:cubicBezTo>
                        <a:pt x="2" y="6"/>
                        <a:pt x="3" y="5"/>
                        <a:pt x="3" y="4"/>
                      </a:cubicBezTo>
                      <a:cubicBezTo>
                        <a:pt x="4" y="4"/>
                        <a:pt x="4" y="2"/>
                        <a:pt x="5" y="0"/>
                      </a:cubicBezTo>
                      <a:cubicBezTo>
                        <a:pt x="3" y="0"/>
                        <a:pt x="2" y="0"/>
                        <a:pt x="1" y="0"/>
                      </a:cubicBezTo>
                      <a:cubicBezTo>
                        <a:pt x="0" y="2"/>
                        <a:pt x="0" y="3"/>
                        <a:pt x="0" y="3"/>
                      </a:cubicBezTo>
                      <a:cubicBezTo>
                        <a:pt x="0" y="4"/>
                        <a:pt x="0" y="5"/>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81" name="Freeform 1196"/>
                <p:cNvSpPr>
                  <a:spLocks/>
                </p:cNvSpPr>
                <p:nvPr/>
              </p:nvSpPr>
              <p:spPr bwMode="auto">
                <a:xfrm>
                  <a:off x="14405" y="510"/>
                  <a:ext cx="12" cy="15"/>
                </a:xfrm>
                <a:custGeom>
                  <a:avLst/>
                  <a:gdLst>
                    <a:gd name="T0" fmla="*/ 2 w 5"/>
                    <a:gd name="T1" fmla="*/ 6 h 6"/>
                    <a:gd name="T2" fmla="*/ 5 w 5"/>
                    <a:gd name="T3" fmla="*/ 3 h 6"/>
                    <a:gd name="T4" fmla="*/ 5 w 5"/>
                    <a:gd name="T5" fmla="*/ 0 h 6"/>
                    <a:gd name="T6" fmla="*/ 0 w 5"/>
                    <a:gd name="T7" fmla="*/ 5 h 6"/>
                    <a:gd name="T8" fmla="*/ 2 w 5"/>
                    <a:gd name="T9" fmla="*/ 6 h 6"/>
                  </a:gdLst>
                  <a:ahLst/>
                  <a:cxnLst>
                    <a:cxn ang="0">
                      <a:pos x="T0" y="T1"/>
                    </a:cxn>
                    <a:cxn ang="0">
                      <a:pos x="T2" y="T3"/>
                    </a:cxn>
                    <a:cxn ang="0">
                      <a:pos x="T4" y="T5"/>
                    </a:cxn>
                    <a:cxn ang="0">
                      <a:pos x="T6" y="T7"/>
                    </a:cxn>
                    <a:cxn ang="0">
                      <a:pos x="T8" y="T9"/>
                    </a:cxn>
                  </a:cxnLst>
                  <a:rect l="0" t="0" r="r" b="b"/>
                  <a:pathLst>
                    <a:path w="5" h="6">
                      <a:moveTo>
                        <a:pt x="2" y="6"/>
                      </a:moveTo>
                      <a:cubicBezTo>
                        <a:pt x="4" y="6"/>
                        <a:pt x="5" y="5"/>
                        <a:pt x="5" y="3"/>
                      </a:cubicBezTo>
                      <a:cubicBezTo>
                        <a:pt x="5" y="3"/>
                        <a:pt x="5" y="2"/>
                        <a:pt x="5" y="0"/>
                      </a:cubicBezTo>
                      <a:cubicBezTo>
                        <a:pt x="3" y="2"/>
                        <a:pt x="1" y="4"/>
                        <a:pt x="0" y="5"/>
                      </a:cubicBezTo>
                      <a:cubicBezTo>
                        <a:pt x="0" y="6"/>
                        <a:pt x="1" y="6"/>
                        <a:pt x="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82" name="Freeform 1197"/>
                <p:cNvSpPr>
                  <a:spLocks/>
                </p:cNvSpPr>
                <p:nvPr/>
              </p:nvSpPr>
              <p:spPr bwMode="auto">
                <a:xfrm>
                  <a:off x="14588" y="560"/>
                  <a:ext cx="54" cy="111"/>
                </a:xfrm>
                <a:custGeom>
                  <a:avLst/>
                  <a:gdLst>
                    <a:gd name="T0" fmla="*/ 23 w 23"/>
                    <a:gd name="T1" fmla="*/ 21 h 47"/>
                    <a:gd name="T2" fmla="*/ 23 w 23"/>
                    <a:gd name="T3" fmla="*/ 6 h 47"/>
                    <a:gd name="T4" fmla="*/ 17 w 23"/>
                    <a:gd name="T5" fmla="*/ 0 h 47"/>
                    <a:gd name="T6" fmla="*/ 6 w 23"/>
                    <a:gd name="T7" fmla="*/ 0 h 47"/>
                    <a:gd name="T8" fmla="*/ 0 w 23"/>
                    <a:gd name="T9" fmla="*/ 6 h 47"/>
                    <a:gd name="T10" fmla="*/ 0 w 23"/>
                    <a:gd name="T11" fmla="*/ 21 h 47"/>
                    <a:gd name="T12" fmla="*/ 2 w 23"/>
                    <a:gd name="T13" fmla="*/ 23 h 47"/>
                    <a:gd name="T14" fmla="*/ 4 w 23"/>
                    <a:gd name="T15" fmla="*/ 21 h 47"/>
                    <a:gd name="T16" fmla="*/ 4 w 23"/>
                    <a:gd name="T17" fmla="*/ 8 h 47"/>
                    <a:gd name="T18" fmla="*/ 5 w 23"/>
                    <a:gd name="T19" fmla="*/ 8 h 47"/>
                    <a:gd name="T20" fmla="*/ 5 w 23"/>
                    <a:gd name="T21" fmla="*/ 44 h 47"/>
                    <a:gd name="T22" fmla="*/ 8 w 23"/>
                    <a:gd name="T23" fmla="*/ 47 h 47"/>
                    <a:gd name="T24" fmla="*/ 11 w 23"/>
                    <a:gd name="T25" fmla="*/ 44 h 47"/>
                    <a:gd name="T26" fmla="*/ 11 w 23"/>
                    <a:gd name="T27" fmla="*/ 23 h 47"/>
                    <a:gd name="T28" fmla="*/ 12 w 23"/>
                    <a:gd name="T29" fmla="*/ 23 h 47"/>
                    <a:gd name="T30" fmla="*/ 12 w 23"/>
                    <a:gd name="T31" fmla="*/ 44 h 47"/>
                    <a:gd name="T32" fmla="*/ 15 w 23"/>
                    <a:gd name="T33" fmla="*/ 47 h 47"/>
                    <a:gd name="T34" fmla="*/ 18 w 23"/>
                    <a:gd name="T35" fmla="*/ 44 h 47"/>
                    <a:gd name="T36" fmla="*/ 18 w 23"/>
                    <a:gd name="T37" fmla="*/ 8 h 47"/>
                    <a:gd name="T38" fmla="*/ 19 w 23"/>
                    <a:gd name="T39" fmla="*/ 8 h 47"/>
                    <a:gd name="T40" fmla="*/ 19 w 23"/>
                    <a:gd name="T41" fmla="*/ 21 h 47"/>
                    <a:gd name="T42" fmla="*/ 21 w 23"/>
                    <a:gd name="T43" fmla="*/ 23 h 47"/>
                    <a:gd name="T44" fmla="*/ 23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3" y="21"/>
                      </a:move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83" name="Freeform 1198"/>
                <p:cNvSpPr>
                  <a:spLocks/>
                </p:cNvSpPr>
                <p:nvPr/>
              </p:nvSpPr>
              <p:spPr bwMode="auto">
                <a:xfrm>
                  <a:off x="14488" y="359"/>
                  <a:ext cx="10" cy="19"/>
                </a:xfrm>
                <a:custGeom>
                  <a:avLst/>
                  <a:gdLst>
                    <a:gd name="T0" fmla="*/ 4 w 4"/>
                    <a:gd name="T1" fmla="*/ 5 h 8"/>
                    <a:gd name="T2" fmla="*/ 4 w 4"/>
                    <a:gd name="T3" fmla="*/ 0 h 8"/>
                    <a:gd name="T4" fmla="*/ 1 w 4"/>
                    <a:gd name="T5" fmla="*/ 5 h 8"/>
                    <a:gd name="T6" fmla="*/ 0 w 4"/>
                    <a:gd name="T7" fmla="*/ 7 h 8"/>
                    <a:gd name="T8" fmla="*/ 1 w 4"/>
                    <a:gd name="T9" fmla="*/ 8 h 8"/>
                    <a:gd name="T10" fmla="*/ 4 w 4"/>
                    <a:gd name="T11" fmla="*/ 5 h 8"/>
                  </a:gdLst>
                  <a:ahLst/>
                  <a:cxnLst>
                    <a:cxn ang="0">
                      <a:pos x="T0" y="T1"/>
                    </a:cxn>
                    <a:cxn ang="0">
                      <a:pos x="T2" y="T3"/>
                    </a:cxn>
                    <a:cxn ang="0">
                      <a:pos x="T4" y="T5"/>
                    </a:cxn>
                    <a:cxn ang="0">
                      <a:pos x="T6" y="T7"/>
                    </a:cxn>
                    <a:cxn ang="0">
                      <a:pos x="T8" y="T9"/>
                    </a:cxn>
                    <a:cxn ang="0">
                      <a:pos x="T10" y="T11"/>
                    </a:cxn>
                  </a:cxnLst>
                  <a:rect l="0" t="0" r="r" b="b"/>
                  <a:pathLst>
                    <a:path w="4" h="8">
                      <a:moveTo>
                        <a:pt x="4" y="5"/>
                      </a:moveTo>
                      <a:cubicBezTo>
                        <a:pt x="4" y="4"/>
                        <a:pt x="4" y="2"/>
                        <a:pt x="4" y="0"/>
                      </a:cubicBezTo>
                      <a:cubicBezTo>
                        <a:pt x="3" y="1"/>
                        <a:pt x="3" y="3"/>
                        <a:pt x="1" y="5"/>
                      </a:cubicBezTo>
                      <a:cubicBezTo>
                        <a:pt x="1" y="6"/>
                        <a:pt x="0" y="6"/>
                        <a:pt x="0" y="7"/>
                      </a:cubicBezTo>
                      <a:cubicBezTo>
                        <a:pt x="0" y="7"/>
                        <a:pt x="1" y="8"/>
                        <a:pt x="1" y="8"/>
                      </a:cubicBezTo>
                      <a:cubicBezTo>
                        <a:pt x="3" y="8"/>
                        <a:pt x="4" y="6"/>
                        <a:pt x="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84" name="Freeform 1199"/>
                <p:cNvSpPr>
                  <a:spLocks/>
                </p:cNvSpPr>
                <p:nvPr/>
              </p:nvSpPr>
              <p:spPr bwMode="auto">
                <a:xfrm>
                  <a:off x="14415" y="451"/>
                  <a:ext cx="19" cy="74"/>
                </a:xfrm>
                <a:custGeom>
                  <a:avLst/>
                  <a:gdLst>
                    <a:gd name="T0" fmla="*/ 1 w 8"/>
                    <a:gd name="T1" fmla="*/ 5 h 31"/>
                    <a:gd name="T2" fmla="*/ 1 w 8"/>
                    <a:gd name="T3" fmla="*/ 12 h 31"/>
                    <a:gd name="T4" fmla="*/ 1 w 8"/>
                    <a:gd name="T5" fmla="*/ 7 h 31"/>
                    <a:gd name="T6" fmla="*/ 2 w 8"/>
                    <a:gd name="T7" fmla="*/ 7 h 31"/>
                    <a:gd name="T8" fmla="*/ 2 w 8"/>
                    <a:gd name="T9" fmla="*/ 17 h 31"/>
                    <a:gd name="T10" fmla="*/ 2 w 8"/>
                    <a:gd name="T11" fmla="*/ 23 h 31"/>
                    <a:gd name="T12" fmla="*/ 2 w 8"/>
                    <a:gd name="T13" fmla="*/ 28 h 31"/>
                    <a:gd name="T14" fmla="*/ 5 w 8"/>
                    <a:gd name="T15" fmla="*/ 31 h 31"/>
                    <a:gd name="T16" fmla="*/ 8 w 8"/>
                    <a:gd name="T17" fmla="*/ 28 h 31"/>
                    <a:gd name="T18" fmla="*/ 8 w 8"/>
                    <a:gd name="T19" fmla="*/ 0 h 31"/>
                    <a:gd name="T20" fmla="*/ 1 w 8"/>
                    <a:gd name="T21"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31">
                      <a:moveTo>
                        <a:pt x="1" y="5"/>
                      </a:moveTo>
                      <a:cubicBezTo>
                        <a:pt x="0" y="7"/>
                        <a:pt x="0" y="9"/>
                        <a:pt x="1" y="12"/>
                      </a:cubicBezTo>
                      <a:cubicBezTo>
                        <a:pt x="1" y="9"/>
                        <a:pt x="1" y="7"/>
                        <a:pt x="1" y="7"/>
                      </a:cubicBezTo>
                      <a:cubicBezTo>
                        <a:pt x="1" y="7"/>
                        <a:pt x="1" y="7"/>
                        <a:pt x="2" y="7"/>
                      </a:cubicBezTo>
                      <a:cubicBezTo>
                        <a:pt x="2" y="7"/>
                        <a:pt x="2" y="12"/>
                        <a:pt x="2" y="17"/>
                      </a:cubicBezTo>
                      <a:cubicBezTo>
                        <a:pt x="2" y="20"/>
                        <a:pt x="2" y="21"/>
                        <a:pt x="2" y="23"/>
                      </a:cubicBezTo>
                      <a:cubicBezTo>
                        <a:pt x="2" y="26"/>
                        <a:pt x="2" y="28"/>
                        <a:pt x="2" y="28"/>
                      </a:cubicBezTo>
                      <a:cubicBezTo>
                        <a:pt x="2" y="30"/>
                        <a:pt x="3" y="31"/>
                        <a:pt x="5" y="31"/>
                      </a:cubicBezTo>
                      <a:cubicBezTo>
                        <a:pt x="6" y="31"/>
                        <a:pt x="8" y="30"/>
                        <a:pt x="8" y="28"/>
                      </a:cubicBezTo>
                      <a:cubicBezTo>
                        <a:pt x="8" y="27"/>
                        <a:pt x="8" y="10"/>
                        <a:pt x="8" y="0"/>
                      </a:cubicBezTo>
                      <a:cubicBezTo>
                        <a:pt x="5" y="1"/>
                        <a:pt x="3" y="3"/>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85" name="Oval 1200"/>
                <p:cNvSpPr>
                  <a:spLocks noChangeArrowheads="1"/>
                </p:cNvSpPr>
                <p:nvPr/>
              </p:nvSpPr>
              <p:spPr bwMode="auto">
                <a:xfrm>
                  <a:off x="14604" y="536"/>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86" name="Freeform 1201"/>
                <p:cNvSpPr>
                  <a:spLocks/>
                </p:cNvSpPr>
                <p:nvPr/>
              </p:nvSpPr>
              <p:spPr bwMode="auto">
                <a:xfrm>
                  <a:off x="14472" y="390"/>
                  <a:ext cx="23" cy="21"/>
                </a:xfrm>
                <a:custGeom>
                  <a:avLst/>
                  <a:gdLst>
                    <a:gd name="T0" fmla="*/ 5 w 10"/>
                    <a:gd name="T1" fmla="*/ 9 h 9"/>
                    <a:gd name="T2" fmla="*/ 10 w 10"/>
                    <a:gd name="T3" fmla="*/ 5 h 9"/>
                    <a:gd name="T4" fmla="*/ 5 w 10"/>
                    <a:gd name="T5" fmla="*/ 0 h 9"/>
                    <a:gd name="T6" fmla="*/ 3 w 10"/>
                    <a:gd name="T7" fmla="*/ 0 h 9"/>
                    <a:gd name="T8" fmla="*/ 0 w 10"/>
                    <a:gd name="T9" fmla="*/ 4 h 9"/>
                    <a:gd name="T10" fmla="*/ 0 w 10"/>
                    <a:gd name="T11" fmla="*/ 5 h 9"/>
                    <a:gd name="T12" fmla="*/ 5 w 10"/>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5" y="9"/>
                      </a:moveTo>
                      <a:cubicBezTo>
                        <a:pt x="8" y="9"/>
                        <a:pt x="10" y="7"/>
                        <a:pt x="10" y="5"/>
                      </a:cubicBezTo>
                      <a:cubicBezTo>
                        <a:pt x="10" y="2"/>
                        <a:pt x="8" y="0"/>
                        <a:pt x="5" y="0"/>
                      </a:cubicBezTo>
                      <a:cubicBezTo>
                        <a:pt x="4" y="0"/>
                        <a:pt x="4" y="0"/>
                        <a:pt x="3" y="0"/>
                      </a:cubicBezTo>
                      <a:cubicBezTo>
                        <a:pt x="2" y="2"/>
                        <a:pt x="1" y="3"/>
                        <a:pt x="0" y="4"/>
                      </a:cubicBezTo>
                      <a:cubicBezTo>
                        <a:pt x="0" y="4"/>
                        <a:pt x="0" y="5"/>
                        <a:pt x="0" y="5"/>
                      </a:cubicBezTo>
                      <a:cubicBezTo>
                        <a:pt x="0" y="7"/>
                        <a:pt x="3" y="9"/>
                        <a:pt x="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287" name="Freeform 1202"/>
                <p:cNvSpPr>
                  <a:spLocks/>
                </p:cNvSpPr>
                <p:nvPr/>
              </p:nvSpPr>
              <p:spPr bwMode="auto">
                <a:xfrm>
                  <a:off x="14436" y="442"/>
                  <a:ext cx="10" cy="26"/>
                </a:xfrm>
                <a:custGeom>
                  <a:avLst/>
                  <a:gdLst>
                    <a:gd name="T0" fmla="*/ 0 w 4"/>
                    <a:gd name="T1" fmla="*/ 9 h 11"/>
                    <a:gd name="T2" fmla="*/ 2 w 4"/>
                    <a:gd name="T3" fmla="*/ 11 h 11"/>
                    <a:gd name="T4" fmla="*/ 4 w 4"/>
                    <a:gd name="T5" fmla="*/ 9 h 11"/>
                    <a:gd name="T6" fmla="*/ 4 w 4"/>
                    <a:gd name="T7" fmla="*/ 0 h 11"/>
                    <a:gd name="T8" fmla="*/ 0 w 4"/>
                    <a:gd name="T9" fmla="*/ 3 h 11"/>
                    <a:gd name="T10" fmla="*/ 0 w 4"/>
                    <a:gd name="T11" fmla="*/ 9 h 11"/>
                  </a:gdLst>
                  <a:ahLst/>
                  <a:cxnLst>
                    <a:cxn ang="0">
                      <a:pos x="T0" y="T1"/>
                    </a:cxn>
                    <a:cxn ang="0">
                      <a:pos x="T2" y="T3"/>
                    </a:cxn>
                    <a:cxn ang="0">
                      <a:pos x="T4" y="T5"/>
                    </a:cxn>
                    <a:cxn ang="0">
                      <a:pos x="T6" y="T7"/>
                    </a:cxn>
                    <a:cxn ang="0">
                      <a:pos x="T8" y="T9"/>
                    </a:cxn>
                    <a:cxn ang="0">
                      <a:pos x="T10" y="T11"/>
                    </a:cxn>
                  </a:cxnLst>
                  <a:rect l="0" t="0" r="r" b="b"/>
                  <a:pathLst>
                    <a:path w="4" h="11">
                      <a:moveTo>
                        <a:pt x="0" y="9"/>
                      </a:moveTo>
                      <a:cubicBezTo>
                        <a:pt x="0" y="10"/>
                        <a:pt x="1" y="11"/>
                        <a:pt x="2" y="11"/>
                      </a:cubicBezTo>
                      <a:cubicBezTo>
                        <a:pt x="3" y="11"/>
                        <a:pt x="4" y="10"/>
                        <a:pt x="4" y="9"/>
                      </a:cubicBezTo>
                      <a:cubicBezTo>
                        <a:pt x="4" y="8"/>
                        <a:pt x="4" y="4"/>
                        <a:pt x="4" y="0"/>
                      </a:cubicBezTo>
                      <a:cubicBezTo>
                        <a:pt x="3" y="1"/>
                        <a:pt x="1" y="2"/>
                        <a:pt x="0" y="3"/>
                      </a:cubicBezTo>
                      <a:cubicBezTo>
                        <a:pt x="0" y="6"/>
                        <a:pt x="0" y="9"/>
                        <a:pt x="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grpSp>
            <p:nvGrpSpPr>
              <p:cNvPr id="329" name="Group 1404"/>
              <p:cNvGrpSpPr>
                <a:grpSpLocks/>
              </p:cNvGrpSpPr>
              <p:nvPr/>
            </p:nvGrpSpPr>
            <p:grpSpPr bwMode="auto">
              <a:xfrm>
                <a:off x="19885026" y="957263"/>
                <a:ext cx="4159250" cy="1506538"/>
                <a:chOff x="12526" y="603"/>
                <a:chExt cx="2620" cy="949"/>
              </a:xfrm>
              <a:grpFill/>
            </p:grpSpPr>
            <p:sp>
              <p:nvSpPr>
                <p:cNvPr id="888" name="Freeform 1204"/>
                <p:cNvSpPr>
                  <a:spLocks/>
                </p:cNvSpPr>
                <p:nvPr/>
              </p:nvSpPr>
              <p:spPr bwMode="auto">
                <a:xfrm>
                  <a:off x="12974" y="652"/>
                  <a:ext cx="9" cy="19"/>
                </a:xfrm>
                <a:custGeom>
                  <a:avLst/>
                  <a:gdLst>
                    <a:gd name="T0" fmla="*/ 2 w 4"/>
                    <a:gd name="T1" fmla="*/ 8 h 8"/>
                    <a:gd name="T2" fmla="*/ 4 w 4"/>
                    <a:gd name="T3" fmla="*/ 6 h 8"/>
                    <a:gd name="T4" fmla="*/ 4 w 4"/>
                    <a:gd name="T5" fmla="*/ 4 h 8"/>
                    <a:gd name="T6" fmla="*/ 0 w 4"/>
                    <a:gd name="T7" fmla="*/ 0 h 8"/>
                    <a:gd name="T8" fmla="*/ 0 w 4"/>
                    <a:gd name="T9" fmla="*/ 6 h 8"/>
                    <a:gd name="T10" fmla="*/ 2 w 4"/>
                    <a:gd name="T11" fmla="*/ 8 h 8"/>
                  </a:gdLst>
                  <a:ahLst/>
                  <a:cxnLst>
                    <a:cxn ang="0">
                      <a:pos x="T0" y="T1"/>
                    </a:cxn>
                    <a:cxn ang="0">
                      <a:pos x="T2" y="T3"/>
                    </a:cxn>
                    <a:cxn ang="0">
                      <a:pos x="T4" y="T5"/>
                    </a:cxn>
                    <a:cxn ang="0">
                      <a:pos x="T6" y="T7"/>
                    </a:cxn>
                    <a:cxn ang="0">
                      <a:pos x="T8" y="T9"/>
                    </a:cxn>
                    <a:cxn ang="0">
                      <a:pos x="T10" y="T11"/>
                    </a:cxn>
                  </a:cxnLst>
                  <a:rect l="0" t="0" r="r" b="b"/>
                  <a:pathLst>
                    <a:path w="4" h="8">
                      <a:moveTo>
                        <a:pt x="2" y="8"/>
                      </a:moveTo>
                      <a:cubicBezTo>
                        <a:pt x="3" y="8"/>
                        <a:pt x="4" y="7"/>
                        <a:pt x="4" y="6"/>
                      </a:cubicBezTo>
                      <a:cubicBezTo>
                        <a:pt x="4" y="6"/>
                        <a:pt x="4" y="5"/>
                        <a:pt x="4" y="4"/>
                      </a:cubicBezTo>
                      <a:cubicBezTo>
                        <a:pt x="3" y="3"/>
                        <a:pt x="1" y="1"/>
                        <a:pt x="0" y="0"/>
                      </a:cubicBezTo>
                      <a:cubicBezTo>
                        <a:pt x="0" y="3"/>
                        <a:pt x="0" y="5"/>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89" name="Freeform 1205"/>
                <p:cNvSpPr>
                  <a:spLocks/>
                </p:cNvSpPr>
                <p:nvPr/>
              </p:nvSpPr>
              <p:spPr bwMode="auto">
                <a:xfrm>
                  <a:off x="12986" y="664"/>
                  <a:ext cx="9" cy="7"/>
                </a:xfrm>
                <a:custGeom>
                  <a:avLst/>
                  <a:gdLst>
                    <a:gd name="T0" fmla="*/ 0 w 4"/>
                    <a:gd name="T1" fmla="*/ 1 h 3"/>
                    <a:gd name="T2" fmla="*/ 2 w 4"/>
                    <a:gd name="T3" fmla="*/ 3 h 3"/>
                    <a:gd name="T4" fmla="*/ 4 w 4"/>
                    <a:gd name="T5" fmla="*/ 3 h 3"/>
                    <a:gd name="T6" fmla="*/ 0 w 4"/>
                    <a:gd name="T7" fmla="*/ 0 h 3"/>
                    <a:gd name="T8" fmla="*/ 0 w 4"/>
                    <a:gd name="T9" fmla="*/ 1 h 3"/>
                  </a:gdLst>
                  <a:ahLst/>
                  <a:cxnLst>
                    <a:cxn ang="0">
                      <a:pos x="T0" y="T1"/>
                    </a:cxn>
                    <a:cxn ang="0">
                      <a:pos x="T2" y="T3"/>
                    </a:cxn>
                    <a:cxn ang="0">
                      <a:pos x="T4" y="T5"/>
                    </a:cxn>
                    <a:cxn ang="0">
                      <a:pos x="T6" y="T7"/>
                    </a:cxn>
                    <a:cxn ang="0">
                      <a:pos x="T8" y="T9"/>
                    </a:cxn>
                  </a:cxnLst>
                  <a:rect l="0" t="0" r="r" b="b"/>
                  <a:pathLst>
                    <a:path w="4" h="3">
                      <a:moveTo>
                        <a:pt x="0" y="1"/>
                      </a:moveTo>
                      <a:cubicBezTo>
                        <a:pt x="0" y="2"/>
                        <a:pt x="1" y="3"/>
                        <a:pt x="2" y="3"/>
                      </a:cubicBezTo>
                      <a:cubicBezTo>
                        <a:pt x="3" y="3"/>
                        <a:pt x="3" y="3"/>
                        <a:pt x="4" y="3"/>
                      </a:cubicBezTo>
                      <a:cubicBezTo>
                        <a:pt x="2" y="2"/>
                        <a:pt x="1" y="1"/>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90" name="Freeform 1206"/>
                <p:cNvSpPr>
                  <a:spLocks/>
                </p:cNvSpPr>
                <p:nvPr/>
              </p:nvSpPr>
              <p:spPr bwMode="auto">
                <a:xfrm>
                  <a:off x="12905" y="605"/>
                  <a:ext cx="29" cy="66"/>
                </a:xfrm>
                <a:custGeom>
                  <a:avLst/>
                  <a:gdLst>
                    <a:gd name="T0" fmla="*/ 0 w 12"/>
                    <a:gd name="T1" fmla="*/ 25 h 28"/>
                    <a:gd name="T2" fmla="*/ 2 w 12"/>
                    <a:gd name="T3" fmla="*/ 28 h 28"/>
                    <a:gd name="T4" fmla="*/ 5 w 12"/>
                    <a:gd name="T5" fmla="*/ 25 h 28"/>
                    <a:gd name="T6" fmla="*/ 5 w 12"/>
                    <a:gd name="T7" fmla="*/ 4 h 28"/>
                    <a:gd name="T8" fmla="*/ 6 w 12"/>
                    <a:gd name="T9" fmla="*/ 4 h 28"/>
                    <a:gd name="T10" fmla="*/ 6 w 12"/>
                    <a:gd name="T11" fmla="*/ 25 h 28"/>
                    <a:gd name="T12" fmla="*/ 9 w 12"/>
                    <a:gd name="T13" fmla="*/ 28 h 28"/>
                    <a:gd name="T14" fmla="*/ 12 w 12"/>
                    <a:gd name="T15" fmla="*/ 25 h 28"/>
                    <a:gd name="T16" fmla="*/ 12 w 12"/>
                    <a:gd name="T17" fmla="*/ 7 h 28"/>
                    <a:gd name="T18" fmla="*/ 0 w 12"/>
                    <a:gd name="T19" fmla="*/ 0 h 28"/>
                    <a:gd name="T20" fmla="*/ 0 w 12"/>
                    <a:gd name="T21"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8">
                      <a:moveTo>
                        <a:pt x="0" y="25"/>
                      </a:moveTo>
                      <a:cubicBezTo>
                        <a:pt x="0" y="27"/>
                        <a:pt x="1" y="28"/>
                        <a:pt x="2" y="28"/>
                      </a:cubicBezTo>
                      <a:cubicBezTo>
                        <a:pt x="4" y="28"/>
                        <a:pt x="5" y="27"/>
                        <a:pt x="5" y="25"/>
                      </a:cubicBezTo>
                      <a:cubicBezTo>
                        <a:pt x="5" y="23"/>
                        <a:pt x="5" y="4"/>
                        <a:pt x="5" y="4"/>
                      </a:cubicBezTo>
                      <a:cubicBezTo>
                        <a:pt x="5" y="4"/>
                        <a:pt x="5" y="4"/>
                        <a:pt x="6" y="4"/>
                      </a:cubicBezTo>
                      <a:cubicBezTo>
                        <a:pt x="6" y="4"/>
                        <a:pt x="6" y="23"/>
                        <a:pt x="6" y="25"/>
                      </a:cubicBezTo>
                      <a:cubicBezTo>
                        <a:pt x="6" y="27"/>
                        <a:pt x="8" y="28"/>
                        <a:pt x="9" y="28"/>
                      </a:cubicBezTo>
                      <a:cubicBezTo>
                        <a:pt x="11" y="28"/>
                        <a:pt x="12" y="27"/>
                        <a:pt x="12" y="25"/>
                      </a:cubicBezTo>
                      <a:cubicBezTo>
                        <a:pt x="12" y="24"/>
                        <a:pt x="12" y="16"/>
                        <a:pt x="12" y="7"/>
                      </a:cubicBezTo>
                      <a:cubicBezTo>
                        <a:pt x="7" y="4"/>
                        <a:pt x="3" y="1"/>
                        <a:pt x="0" y="0"/>
                      </a:cubicBezTo>
                      <a:cubicBezTo>
                        <a:pt x="0" y="10"/>
                        <a:pt x="0" y="24"/>
                        <a:pt x="0"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91" name="Freeform 1207"/>
                <p:cNvSpPr>
                  <a:spLocks/>
                </p:cNvSpPr>
                <p:nvPr/>
              </p:nvSpPr>
              <p:spPr bwMode="auto">
                <a:xfrm>
                  <a:off x="12853" y="610"/>
                  <a:ext cx="26" cy="61"/>
                </a:xfrm>
                <a:custGeom>
                  <a:avLst/>
                  <a:gdLst>
                    <a:gd name="T0" fmla="*/ 0 w 11"/>
                    <a:gd name="T1" fmla="*/ 7 h 26"/>
                    <a:gd name="T2" fmla="*/ 1 w 11"/>
                    <a:gd name="T3" fmla="*/ 7 h 26"/>
                    <a:gd name="T4" fmla="*/ 1 w 11"/>
                    <a:gd name="T5" fmla="*/ 24 h 26"/>
                    <a:gd name="T6" fmla="*/ 3 w 11"/>
                    <a:gd name="T7" fmla="*/ 26 h 26"/>
                    <a:gd name="T8" fmla="*/ 5 w 11"/>
                    <a:gd name="T9" fmla="*/ 24 h 26"/>
                    <a:gd name="T10" fmla="*/ 5 w 11"/>
                    <a:gd name="T11" fmla="*/ 7 h 26"/>
                    <a:gd name="T12" fmla="*/ 11 w 11"/>
                    <a:gd name="T13" fmla="*/ 7 h 26"/>
                    <a:gd name="T14" fmla="*/ 9 w 11"/>
                    <a:gd name="T15" fmla="*/ 0 h 26"/>
                    <a:gd name="T16" fmla="*/ 0 w 11"/>
                    <a:gd name="T17"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6">
                      <a:moveTo>
                        <a:pt x="0" y="7"/>
                      </a:moveTo>
                      <a:cubicBezTo>
                        <a:pt x="1" y="7"/>
                        <a:pt x="1" y="7"/>
                        <a:pt x="1" y="7"/>
                      </a:cubicBezTo>
                      <a:cubicBezTo>
                        <a:pt x="1" y="7"/>
                        <a:pt x="1" y="22"/>
                        <a:pt x="1" y="24"/>
                      </a:cubicBezTo>
                      <a:cubicBezTo>
                        <a:pt x="1" y="25"/>
                        <a:pt x="2" y="26"/>
                        <a:pt x="3" y="26"/>
                      </a:cubicBezTo>
                      <a:cubicBezTo>
                        <a:pt x="4" y="26"/>
                        <a:pt x="5" y="25"/>
                        <a:pt x="5" y="24"/>
                      </a:cubicBezTo>
                      <a:cubicBezTo>
                        <a:pt x="5" y="23"/>
                        <a:pt x="5" y="15"/>
                        <a:pt x="5" y="7"/>
                      </a:cubicBezTo>
                      <a:cubicBezTo>
                        <a:pt x="11" y="7"/>
                        <a:pt x="11" y="7"/>
                        <a:pt x="11" y="7"/>
                      </a:cubicBezTo>
                      <a:cubicBezTo>
                        <a:pt x="10" y="4"/>
                        <a:pt x="10" y="2"/>
                        <a:pt x="9" y="0"/>
                      </a:cubicBezTo>
                      <a:cubicBezTo>
                        <a:pt x="6" y="1"/>
                        <a:pt x="3" y="4"/>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92" name="Freeform 1208"/>
                <p:cNvSpPr>
                  <a:spLocks/>
                </p:cNvSpPr>
                <p:nvPr/>
              </p:nvSpPr>
              <p:spPr bwMode="auto">
                <a:xfrm>
                  <a:off x="12841" y="629"/>
                  <a:ext cx="12" cy="42"/>
                </a:xfrm>
                <a:custGeom>
                  <a:avLst/>
                  <a:gdLst>
                    <a:gd name="T0" fmla="*/ 2 w 5"/>
                    <a:gd name="T1" fmla="*/ 18 h 18"/>
                    <a:gd name="T2" fmla="*/ 5 w 5"/>
                    <a:gd name="T3" fmla="*/ 16 h 18"/>
                    <a:gd name="T4" fmla="*/ 5 w 5"/>
                    <a:gd name="T5" fmla="*/ 0 h 18"/>
                    <a:gd name="T6" fmla="*/ 0 w 5"/>
                    <a:gd name="T7" fmla="*/ 7 h 18"/>
                    <a:gd name="T8" fmla="*/ 0 w 5"/>
                    <a:gd name="T9" fmla="*/ 16 h 18"/>
                    <a:gd name="T10" fmla="*/ 2 w 5"/>
                    <a:gd name="T11" fmla="*/ 18 h 18"/>
                  </a:gdLst>
                  <a:ahLst/>
                  <a:cxnLst>
                    <a:cxn ang="0">
                      <a:pos x="T0" y="T1"/>
                    </a:cxn>
                    <a:cxn ang="0">
                      <a:pos x="T2" y="T3"/>
                    </a:cxn>
                    <a:cxn ang="0">
                      <a:pos x="T4" y="T5"/>
                    </a:cxn>
                    <a:cxn ang="0">
                      <a:pos x="T6" y="T7"/>
                    </a:cxn>
                    <a:cxn ang="0">
                      <a:pos x="T8" y="T9"/>
                    </a:cxn>
                    <a:cxn ang="0">
                      <a:pos x="T10" y="T11"/>
                    </a:cxn>
                  </a:cxnLst>
                  <a:rect l="0" t="0" r="r" b="b"/>
                  <a:pathLst>
                    <a:path w="5" h="18">
                      <a:moveTo>
                        <a:pt x="2" y="18"/>
                      </a:moveTo>
                      <a:cubicBezTo>
                        <a:pt x="4" y="18"/>
                        <a:pt x="5" y="17"/>
                        <a:pt x="5" y="16"/>
                      </a:cubicBezTo>
                      <a:cubicBezTo>
                        <a:pt x="5" y="14"/>
                        <a:pt x="5" y="2"/>
                        <a:pt x="5" y="0"/>
                      </a:cubicBezTo>
                      <a:cubicBezTo>
                        <a:pt x="3" y="2"/>
                        <a:pt x="2" y="4"/>
                        <a:pt x="0" y="7"/>
                      </a:cubicBezTo>
                      <a:cubicBezTo>
                        <a:pt x="0" y="12"/>
                        <a:pt x="0" y="15"/>
                        <a:pt x="0" y="16"/>
                      </a:cubicBezTo>
                      <a:cubicBezTo>
                        <a:pt x="0" y="17"/>
                        <a:pt x="1" y="18"/>
                        <a:pt x="2"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93" name="Freeform 1209"/>
                <p:cNvSpPr>
                  <a:spLocks/>
                </p:cNvSpPr>
                <p:nvPr/>
              </p:nvSpPr>
              <p:spPr bwMode="auto">
                <a:xfrm>
                  <a:off x="12891" y="603"/>
                  <a:ext cx="12" cy="11"/>
                </a:xfrm>
                <a:custGeom>
                  <a:avLst/>
                  <a:gdLst>
                    <a:gd name="T0" fmla="*/ 3 w 5"/>
                    <a:gd name="T1" fmla="*/ 5 h 5"/>
                    <a:gd name="T2" fmla="*/ 5 w 5"/>
                    <a:gd name="T3" fmla="*/ 3 h 5"/>
                    <a:gd name="T4" fmla="*/ 5 w 5"/>
                    <a:gd name="T5" fmla="*/ 0 h 5"/>
                    <a:gd name="T6" fmla="*/ 3 w 5"/>
                    <a:gd name="T7" fmla="*/ 0 h 5"/>
                    <a:gd name="T8" fmla="*/ 0 w 5"/>
                    <a:gd name="T9" fmla="*/ 0 h 5"/>
                    <a:gd name="T10" fmla="*/ 0 w 5"/>
                    <a:gd name="T11" fmla="*/ 3 h 5"/>
                    <a:gd name="T12" fmla="*/ 3 w 5"/>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3" y="5"/>
                      </a:moveTo>
                      <a:cubicBezTo>
                        <a:pt x="4" y="5"/>
                        <a:pt x="5" y="4"/>
                        <a:pt x="5" y="3"/>
                      </a:cubicBezTo>
                      <a:cubicBezTo>
                        <a:pt x="5" y="3"/>
                        <a:pt x="5" y="2"/>
                        <a:pt x="5" y="0"/>
                      </a:cubicBezTo>
                      <a:cubicBezTo>
                        <a:pt x="4" y="0"/>
                        <a:pt x="3" y="0"/>
                        <a:pt x="3" y="0"/>
                      </a:cubicBezTo>
                      <a:cubicBezTo>
                        <a:pt x="2" y="0"/>
                        <a:pt x="1" y="0"/>
                        <a:pt x="0" y="0"/>
                      </a:cubicBezTo>
                      <a:cubicBezTo>
                        <a:pt x="0" y="2"/>
                        <a:pt x="0" y="3"/>
                        <a:pt x="0" y="3"/>
                      </a:cubicBezTo>
                      <a:cubicBezTo>
                        <a:pt x="0" y="4"/>
                        <a:pt x="1" y="5"/>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94" name="Freeform 1210"/>
                <p:cNvSpPr>
                  <a:spLocks/>
                </p:cNvSpPr>
                <p:nvPr/>
              </p:nvSpPr>
              <p:spPr bwMode="auto">
                <a:xfrm>
                  <a:off x="12877" y="605"/>
                  <a:ext cx="9" cy="5"/>
                </a:xfrm>
                <a:custGeom>
                  <a:avLst/>
                  <a:gdLst>
                    <a:gd name="T0" fmla="*/ 2 w 4"/>
                    <a:gd name="T1" fmla="*/ 2 h 2"/>
                    <a:gd name="T2" fmla="*/ 3 w 4"/>
                    <a:gd name="T3" fmla="*/ 0 h 2"/>
                    <a:gd name="T4" fmla="*/ 0 w 4"/>
                    <a:gd name="T5" fmla="*/ 1 h 2"/>
                    <a:gd name="T6" fmla="*/ 2 w 4"/>
                    <a:gd name="T7" fmla="*/ 2 h 2"/>
                  </a:gdLst>
                  <a:ahLst/>
                  <a:cxnLst>
                    <a:cxn ang="0">
                      <a:pos x="T0" y="T1"/>
                    </a:cxn>
                    <a:cxn ang="0">
                      <a:pos x="T2" y="T3"/>
                    </a:cxn>
                    <a:cxn ang="0">
                      <a:pos x="T4" y="T5"/>
                    </a:cxn>
                    <a:cxn ang="0">
                      <a:pos x="T6" y="T7"/>
                    </a:cxn>
                  </a:cxnLst>
                  <a:rect l="0" t="0" r="r" b="b"/>
                  <a:pathLst>
                    <a:path w="4" h="2">
                      <a:moveTo>
                        <a:pt x="2" y="2"/>
                      </a:moveTo>
                      <a:cubicBezTo>
                        <a:pt x="3" y="2"/>
                        <a:pt x="4" y="1"/>
                        <a:pt x="3" y="0"/>
                      </a:cubicBezTo>
                      <a:cubicBezTo>
                        <a:pt x="2" y="0"/>
                        <a:pt x="1" y="1"/>
                        <a:pt x="0" y="1"/>
                      </a:cubicBezTo>
                      <a:cubicBezTo>
                        <a:pt x="0" y="2"/>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95" name="Freeform 1211"/>
                <p:cNvSpPr>
                  <a:spLocks/>
                </p:cNvSpPr>
                <p:nvPr/>
              </p:nvSpPr>
              <p:spPr bwMode="auto">
                <a:xfrm>
                  <a:off x="14905" y="707"/>
                  <a:ext cx="64" cy="111"/>
                </a:xfrm>
                <a:custGeom>
                  <a:avLst/>
                  <a:gdLst>
                    <a:gd name="T0" fmla="*/ 2 w 27"/>
                    <a:gd name="T1" fmla="*/ 20 h 47"/>
                    <a:gd name="T2" fmla="*/ 4 w 27"/>
                    <a:gd name="T3" fmla="*/ 19 h 47"/>
                    <a:gd name="T4" fmla="*/ 8 w 27"/>
                    <a:gd name="T5" fmla="*/ 6 h 47"/>
                    <a:gd name="T6" fmla="*/ 9 w 27"/>
                    <a:gd name="T7" fmla="*/ 6 h 47"/>
                    <a:gd name="T8" fmla="*/ 3 w 27"/>
                    <a:gd name="T9" fmla="*/ 28 h 47"/>
                    <a:gd name="T10" fmla="*/ 9 w 27"/>
                    <a:gd name="T11" fmla="*/ 28 h 47"/>
                    <a:gd name="T12" fmla="*/ 9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7 w 27"/>
                    <a:gd name="T25" fmla="*/ 47 h 47"/>
                    <a:gd name="T26" fmla="*/ 19 w 27"/>
                    <a:gd name="T27" fmla="*/ 44 h 47"/>
                    <a:gd name="T28" fmla="*/ 19 w 27"/>
                    <a:gd name="T29" fmla="*/ 28 h 47"/>
                    <a:gd name="T30" fmla="*/ 25 w 27"/>
                    <a:gd name="T31" fmla="*/ 28 h 47"/>
                    <a:gd name="T32" fmla="*/ 19 w 27"/>
                    <a:gd name="T33" fmla="*/ 6 h 47"/>
                    <a:gd name="T34" fmla="*/ 20 w 27"/>
                    <a:gd name="T35" fmla="*/ 6 h 47"/>
                    <a:gd name="T36" fmla="*/ 23 w 27"/>
                    <a:gd name="T37" fmla="*/ 19 h 47"/>
                    <a:gd name="T38" fmla="*/ 26 w 27"/>
                    <a:gd name="T39" fmla="*/ 20 h 47"/>
                    <a:gd name="T40" fmla="*/ 27 w 27"/>
                    <a:gd name="T41" fmla="*/ 18 h 47"/>
                    <a:gd name="T42" fmla="*/ 23 w 27"/>
                    <a:gd name="T43" fmla="*/ 4 h 47"/>
                    <a:gd name="T44" fmla="*/ 18 w 27"/>
                    <a:gd name="T45" fmla="*/ 0 h 47"/>
                    <a:gd name="T46" fmla="*/ 10 w 27"/>
                    <a:gd name="T47" fmla="*/ 0 h 47"/>
                    <a:gd name="T48" fmla="*/ 5 w 27"/>
                    <a:gd name="T49" fmla="*/ 4 h 47"/>
                    <a:gd name="T50" fmla="*/ 0 w 27"/>
                    <a:gd name="T51" fmla="*/ 18 h 47"/>
                    <a:gd name="T52" fmla="*/ 2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0"/>
                      </a:move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6"/>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6"/>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96" name="Oval 1212"/>
                <p:cNvSpPr>
                  <a:spLocks noChangeArrowheads="1"/>
                </p:cNvSpPr>
                <p:nvPr/>
              </p:nvSpPr>
              <p:spPr bwMode="auto">
                <a:xfrm>
                  <a:off x="14796"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97" name="Freeform 1213"/>
                <p:cNvSpPr>
                  <a:spLocks/>
                </p:cNvSpPr>
                <p:nvPr/>
              </p:nvSpPr>
              <p:spPr bwMode="auto">
                <a:xfrm>
                  <a:off x="14713" y="1000"/>
                  <a:ext cx="55"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4" y="23"/>
                        <a:pt x="4" y="22"/>
                        <a:pt x="4" y="21"/>
                      </a:cubicBezTo>
                      <a:cubicBezTo>
                        <a:pt x="4" y="19"/>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98" name="Oval 1214"/>
                <p:cNvSpPr>
                  <a:spLocks noChangeArrowheads="1"/>
                </p:cNvSpPr>
                <p:nvPr/>
              </p:nvSpPr>
              <p:spPr bwMode="auto">
                <a:xfrm>
                  <a:off x="14926" y="681"/>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99" name="Oval 1215"/>
                <p:cNvSpPr>
                  <a:spLocks noChangeArrowheads="1"/>
                </p:cNvSpPr>
                <p:nvPr/>
              </p:nvSpPr>
              <p:spPr bwMode="auto">
                <a:xfrm>
                  <a:off x="14926" y="83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00" name="Oval 1216"/>
                <p:cNvSpPr>
                  <a:spLocks noChangeArrowheads="1"/>
                </p:cNvSpPr>
                <p:nvPr/>
              </p:nvSpPr>
              <p:spPr bwMode="auto">
                <a:xfrm>
                  <a:off x="14730"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01" name="Freeform 1217"/>
                <p:cNvSpPr>
                  <a:spLocks/>
                </p:cNvSpPr>
                <p:nvPr/>
              </p:nvSpPr>
              <p:spPr bwMode="auto">
                <a:xfrm>
                  <a:off x="14775" y="1000"/>
                  <a:ext cx="64" cy="111"/>
                </a:xfrm>
                <a:custGeom>
                  <a:avLst/>
                  <a:gdLst>
                    <a:gd name="T0" fmla="*/ 23 w 27"/>
                    <a:gd name="T1" fmla="*/ 5 h 47"/>
                    <a:gd name="T2" fmla="*/ 17 w 27"/>
                    <a:gd name="T3" fmla="*/ 0 h 47"/>
                    <a:gd name="T4" fmla="*/ 10 w 27"/>
                    <a:gd name="T5" fmla="*/ 0 h 47"/>
                    <a:gd name="T6" fmla="*/ 4 w 27"/>
                    <a:gd name="T7" fmla="*/ 5 h 47"/>
                    <a:gd name="T8" fmla="*/ 0 w 27"/>
                    <a:gd name="T9" fmla="*/ 18 h 47"/>
                    <a:gd name="T10" fmla="*/ 1 w 27"/>
                    <a:gd name="T11" fmla="*/ 21 h 47"/>
                    <a:gd name="T12" fmla="*/ 4 w 27"/>
                    <a:gd name="T13" fmla="*/ 20 h 47"/>
                    <a:gd name="T14" fmla="*/ 7 w 27"/>
                    <a:gd name="T15" fmla="*/ 7 h 47"/>
                    <a:gd name="T16" fmla="*/ 9 w 27"/>
                    <a:gd name="T17" fmla="*/ 7 h 47"/>
                    <a:gd name="T18" fmla="*/ 2 w 27"/>
                    <a:gd name="T19" fmla="*/ 28 h 47"/>
                    <a:gd name="T20" fmla="*/ 8 w 27"/>
                    <a:gd name="T21" fmla="*/ 28 h 47"/>
                    <a:gd name="T22" fmla="*/ 8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8 w 27"/>
                    <a:gd name="T37" fmla="*/ 45 h 47"/>
                    <a:gd name="T38" fmla="*/ 18 w 27"/>
                    <a:gd name="T39" fmla="*/ 28 h 47"/>
                    <a:gd name="T40" fmla="*/ 25 w 27"/>
                    <a:gd name="T41" fmla="*/ 28 h 47"/>
                    <a:gd name="T42" fmla="*/ 18 w 27"/>
                    <a:gd name="T43" fmla="*/ 7 h 47"/>
                    <a:gd name="T44" fmla="*/ 19 w 27"/>
                    <a:gd name="T45" fmla="*/ 7 h 47"/>
                    <a:gd name="T46" fmla="*/ 23 w 27"/>
                    <a:gd name="T47" fmla="*/ 20 h 47"/>
                    <a:gd name="T48" fmla="*/ 25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19" y="0"/>
                        <a:pt x="17" y="0"/>
                      </a:cubicBezTo>
                      <a:cubicBezTo>
                        <a:pt x="16" y="0"/>
                        <a:pt x="11" y="0"/>
                        <a:pt x="10" y="0"/>
                      </a:cubicBezTo>
                      <a:cubicBezTo>
                        <a:pt x="7" y="0"/>
                        <a:pt x="5" y="2"/>
                        <a:pt x="4" y="5"/>
                      </a:cubicBezTo>
                      <a:cubicBezTo>
                        <a:pt x="2" y="10"/>
                        <a:pt x="0" y="18"/>
                        <a:pt x="0" y="18"/>
                      </a:cubicBezTo>
                      <a:cubicBezTo>
                        <a:pt x="0" y="19"/>
                        <a:pt x="0" y="20"/>
                        <a:pt x="1" y="21"/>
                      </a:cubicBezTo>
                      <a:cubicBezTo>
                        <a:pt x="2" y="21"/>
                        <a:pt x="3" y="20"/>
                        <a:pt x="4" y="20"/>
                      </a:cubicBezTo>
                      <a:cubicBezTo>
                        <a:pt x="4" y="18"/>
                        <a:pt x="7" y="7"/>
                        <a:pt x="7"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0"/>
                        <a:pt x="24" y="21"/>
                        <a:pt x="25" y="21"/>
                      </a:cubicBezTo>
                      <a:cubicBezTo>
                        <a:pt x="26" y="20"/>
                        <a:pt x="27" y="19"/>
                        <a:pt x="27" y="18"/>
                      </a:cubicBezTo>
                      <a:cubicBezTo>
                        <a:pt x="26" y="18"/>
                        <a:pt x="24"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02" name="Freeform 1218"/>
                <p:cNvSpPr>
                  <a:spLocks/>
                </p:cNvSpPr>
                <p:nvPr/>
              </p:nvSpPr>
              <p:spPr bwMode="auto">
                <a:xfrm>
                  <a:off x="14779" y="853"/>
                  <a:ext cx="55" cy="112"/>
                </a:xfrm>
                <a:custGeom>
                  <a:avLst/>
                  <a:gdLst>
                    <a:gd name="T0" fmla="*/ 0 w 23"/>
                    <a:gd name="T1" fmla="*/ 6 h 47"/>
                    <a:gd name="T2" fmla="*/ 0 w 23"/>
                    <a:gd name="T3" fmla="*/ 21 h 47"/>
                    <a:gd name="T4" fmla="*/ 2 w 23"/>
                    <a:gd name="T5" fmla="*/ 23 h 47"/>
                    <a:gd name="T6" fmla="*/ 4 w 23"/>
                    <a:gd name="T7" fmla="*/ 21 h 47"/>
                    <a:gd name="T8" fmla="*/ 4 w 23"/>
                    <a:gd name="T9" fmla="*/ 8 h 47"/>
                    <a:gd name="T10" fmla="*/ 5 w 23"/>
                    <a:gd name="T11" fmla="*/ 8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7 w 23"/>
                    <a:gd name="T27" fmla="*/ 44 h 47"/>
                    <a:gd name="T28" fmla="*/ 17 w 23"/>
                    <a:gd name="T29" fmla="*/ 8 h 47"/>
                    <a:gd name="T30" fmla="*/ 19 w 23"/>
                    <a:gd name="T31" fmla="*/ 8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03" name="Freeform 1219"/>
                <p:cNvSpPr>
                  <a:spLocks/>
                </p:cNvSpPr>
                <p:nvPr/>
              </p:nvSpPr>
              <p:spPr bwMode="auto">
                <a:xfrm>
                  <a:off x="15037" y="707"/>
                  <a:ext cx="64" cy="111"/>
                </a:xfrm>
                <a:custGeom>
                  <a:avLst/>
                  <a:gdLst>
                    <a:gd name="T0" fmla="*/ 1 w 27"/>
                    <a:gd name="T1" fmla="*/ 20 h 47"/>
                    <a:gd name="T2" fmla="*/ 3 w 27"/>
                    <a:gd name="T3" fmla="*/ 19 h 47"/>
                    <a:gd name="T4" fmla="*/ 7 w 27"/>
                    <a:gd name="T5" fmla="*/ 6 h 47"/>
                    <a:gd name="T6" fmla="*/ 8 w 27"/>
                    <a:gd name="T7" fmla="*/ 6 h 47"/>
                    <a:gd name="T8" fmla="*/ 2 w 27"/>
                    <a:gd name="T9" fmla="*/ 28 h 47"/>
                    <a:gd name="T10" fmla="*/ 8 w 27"/>
                    <a:gd name="T11" fmla="*/ 28 h 47"/>
                    <a:gd name="T12" fmla="*/ 8 w 27"/>
                    <a:gd name="T13" fmla="*/ 44 h 47"/>
                    <a:gd name="T14" fmla="*/ 10 w 27"/>
                    <a:gd name="T15" fmla="*/ 47 h 47"/>
                    <a:gd name="T16" fmla="*/ 13 w 27"/>
                    <a:gd name="T17" fmla="*/ 44 h 47"/>
                    <a:gd name="T18" fmla="*/ 13 w 27"/>
                    <a:gd name="T19" fmla="*/ 28 h 47"/>
                    <a:gd name="T20" fmla="*/ 14 w 27"/>
                    <a:gd name="T21" fmla="*/ 28 h 47"/>
                    <a:gd name="T22" fmla="*/ 14 w 27"/>
                    <a:gd name="T23" fmla="*/ 44 h 47"/>
                    <a:gd name="T24" fmla="*/ 16 w 27"/>
                    <a:gd name="T25" fmla="*/ 47 h 47"/>
                    <a:gd name="T26" fmla="*/ 18 w 27"/>
                    <a:gd name="T27" fmla="*/ 44 h 47"/>
                    <a:gd name="T28" fmla="*/ 18 w 27"/>
                    <a:gd name="T29" fmla="*/ 28 h 47"/>
                    <a:gd name="T30" fmla="*/ 24 w 27"/>
                    <a:gd name="T31" fmla="*/ 28 h 47"/>
                    <a:gd name="T32" fmla="*/ 18 w 27"/>
                    <a:gd name="T33" fmla="*/ 6 h 47"/>
                    <a:gd name="T34" fmla="*/ 19 w 27"/>
                    <a:gd name="T35" fmla="*/ 6 h 47"/>
                    <a:gd name="T36" fmla="*/ 23 w 27"/>
                    <a:gd name="T37" fmla="*/ 19 h 47"/>
                    <a:gd name="T38" fmla="*/ 25 w 27"/>
                    <a:gd name="T39" fmla="*/ 20 h 47"/>
                    <a:gd name="T40" fmla="*/ 26 w 27"/>
                    <a:gd name="T41" fmla="*/ 18 h 47"/>
                    <a:gd name="T42" fmla="*/ 22 w 27"/>
                    <a:gd name="T43" fmla="*/ 4 h 47"/>
                    <a:gd name="T44" fmla="*/ 17 w 27"/>
                    <a:gd name="T45" fmla="*/ 0 h 47"/>
                    <a:gd name="T46" fmla="*/ 9 w 27"/>
                    <a:gd name="T47" fmla="*/ 0 h 47"/>
                    <a:gd name="T48" fmla="*/ 4 w 27"/>
                    <a:gd name="T49" fmla="*/ 4 h 47"/>
                    <a:gd name="T50" fmla="*/ 0 w 27"/>
                    <a:gd name="T51" fmla="*/ 18 h 47"/>
                    <a:gd name="T52" fmla="*/ 1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0"/>
                      </a:move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6"/>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6"/>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04" name="Oval 1220"/>
                <p:cNvSpPr>
                  <a:spLocks noChangeArrowheads="1"/>
                </p:cNvSpPr>
                <p:nvPr/>
              </p:nvSpPr>
              <p:spPr bwMode="auto">
                <a:xfrm>
                  <a:off x="15056" y="83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05" name="Oval 1221"/>
                <p:cNvSpPr>
                  <a:spLocks noChangeArrowheads="1"/>
                </p:cNvSpPr>
                <p:nvPr/>
              </p:nvSpPr>
              <p:spPr bwMode="auto">
                <a:xfrm>
                  <a:off x="14992" y="974"/>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06" name="Freeform 1222"/>
                <p:cNvSpPr>
                  <a:spLocks/>
                </p:cNvSpPr>
                <p:nvPr/>
              </p:nvSpPr>
              <p:spPr bwMode="auto">
                <a:xfrm>
                  <a:off x="14910" y="853"/>
                  <a:ext cx="54" cy="112"/>
                </a:xfrm>
                <a:custGeom>
                  <a:avLst/>
                  <a:gdLst>
                    <a:gd name="T0" fmla="*/ 17 w 23"/>
                    <a:gd name="T1" fmla="*/ 0 h 47"/>
                    <a:gd name="T2" fmla="*/ 7 w 23"/>
                    <a:gd name="T3" fmla="*/ 0 h 47"/>
                    <a:gd name="T4" fmla="*/ 0 w 23"/>
                    <a:gd name="T5" fmla="*/ 6 h 47"/>
                    <a:gd name="T6" fmla="*/ 0 w 23"/>
                    <a:gd name="T7" fmla="*/ 21 h 47"/>
                    <a:gd name="T8" fmla="*/ 2 w 23"/>
                    <a:gd name="T9" fmla="*/ 23 h 47"/>
                    <a:gd name="T10" fmla="*/ 5 w 23"/>
                    <a:gd name="T11" fmla="*/ 21 h 47"/>
                    <a:gd name="T12" fmla="*/ 5 w 23"/>
                    <a:gd name="T13" fmla="*/ 8 h 47"/>
                    <a:gd name="T14" fmla="*/ 6 w 23"/>
                    <a:gd name="T15" fmla="*/ 8 h 47"/>
                    <a:gd name="T16" fmla="*/ 6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7" y="0"/>
                      </a:cubicBezTo>
                      <a:cubicBezTo>
                        <a:pt x="3" y="0"/>
                        <a:pt x="0" y="3"/>
                        <a:pt x="0" y="6"/>
                      </a:cubicBezTo>
                      <a:cubicBezTo>
                        <a:pt x="0" y="8"/>
                        <a:pt x="0" y="20"/>
                        <a:pt x="0" y="21"/>
                      </a:cubicBezTo>
                      <a:cubicBezTo>
                        <a:pt x="0" y="22"/>
                        <a:pt x="1" y="23"/>
                        <a:pt x="2" y="23"/>
                      </a:cubicBez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07" name="Freeform 1223"/>
                <p:cNvSpPr>
                  <a:spLocks/>
                </p:cNvSpPr>
                <p:nvPr/>
              </p:nvSpPr>
              <p:spPr bwMode="auto">
                <a:xfrm>
                  <a:off x="14905" y="1000"/>
                  <a:ext cx="64" cy="66"/>
                </a:xfrm>
                <a:custGeom>
                  <a:avLst/>
                  <a:gdLst>
                    <a:gd name="T0" fmla="*/ 20 w 27"/>
                    <a:gd name="T1" fmla="*/ 7 h 28"/>
                    <a:gd name="T2" fmla="*/ 23 w 27"/>
                    <a:gd name="T3" fmla="*/ 20 h 28"/>
                    <a:gd name="T4" fmla="*/ 26 w 27"/>
                    <a:gd name="T5" fmla="*/ 21 h 28"/>
                    <a:gd name="T6" fmla="*/ 27 w 27"/>
                    <a:gd name="T7" fmla="*/ 18 h 28"/>
                    <a:gd name="T8" fmla="*/ 23 w 27"/>
                    <a:gd name="T9" fmla="*/ 5 h 28"/>
                    <a:gd name="T10" fmla="*/ 18 w 27"/>
                    <a:gd name="T11" fmla="*/ 0 h 28"/>
                    <a:gd name="T12" fmla="*/ 10 w 27"/>
                    <a:gd name="T13" fmla="*/ 0 h 28"/>
                    <a:gd name="T14" fmla="*/ 5 w 27"/>
                    <a:gd name="T15" fmla="*/ 5 h 28"/>
                    <a:gd name="T16" fmla="*/ 0 w 27"/>
                    <a:gd name="T17" fmla="*/ 18 h 28"/>
                    <a:gd name="T18" fmla="*/ 2 w 27"/>
                    <a:gd name="T19" fmla="*/ 21 h 28"/>
                    <a:gd name="T20" fmla="*/ 4 w 27"/>
                    <a:gd name="T21" fmla="*/ 20 h 28"/>
                    <a:gd name="T22" fmla="*/ 8 w 27"/>
                    <a:gd name="T23" fmla="*/ 7 h 28"/>
                    <a:gd name="T24" fmla="*/ 9 w 27"/>
                    <a:gd name="T25" fmla="*/ 7 h 28"/>
                    <a:gd name="T26" fmla="*/ 3 w 27"/>
                    <a:gd name="T27" fmla="*/ 28 h 28"/>
                    <a:gd name="T28" fmla="*/ 5 w 27"/>
                    <a:gd name="T29" fmla="*/ 28 h 28"/>
                    <a:gd name="T30" fmla="*/ 5 w 27"/>
                    <a:gd name="T31" fmla="*/ 28 h 28"/>
                    <a:gd name="T32" fmla="*/ 24 w 27"/>
                    <a:gd name="T33" fmla="*/ 25 h 28"/>
                    <a:gd name="T34" fmla="*/ 19 w 27"/>
                    <a:gd name="T35" fmla="*/ 7 h 28"/>
                    <a:gd name="T36" fmla="*/ 20 w 27"/>
                    <a:gd name="T37"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0" y="7"/>
                      </a:moveTo>
                      <a:cubicBezTo>
                        <a:pt x="20" y="7"/>
                        <a:pt x="23" y="18"/>
                        <a:pt x="23" y="20"/>
                      </a:cubicBezTo>
                      <a:cubicBezTo>
                        <a:pt x="24" y="20"/>
                        <a:pt x="25" y="21"/>
                        <a:pt x="26" y="21"/>
                      </a:cubicBezTo>
                      <a:cubicBezTo>
                        <a:pt x="27" y="20"/>
                        <a:pt x="27" y="19"/>
                        <a:pt x="27" y="18"/>
                      </a:cubicBezTo>
                      <a:cubicBezTo>
                        <a:pt x="27" y="18"/>
                        <a:pt x="25" y="10"/>
                        <a:pt x="23" y="5"/>
                      </a:cubicBezTo>
                      <a:cubicBezTo>
                        <a:pt x="22" y="2"/>
                        <a:pt x="20" y="0"/>
                        <a:pt x="18" y="0"/>
                      </a:cubicBezTo>
                      <a:cubicBezTo>
                        <a:pt x="16" y="0"/>
                        <a:pt x="11" y="0"/>
                        <a:pt x="10" y="0"/>
                      </a:cubicBezTo>
                      <a:cubicBezTo>
                        <a:pt x="8" y="0"/>
                        <a:pt x="5" y="2"/>
                        <a:pt x="5" y="5"/>
                      </a:cubicBezTo>
                      <a:cubicBezTo>
                        <a:pt x="3" y="10"/>
                        <a:pt x="1" y="18"/>
                        <a:pt x="0" y="18"/>
                      </a:cubicBezTo>
                      <a:cubicBezTo>
                        <a:pt x="0" y="19"/>
                        <a:pt x="1" y="20"/>
                        <a:pt x="2" y="21"/>
                      </a:cubicBezTo>
                      <a:cubicBezTo>
                        <a:pt x="3" y="21"/>
                        <a:pt x="4" y="20"/>
                        <a:pt x="4" y="20"/>
                      </a:cubicBezTo>
                      <a:cubicBezTo>
                        <a:pt x="4" y="18"/>
                        <a:pt x="8" y="7"/>
                        <a:pt x="8" y="7"/>
                      </a:cubicBezTo>
                      <a:cubicBezTo>
                        <a:pt x="9" y="7"/>
                        <a:pt x="9" y="7"/>
                        <a:pt x="9" y="7"/>
                      </a:cubicBezTo>
                      <a:cubicBezTo>
                        <a:pt x="3" y="28"/>
                        <a:pt x="3" y="28"/>
                        <a:pt x="3" y="28"/>
                      </a:cubicBezTo>
                      <a:cubicBezTo>
                        <a:pt x="4" y="28"/>
                        <a:pt x="4" y="28"/>
                        <a:pt x="5" y="28"/>
                      </a:cubicBezTo>
                      <a:cubicBezTo>
                        <a:pt x="5" y="28"/>
                        <a:pt x="5" y="28"/>
                        <a:pt x="5" y="28"/>
                      </a:cubicBezTo>
                      <a:cubicBezTo>
                        <a:pt x="9" y="26"/>
                        <a:pt x="16" y="26"/>
                        <a:pt x="24" y="25"/>
                      </a:cubicBezTo>
                      <a:cubicBezTo>
                        <a:pt x="19" y="7"/>
                        <a:pt x="19" y="7"/>
                        <a:pt x="19" y="7"/>
                      </a:cubicBezTo>
                      <a:cubicBezTo>
                        <a:pt x="20" y="7"/>
                        <a:pt x="20" y="7"/>
                        <a:pt x="2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08" name="Oval 1224"/>
                <p:cNvSpPr>
                  <a:spLocks noChangeArrowheads="1"/>
                </p:cNvSpPr>
                <p:nvPr/>
              </p:nvSpPr>
              <p:spPr bwMode="auto">
                <a:xfrm>
                  <a:off x="14926"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09" name="Freeform 1225"/>
                <p:cNvSpPr>
                  <a:spLocks/>
                </p:cNvSpPr>
                <p:nvPr/>
              </p:nvSpPr>
              <p:spPr bwMode="auto">
                <a:xfrm>
                  <a:off x="14976" y="707"/>
                  <a:ext cx="54" cy="109"/>
                </a:xfrm>
                <a:custGeom>
                  <a:avLst/>
                  <a:gdLst>
                    <a:gd name="T0" fmla="*/ 2 w 23"/>
                    <a:gd name="T1" fmla="*/ 23 h 46"/>
                    <a:gd name="T2" fmla="*/ 4 w 23"/>
                    <a:gd name="T3" fmla="*/ 20 h 46"/>
                    <a:gd name="T4" fmla="*/ 4 w 23"/>
                    <a:gd name="T5" fmla="*/ 7 h 46"/>
                    <a:gd name="T6" fmla="*/ 5 w 23"/>
                    <a:gd name="T7" fmla="*/ 7 h 46"/>
                    <a:gd name="T8" fmla="*/ 5 w 23"/>
                    <a:gd name="T9" fmla="*/ 44 h 46"/>
                    <a:gd name="T10" fmla="*/ 8 w 23"/>
                    <a:gd name="T11" fmla="*/ 46 h 46"/>
                    <a:gd name="T12" fmla="*/ 11 w 23"/>
                    <a:gd name="T13" fmla="*/ 44 h 46"/>
                    <a:gd name="T14" fmla="*/ 11 w 23"/>
                    <a:gd name="T15" fmla="*/ 23 h 46"/>
                    <a:gd name="T16" fmla="*/ 12 w 23"/>
                    <a:gd name="T17" fmla="*/ 23 h 46"/>
                    <a:gd name="T18" fmla="*/ 12 w 23"/>
                    <a:gd name="T19" fmla="*/ 44 h 46"/>
                    <a:gd name="T20" fmla="*/ 15 w 23"/>
                    <a:gd name="T21" fmla="*/ 46 h 46"/>
                    <a:gd name="T22" fmla="*/ 18 w 23"/>
                    <a:gd name="T23" fmla="*/ 44 h 46"/>
                    <a:gd name="T24" fmla="*/ 18 w 23"/>
                    <a:gd name="T25" fmla="*/ 7 h 46"/>
                    <a:gd name="T26" fmla="*/ 19 w 23"/>
                    <a:gd name="T27" fmla="*/ 7 h 46"/>
                    <a:gd name="T28" fmla="*/ 19 w 23"/>
                    <a:gd name="T29" fmla="*/ 20 h 46"/>
                    <a:gd name="T30" fmla="*/ 21 w 23"/>
                    <a:gd name="T31" fmla="*/ 23 h 46"/>
                    <a:gd name="T32" fmla="*/ 23 w 23"/>
                    <a:gd name="T33" fmla="*/ 20 h 46"/>
                    <a:gd name="T34" fmla="*/ 23 w 23"/>
                    <a:gd name="T35" fmla="*/ 6 h 46"/>
                    <a:gd name="T36" fmla="*/ 17 w 23"/>
                    <a:gd name="T37" fmla="*/ 0 h 46"/>
                    <a:gd name="T38" fmla="*/ 6 w 23"/>
                    <a:gd name="T39" fmla="*/ 0 h 46"/>
                    <a:gd name="T40" fmla="*/ 0 w 23"/>
                    <a:gd name="T41" fmla="*/ 6 h 46"/>
                    <a:gd name="T42" fmla="*/ 0 w 23"/>
                    <a:gd name="T43" fmla="*/ 20 h 46"/>
                    <a:gd name="T44" fmla="*/ 2 w 23"/>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 y="23"/>
                      </a:moveTo>
                      <a:cubicBezTo>
                        <a:pt x="3"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7"/>
                        <a:pt x="23" y="6"/>
                      </a:cubicBezTo>
                      <a:cubicBezTo>
                        <a:pt x="23" y="3"/>
                        <a:pt x="20" y="0"/>
                        <a:pt x="17" y="0"/>
                      </a:cubicBezTo>
                      <a:cubicBezTo>
                        <a:pt x="15" y="0"/>
                        <a:pt x="8" y="0"/>
                        <a:pt x="6" y="0"/>
                      </a:cubicBezTo>
                      <a:cubicBezTo>
                        <a:pt x="3" y="0"/>
                        <a:pt x="0" y="3"/>
                        <a:pt x="0" y="6"/>
                      </a:cubicBezTo>
                      <a:cubicBezTo>
                        <a:pt x="0" y="7"/>
                        <a:pt x="0" y="19"/>
                        <a:pt x="0" y="20"/>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10" name="Oval 1226"/>
                <p:cNvSpPr>
                  <a:spLocks noChangeArrowheads="1"/>
                </p:cNvSpPr>
                <p:nvPr/>
              </p:nvSpPr>
              <p:spPr bwMode="auto">
                <a:xfrm>
                  <a:off x="14992" y="830"/>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11" name="Freeform 1227"/>
                <p:cNvSpPr>
                  <a:spLocks/>
                </p:cNvSpPr>
                <p:nvPr/>
              </p:nvSpPr>
              <p:spPr bwMode="auto">
                <a:xfrm>
                  <a:off x="15056" y="683"/>
                  <a:ext cx="24" cy="21"/>
                </a:xfrm>
                <a:custGeom>
                  <a:avLst/>
                  <a:gdLst>
                    <a:gd name="T0" fmla="*/ 5 w 10"/>
                    <a:gd name="T1" fmla="*/ 9 h 9"/>
                    <a:gd name="T2" fmla="*/ 10 w 10"/>
                    <a:gd name="T3" fmla="*/ 4 h 9"/>
                    <a:gd name="T4" fmla="*/ 8 w 10"/>
                    <a:gd name="T5" fmla="*/ 0 h 9"/>
                    <a:gd name="T6" fmla="*/ 0 w 10"/>
                    <a:gd name="T7" fmla="*/ 4 h 9"/>
                    <a:gd name="T8" fmla="*/ 0 w 10"/>
                    <a:gd name="T9" fmla="*/ 4 h 9"/>
                    <a:gd name="T10" fmla="*/ 5 w 10"/>
                    <a:gd name="T11" fmla="*/ 9 h 9"/>
                  </a:gdLst>
                  <a:ahLst/>
                  <a:cxnLst>
                    <a:cxn ang="0">
                      <a:pos x="T0" y="T1"/>
                    </a:cxn>
                    <a:cxn ang="0">
                      <a:pos x="T2" y="T3"/>
                    </a:cxn>
                    <a:cxn ang="0">
                      <a:pos x="T4" y="T5"/>
                    </a:cxn>
                    <a:cxn ang="0">
                      <a:pos x="T6" y="T7"/>
                    </a:cxn>
                    <a:cxn ang="0">
                      <a:pos x="T8" y="T9"/>
                    </a:cxn>
                    <a:cxn ang="0">
                      <a:pos x="T10" y="T11"/>
                    </a:cxn>
                  </a:cxnLst>
                  <a:rect l="0" t="0" r="r" b="b"/>
                  <a:pathLst>
                    <a:path w="10" h="9">
                      <a:moveTo>
                        <a:pt x="5" y="9"/>
                      </a:moveTo>
                      <a:cubicBezTo>
                        <a:pt x="8" y="9"/>
                        <a:pt x="10" y="7"/>
                        <a:pt x="10" y="4"/>
                      </a:cubicBezTo>
                      <a:cubicBezTo>
                        <a:pt x="10" y="2"/>
                        <a:pt x="9" y="1"/>
                        <a:pt x="8" y="0"/>
                      </a:cubicBezTo>
                      <a:cubicBezTo>
                        <a:pt x="5" y="1"/>
                        <a:pt x="3" y="3"/>
                        <a:pt x="0" y="4"/>
                      </a:cubicBezTo>
                      <a:cubicBezTo>
                        <a:pt x="0" y="4"/>
                        <a:pt x="0" y="4"/>
                        <a:pt x="0" y="4"/>
                      </a:cubicBezTo>
                      <a:cubicBezTo>
                        <a:pt x="0" y="7"/>
                        <a:pt x="3" y="9"/>
                        <a:pt x="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12" name="Freeform 1228"/>
                <p:cNvSpPr>
                  <a:spLocks/>
                </p:cNvSpPr>
                <p:nvPr/>
              </p:nvSpPr>
              <p:spPr bwMode="auto">
                <a:xfrm>
                  <a:off x="15123" y="830"/>
                  <a:ext cx="11" cy="21"/>
                </a:xfrm>
                <a:custGeom>
                  <a:avLst/>
                  <a:gdLst>
                    <a:gd name="T0" fmla="*/ 0 w 5"/>
                    <a:gd name="T1" fmla="*/ 4 h 9"/>
                    <a:gd name="T2" fmla="*/ 3 w 5"/>
                    <a:gd name="T3" fmla="*/ 9 h 9"/>
                    <a:gd name="T4" fmla="*/ 4 w 5"/>
                    <a:gd name="T5" fmla="*/ 7 h 9"/>
                    <a:gd name="T6" fmla="*/ 5 w 5"/>
                    <a:gd name="T7" fmla="*/ 0 h 9"/>
                    <a:gd name="T8" fmla="*/ 5 w 5"/>
                    <a:gd name="T9" fmla="*/ 0 h 9"/>
                    <a:gd name="T10" fmla="*/ 0 w 5"/>
                    <a:gd name="T11" fmla="*/ 4 h 9"/>
                  </a:gdLst>
                  <a:ahLst/>
                  <a:cxnLst>
                    <a:cxn ang="0">
                      <a:pos x="T0" y="T1"/>
                    </a:cxn>
                    <a:cxn ang="0">
                      <a:pos x="T2" y="T3"/>
                    </a:cxn>
                    <a:cxn ang="0">
                      <a:pos x="T4" y="T5"/>
                    </a:cxn>
                    <a:cxn ang="0">
                      <a:pos x="T6" y="T7"/>
                    </a:cxn>
                    <a:cxn ang="0">
                      <a:pos x="T8" y="T9"/>
                    </a:cxn>
                    <a:cxn ang="0">
                      <a:pos x="T10" y="T11"/>
                    </a:cxn>
                  </a:cxnLst>
                  <a:rect l="0" t="0" r="r" b="b"/>
                  <a:pathLst>
                    <a:path w="5" h="9">
                      <a:moveTo>
                        <a:pt x="0" y="4"/>
                      </a:moveTo>
                      <a:cubicBezTo>
                        <a:pt x="0" y="6"/>
                        <a:pt x="1" y="8"/>
                        <a:pt x="3" y="9"/>
                      </a:cubicBezTo>
                      <a:cubicBezTo>
                        <a:pt x="3" y="8"/>
                        <a:pt x="3" y="8"/>
                        <a:pt x="4" y="7"/>
                      </a:cubicBezTo>
                      <a:cubicBezTo>
                        <a:pt x="4" y="5"/>
                        <a:pt x="4" y="2"/>
                        <a:pt x="5" y="0"/>
                      </a:cubicBezTo>
                      <a:cubicBezTo>
                        <a:pt x="5" y="0"/>
                        <a:pt x="5" y="0"/>
                        <a:pt x="5"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13" name="Freeform 1229"/>
                <p:cNvSpPr>
                  <a:spLocks/>
                </p:cNvSpPr>
                <p:nvPr/>
              </p:nvSpPr>
              <p:spPr bwMode="auto">
                <a:xfrm>
                  <a:off x="15106" y="707"/>
                  <a:ext cx="40" cy="109"/>
                </a:xfrm>
                <a:custGeom>
                  <a:avLst/>
                  <a:gdLst>
                    <a:gd name="T0" fmla="*/ 0 w 17"/>
                    <a:gd name="T1" fmla="*/ 6 h 46"/>
                    <a:gd name="T2" fmla="*/ 0 w 17"/>
                    <a:gd name="T3" fmla="*/ 20 h 46"/>
                    <a:gd name="T4" fmla="*/ 3 w 17"/>
                    <a:gd name="T5" fmla="*/ 23 h 46"/>
                    <a:gd name="T6" fmla="*/ 5 w 17"/>
                    <a:gd name="T7" fmla="*/ 20 h 46"/>
                    <a:gd name="T8" fmla="*/ 5 w 17"/>
                    <a:gd name="T9" fmla="*/ 7 h 46"/>
                    <a:gd name="T10" fmla="*/ 6 w 17"/>
                    <a:gd name="T11" fmla="*/ 7 h 46"/>
                    <a:gd name="T12" fmla="*/ 6 w 17"/>
                    <a:gd name="T13" fmla="*/ 44 h 46"/>
                    <a:gd name="T14" fmla="*/ 8 w 17"/>
                    <a:gd name="T15" fmla="*/ 46 h 46"/>
                    <a:gd name="T16" fmla="*/ 11 w 17"/>
                    <a:gd name="T17" fmla="*/ 44 h 46"/>
                    <a:gd name="T18" fmla="*/ 11 w 17"/>
                    <a:gd name="T19" fmla="*/ 23 h 46"/>
                    <a:gd name="T20" fmla="*/ 12 w 17"/>
                    <a:gd name="T21" fmla="*/ 23 h 46"/>
                    <a:gd name="T22" fmla="*/ 12 w 17"/>
                    <a:gd name="T23" fmla="*/ 44 h 46"/>
                    <a:gd name="T24" fmla="*/ 13 w 17"/>
                    <a:gd name="T25" fmla="*/ 45 h 46"/>
                    <a:gd name="T26" fmla="*/ 12 w 17"/>
                    <a:gd name="T27" fmla="*/ 0 h 46"/>
                    <a:gd name="T28" fmla="*/ 7 w 17"/>
                    <a:gd name="T29" fmla="*/ 0 h 46"/>
                    <a:gd name="T30" fmla="*/ 0 w 17"/>
                    <a:gd name="T31"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46">
                      <a:moveTo>
                        <a:pt x="0" y="6"/>
                      </a:moveTo>
                      <a:cubicBezTo>
                        <a:pt x="0" y="7"/>
                        <a:pt x="0" y="19"/>
                        <a:pt x="0" y="20"/>
                      </a:cubicBezTo>
                      <a:cubicBezTo>
                        <a:pt x="0" y="22"/>
                        <a:pt x="1" y="23"/>
                        <a:pt x="3" y="23"/>
                      </a:cubicBezTo>
                      <a:cubicBezTo>
                        <a:pt x="4" y="23"/>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4"/>
                        <a:pt x="13" y="45"/>
                        <a:pt x="13" y="45"/>
                      </a:cubicBezTo>
                      <a:cubicBezTo>
                        <a:pt x="15" y="29"/>
                        <a:pt x="17" y="12"/>
                        <a:pt x="12" y="0"/>
                      </a:cubicBezTo>
                      <a:cubicBezTo>
                        <a:pt x="10" y="0"/>
                        <a:pt x="7" y="0"/>
                        <a:pt x="7"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14" name="Freeform 1230"/>
                <p:cNvSpPr>
                  <a:spLocks/>
                </p:cNvSpPr>
                <p:nvPr/>
              </p:nvSpPr>
              <p:spPr bwMode="auto">
                <a:xfrm>
                  <a:off x="14841" y="853"/>
                  <a:ext cx="64" cy="112"/>
                </a:xfrm>
                <a:custGeom>
                  <a:avLst/>
                  <a:gdLst>
                    <a:gd name="T0" fmla="*/ 1 w 27"/>
                    <a:gd name="T1" fmla="*/ 21 h 47"/>
                    <a:gd name="T2" fmla="*/ 3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9 h 47"/>
                    <a:gd name="T42" fmla="*/ 22 w 27"/>
                    <a:gd name="T43" fmla="*/ 5 h 47"/>
                    <a:gd name="T44" fmla="*/ 17 w 27"/>
                    <a:gd name="T45" fmla="*/ 0 h 47"/>
                    <a:gd name="T46" fmla="*/ 9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15" name="Freeform 1231"/>
                <p:cNvSpPr>
                  <a:spLocks/>
                </p:cNvSpPr>
                <p:nvPr/>
              </p:nvSpPr>
              <p:spPr bwMode="auto">
                <a:xfrm>
                  <a:off x="15123" y="688"/>
                  <a:ext cx="11" cy="16"/>
                </a:xfrm>
                <a:custGeom>
                  <a:avLst/>
                  <a:gdLst>
                    <a:gd name="T0" fmla="*/ 5 w 5"/>
                    <a:gd name="T1" fmla="*/ 7 h 7"/>
                    <a:gd name="T2" fmla="*/ 0 w 5"/>
                    <a:gd name="T3" fmla="*/ 0 h 7"/>
                    <a:gd name="T4" fmla="*/ 0 w 5"/>
                    <a:gd name="T5" fmla="*/ 2 h 7"/>
                    <a:gd name="T6" fmla="*/ 5 w 5"/>
                    <a:gd name="T7" fmla="*/ 7 h 7"/>
                  </a:gdLst>
                  <a:ahLst/>
                  <a:cxnLst>
                    <a:cxn ang="0">
                      <a:pos x="T0" y="T1"/>
                    </a:cxn>
                    <a:cxn ang="0">
                      <a:pos x="T2" y="T3"/>
                    </a:cxn>
                    <a:cxn ang="0">
                      <a:pos x="T4" y="T5"/>
                    </a:cxn>
                    <a:cxn ang="0">
                      <a:pos x="T6" y="T7"/>
                    </a:cxn>
                  </a:cxnLst>
                  <a:rect l="0" t="0" r="r" b="b"/>
                  <a:pathLst>
                    <a:path w="5" h="7">
                      <a:moveTo>
                        <a:pt x="5" y="7"/>
                      </a:moveTo>
                      <a:cubicBezTo>
                        <a:pt x="4" y="4"/>
                        <a:pt x="2" y="2"/>
                        <a:pt x="0" y="0"/>
                      </a:cubicBezTo>
                      <a:cubicBezTo>
                        <a:pt x="0" y="1"/>
                        <a:pt x="0" y="1"/>
                        <a:pt x="0" y="2"/>
                      </a:cubicBezTo>
                      <a:cubicBezTo>
                        <a:pt x="0" y="4"/>
                        <a:pt x="2" y="7"/>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16" name="Freeform 1232"/>
                <p:cNvSpPr>
                  <a:spLocks/>
                </p:cNvSpPr>
                <p:nvPr/>
              </p:nvSpPr>
              <p:spPr bwMode="auto">
                <a:xfrm>
                  <a:off x="14708" y="853"/>
                  <a:ext cx="64" cy="112"/>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8 w 27"/>
                    <a:gd name="T33" fmla="*/ 7 h 47"/>
                    <a:gd name="T34" fmla="*/ 20 w 27"/>
                    <a:gd name="T35" fmla="*/ 7 h 47"/>
                    <a:gd name="T36" fmla="*/ 23 w 27"/>
                    <a:gd name="T37" fmla="*/ 20 h 47"/>
                    <a:gd name="T38" fmla="*/ 26 w 27"/>
                    <a:gd name="T39" fmla="*/ 21 h 47"/>
                    <a:gd name="T40" fmla="*/ 27 w 27"/>
                    <a:gd name="T41" fmla="*/ 19 h 47"/>
                    <a:gd name="T42" fmla="*/ 23 w 27"/>
                    <a:gd name="T43" fmla="*/ 5 h 47"/>
                    <a:gd name="T44" fmla="*/ 17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4"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ubicBezTo>
                        <a:pt x="22" y="3"/>
                        <a:pt x="20" y="0"/>
                        <a:pt x="17" y="0"/>
                      </a:cubicBezTo>
                      <a:cubicBezTo>
                        <a:pt x="16" y="0"/>
                        <a:pt x="11" y="0"/>
                        <a:pt x="10" y="0"/>
                      </a:cubicBezTo>
                      <a:cubicBezTo>
                        <a:pt x="8" y="0"/>
                        <a:pt x="5" y="3"/>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17" name="Oval 1233"/>
                <p:cNvSpPr>
                  <a:spLocks noChangeArrowheads="1"/>
                </p:cNvSpPr>
                <p:nvPr/>
              </p:nvSpPr>
              <p:spPr bwMode="auto">
                <a:xfrm>
                  <a:off x="14860" y="830"/>
                  <a:ext cx="23"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18" name="Oval 1234"/>
                <p:cNvSpPr>
                  <a:spLocks noChangeArrowheads="1"/>
                </p:cNvSpPr>
                <p:nvPr/>
              </p:nvSpPr>
              <p:spPr bwMode="auto">
                <a:xfrm>
                  <a:off x="14730" y="681"/>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19" name="Oval 1235"/>
                <p:cNvSpPr>
                  <a:spLocks noChangeArrowheads="1"/>
                </p:cNvSpPr>
                <p:nvPr/>
              </p:nvSpPr>
              <p:spPr bwMode="auto">
                <a:xfrm>
                  <a:off x="14730"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20" name="Freeform 1236"/>
                <p:cNvSpPr>
                  <a:spLocks/>
                </p:cNvSpPr>
                <p:nvPr/>
              </p:nvSpPr>
              <p:spPr bwMode="auto">
                <a:xfrm>
                  <a:off x="14713" y="707"/>
                  <a:ext cx="55" cy="109"/>
                </a:xfrm>
                <a:custGeom>
                  <a:avLst/>
                  <a:gdLst>
                    <a:gd name="T0" fmla="*/ 21 w 23"/>
                    <a:gd name="T1" fmla="*/ 23 h 46"/>
                    <a:gd name="T2" fmla="*/ 23 w 23"/>
                    <a:gd name="T3" fmla="*/ 20 h 46"/>
                    <a:gd name="T4" fmla="*/ 23 w 23"/>
                    <a:gd name="T5" fmla="*/ 6 h 46"/>
                    <a:gd name="T6" fmla="*/ 17 w 23"/>
                    <a:gd name="T7" fmla="*/ 0 h 46"/>
                    <a:gd name="T8" fmla="*/ 6 w 23"/>
                    <a:gd name="T9" fmla="*/ 0 h 46"/>
                    <a:gd name="T10" fmla="*/ 0 w 23"/>
                    <a:gd name="T11" fmla="*/ 6 h 46"/>
                    <a:gd name="T12" fmla="*/ 0 w 23"/>
                    <a:gd name="T13" fmla="*/ 20 h 46"/>
                    <a:gd name="T14" fmla="*/ 2 w 23"/>
                    <a:gd name="T15" fmla="*/ 23 h 46"/>
                    <a:gd name="T16" fmla="*/ 4 w 23"/>
                    <a:gd name="T17" fmla="*/ 20 h 46"/>
                    <a:gd name="T18" fmla="*/ 4 w 23"/>
                    <a:gd name="T19" fmla="*/ 7 h 46"/>
                    <a:gd name="T20" fmla="*/ 5 w 23"/>
                    <a:gd name="T21" fmla="*/ 7 h 46"/>
                    <a:gd name="T22" fmla="*/ 5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8 w 23"/>
                    <a:gd name="T37" fmla="*/ 44 h 46"/>
                    <a:gd name="T38" fmla="*/ 18 w 23"/>
                    <a:gd name="T39" fmla="*/ 7 h 46"/>
                    <a:gd name="T40" fmla="*/ 19 w 23"/>
                    <a:gd name="T41" fmla="*/ 7 h 46"/>
                    <a:gd name="T42" fmla="*/ 19 w 23"/>
                    <a:gd name="T43" fmla="*/ 20 h 46"/>
                    <a:gd name="T44" fmla="*/ 21 w 23"/>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3"/>
                      </a:moveTo>
                      <a:cubicBezTo>
                        <a:pt x="22" y="23"/>
                        <a:pt x="23" y="22"/>
                        <a:pt x="23" y="20"/>
                      </a:cubicBezTo>
                      <a:cubicBezTo>
                        <a:pt x="23" y="19"/>
                        <a:pt x="23" y="7"/>
                        <a:pt x="23" y="6"/>
                      </a:cubicBezTo>
                      <a:cubicBezTo>
                        <a:pt x="23" y="3"/>
                        <a:pt x="20" y="0"/>
                        <a:pt x="17" y="0"/>
                      </a:cubicBezTo>
                      <a:cubicBezTo>
                        <a:pt x="15" y="0"/>
                        <a:pt x="8" y="0"/>
                        <a:pt x="6" y="0"/>
                      </a:cubicBezTo>
                      <a:cubicBezTo>
                        <a:pt x="3" y="0"/>
                        <a:pt x="0" y="3"/>
                        <a:pt x="0" y="6"/>
                      </a:cubicBezTo>
                      <a:cubicBezTo>
                        <a:pt x="0" y="7"/>
                        <a:pt x="0" y="19"/>
                        <a:pt x="0" y="20"/>
                      </a:cubicBezTo>
                      <a:cubicBezTo>
                        <a:pt x="0" y="22"/>
                        <a:pt x="1" y="23"/>
                        <a:pt x="2" y="23"/>
                      </a:cubicBezTo>
                      <a:cubicBezTo>
                        <a:pt x="4"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21" name="Freeform 1237"/>
                <p:cNvSpPr>
                  <a:spLocks/>
                </p:cNvSpPr>
                <p:nvPr/>
              </p:nvSpPr>
              <p:spPr bwMode="auto">
                <a:xfrm>
                  <a:off x="14992" y="681"/>
                  <a:ext cx="22" cy="23"/>
                </a:xfrm>
                <a:custGeom>
                  <a:avLst/>
                  <a:gdLst>
                    <a:gd name="T0" fmla="*/ 0 w 9"/>
                    <a:gd name="T1" fmla="*/ 5 h 10"/>
                    <a:gd name="T2" fmla="*/ 4 w 9"/>
                    <a:gd name="T3" fmla="*/ 10 h 10"/>
                    <a:gd name="T4" fmla="*/ 9 w 9"/>
                    <a:gd name="T5" fmla="*/ 5 h 10"/>
                    <a:gd name="T6" fmla="*/ 9 w 9"/>
                    <a:gd name="T7" fmla="*/ 3 h 10"/>
                    <a:gd name="T8" fmla="*/ 5 w 9"/>
                    <a:gd name="T9" fmla="*/ 0 h 10"/>
                    <a:gd name="T10" fmla="*/ 4 w 9"/>
                    <a:gd name="T11" fmla="*/ 0 h 10"/>
                    <a:gd name="T12" fmla="*/ 0 w 9"/>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0" y="5"/>
                      </a:moveTo>
                      <a:cubicBezTo>
                        <a:pt x="0" y="8"/>
                        <a:pt x="2" y="10"/>
                        <a:pt x="4" y="10"/>
                      </a:cubicBezTo>
                      <a:cubicBezTo>
                        <a:pt x="7" y="10"/>
                        <a:pt x="9" y="8"/>
                        <a:pt x="9" y="5"/>
                      </a:cubicBezTo>
                      <a:cubicBezTo>
                        <a:pt x="9" y="4"/>
                        <a:pt x="9" y="3"/>
                        <a:pt x="9" y="3"/>
                      </a:cubicBezTo>
                      <a:cubicBezTo>
                        <a:pt x="8" y="2"/>
                        <a:pt x="7" y="1"/>
                        <a:pt x="5" y="0"/>
                      </a:cubicBezTo>
                      <a:cubicBezTo>
                        <a:pt x="5" y="0"/>
                        <a:pt x="5" y="0"/>
                        <a:pt x="4" y="0"/>
                      </a:cubicBezTo>
                      <a:cubicBezTo>
                        <a:pt x="2" y="0"/>
                        <a:pt x="0"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22" name="Freeform 1238"/>
                <p:cNvSpPr>
                  <a:spLocks/>
                </p:cNvSpPr>
                <p:nvPr/>
              </p:nvSpPr>
              <p:spPr bwMode="auto">
                <a:xfrm>
                  <a:off x="14846" y="1000"/>
                  <a:ext cx="52" cy="109"/>
                </a:xfrm>
                <a:custGeom>
                  <a:avLst/>
                  <a:gdLst>
                    <a:gd name="T0" fmla="*/ 17 w 22"/>
                    <a:gd name="T1" fmla="*/ 8 h 46"/>
                    <a:gd name="T2" fmla="*/ 18 w 22"/>
                    <a:gd name="T3" fmla="*/ 8 h 46"/>
                    <a:gd name="T4" fmla="*/ 18 w 22"/>
                    <a:gd name="T5" fmla="*/ 21 h 46"/>
                    <a:gd name="T6" fmla="*/ 20 w 22"/>
                    <a:gd name="T7" fmla="*/ 23 h 46"/>
                    <a:gd name="T8" fmla="*/ 22 w 22"/>
                    <a:gd name="T9" fmla="*/ 21 h 46"/>
                    <a:gd name="T10" fmla="*/ 22 w 22"/>
                    <a:gd name="T11" fmla="*/ 6 h 46"/>
                    <a:gd name="T12" fmla="*/ 16 w 22"/>
                    <a:gd name="T13" fmla="*/ 0 h 46"/>
                    <a:gd name="T14" fmla="*/ 6 w 22"/>
                    <a:gd name="T15" fmla="*/ 0 h 46"/>
                    <a:gd name="T16" fmla="*/ 0 w 22"/>
                    <a:gd name="T17" fmla="*/ 6 h 46"/>
                    <a:gd name="T18" fmla="*/ 0 w 22"/>
                    <a:gd name="T19" fmla="*/ 21 h 46"/>
                    <a:gd name="T20" fmla="*/ 2 w 22"/>
                    <a:gd name="T21" fmla="*/ 23 h 46"/>
                    <a:gd name="T22" fmla="*/ 4 w 22"/>
                    <a:gd name="T23" fmla="*/ 21 h 46"/>
                    <a:gd name="T24" fmla="*/ 4 w 22"/>
                    <a:gd name="T25" fmla="*/ 8 h 46"/>
                    <a:gd name="T26" fmla="*/ 5 w 22"/>
                    <a:gd name="T27" fmla="*/ 8 h 46"/>
                    <a:gd name="T28" fmla="*/ 5 w 22"/>
                    <a:gd name="T29" fmla="*/ 44 h 46"/>
                    <a:gd name="T30" fmla="*/ 6 w 22"/>
                    <a:gd name="T31" fmla="*/ 46 h 46"/>
                    <a:gd name="T32" fmla="*/ 9 w 22"/>
                    <a:gd name="T33" fmla="*/ 46 h 46"/>
                    <a:gd name="T34" fmla="*/ 11 w 22"/>
                    <a:gd name="T35" fmla="*/ 44 h 46"/>
                    <a:gd name="T36" fmla="*/ 11 w 22"/>
                    <a:gd name="T37" fmla="*/ 23 h 46"/>
                    <a:gd name="T38" fmla="*/ 12 w 22"/>
                    <a:gd name="T39" fmla="*/ 23 h 46"/>
                    <a:gd name="T40" fmla="*/ 12 w 22"/>
                    <a:gd name="T41" fmla="*/ 44 h 46"/>
                    <a:gd name="T42" fmla="*/ 12 w 22"/>
                    <a:gd name="T43" fmla="*/ 46 h 46"/>
                    <a:gd name="T44" fmla="*/ 16 w 22"/>
                    <a:gd name="T45" fmla="*/ 46 h 46"/>
                    <a:gd name="T46" fmla="*/ 17 w 22"/>
                    <a:gd name="T47" fmla="*/ 44 h 46"/>
                    <a:gd name="T48" fmla="*/ 17 w 22"/>
                    <a:gd name="T49"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46">
                      <a:moveTo>
                        <a:pt x="17" y="8"/>
                      </a:move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5"/>
                        <a:pt x="6" y="46"/>
                        <a:pt x="6" y="46"/>
                      </a:cubicBezTo>
                      <a:cubicBezTo>
                        <a:pt x="7" y="46"/>
                        <a:pt x="8" y="46"/>
                        <a:pt x="9" y="46"/>
                      </a:cubicBezTo>
                      <a:cubicBezTo>
                        <a:pt x="10" y="46"/>
                        <a:pt x="11" y="45"/>
                        <a:pt x="11" y="44"/>
                      </a:cubicBezTo>
                      <a:cubicBezTo>
                        <a:pt x="11" y="42"/>
                        <a:pt x="11" y="23"/>
                        <a:pt x="11" y="23"/>
                      </a:cubicBezTo>
                      <a:cubicBezTo>
                        <a:pt x="11" y="23"/>
                        <a:pt x="11" y="23"/>
                        <a:pt x="12" y="23"/>
                      </a:cubicBezTo>
                      <a:cubicBezTo>
                        <a:pt x="12" y="23"/>
                        <a:pt x="12" y="42"/>
                        <a:pt x="12" y="44"/>
                      </a:cubicBezTo>
                      <a:cubicBezTo>
                        <a:pt x="12" y="45"/>
                        <a:pt x="12" y="46"/>
                        <a:pt x="12" y="46"/>
                      </a:cubicBezTo>
                      <a:cubicBezTo>
                        <a:pt x="14" y="46"/>
                        <a:pt x="15" y="46"/>
                        <a:pt x="16" y="46"/>
                      </a:cubicBezTo>
                      <a:cubicBezTo>
                        <a:pt x="17" y="45"/>
                        <a:pt x="17" y="45"/>
                        <a:pt x="17" y="44"/>
                      </a:cubicBezTo>
                      <a:cubicBezTo>
                        <a:pt x="17" y="42"/>
                        <a:pt x="17"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23" name="Oval 1239"/>
                <p:cNvSpPr>
                  <a:spLocks noChangeArrowheads="1"/>
                </p:cNvSpPr>
                <p:nvPr/>
              </p:nvSpPr>
              <p:spPr bwMode="auto">
                <a:xfrm>
                  <a:off x="14860" y="681"/>
                  <a:ext cx="23"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24" name="Oval 1240"/>
                <p:cNvSpPr>
                  <a:spLocks noChangeArrowheads="1"/>
                </p:cNvSpPr>
                <p:nvPr/>
              </p:nvSpPr>
              <p:spPr bwMode="auto">
                <a:xfrm>
                  <a:off x="14796"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25" name="Freeform 1241"/>
                <p:cNvSpPr>
                  <a:spLocks/>
                </p:cNvSpPr>
                <p:nvPr/>
              </p:nvSpPr>
              <p:spPr bwMode="auto">
                <a:xfrm>
                  <a:off x="14971" y="853"/>
                  <a:ext cx="62" cy="112"/>
                </a:xfrm>
                <a:custGeom>
                  <a:avLst/>
                  <a:gdLst>
                    <a:gd name="T0" fmla="*/ 17 w 26"/>
                    <a:gd name="T1" fmla="*/ 0 h 47"/>
                    <a:gd name="T2" fmla="*/ 10 w 26"/>
                    <a:gd name="T3" fmla="*/ 0 h 47"/>
                    <a:gd name="T4" fmla="*/ 4 w 26"/>
                    <a:gd name="T5" fmla="*/ 5 h 47"/>
                    <a:gd name="T6" fmla="*/ 0 w 26"/>
                    <a:gd name="T7" fmla="*/ 19 h 47"/>
                    <a:gd name="T8" fmla="*/ 1 w 26"/>
                    <a:gd name="T9" fmla="*/ 21 h 47"/>
                    <a:gd name="T10" fmla="*/ 4 w 26"/>
                    <a:gd name="T11" fmla="*/ 20 h 47"/>
                    <a:gd name="T12" fmla="*/ 8 w 26"/>
                    <a:gd name="T13" fmla="*/ 7 h 47"/>
                    <a:gd name="T14" fmla="*/ 9 w 26"/>
                    <a:gd name="T15" fmla="*/ 7 h 47"/>
                    <a:gd name="T16" fmla="*/ 2 w 26"/>
                    <a:gd name="T17" fmla="*/ 28 h 47"/>
                    <a:gd name="T18" fmla="*/ 9 w 26"/>
                    <a:gd name="T19" fmla="*/ 28 h 47"/>
                    <a:gd name="T20" fmla="*/ 9 w 26"/>
                    <a:gd name="T21" fmla="*/ 45 h 47"/>
                    <a:gd name="T22" fmla="*/ 11 w 26"/>
                    <a:gd name="T23" fmla="*/ 47 h 47"/>
                    <a:gd name="T24" fmla="*/ 13 w 26"/>
                    <a:gd name="T25" fmla="*/ 45 h 47"/>
                    <a:gd name="T26" fmla="*/ 13 w 26"/>
                    <a:gd name="T27" fmla="*/ 28 h 47"/>
                    <a:gd name="T28" fmla="*/ 14 w 26"/>
                    <a:gd name="T29" fmla="*/ 28 h 47"/>
                    <a:gd name="T30" fmla="*/ 14 w 26"/>
                    <a:gd name="T31" fmla="*/ 45 h 47"/>
                    <a:gd name="T32" fmla="*/ 16 w 26"/>
                    <a:gd name="T33" fmla="*/ 47 h 47"/>
                    <a:gd name="T34" fmla="*/ 19 w 26"/>
                    <a:gd name="T35" fmla="*/ 45 h 47"/>
                    <a:gd name="T36" fmla="*/ 19 w 26"/>
                    <a:gd name="T37" fmla="*/ 28 h 47"/>
                    <a:gd name="T38" fmla="*/ 21 w 26"/>
                    <a:gd name="T39" fmla="*/ 28 h 47"/>
                    <a:gd name="T40" fmla="*/ 22 w 26"/>
                    <a:gd name="T41" fmla="*/ 21 h 47"/>
                    <a:gd name="T42" fmla="*/ 18 w 26"/>
                    <a:gd name="T43" fmla="*/ 7 h 47"/>
                    <a:gd name="T44" fmla="*/ 19 w 26"/>
                    <a:gd name="T45" fmla="*/ 7 h 47"/>
                    <a:gd name="T46" fmla="*/ 23 w 26"/>
                    <a:gd name="T47" fmla="*/ 19 h 47"/>
                    <a:gd name="T48" fmla="*/ 26 w 26"/>
                    <a:gd name="T49" fmla="*/ 15 h 47"/>
                    <a:gd name="T50" fmla="*/ 23 w 26"/>
                    <a:gd name="T51" fmla="*/ 5 h 47"/>
                    <a:gd name="T52" fmla="*/ 17 w 26"/>
                    <a:gd name="T5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 h="47">
                      <a:moveTo>
                        <a:pt x="17" y="0"/>
                      </a:moveTo>
                      <a:cubicBezTo>
                        <a:pt x="16" y="0"/>
                        <a:pt x="11" y="0"/>
                        <a:pt x="10" y="0"/>
                      </a:cubicBezTo>
                      <a:cubicBezTo>
                        <a:pt x="7" y="0"/>
                        <a:pt x="5" y="3"/>
                        <a:pt x="4" y="5"/>
                      </a:cubicBezTo>
                      <a:cubicBezTo>
                        <a:pt x="3" y="11"/>
                        <a:pt x="0" y="18"/>
                        <a:pt x="0" y="19"/>
                      </a:cubicBezTo>
                      <a:cubicBezTo>
                        <a:pt x="0" y="20"/>
                        <a:pt x="0" y="21"/>
                        <a:pt x="1" y="21"/>
                      </a:cubicBezTo>
                      <a:cubicBezTo>
                        <a:pt x="2" y="21"/>
                        <a:pt x="3" y="21"/>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19" y="28"/>
                        <a:pt x="20" y="28"/>
                        <a:pt x="21" y="28"/>
                      </a:cubicBezTo>
                      <a:cubicBezTo>
                        <a:pt x="21" y="26"/>
                        <a:pt x="22" y="23"/>
                        <a:pt x="22" y="21"/>
                      </a:cubicBezTo>
                      <a:cubicBezTo>
                        <a:pt x="18" y="7"/>
                        <a:pt x="18" y="7"/>
                        <a:pt x="18" y="7"/>
                      </a:cubicBezTo>
                      <a:cubicBezTo>
                        <a:pt x="19" y="7"/>
                        <a:pt x="19" y="7"/>
                        <a:pt x="19" y="7"/>
                      </a:cubicBezTo>
                      <a:cubicBezTo>
                        <a:pt x="19" y="7"/>
                        <a:pt x="23" y="17"/>
                        <a:pt x="23" y="19"/>
                      </a:cubicBezTo>
                      <a:cubicBezTo>
                        <a:pt x="24" y="18"/>
                        <a:pt x="25" y="17"/>
                        <a:pt x="26" y="15"/>
                      </a:cubicBezTo>
                      <a:cubicBezTo>
                        <a:pt x="25" y="13"/>
                        <a:pt x="24" y="8"/>
                        <a:pt x="23" y="5"/>
                      </a:cubicBezTo>
                      <a:cubicBezTo>
                        <a:pt x="22"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26" name="Oval 1242"/>
                <p:cNvSpPr>
                  <a:spLocks noChangeArrowheads="1"/>
                </p:cNvSpPr>
                <p:nvPr/>
              </p:nvSpPr>
              <p:spPr bwMode="auto">
                <a:xfrm>
                  <a:off x="14796" y="681"/>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27" name="Freeform 1243"/>
                <p:cNvSpPr>
                  <a:spLocks/>
                </p:cNvSpPr>
                <p:nvPr/>
              </p:nvSpPr>
              <p:spPr bwMode="auto">
                <a:xfrm>
                  <a:off x="14976" y="1000"/>
                  <a:ext cx="47" cy="55"/>
                </a:xfrm>
                <a:custGeom>
                  <a:avLst/>
                  <a:gdLst>
                    <a:gd name="T0" fmla="*/ 6 w 20"/>
                    <a:gd name="T1" fmla="*/ 0 h 23"/>
                    <a:gd name="T2" fmla="*/ 0 w 20"/>
                    <a:gd name="T3" fmla="*/ 6 h 23"/>
                    <a:gd name="T4" fmla="*/ 0 w 20"/>
                    <a:gd name="T5" fmla="*/ 21 h 23"/>
                    <a:gd name="T6" fmla="*/ 2 w 20"/>
                    <a:gd name="T7" fmla="*/ 23 h 23"/>
                    <a:gd name="T8" fmla="*/ 4 w 20"/>
                    <a:gd name="T9" fmla="*/ 21 h 23"/>
                    <a:gd name="T10" fmla="*/ 4 w 20"/>
                    <a:gd name="T11" fmla="*/ 8 h 23"/>
                    <a:gd name="T12" fmla="*/ 5 w 20"/>
                    <a:gd name="T13" fmla="*/ 8 h 23"/>
                    <a:gd name="T14" fmla="*/ 5 w 20"/>
                    <a:gd name="T15" fmla="*/ 23 h 23"/>
                    <a:gd name="T16" fmla="*/ 13 w 20"/>
                    <a:gd name="T17" fmla="*/ 20 h 23"/>
                    <a:gd name="T18" fmla="*/ 18 w 20"/>
                    <a:gd name="T19" fmla="*/ 13 h 23"/>
                    <a:gd name="T20" fmla="*/ 18 w 20"/>
                    <a:gd name="T21" fmla="*/ 8 h 23"/>
                    <a:gd name="T22" fmla="*/ 19 w 20"/>
                    <a:gd name="T23" fmla="*/ 8 h 23"/>
                    <a:gd name="T24" fmla="*/ 19 w 20"/>
                    <a:gd name="T25" fmla="*/ 10 h 23"/>
                    <a:gd name="T26" fmla="*/ 20 w 20"/>
                    <a:gd name="T27" fmla="*/ 1 h 23"/>
                    <a:gd name="T28" fmla="*/ 17 w 20"/>
                    <a:gd name="T29" fmla="*/ 0 h 23"/>
                    <a:gd name="T30" fmla="*/ 6 w 20"/>
                    <a:gd name="T3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3">
                      <a:moveTo>
                        <a:pt x="6" y="0"/>
                      </a:moveTo>
                      <a:cubicBezTo>
                        <a:pt x="3"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15"/>
                        <a:pt x="5" y="23"/>
                      </a:cubicBezTo>
                      <a:cubicBezTo>
                        <a:pt x="8" y="22"/>
                        <a:pt x="11" y="21"/>
                        <a:pt x="13" y="20"/>
                      </a:cubicBezTo>
                      <a:cubicBezTo>
                        <a:pt x="15" y="18"/>
                        <a:pt x="16" y="16"/>
                        <a:pt x="18" y="13"/>
                      </a:cubicBezTo>
                      <a:cubicBezTo>
                        <a:pt x="18" y="10"/>
                        <a:pt x="18" y="8"/>
                        <a:pt x="18" y="8"/>
                      </a:cubicBezTo>
                      <a:cubicBezTo>
                        <a:pt x="18" y="8"/>
                        <a:pt x="18" y="8"/>
                        <a:pt x="19" y="8"/>
                      </a:cubicBezTo>
                      <a:cubicBezTo>
                        <a:pt x="19" y="8"/>
                        <a:pt x="19" y="8"/>
                        <a:pt x="19" y="10"/>
                      </a:cubicBezTo>
                      <a:cubicBezTo>
                        <a:pt x="19" y="7"/>
                        <a:pt x="20" y="4"/>
                        <a:pt x="20" y="1"/>
                      </a:cubicBezTo>
                      <a:cubicBezTo>
                        <a:pt x="19" y="0"/>
                        <a:pt x="18" y="0"/>
                        <a:pt x="17" y="0"/>
                      </a:cubicBezTo>
                      <a:cubicBezTo>
                        <a:pt x="15" y="0"/>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28" name="Freeform 1244"/>
                <p:cNvSpPr>
                  <a:spLocks/>
                </p:cNvSpPr>
                <p:nvPr/>
              </p:nvSpPr>
              <p:spPr bwMode="auto">
                <a:xfrm>
                  <a:off x="14775" y="707"/>
                  <a:ext cx="64" cy="111"/>
                </a:xfrm>
                <a:custGeom>
                  <a:avLst/>
                  <a:gdLst>
                    <a:gd name="T0" fmla="*/ 23 w 27"/>
                    <a:gd name="T1" fmla="*/ 4 h 47"/>
                    <a:gd name="T2" fmla="*/ 17 w 27"/>
                    <a:gd name="T3" fmla="*/ 0 h 47"/>
                    <a:gd name="T4" fmla="*/ 10 w 27"/>
                    <a:gd name="T5" fmla="*/ 0 h 47"/>
                    <a:gd name="T6" fmla="*/ 4 w 27"/>
                    <a:gd name="T7" fmla="*/ 4 h 47"/>
                    <a:gd name="T8" fmla="*/ 0 w 27"/>
                    <a:gd name="T9" fmla="*/ 18 h 47"/>
                    <a:gd name="T10" fmla="*/ 1 w 27"/>
                    <a:gd name="T11" fmla="*/ 20 h 47"/>
                    <a:gd name="T12" fmla="*/ 4 w 27"/>
                    <a:gd name="T13" fmla="*/ 19 h 47"/>
                    <a:gd name="T14" fmla="*/ 7 w 27"/>
                    <a:gd name="T15" fmla="*/ 6 h 47"/>
                    <a:gd name="T16" fmla="*/ 9 w 27"/>
                    <a:gd name="T17" fmla="*/ 6 h 47"/>
                    <a:gd name="T18" fmla="*/ 2 w 27"/>
                    <a:gd name="T19" fmla="*/ 28 h 47"/>
                    <a:gd name="T20" fmla="*/ 8 w 27"/>
                    <a:gd name="T21" fmla="*/ 28 h 47"/>
                    <a:gd name="T22" fmla="*/ 8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5 w 27"/>
                    <a:gd name="T41" fmla="*/ 28 h 47"/>
                    <a:gd name="T42" fmla="*/ 18 w 27"/>
                    <a:gd name="T43" fmla="*/ 6 h 47"/>
                    <a:gd name="T44" fmla="*/ 19 w 27"/>
                    <a:gd name="T45" fmla="*/ 6 h 47"/>
                    <a:gd name="T46" fmla="*/ 23 w 27"/>
                    <a:gd name="T47" fmla="*/ 19 h 47"/>
                    <a:gd name="T48" fmla="*/ 25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19"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ubicBezTo>
                        <a:pt x="4" y="18"/>
                        <a:pt x="7" y="6"/>
                        <a:pt x="7" y="6"/>
                      </a:cubicBezTo>
                      <a:cubicBezTo>
                        <a:pt x="9" y="6"/>
                        <a:pt x="9" y="6"/>
                        <a:pt x="9" y="6"/>
                      </a:cubicBezTo>
                      <a:cubicBezTo>
                        <a:pt x="2" y="28"/>
                        <a:pt x="2" y="28"/>
                        <a:pt x="2" y="28"/>
                      </a:cubicBezTo>
                      <a:cubicBezTo>
                        <a:pt x="8" y="28"/>
                        <a:pt x="8" y="28"/>
                        <a:pt x="8" y="28"/>
                      </a:cubicBezTo>
                      <a:cubicBezTo>
                        <a:pt x="8" y="36"/>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6"/>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29" name="Freeform 1245"/>
                <p:cNvSpPr>
                  <a:spLocks/>
                </p:cNvSpPr>
                <p:nvPr/>
              </p:nvSpPr>
              <p:spPr bwMode="auto">
                <a:xfrm>
                  <a:off x="15042" y="853"/>
                  <a:ext cx="52" cy="67"/>
                </a:xfrm>
                <a:custGeom>
                  <a:avLst/>
                  <a:gdLst>
                    <a:gd name="T0" fmla="*/ 18 w 22"/>
                    <a:gd name="T1" fmla="*/ 8 h 28"/>
                    <a:gd name="T2" fmla="*/ 18 w 22"/>
                    <a:gd name="T3" fmla="*/ 21 h 28"/>
                    <a:gd name="T4" fmla="*/ 20 w 22"/>
                    <a:gd name="T5" fmla="*/ 23 h 28"/>
                    <a:gd name="T6" fmla="*/ 22 w 22"/>
                    <a:gd name="T7" fmla="*/ 21 h 28"/>
                    <a:gd name="T8" fmla="*/ 22 w 22"/>
                    <a:gd name="T9" fmla="*/ 6 h 28"/>
                    <a:gd name="T10" fmla="*/ 16 w 22"/>
                    <a:gd name="T11" fmla="*/ 0 h 28"/>
                    <a:gd name="T12" fmla="*/ 6 w 22"/>
                    <a:gd name="T13" fmla="*/ 0 h 28"/>
                    <a:gd name="T14" fmla="*/ 0 w 22"/>
                    <a:gd name="T15" fmla="*/ 6 h 28"/>
                    <a:gd name="T16" fmla="*/ 0 w 22"/>
                    <a:gd name="T17" fmla="*/ 12 h 28"/>
                    <a:gd name="T18" fmla="*/ 4 w 22"/>
                    <a:gd name="T19" fmla="*/ 10 h 28"/>
                    <a:gd name="T20" fmla="*/ 4 w 22"/>
                    <a:gd name="T21" fmla="*/ 8 h 28"/>
                    <a:gd name="T22" fmla="*/ 5 w 22"/>
                    <a:gd name="T23" fmla="*/ 8 h 28"/>
                    <a:gd name="T24" fmla="*/ 5 w 22"/>
                    <a:gd name="T25" fmla="*/ 10 h 28"/>
                    <a:gd name="T26" fmla="*/ 6 w 22"/>
                    <a:gd name="T27" fmla="*/ 10 h 28"/>
                    <a:gd name="T28" fmla="*/ 11 w 22"/>
                    <a:gd name="T29" fmla="*/ 23 h 28"/>
                    <a:gd name="T30" fmla="*/ 12 w 22"/>
                    <a:gd name="T31" fmla="*/ 23 h 28"/>
                    <a:gd name="T32" fmla="*/ 12 w 22"/>
                    <a:gd name="T33" fmla="*/ 25 h 28"/>
                    <a:gd name="T34" fmla="*/ 17 w 22"/>
                    <a:gd name="T35" fmla="*/ 28 h 28"/>
                    <a:gd name="T36" fmla="*/ 17 w 22"/>
                    <a:gd name="T37" fmla="*/ 8 h 28"/>
                    <a:gd name="T38" fmla="*/ 18 w 22"/>
                    <a:gd name="T39"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28">
                      <a:moveTo>
                        <a:pt x="18" y="8"/>
                      </a:moveTo>
                      <a:cubicBezTo>
                        <a:pt x="18" y="8"/>
                        <a:pt x="18" y="20"/>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8" y="0"/>
                        <a:pt x="6" y="0"/>
                      </a:cubicBezTo>
                      <a:cubicBezTo>
                        <a:pt x="3" y="0"/>
                        <a:pt x="0" y="3"/>
                        <a:pt x="0" y="6"/>
                      </a:cubicBezTo>
                      <a:cubicBezTo>
                        <a:pt x="0" y="7"/>
                        <a:pt x="0" y="9"/>
                        <a:pt x="0" y="12"/>
                      </a:cubicBezTo>
                      <a:cubicBezTo>
                        <a:pt x="1" y="11"/>
                        <a:pt x="2" y="11"/>
                        <a:pt x="4" y="10"/>
                      </a:cubicBezTo>
                      <a:cubicBezTo>
                        <a:pt x="4" y="9"/>
                        <a:pt x="4" y="8"/>
                        <a:pt x="4" y="8"/>
                      </a:cubicBezTo>
                      <a:cubicBezTo>
                        <a:pt x="4" y="8"/>
                        <a:pt x="4" y="8"/>
                        <a:pt x="5" y="8"/>
                      </a:cubicBezTo>
                      <a:cubicBezTo>
                        <a:pt x="5" y="8"/>
                        <a:pt x="5" y="9"/>
                        <a:pt x="5" y="10"/>
                      </a:cubicBezTo>
                      <a:cubicBezTo>
                        <a:pt x="5" y="10"/>
                        <a:pt x="6" y="10"/>
                        <a:pt x="6" y="10"/>
                      </a:cubicBezTo>
                      <a:cubicBezTo>
                        <a:pt x="7" y="16"/>
                        <a:pt x="9" y="20"/>
                        <a:pt x="11" y="23"/>
                      </a:cubicBezTo>
                      <a:cubicBezTo>
                        <a:pt x="11" y="23"/>
                        <a:pt x="11" y="23"/>
                        <a:pt x="12" y="23"/>
                      </a:cubicBezTo>
                      <a:cubicBezTo>
                        <a:pt x="12" y="23"/>
                        <a:pt x="12" y="24"/>
                        <a:pt x="12" y="25"/>
                      </a:cubicBezTo>
                      <a:cubicBezTo>
                        <a:pt x="13" y="27"/>
                        <a:pt x="15" y="28"/>
                        <a:pt x="17" y="28"/>
                      </a:cubicBezTo>
                      <a:cubicBezTo>
                        <a:pt x="17" y="19"/>
                        <a:pt x="17" y="8"/>
                        <a:pt x="17" y="8"/>
                      </a:cubicBezTo>
                      <a:cubicBezTo>
                        <a:pt x="17" y="8"/>
                        <a:pt x="17"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30" name="Freeform 1246"/>
                <p:cNvSpPr>
                  <a:spLocks/>
                </p:cNvSpPr>
                <p:nvPr/>
              </p:nvSpPr>
              <p:spPr bwMode="auto">
                <a:xfrm>
                  <a:off x="15101" y="853"/>
                  <a:ext cx="29" cy="50"/>
                </a:xfrm>
                <a:custGeom>
                  <a:avLst/>
                  <a:gdLst>
                    <a:gd name="T0" fmla="*/ 5 w 12"/>
                    <a:gd name="T1" fmla="*/ 5 h 21"/>
                    <a:gd name="T2" fmla="*/ 1 w 12"/>
                    <a:gd name="T3" fmla="*/ 19 h 21"/>
                    <a:gd name="T4" fmla="*/ 2 w 12"/>
                    <a:gd name="T5" fmla="*/ 21 h 21"/>
                    <a:gd name="T6" fmla="*/ 3 w 12"/>
                    <a:gd name="T7" fmla="*/ 21 h 21"/>
                    <a:gd name="T8" fmla="*/ 4 w 12"/>
                    <a:gd name="T9" fmla="*/ 18 h 21"/>
                    <a:gd name="T10" fmla="*/ 8 w 12"/>
                    <a:gd name="T11" fmla="*/ 7 h 21"/>
                    <a:gd name="T12" fmla="*/ 9 w 12"/>
                    <a:gd name="T13" fmla="*/ 7 h 21"/>
                    <a:gd name="T14" fmla="*/ 7 w 12"/>
                    <a:gd name="T15" fmla="*/ 14 h 21"/>
                    <a:gd name="T16" fmla="*/ 12 w 12"/>
                    <a:gd name="T17" fmla="*/ 0 h 21"/>
                    <a:gd name="T18" fmla="*/ 10 w 12"/>
                    <a:gd name="T19" fmla="*/ 0 h 21"/>
                    <a:gd name="T20" fmla="*/ 5 w 12"/>
                    <a:gd name="T21" fmla="*/ 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1">
                      <a:moveTo>
                        <a:pt x="5" y="5"/>
                      </a:moveTo>
                      <a:cubicBezTo>
                        <a:pt x="3" y="11"/>
                        <a:pt x="1" y="18"/>
                        <a:pt x="1" y="19"/>
                      </a:cubicBezTo>
                      <a:cubicBezTo>
                        <a:pt x="0" y="20"/>
                        <a:pt x="1" y="21"/>
                        <a:pt x="2" y="21"/>
                      </a:cubicBezTo>
                      <a:cubicBezTo>
                        <a:pt x="2" y="21"/>
                        <a:pt x="3" y="21"/>
                        <a:pt x="3" y="21"/>
                      </a:cubicBezTo>
                      <a:cubicBezTo>
                        <a:pt x="3" y="20"/>
                        <a:pt x="4" y="19"/>
                        <a:pt x="4" y="18"/>
                      </a:cubicBezTo>
                      <a:cubicBezTo>
                        <a:pt x="5" y="15"/>
                        <a:pt x="8" y="7"/>
                        <a:pt x="8" y="7"/>
                      </a:cubicBezTo>
                      <a:cubicBezTo>
                        <a:pt x="9" y="7"/>
                        <a:pt x="9" y="7"/>
                        <a:pt x="9" y="7"/>
                      </a:cubicBezTo>
                      <a:cubicBezTo>
                        <a:pt x="8" y="9"/>
                        <a:pt x="8" y="12"/>
                        <a:pt x="7" y="14"/>
                      </a:cubicBezTo>
                      <a:cubicBezTo>
                        <a:pt x="9" y="10"/>
                        <a:pt x="11" y="5"/>
                        <a:pt x="12" y="0"/>
                      </a:cubicBezTo>
                      <a:cubicBezTo>
                        <a:pt x="11" y="0"/>
                        <a:pt x="10" y="0"/>
                        <a:pt x="10" y="0"/>
                      </a:cubicBezTo>
                      <a:cubicBezTo>
                        <a:pt x="8" y="0"/>
                        <a:pt x="5" y="3"/>
                        <a:pt x="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31" name="Freeform 1247"/>
                <p:cNvSpPr>
                  <a:spLocks/>
                </p:cNvSpPr>
                <p:nvPr/>
              </p:nvSpPr>
              <p:spPr bwMode="auto">
                <a:xfrm>
                  <a:off x="14846" y="707"/>
                  <a:ext cx="52" cy="109"/>
                </a:xfrm>
                <a:custGeom>
                  <a:avLst/>
                  <a:gdLst>
                    <a:gd name="T0" fmla="*/ 2 w 22"/>
                    <a:gd name="T1" fmla="*/ 23 h 46"/>
                    <a:gd name="T2" fmla="*/ 4 w 22"/>
                    <a:gd name="T3" fmla="*/ 20 h 46"/>
                    <a:gd name="T4" fmla="*/ 4 w 22"/>
                    <a:gd name="T5" fmla="*/ 7 h 46"/>
                    <a:gd name="T6" fmla="*/ 5 w 22"/>
                    <a:gd name="T7" fmla="*/ 7 h 46"/>
                    <a:gd name="T8" fmla="*/ 5 w 22"/>
                    <a:gd name="T9" fmla="*/ 44 h 46"/>
                    <a:gd name="T10" fmla="*/ 8 w 22"/>
                    <a:gd name="T11" fmla="*/ 46 h 46"/>
                    <a:gd name="T12" fmla="*/ 11 w 22"/>
                    <a:gd name="T13" fmla="*/ 44 h 46"/>
                    <a:gd name="T14" fmla="*/ 11 w 22"/>
                    <a:gd name="T15" fmla="*/ 23 h 46"/>
                    <a:gd name="T16" fmla="*/ 12 w 22"/>
                    <a:gd name="T17" fmla="*/ 23 h 46"/>
                    <a:gd name="T18" fmla="*/ 12 w 22"/>
                    <a:gd name="T19" fmla="*/ 44 h 46"/>
                    <a:gd name="T20" fmla="*/ 14 w 22"/>
                    <a:gd name="T21" fmla="*/ 46 h 46"/>
                    <a:gd name="T22" fmla="*/ 17 w 22"/>
                    <a:gd name="T23" fmla="*/ 44 h 46"/>
                    <a:gd name="T24" fmla="*/ 17 w 22"/>
                    <a:gd name="T25" fmla="*/ 7 h 46"/>
                    <a:gd name="T26" fmla="*/ 18 w 22"/>
                    <a:gd name="T27" fmla="*/ 7 h 46"/>
                    <a:gd name="T28" fmla="*/ 18 w 22"/>
                    <a:gd name="T29" fmla="*/ 20 h 46"/>
                    <a:gd name="T30" fmla="*/ 20 w 22"/>
                    <a:gd name="T31" fmla="*/ 23 h 46"/>
                    <a:gd name="T32" fmla="*/ 22 w 22"/>
                    <a:gd name="T33" fmla="*/ 20 h 46"/>
                    <a:gd name="T34" fmla="*/ 22 w 22"/>
                    <a:gd name="T35" fmla="*/ 6 h 46"/>
                    <a:gd name="T36" fmla="*/ 16 w 22"/>
                    <a:gd name="T37" fmla="*/ 0 h 46"/>
                    <a:gd name="T38" fmla="*/ 6 w 22"/>
                    <a:gd name="T39" fmla="*/ 0 h 46"/>
                    <a:gd name="T40" fmla="*/ 0 w 22"/>
                    <a:gd name="T41" fmla="*/ 6 h 46"/>
                    <a:gd name="T42" fmla="*/ 0 w 22"/>
                    <a:gd name="T43" fmla="*/ 20 h 46"/>
                    <a:gd name="T44" fmla="*/ 2 w 22"/>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 y="23"/>
                      </a:move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7"/>
                        <a:pt x="22" y="6"/>
                      </a:cubicBezTo>
                      <a:cubicBezTo>
                        <a:pt x="22" y="3"/>
                        <a:pt x="20" y="0"/>
                        <a:pt x="16" y="0"/>
                      </a:cubicBezTo>
                      <a:cubicBezTo>
                        <a:pt x="15" y="0"/>
                        <a:pt x="7" y="0"/>
                        <a:pt x="6" y="0"/>
                      </a:cubicBezTo>
                      <a:cubicBezTo>
                        <a:pt x="2" y="0"/>
                        <a:pt x="0" y="3"/>
                        <a:pt x="0" y="6"/>
                      </a:cubicBezTo>
                      <a:cubicBezTo>
                        <a:pt x="0" y="7"/>
                        <a:pt x="0" y="19"/>
                        <a:pt x="0" y="20"/>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32" name="Oval 1248"/>
                <p:cNvSpPr>
                  <a:spLocks noChangeArrowheads="1"/>
                </p:cNvSpPr>
                <p:nvPr/>
              </p:nvSpPr>
              <p:spPr bwMode="auto">
                <a:xfrm>
                  <a:off x="14860" y="974"/>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33" name="Freeform 1249"/>
                <p:cNvSpPr>
                  <a:spLocks/>
                </p:cNvSpPr>
                <p:nvPr/>
              </p:nvSpPr>
              <p:spPr bwMode="auto">
                <a:xfrm>
                  <a:off x="14192" y="1000"/>
                  <a:ext cx="55" cy="111"/>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7 w 23"/>
                    <a:gd name="T23" fmla="*/ 44 h 47"/>
                    <a:gd name="T24" fmla="*/ 17 w 23"/>
                    <a:gd name="T25" fmla="*/ 8 h 47"/>
                    <a:gd name="T26" fmla="*/ 18 w 23"/>
                    <a:gd name="T27" fmla="*/ 8 h 47"/>
                    <a:gd name="T28" fmla="*/ 18 w 23"/>
                    <a:gd name="T29" fmla="*/ 21 h 47"/>
                    <a:gd name="T30" fmla="*/ 21 w 23"/>
                    <a:gd name="T31" fmla="*/ 23 h 47"/>
                    <a:gd name="T32" fmla="*/ 23 w 23"/>
                    <a:gd name="T33" fmla="*/ 21 h 47"/>
                    <a:gd name="T34" fmla="*/ 23 w 23"/>
                    <a:gd name="T35" fmla="*/ 6 h 47"/>
                    <a:gd name="T36" fmla="*/ 16 w 23"/>
                    <a:gd name="T37" fmla="*/ 0 h 47"/>
                    <a:gd name="T38" fmla="*/ 6 w 23"/>
                    <a:gd name="T39" fmla="*/ 0 h 47"/>
                    <a:gd name="T40" fmla="*/ 0 w 23"/>
                    <a:gd name="T41" fmla="*/ 6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1" y="23"/>
                      </a:cubicBezTo>
                      <a:cubicBezTo>
                        <a:pt x="22" y="23"/>
                        <a:pt x="23" y="22"/>
                        <a:pt x="23" y="21"/>
                      </a:cubicBezTo>
                      <a:cubicBezTo>
                        <a:pt x="23" y="20"/>
                        <a:pt x="23" y="8"/>
                        <a:pt x="23" y="6"/>
                      </a:cubicBezTo>
                      <a:cubicBezTo>
                        <a:pt x="23" y="3"/>
                        <a:pt x="20" y="0"/>
                        <a:pt x="16" y="0"/>
                      </a:cubicBezTo>
                      <a:cubicBezTo>
                        <a:pt x="15" y="0"/>
                        <a:pt x="8" y="0"/>
                        <a:pt x="6" y="0"/>
                      </a:cubicBezTo>
                      <a:cubicBezTo>
                        <a:pt x="3"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34" name="Freeform 1250"/>
                <p:cNvSpPr>
                  <a:spLocks/>
                </p:cNvSpPr>
                <p:nvPr/>
              </p:nvSpPr>
              <p:spPr bwMode="auto">
                <a:xfrm>
                  <a:off x="14252" y="1000"/>
                  <a:ext cx="64" cy="111"/>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4 w 27"/>
                    <a:gd name="T17" fmla="*/ 45 h 47"/>
                    <a:gd name="T18" fmla="*/ 14 w 27"/>
                    <a:gd name="T19" fmla="*/ 28 h 47"/>
                    <a:gd name="T20" fmla="*/ 15 w 27"/>
                    <a:gd name="T21" fmla="*/ 28 h 47"/>
                    <a:gd name="T22" fmla="*/ 15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4 w 27"/>
                    <a:gd name="T37" fmla="*/ 20 h 47"/>
                    <a:gd name="T38" fmla="*/ 26 w 27"/>
                    <a:gd name="T39" fmla="*/ 21 h 47"/>
                    <a:gd name="T40" fmla="*/ 27 w 27"/>
                    <a:gd name="T41" fmla="*/ 18 h 47"/>
                    <a:gd name="T42" fmla="*/ 23 w 27"/>
                    <a:gd name="T43" fmla="*/ 5 h 47"/>
                    <a:gd name="T44" fmla="*/ 18 w 27"/>
                    <a:gd name="T45" fmla="*/ 0 h 47"/>
                    <a:gd name="T46" fmla="*/ 10 w 27"/>
                    <a:gd name="T47" fmla="*/ 0 h 47"/>
                    <a:gd name="T48" fmla="*/ 5 w 27"/>
                    <a:gd name="T49" fmla="*/ 5 h 47"/>
                    <a:gd name="T50" fmla="*/ 1 w 27"/>
                    <a:gd name="T51" fmla="*/ 18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0"/>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0"/>
                        <a:pt x="25" y="21"/>
                        <a:pt x="26" y="21"/>
                      </a:cubicBezTo>
                      <a:cubicBezTo>
                        <a:pt x="27" y="20"/>
                        <a:pt x="27" y="19"/>
                        <a:pt x="27" y="18"/>
                      </a:cubicBezTo>
                      <a:cubicBezTo>
                        <a:pt x="27" y="18"/>
                        <a:pt x="25" y="10"/>
                        <a:pt x="23" y="5"/>
                      </a:cubicBezTo>
                      <a:cubicBezTo>
                        <a:pt x="22" y="2"/>
                        <a:pt x="20" y="0"/>
                        <a:pt x="18" y="0"/>
                      </a:cubicBezTo>
                      <a:cubicBezTo>
                        <a:pt x="17" y="0"/>
                        <a:pt x="11" y="0"/>
                        <a:pt x="10" y="0"/>
                      </a:cubicBezTo>
                      <a:cubicBezTo>
                        <a:pt x="8" y="0"/>
                        <a:pt x="5" y="2"/>
                        <a:pt x="5" y="5"/>
                      </a:cubicBezTo>
                      <a:cubicBezTo>
                        <a:pt x="3" y="10"/>
                        <a:pt x="1" y="18"/>
                        <a:pt x="1" y="18"/>
                      </a:cubicBezTo>
                      <a:cubicBezTo>
                        <a:pt x="0" y="19"/>
                        <a:pt x="1" y="20"/>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35" name="Oval 1251"/>
                <p:cNvSpPr>
                  <a:spLocks noChangeArrowheads="1"/>
                </p:cNvSpPr>
                <p:nvPr/>
              </p:nvSpPr>
              <p:spPr bwMode="auto">
                <a:xfrm>
                  <a:off x="14273"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36" name="Oval 1252"/>
                <p:cNvSpPr>
                  <a:spLocks noChangeArrowheads="1"/>
                </p:cNvSpPr>
                <p:nvPr/>
              </p:nvSpPr>
              <p:spPr bwMode="auto">
                <a:xfrm>
                  <a:off x="14209"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37" name="Freeform 1253"/>
                <p:cNvSpPr>
                  <a:spLocks/>
                </p:cNvSpPr>
                <p:nvPr/>
              </p:nvSpPr>
              <p:spPr bwMode="auto">
                <a:xfrm>
                  <a:off x="14188" y="889"/>
                  <a:ext cx="12" cy="14"/>
                </a:xfrm>
                <a:custGeom>
                  <a:avLst/>
                  <a:gdLst>
                    <a:gd name="T0" fmla="*/ 1 w 5"/>
                    <a:gd name="T1" fmla="*/ 6 h 6"/>
                    <a:gd name="T2" fmla="*/ 4 w 5"/>
                    <a:gd name="T3" fmla="*/ 5 h 6"/>
                    <a:gd name="T4" fmla="*/ 5 w 5"/>
                    <a:gd name="T5" fmla="*/ 0 h 6"/>
                    <a:gd name="T6" fmla="*/ 1 w 5"/>
                    <a:gd name="T7" fmla="*/ 1 h 6"/>
                    <a:gd name="T8" fmla="*/ 0 w 5"/>
                    <a:gd name="T9" fmla="*/ 4 h 6"/>
                    <a:gd name="T10" fmla="*/ 1 w 5"/>
                    <a:gd name="T11" fmla="*/ 6 h 6"/>
                  </a:gdLst>
                  <a:ahLst/>
                  <a:cxnLst>
                    <a:cxn ang="0">
                      <a:pos x="T0" y="T1"/>
                    </a:cxn>
                    <a:cxn ang="0">
                      <a:pos x="T2" y="T3"/>
                    </a:cxn>
                    <a:cxn ang="0">
                      <a:pos x="T4" y="T5"/>
                    </a:cxn>
                    <a:cxn ang="0">
                      <a:pos x="T6" y="T7"/>
                    </a:cxn>
                    <a:cxn ang="0">
                      <a:pos x="T8" y="T9"/>
                    </a:cxn>
                    <a:cxn ang="0">
                      <a:pos x="T10" y="T11"/>
                    </a:cxn>
                  </a:cxnLst>
                  <a:rect l="0" t="0" r="r" b="b"/>
                  <a:pathLst>
                    <a:path w="5" h="6">
                      <a:moveTo>
                        <a:pt x="1" y="6"/>
                      </a:moveTo>
                      <a:cubicBezTo>
                        <a:pt x="2" y="6"/>
                        <a:pt x="3" y="6"/>
                        <a:pt x="4" y="5"/>
                      </a:cubicBezTo>
                      <a:cubicBezTo>
                        <a:pt x="4" y="4"/>
                        <a:pt x="4" y="2"/>
                        <a:pt x="5" y="0"/>
                      </a:cubicBezTo>
                      <a:cubicBezTo>
                        <a:pt x="4" y="0"/>
                        <a:pt x="2" y="1"/>
                        <a:pt x="1" y="1"/>
                      </a:cubicBezTo>
                      <a:cubicBezTo>
                        <a:pt x="0" y="2"/>
                        <a:pt x="0" y="3"/>
                        <a:pt x="0" y="4"/>
                      </a:cubicBezTo>
                      <a:cubicBezTo>
                        <a:pt x="0" y="5"/>
                        <a:pt x="0" y="6"/>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38" name="Freeform 1254"/>
                <p:cNvSpPr>
                  <a:spLocks/>
                </p:cNvSpPr>
                <p:nvPr/>
              </p:nvSpPr>
              <p:spPr bwMode="auto">
                <a:xfrm>
                  <a:off x="14273" y="681"/>
                  <a:ext cx="24" cy="16"/>
                </a:xfrm>
                <a:custGeom>
                  <a:avLst/>
                  <a:gdLst>
                    <a:gd name="T0" fmla="*/ 5 w 10"/>
                    <a:gd name="T1" fmla="*/ 0 h 7"/>
                    <a:gd name="T2" fmla="*/ 0 w 10"/>
                    <a:gd name="T3" fmla="*/ 5 h 7"/>
                    <a:gd name="T4" fmla="*/ 1 w 10"/>
                    <a:gd name="T5" fmla="*/ 7 h 7"/>
                    <a:gd name="T6" fmla="*/ 9 w 10"/>
                    <a:gd name="T7" fmla="*/ 7 h 7"/>
                    <a:gd name="T8" fmla="*/ 10 w 10"/>
                    <a:gd name="T9" fmla="*/ 5 h 7"/>
                    <a:gd name="T10" fmla="*/ 5 w 10"/>
                    <a:gd name="T11" fmla="*/ 0 h 7"/>
                  </a:gdLst>
                  <a:ahLst/>
                  <a:cxnLst>
                    <a:cxn ang="0">
                      <a:pos x="T0" y="T1"/>
                    </a:cxn>
                    <a:cxn ang="0">
                      <a:pos x="T2" y="T3"/>
                    </a:cxn>
                    <a:cxn ang="0">
                      <a:pos x="T4" y="T5"/>
                    </a:cxn>
                    <a:cxn ang="0">
                      <a:pos x="T6" y="T7"/>
                    </a:cxn>
                    <a:cxn ang="0">
                      <a:pos x="T8" y="T9"/>
                    </a:cxn>
                    <a:cxn ang="0">
                      <a:pos x="T10" y="T11"/>
                    </a:cxn>
                  </a:cxnLst>
                  <a:rect l="0" t="0" r="r" b="b"/>
                  <a:pathLst>
                    <a:path w="10" h="7">
                      <a:moveTo>
                        <a:pt x="5" y="0"/>
                      </a:moveTo>
                      <a:cubicBezTo>
                        <a:pt x="2" y="0"/>
                        <a:pt x="0" y="2"/>
                        <a:pt x="0" y="5"/>
                      </a:cubicBezTo>
                      <a:cubicBezTo>
                        <a:pt x="0" y="6"/>
                        <a:pt x="0" y="6"/>
                        <a:pt x="1" y="7"/>
                      </a:cubicBezTo>
                      <a:cubicBezTo>
                        <a:pt x="3" y="7"/>
                        <a:pt x="6" y="7"/>
                        <a:pt x="9" y="7"/>
                      </a:cubicBezTo>
                      <a:cubicBezTo>
                        <a:pt x="10" y="6"/>
                        <a:pt x="10" y="6"/>
                        <a:pt x="10" y="5"/>
                      </a:cubicBezTo>
                      <a:cubicBezTo>
                        <a:pt x="10" y="2"/>
                        <a:pt x="8"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39" name="Freeform 1255"/>
                <p:cNvSpPr>
                  <a:spLocks/>
                </p:cNvSpPr>
                <p:nvPr/>
              </p:nvSpPr>
              <p:spPr bwMode="auto">
                <a:xfrm>
                  <a:off x="14339" y="681"/>
                  <a:ext cx="22" cy="14"/>
                </a:xfrm>
                <a:custGeom>
                  <a:avLst/>
                  <a:gdLst>
                    <a:gd name="T0" fmla="*/ 5 w 9"/>
                    <a:gd name="T1" fmla="*/ 0 h 6"/>
                    <a:gd name="T2" fmla="*/ 0 w 9"/>
                    <a:gd name="T3" fmla="*/ 5 h 6"/>
                    <a:gd name="T4" fmla="*/ 0 w 9"/>
                    <a:gd name="T5" fmla="*/ 6 h 6"/>
                    <a:gd name="T6" fmla="*/ 9 w 9"/>
                    <a:gd name="T7" fmla="*/ 5 h 6"/>
                    <a:gd name="T8" fmla="*/ 9 w 9"/>
                    <a:gd name="T9" fmla="*/ 5 h 6"/>
                    <a:gd name="T10" fmla="*/ 5 w 9"/>
                    <a:gd name="T11" fmla="*/ 0 h 6"/>
                  </a:gdLst>
                  <a:ahLst/>
                  <a:cxnLst>
                    <a:cxn ang="0">
                      <a:pos x="T0" y="T1"/>
                    </a:cxn>
                    <a:cxn ang="0">
                      <a:pos x="T2" y="T3"/>
                    </a:cxn>
                    <a:cxn ang="0">
                      <a:pos x="T4" y="T5"/>
                    </a:cxn>
                    <a:cxn ang="0">
                      <a:pos x="T6" y="T7"/>
                    </a:cxn>
                    <a:cxn ang="0">
                      <a:pos x="T8" y="T9"/>
                    </a:cxn>
                    <a:cxn ang="0">
                      <a:pos x="T10" y="T11"/>
                    </a:cxn>
                  </a:cxnLst>
                  <a:rect l="0" t="0" r="r" b="b"/>
                  <a:pathLst>
                    <a:path w="9" h="6">
                      <a:moveTo>
                        <a:pt x="5" y="0"/>
                      </a:moveTo>
                      <a:cubicBezTo>
                        <a:pt x="2" y="0"/>
                        <a:pt x="0" y="2"/>
                        <a:pt x="0" y="5"/>
                      </a:cubicBezTo>
                      <a:cubicBezTo>
                        <a:pt x="0" y="5"/>
                        <a:pt x="0" y="5"/>
                        <a:pt x="0" y="6"/>
                      </a:cubicBezTo>
                      <a:cubicBezTo>
                        <a:pt x="3" y="6"/>
                        <a:pt x="6" y="5"/>
                        <a:pt x="9" y="5"/>
                      </a:cubicBezTo>
                      <a:cubicBezTo>
                        <a:pt x="9" y="5"/>
                        <a:pt x="9" y="5"/>
                        <a:pt x="9" y="5"/>
                      </a:cubicBezTo>
                      <a:cubicBezTo>
                        <a:pt x="9" y="2"/>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40" name="Freeform 1256"/>
                <p:cNvSpPr>
                  <a:spLocks/>
                </p:cNvSpPr>
                <p:nvPr/>
              </p:nvSpPr>
              <p:spPr bwMode="auto">
                <a:xfrm>
                  <a:off x="14439" y="745"/>
                  <a:ext cx="9" cy="11"/>
                </a:xfrm>
                <a:custGeom>
                  <a:avLst/>
                  <a:gdLst>
                    <a:gd name="T0" fmla="*/ 2 w 4"/>
                    <a:gd name="T1" fmla="*/ 4 h 5"/>
                    <a:gd name="T2" fmla="*/ 4 w 4"/>
                    <a:gd name="T3" fmla="*/ 2 h 5"/>
                    <a:gd name="T4" fmla="*/ 3 w 4"/>
                    <a:gd name="T5" fmla="*/ 0 h 5"/>
                    <a:gd name="T6" fmla="*/ 0 w 4"/>
                    <a:gd name="T7" fmla="*/ 4 h 5"/>
                    <a:gd name="T8" fmla="*/ 2 w 4"/>
                    <a:gd name="T9" fmla="*/ 4 h 5"/>
                  </a:gdLst>
                  <a:ahLst/>
                  <a:cxnLst>
                    <a:cxn ang="0">
                      <a:pos x="T0" y="T1"/>
                    </a:cxn>
                    <a:cxn ang="0">
                      <a:pos x="T2" y="T3"/>
                    </a:cxn>
                    <a:cxn ang="0">
                      <a:pos x="T4" y="T5"/>
                    </a:cxn>
                    <a:cxn ang="0">
                      <a:pos x="T6" y="T7"/>
                    </a:cxn>
                    <a:cxn ang="0">
                      <a:pos x="T8" y="T9"/>
                    </a:cxn>
                  </a:cxnLst>
                  <a:rect l="0" t="0" r="r" b="b"/>
                  <a:pathLst>
                    <a:path w="4" h="5">
                      <a:moveTo>
                        <a:pt x="2" y="4"/>
                      </a:moveTo>
                      <a:cubicBezTo>
                        <a:pt x="3" y="4"/>
                        <a:pt x="4" y="3"/>
                        <a:pt x="4" y="2"/>
                      </a:cubicBezTo>
                      <a:cubicBezTo>
                        <a:pt x="3" y="2"/>
                        <a:pt x="3" y="1"/>
                        <a:pt x="3" y="0"/>
                      </a:cubicBezTo>
                      <a:cubicBezTo>
                        <a:pt x="2" y="1"/>
                        <a:pt x="2" y="3"/>
                        <a:pt x="0" y="4"/>
                      </a:cubicBezTo>
                      <a:cubicBezTo>
                        <a:pt x="1" y="4"/>
                        <a:pt x="2"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41" name="Freeform 1257"/>
                <p:cNvSpPr>
                  <a:spLocks/>
                </p:cNvSpPr>
                <p:nvPr/>
              </p:nvSpPr>
              <p:spPr bwMode="auto">
                <a:xfrm>
                  <a:off x="14585" y="707"/>
                  <a:ext cx="55" cy="109"/>
                </a:xfrm>
                <a:custGeom>
                  <a:avLst/>
                  <a:gdLst>
                    <a:gd name="T0" fmla="*/ 21 w 23"/>
                    <a:gd name="T1" fmla="*/ 23 h 46"/>
                    <a:gd name="T2" fmla="*/ 23 w 23"/>
                    <a:gd name="T3" fmla="*/ 20 h 46"/>
                    <a:gd name="T4" fmla="*/ 23 w 23"/>
                    <a:gd name="T5" fmla="*/ 6 h 46"/>
                    <a:gd name="T6" fmla="*/ 17 w 23"/>
                    <a:gd name="T7" fmla="*/ 0 h 46"/>
                    <a:gd name="T8" fmla="*/ 6 w 23"/>
                    <a:gd name="T9" fmla="*/ 0 h 46"/>
                    <a:gd name="T10" fmla="*/ 0 w 23"/>
                    <a:gd name="T11" fmla="*/ 6 h 46"/>
                    <a:gd name="T12" fmla="*/ 0 w 23"/>
                    <a:gd name="T13" fmla="*/ 20 h 46"/>
                    <a:gd name="T14" fmla="*/ 2 w 23"/>
                    <a:gd name="T15" fmla="*/ 23 h 46"/>
                    <a:gd name="T16" fmla="*/ 4 w 23"/>
                    <a:gd name="T17" fmla="*/ 20 h 46"/>
                    <a:gd name="T18" fmla="*/ 4 w 23"/>
                    <a:gd name="T19" fmla="*/ 7 h 46"/>
                    <a:gd name="T20" fmla="*/ 5 w 23"/>
                    <a:gd name="T21" fmla="*/ 7 h 46"/>
                    <a:gd name="T22" fmla="*/ 5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7 w 23"/>
                    <a:gd name="T37" fmla="*/ 44 h 46"/>
                    <a:gd name="T38" fmla="*/ 17 w 23"/>
                    <a:gd name="T39" fmla="*/ 7 h 46"/>
                    <a:gd name="T40" fmla="*/ 19 w 23"/>
                    <a:gd name="T41" fmla="*/ 7 h 46"/>
                    <a:gd name="T42" fmla="*/ 19 w 23"/>
                    <a:gd name="T43" fmla="*/ 20 h 46"/>
                    <a:gd name="T44" fmla="*/ 21 w 23"/>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3"/>
                      </a:moveTo>
                      <a:cubicBezTo>
                        <a:pt x="22" y="23"/>
                        <a:pt x="23" y="22"/>
                        <a:pt x="23" y="20"/>
                      </a:cubicBezTo>
                      <a:cubicBezTo>
                        <a:pt x="23" y="19"/>
                        <a:pt x="23" y="7"/>
                        <a:pt x="23" y="6"/>
                      </a:cubicBezTo>
                      <a:cubicBezTo>
                        <a:pt x="23" y="3"/>
                        <a:pt x="20" y="0"/>
                        <a:pt x="17" y="0"/>
                      </a:cubicBezTo>
                      <a:cubicBezTo>
                        <a:pt x="15" y="0"/>
                        <a:pt x="8" y="0"/>
                        <a:pt x="6" y="0"/>
                      </a:cubicBezTo>
                      <a:cubicBezTo>
                        <a:pt x="3" y="0"/>
                        <a:pt x="0" y="3"/>
                        <a:pt x="0" y="6"/>
                      </a:cubicBez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42" name="Freeform 1258"/>
                <p:cNvSpPr>
                  <a:spLocks/>
                </p:cNvSpPr>
                <p:nvPr/>
              </p:nvSpPr>
              <p:spPr bwMode="auto">
                <a:xfrm>
                  <a:off x="14405" y="681"/>
                  <a:ext cx="22" cy="19"/>
                </a:xfrm>
                <a:custGeom>
                  <a:avLst/>
                  <a:gdLst>
                    <a:gd name="T0" fmla="*/ 9 w 9"/>
                    <a:gd name="T1" fmla="*/ 5 h 8"/>
                    <a:gd name="T2" fmla="*/ 4 w 9"/>
                    <a:gd name="T3" fmla="*/ 0 h 8"/>
                    <a:gd name="T4" fmla="*/ 0 w 9"/>
                    <a:gd name="T5" fmla="*/ 5 h 8"/>
                    <a:gd name="T6" fmla="*/ 0 w 9"/>
                    <a:gd name="T7" fmla="*/ 6 h 8"/>
                    <a:gd name="T8" fmla="*/ 7 w 9"/>
                    <a:gd name="T9" fmla="*/ 8 h 8"/>
                    <a:gd name="T10" fmla="*/ 9 w 9"/>
                    <a:gd name="T11" fmla="*/ 5 h 8"/>
                  </a:gdLst>
                  <a:ahLst/>
                  <a:cxnLst>
                    <a:cxn ang="0">
                      <a:pos x="T0" y="T1"/>
                    </a:cxn>
                    <a:cxn ang="0">
                      <a:pos x="T2" y="T3"/>
                    </a:cxn>
                    <a:cxn ang="0">
                      <a:pos x="T4" y="T5"/>
                    </a:cxn>
                    <a:cxn ang="0">
                      <a:pos x="T6" y="T7"/>
                    </a:cxn>
                    <a:cxn ang="0">
                      <a:pos x="T8" y="T9"/>
                    </a:cxn>
                    <a:cxn ang="0">
                      <a:pos x="T10" y="T11"/>
                    </a:cxn>
                  </a:cxnLst>
                  <a:rect l="0" t="0" r="r" b="b"/>
                  <a:pathLst>
                    <a:path w="9" h="8">
                      <a:moveTo>
                        <a:pt x="9" y="5"/>
                      </a:moveTo>
                      <a:cubicBezTo>
                        <a:pt x="9" y="2"/>
                        <a:pt x="7" y="0"/>
                        <a:pt x="4" y="0"/>
                      </a:cubicBezTo>
                      <a:cubicBezTo>
                        <a:pt x="2" y="0"/>
                        <a:pt x="0" y="2"/>
                        <a:pt x="0" y="5"/>
                      </a:cubicBezTo>
                      <a:cubicBezTo>
                        <a:pt x="0" y="5"/>
                        <a:pt x="0" y="6"/>
                        <a:pt x="0" y="6"/>
                      </a:cubicBezTo>
                      <a:cubicBezTo>
                        <a:pt x="3" y="7"/>
                        <a:pt x="6" y="7"/>
                        <a:pt x="7" y="8"/>
                      </a:cubicBezTo>
                      <a:cubicBezTo>
                        <a:pt x="8" y="8"/>
                        <a:pt x="9" y="6"/>
                        <a:pt x="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43" name="Oval 1259"/>
                <p:cNvSpPr>
                  <a:spLocks noChangeArrowheads="1"/>
                </p:cNvSpPr>
                <p:nvPr/>
              </p:nvSpPr>
              <p:spPr bwMode="auto">
                <a:xfrm>
                  <a:off x="14602" y="681"/>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44" name="Freeform 1260"/>
                <p:cNvSpPr>
                  <a:spLocks/>
                </p:cNvSpPr>
                <p:nvPr/>
              </p:nvSpPr>
              <p:spPr bwMode="auto">
                <a:xfrm>
                  <a:off x="14644" y="707"/>
                  <a:ext cx="67" cy="111"/>
                </a:xfrm>
                <a:custGeom>
                  <a:avLst/>
                  <a:gdLst>
                    <a:gd name="T0" fmla="*/ 23 w 28"/>
                    <a:gd name="T1" fmla="*/ 4 h 47"/>
                    <a:gd name="T2" fmla="*/ 18 w 28"/>
                    <a:gd name="T3" fmla="*/ 0 h 47"/>
                    <a:gd name="T4" fmla="*/ 10 w 28"/>
                    <a:gd name="T5" fmla="*/ 0 h 47"/>
                    <a:gd name="T6" fmla="*/ 5 w 28"/>
                    <a:gd name="T7" fmla="*/ 4 h 47"/>
                    <a:gd name="T8" fmla="*/ 1 w 28"/>
                    <a:gd name="T9" fmla="*/ 18 h 47"/>
                    <a:gd name="T10" fmla="*/ 2 w 28"/>
                    <a:gd name="T11" fmla="*/ 20 h 47"/>
                    <a:gd name="T12" fmla="*/ 4 w 28"/>
                    <a:gd name="T13" fmla="*/ 19 h 47"/>
                    <a:gd name="T14" fmla="*/ 8 w 28"/>
                    <a:gd name="T15" fmla="*/ 6 h 47"/>
                    <a:gd name="T16" fmla="*/ 9 w 28"/>
                    <a:gd name="T17" fmla="*/ 6 h 47"/>
                    <a:gd name="T18" fmla="*/ 3 w 28"/>
                    <a:gd name="T19" fmla="*/ 28 h 47"/>
                    <a:gd name="T20" fmla="*/ 9 w 28"/>
                    <a:gd name="T21" fmla="*/ 28 h 47"/>
                    <a:gd name="T22" fmla="*/ 9 w 28"/>
                    <a:gd name="T23" fmla="*/ 44 h 47"/>
                    <a:gd name="T24" fmla="*/ 11 w 28"/>
                    <a:gd name="T25" fmla="*/ 47 h 47"/>
                    <a:gd name="T26" fmla="*/ 14 w 28"/>
                    <a:gd name="T27" fmla="*/ 44 h 47"/>
                    <a:gd name="T28" fmla="*/ 14 w 28"/>
                    <a:gd name="T29" fmla="*/ 28 h 47"/>
                    <a:gd name="T30" fmla="*/ 15 w 28"/>
                    <a:gd name="T31" fmla="*/ 28 h 47"/>
                    <a:gd name="T32" fmla="*/ 15 w 28"/>
                    <a:gd name="T33" fmla="*/ 44 h 47"/>
                    <a:gd name="T34" fmla="*/ 17 w 28"/>
                    <a:gd name="T35" fmla="*/ 47 h 47"/>
                    <a:gd name="T36" fmla="*/ 19 w 28"/>
                    <a:gd name="T37" fmla="*/ 44 h 47"/>
                    <a:gd name="T38" fmla="*/ 19 w 28"/>
                    <a:gd name="T39" fmla="*/ 28 h 47"/>
                    <a:gd name="T40" fmla="*/ 25 w 28"/>
                    <a:gd name="T41" fmla="*/ 28 h 47"/>
                    <a:gd name="T42" fmla="*/ 19 w 28"/>
                    <a:gd name="T43" fmla="*/ 6 h 47"/>
                    <a:gd name="T44" fmla="*/ 20 w 28"/>
                    <a:gd name="T45" fmla="*/ 6 h 47"/>
                    <a:gd name="T46" fmla="*/ 24 w 28"/>
                    <a:gd name="T47" fmla="*/ 19 h 47"/>
                    <a:gd name="T48" fmla="*/ 26 w 28"/>
                    <a:gd name="T49" fmla="*/ 20 h 47"/>
                    <a:gd name="T50" fmla="*/ 27 w 28"/>
                    <a:gd name="T51" fmla="*/ 18 h 47"/>
                    <a:gd name="T52" fmla="*/ 23 w 28"/>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4"/>
                      </a:moveTo>
                      <a:cubicBezTo>
                        <a:pt x="23" y="2"/>
                        <a:pt x="20" y="0"/>
                        <a:pt x="18" y="0"/>
                      </a:cubicBezTo>
                      <a:cubicBezTo>
                        <a:pt x="17" y="0"/>
                        <a:pt x="11" y="0"/>
                        <a:pt x="10" y="0"/>
                      </a:cubicBezTo>
                      <a:cubicBezTo>
                        <a:pt x="8" y="0"/>
                        <a:pt x="6"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6"/>
                        <a:pt x="9" y="43"/>
                        <a:pt x="9" y="44"/>
                      </a:cubicBezTo>
                      <a:cubicBezTo>
                        <a:pt x="9" y="46"/>
                        <a:pt x="10" y="47"/>
                        <a:pt x="11" y="47"/>
                      </a:cubicBezTo>
                      <a:cubicBezTo>
                        <a:pt x="13" y="47"/>
                        <a:pt x="14" y="46"/>
                        <a:pt x="14" y="44"/>
                      </a:cubicBezTo>
                      <a:cubicBezTo>
                        <a:pt x="14" y="43"/>
                        <a:pt x="14" y="28"/>
                        <a:pt x="14" y="28"/>
                      </a:cubicBezTo>
                      <a:cubicBezTo>
                        <a:pt x="15" y="28"/>
                        <a:pt x="15" y="28"/>
                        <a:pt x="15" y="28"/>
                      </a:cubicBezTo>
                      <a:cubicBezTo>
                        <a:pt x="15" y="28"/>
                        <a:pt x="15" y="43"/>
                        <a:pt x="15" y="44"/>
                      </a:cubicBezTo>
                      <a:cubicBezTo>
                        <a:pt x="15" y="46"/>
                        <a:pt x="16" y="47"/>
                        <a:pt x="17" y="47"/>
                      </a:cubicBezTo>
                      <a:cubicBezTo>
                        <a:pt x="18" y="47"/>
                        <a:pt x="19" y="46"/>
                        <a:pt x="19" y="44"/>
                      </a:cubicBezTo>
                      <a:cubicBezTo>
                        <a:pt x="19" y="43"/>
                        <a:pt x="19" y="36"/>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8"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45" name="Oval 1261"/>
                <p:cNvSpPr>
                  <a:spLocks noChangeArrowheads="1"/>
                </p:cNvSpPr>
                <p:nvPr/>
              </p:nvSpPr>
              <p:spPr bwMode="auto">
                <a:xfrm>
                  <a:off x="14666" y="681"/>
                  <a:ext cx="23"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46" name="Oval 1262"/>
                <p:cNvSpPr>
                  <a:spLocks noChangeArrowheads="1"/>
                </p:cNvSpPr>
                <p:nvPr/>
              </p:nvSpPr>
              <p:spPr bwMode="auto">
                <a:xfrm>
                  <a:off x="14602"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47" name="Freeform 1263"/>
                <p:cNvSpPr>
                  <a:spLocks/>
                </p:cNvSpPr>
                <p:nvPr/>
              </p:nvSpPr>
              <p:spPr bwMode="auto">
                <a:xfrm>
                  <a:off x="14403" y="756"/>
                  <a:ext cx="38" cy="62"/>
                </a:xfrm>
                <a:custGeom>
                  <a:avLst/>
                  <a:gdLst>
                    <a:gd name="T0" fmla="*/ 3 w 16"/>
                    <a:gd name="T1" fmla="*/ 26 h 26"/>
                    <a:gd name="T2" fmla="*/ 5 w 16"/>
                    <a:gd name="T3" fmla="*/ 23 h 26"/>
                    <a:gd name="T4" fmla="*/ 5 w 16"/>
                    <a:gd name="T5" fmla="*/ 7 h 26"/>
                    <a:gd name="T6" fmla="*/ 6 w 16"/>
                    <a:gd name="T7" fmla="*/ 7 h 26"/>
                    <a:gd name="T8" fmla="*/ 6 w 16"/>
                    <a:gd name="T9" fmla="*/ 23 h 26"/>
                    <a:gd name="T10" fmla="*/ 8 w 16"/>
                    <a:gd name="T11" fmla="*/ 26 h 26"/>
                    <a:gd name="T12" fmla="*/ 10 w 16"/>
                    <a:gd name="T13" fmla="*/ 23 h 26"/>
                    <a:gd name="T14" fmla="*/ 10 w 16"/>
                    <a:gd name="T15" fmla="*/ 7 h 26"/>
                    <a:gd name="T16" fmla="*/ 16 w 16"/>
                    <a:gd name="T17" fmla="*/ 7 h 26"/>
                    <a:gd name="T18" fmla="*/ 14 w 16"/>
                    <a:gd name="T19" fmla="*/ 0 h 26"/>
                    <a:gd name="T20" fmla="*/ 0 w 16"/>
                    <a:gd name="T21" fmla="*/ 8 h 26"/>
                    <a:gd name="T22" fmla="*/ 0 w 16"/>
                    <a:gd name="T23" fmla="*/ 23 h 26"/>
                    <a:gd name="T24" fmla="*/ 3 w 16"/>
                    <a:gd name="T2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3" y="26"/>
                      </a:moveTo>
                      <a:cubicBezTo>
                        <a:pt x="4" y="26"/>
                        <a:pt x="5" y="25"/>
                        <a:pt x="5" y="23"/>
                      </a:cubicBezTo>
                      <a:cubicBezTo>
                        <a:pt x="5" y="22"/>
                        <a:pt x="5" y="7"/>
                        <a:pt x="5" y="7"/>
                      </a:cubicBezTo>
                      <a:cubicBezTo>
                        <a:pt x="6" y="7"/>
                        <a:pt x="6" y="7"/>
                        <a:pt x="6" y="7"/>
                      </a:cubicBezTo>
                      <a:cubicBezTo>
                        <a:pt x="6" y="7"/>
                        <a:pt x="6" y="22"/>
                        <a:pt x="6" y="23"/>
                      </a:cubicBezTo>
                      <a:cubicBezTo>
                        <a:pt x="6" y="25"/>
                        <a:pt x="7" y="26"/>
                        <a:pt x="8" y="26"/>
                      </a:cubicBezTo>
                      <a:cubicBezTo>
                        <a:pt x="9" y="26"/>
                        <a:pt x="10" y="25"/>
                        <a:pt x="10" y="23"/>
                      </a:cubicBezTo>
                      <a:cubicBezTo>
                        <a:pt x="10" y="22"/>
                        <a:pt x="10" y="15"/>
                        <a:pt x="10" y="7"/>
                      </a:cubicBezTo>
                      <a:cubicBezTo>
                        <a:pt x="16" y="7"/>
                        <a:pt x="16" y="7"/>
                        <a:pt x="16" y="7"/>
                      </a:cubicBezTo>
                      <a:cubicBezTo>
                        <a:pt x="16" y="4"/>
                        <a:pt x="15" y="2"/>
                        <a:pt x="14" y="0"/>
                      </a:cubicBezTo>
                      <a:cubicBezTo>
                        <a:pt x="11" y="3"/>
                        <a:pt x="6" y="6"/>
                        <a:pt x="0" y="8"/>
                      </a:cubicBezTo>
                      <a:cubicBezTo>
                        <a:pt x="0" y="15"/>
                        <a:pt x="0" y="23"/>
                        <a:pt x="0" y="23"/>
                      </a:cubicBezTo>
                      <a:cubicBezTo>
                        <a:pt x="0" y="25"/>
                        <a:pt x="1" y="26"/>
                        <a:pt x="3"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48" name="Freeform 1264"/>
                <p:cNvSpPr>
                  <a:spLocks/>
                </p:cNvSpPr>
                <p:nvPr/>
              </p:nvSpPr>
              <p:spPr bwMode="auto">
                <a:xfrm>
                  <a:off x="14581" y="853"/>
                  <a:ext cx="63" cy="112"/>
                </a:xfrm>
                <a:custGeom>
                  <a:avLst/>
                  <a:gdLst>
                    <a:gd name="T0" fmla="*/ 1 w 27"/>
                    <a:gd name="T1" fmla="*/ 21 h 47"/>
                    <a:gd name="T2" fmla="*/ 4 w 27"/>
                    <a:gd name="T3" fmla="*/ 20 h 47"/>
                    <a:gd name="T4" fmla="*/ 8 w 27"/>
                    <a:gd name="T5" fmla="*/ 7 h 47"/>
                    <a:gd name="T6" fmla="*/ 9 w 27"/>
                    <a:gd name="T7" fmla="*/ 7 h 47"/>
                    <a:gd name="T8" fmla="*/ 2 w 27"/>
                    <a:gd name="T9" fmla="*/ 28 h 47"/>
                    <a:gd name="T10" fmla="*/ 8 w 27"/>
                    <a:gd name="T11" fmla="*/ 28 h 47"/>
                    <a:gd name="T12" fmla="*/ 8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5 w 27"/>
                    <a:gd name="T31" fmla="*/ 28 h 47"/>
                    <a:gd name="T32" fmla="*/ 18 w 27"/>
                    <a:gd name="T33" fmla="*/ 7 h 47"/>
                    <a:gd name="T34" fmla="*/ 19 w 27"/>
                    <a:gd name="T35" fmla="*/ 7 h 47"/>
                    <a:gd name="T36" fmla="*/ 23 w 27"/>
                    <a:gd name="T37" fmla="*/ 20 h 47"/>
                    <a:gd name="T38" fmla="*/ 25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8" y="7"/>
                        <a:pt x="8"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3"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49" name="Oval 1265"/>
                <p:cNvSpPr>
                  <a:spLocks noChangeArrowheads="1"/>
                </p:cNvSpPr>
                <p:nvPr/>
              </p:nvSpPr>
              <p:spPr bwMode="auto">
                <a:xfrm>
                  <a:off x="14666" y="830"/>
                  <a:ext cx="23"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50" name="Freeform 1266"/>
                <p:cNvSpPr>
                  <a:spLocks/>
                </p:cNvSpPr>
                <p:nvPr/>
              </p:nvSpPr>
              <p:spPr bwMode="auto">
                <a:xfrm>
                  <a:off x="14351" y="790"/>
                  <a:ext cx="14" cy="26"/>
                </a:xfrm>
                <a:custGeom>
                  <a:avLst/>
                  <a:gdLst>
                    <a:gd name="T0" fmla="*/ 0 w 6"/>
                    <a:gd name="T1" fmla="*/ 2 h 11"/>
                    <a:gd name="T2" fmla="*/ 0 w 6"/>
                    <a:gd name="T3" fmla="*/ 9 h 11"/>
                    <a:gd name="T4" fmla="*/ 3 w 6"/>
                    <a:gd name="T5" fmla="*/ 11 h 11"/>
                    <a:gd name="T6" fmla="*/ 6 w 6"/>
                    <a:gd name="T7" fmla="*/ 9 h 11"/>
                    <a:gd name="T8" fmla="*/ 6 w 6"/>
                    <a:gd name="T9" fmla="*/ 0 h 11"/>
                    <a:gd name="T10" fmla="*/ 2 w 6"/>
                    <a:gd name="T11" fmla="*/ 1 h 11"/>
                    <a:gd name="T12" fmla="*/ 0 w 6"/>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6" h="11">
                      <a:moveTo>
                        <a:pt x="0" y="2"/>
                      </a:moveTo>
                      <a:cubicBezTo>
                        <a:pt x="0" y="5"/>
                        <a:pt x="0" y="8"/>
                        <a:pt x="0" y="9"/>
                      </a:cubicBezTo>
                      <a:cubicBezTo>
                        <a:pt x="0" y="10"/>
                        <a:pt x="1" y="11"/>
                        <a:pt x="3" y="11"/>
                      </a:cubicBezTo>
                      <a:cubicBezTo>
                        <a:pt x="4" y="11"/>
                        <a:pt x="6" y="10"/>
                        <a:pt x="6" y="9"/>
                      </a:cubicBezTo>
                      <a:cubicBezTo>
                        <a:pt x="6" y="8"/>
                        <a:pt x="6" y="4"/>
                        <a:pt x="6" y="0"/>
                      </a:cubicBezTo>
                      <a:cubicBezTo>
                        <a:pt x="4" y="0"/>
                        <a:pt x="3" y="1"/>
                        <a:pt x="2" y="1"/>
                      </a:cubicBezTo>
                      <a:cubicBezTo>
                        <a:pt x="1" y="2"/>
                        <a:pt x="1"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51" name="Freeform 1267"/>
                <p:cNvSpPr>
                  <a:spLocks/>
                </p:cNvSpPr>
                <p:nvPr/>
              </p:nvSpPr>
              <p:spPr bwMode="auto">
                <a:xfrm>
                  <a:off x="14652" y="853"/>
                  <a:ext cx="52" cy="112"/>
                </a:xfrm>
                <a:custGeom>
                  <a:avLst/>
                  <a:gdLst>
                    <a:gd name="T0" fmla="*/ 0 w 22"/>
                    <a:gd name="T1" fmla="*/ 6 h 47"/>
                    <a:gd name="T2" fmla="*/ 0 w 22"/>
                    <a:gd name="T3" fmla="*/ 21 h 47"/>
                    <a:gd name="T4" fmla="*/ 2 w 22"/>
                    <a:gd name="T5" fmla="*/ 23 h 47"/>
                    <a:gd name="T6" fmla="*/ 4 w 22"/>
                    <a:gd name="T7" fmla="*/ 21 h 47"/>
                    <a:gd name="T8" fmla="*/ 4 w 22"/>
                    <a:gd name="T9" fmla="*/ 8 h 47"/>
                    <a:gd name="T10" fmla="*/ 5 w 22"/>
                    <a:gd name="T11" fmla="*/ 8 h 47"/>
                    <a:gd name="T12" fmla="*/ 5 w 22"/>
                    <a:gd name="T13" fmla="*/ 44 h 47"/>
                    <a:gd name="T14" fmla="*/ 8 w 22"/>
                    <a:gd name="T15" fmla="*/ 47 h 47"/>
                    <a:gd name="T16" fmla="*/ 11 w 22"/>
                    <a:gd name="T17" fmla="*/ 44 h 47"/>
                    <a:gd name="T18" fmla="*/ 11 w 22"/>
                    <a:gd name="T19" fmla="*/ 23 h 47"/>
                    <a:gd name="T20" fmla="*/ 12 w 22"/>
                    <a:gd name="T21" fmla="*/ 23 h 47"/>
                    <a:gd name="T22" fmla="*/ 12 w 22"/>
                    <a:gd name="T23" fmla="*/ 44 h 47"/>
                    <a:gd name="T24" fmla="*/ 14 w 22"/>
                    <a:gd name="T25" fmla="*/ 47 h 47"/>
                    <a:gd name="T26" fmla="*/ 17 w 22"/>
                    <a:gd name="T27" fmla="*/ 44 h 47"/>
                    <a:gd name="T28" fmla="*/ 17 w 22"/>
                    <a:gd name="T29" fmla="*/ 8 h 47"/>
                    <a:gd name="T30" fmla="*/ 18 w 22"/>
                    <a:gd name="T31" fmla="*/ 8 h 47"/>
                    <a:gd name="T32" fmla="*/ 18 w 22"/>
                    <a:gd name="T33" fmla="*/ 21 h 47"/>
                    <a:gd name="T34" fmla="*/ 20 w 22"/>
                    <a:gd name="T35" fmla="*/ 23 h 47"/>
                    <a:gd name="T36" fmla="*/ 22 w 22"/>
                    <a:gd name="T37" fmla="*/ 21 h 47"/>
                    <a:gd name="T38" fmla="*/ 22 w 22"/>
                    <a:gd name="T39" fmla="*/ 6 h 47"/>
                    <a:gd name="T40" fmla="*/ 16 w 22"/>
                    <a:gd name="T41" fmla="*/ 0 h 47"/>
                    <a:gd name="T42" fmla="*/ 6 w 22"/>
                    <a:gd name="T43" fmla="*/ 0 h 47"/>
                    <a:gd name="T44" fmla="*/ 0 w 22"/>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6"/>
                      </a:move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2" y="23"/>
                        <a:pt x="22" y="22"/>
                        <a:pt x="22" y="21"/>
                      </a:cubicBezTo>
                      <a:cubicBezTo>
                        <a:pt x="22" y="20"/>
                        <a:pt x="22" y="8"/>
                        <a:pt x="22" y="6"/>
                      </a:cubicBezTo>
                      <a:cubicBezTo>
                        <a:pt x="22" y="3"/>
                        <a:pt x="20" y="0"/>
                        <a:pt x="16" y="0"/>
                      </a:cubicBezTo>
                      <a:cubicBezTo>
                        <a:pt x="15" y="0"/>
                        <a:pt x="7"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52" name="Freeform 1268"/>
                <p:cNvSpPr>
                  <a:spLocks/>
                </p:cNvSpPr>
                <p:nvPr/>
              </p:nvSpPr>
              <p:spPr bwMode="auto">
                <a:xfrm>
                  <a:off x="14585" y="1000"/>
                  <a:ext cx="55" cy="111"/>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7 w 23"/>
                    <a:gd name="T31" fmla="*/ 44 h 47"/>
                    <a:gd name="T32" fmla="*/ 17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53" name="Freeform 1269"/>
                <p:cNvSpPr>
                  <a:spLocks/>
                </p:cNvSpPr>
                <p:nvPr/>
              </p:nvSpPr>
              <p:spPr bwMode="auto">
                <a:xfrm>
                  <a:off x="14192" y="877"/>
                  <a:ext cx="55" cy="88"/>
                </a:xfrm>
                <a:custGeom>
                  <a:avLst/>
                  <a:gdLst>
                    <a:gd name="T0" fmla="*/ 4 w 23"/>
                    <a:gd name="T1" fmla="*/ 5 h 37"/>
                    <a:gd name="T2" fmla="*/ 0 w 23"/>
                    <a:gd name="T3" fmla="*/ 18 h 37"/>
                    <a:gd name="T4" fmla="*/ 6 w 23"/>
                    <a:gd name="T5" fmla="*/ 18 h 37"/>
                    <a:gd name="T6" fmla="*/ 6 w 23"/>
                    <a:gd name="T7" fmla="*/ 35 h 37"/>
                    <a:gd name="T8" fmla="*/ 9 w 23"/>
                    <a:gd name="T9" fmla="*/ 37 h 37"/>
                    <a:gd name="T10" fmla="*/ 11 w 23"/>
                    <a:gd name="T11" fmla="*/ 35 h 37"/>
                    <a:gd name="T12" fmla="*/ 11 w 23"/>
                    <a:gd name="T13" fmla="*/ 18 h 37"/>
                    <a:gd name="T14" fmla="*/ 12 w 23"/>
                    <a:gd name="T15" fmla="*/ 18 h 37"/>
                    <a:gd name="T16" fmla="*/ 12 w 23"/>
                    <a:gd name="T17" fmla="*/ 35 h 37"/>
                    <a:gd name="T18" fmla="*/ 14 w 23"/>
                    <a:gd name="T19" fmla="*/ 37 h 37"/>
                    <a:gd name="T20" fmla="*/ 16 w 23"/>
                    <a:gd name="T21" fmla="*/ 35 h 37"/>
                    <a:gd name="T22" fmla="*/ 16 w 23"/>
                    <a:gd name="T23" fmla="*/ 18 h 37"/>
                    <a:gd name="T24" fmla="*/ 23 w 23"/>
                    <a:gd name="T25" fmla="*/ 18 h 37"/>
                    <a:gd name="T26" fmla="*/ 17 w 23"/>
                    <a:gd name="T27" fmla="*/ 0 h 37"/>
                    <a:gd name="T28" fmla="*/ 9 w 23"/>
                    <a:gd name="T29" fmla="*/ 3 h 37"/>
                    <a:gd name="T30" fmla="*/ 4 w 23"/>
                    <a:gd name="T31" fmla="*/ 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7">
                      <a:moveTo>
                        <a:pt x="4" y="5"/>
                      </a:moveTo>
                      <a:cubicBezTo>
                        <a:pt x="0" y="18"/>
                        <a:pt x="0" y="18"/>
                        <a:pt x="0" y="18"/>
                      </a:cubicBezTo>
                      <a:cubicBezTo>
                        <a:pt x="6" y="18"/>
                        <a:pt x="6" y="18"/>
                        <a:pt x="6" y="18"/>
                      </a:cubicBezTo>
                      <a:cubicBezTo>
                        <a:pt x="6" y="26"/>
                        <a:pt x="6" y="34"/>
                        <a:pt x="6" y="35"/>
                      </a:cubicBezTo>
                      <a:cubicBezTo>
                        <a:pt x="6" y="36"/>
                        <a:pt x="7" y="37"/>
                        <a:pt x="9" y="37"/>
                      </a:cubicBezTo>
                      <a:cubicBezTo>
                        <a:pt x="10" y="37"/>
                        <a:pt x="11" y="36"/>
                        <a:pt x="11" y="35"/>
                      </a:cubicBezTo>
                      <a:cubicBezTo>
                        <a:pt x="11" y="33"/>
                        <a:pt x="11" y="18"/>
                        <a:pt x="11" y="18"/>
                      </a:cubicBezTo>
                      <a:cubicBezTo>
                        <a:pt x="12" y="18"/>
                        <a:pt x="12" y="18"/>
                        <a:pt x="12" y="18"/>
                      </a:cubicBezTo>
                      <a:cubicBezTo>
                        <a:pt x="12" y="18"/>
                        <a:pt x="12" y="33"/>
                        <a:pt x="12" y="35"/>
                      </a:cubicBezTo>
                      <a:cubicBezTo>
                        <a:pt x="12" y="36"/>
                        <a:pt x="13" y="37"/>
                        <a:pt x="14" y="37"/>
                      </a:cubicBezTo>
                      <a:cubicBezTo>
                        <a:pt x="15" y="37"/>
                        <a:pt x="16" y="36"/>
                        <a:pt x="16" y="35"/>
                      </a:cubicBezTo>
                      <a:cubicBezTo>
                        <a:pt x="16" y="34"/>
                        <a:pt x="16" y="26"/>
                        <a:pt x="16" y="18"/>
                      </a:cubicBezTo>
                      <a:cubicBezTo>
                        <a:pt x="23" y="18"/>
                        <a:pt x="23" y="18"/>
                        <a:pt x="23" y="18"/>
                      </a:cubicBezTo>
                      <a:cubicBezTo>
                        <a:pt x="20" y="8"/>
                        <a:pt x="18" y="3"/>
                        <a:pt x="17" y="0"/>
                      </a:cubicBezTo>
                      <a:cubicBezTo>
                        <a:pt x="14" y="1"/>
                        <a:pt x="12" y="2"/>
                        <a:pt x="9" y="3"/>
                      </a:cubicBezTo>
                      <a:cubicBezTo>
                        <a:pt x="7" y="4"/>
                        <a:pt x="6" y="4"/>
                        <a:pt x="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54" name="Oval 1270"/>
                <p:cNvSpPr>
                  <a:spLocks noChangeArrowheads="1"/>
                </p:cNvSpPr>
                <p:nvPr/>
              </p:nvSpPr>
              <p:spPr bwMode="auto">
                <a:xfrm>
                  <a:off x="14602"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55" name="Freeform 1271"/>
                <p:cNvSpPr>
                  <a:spLocks/>
                </p:cNvSpPr>
                <p:nvPr/>
              </p:nvSpPr>
              <p:spPr bwMode="auto">
                <a:xfrm>
                  <a:off x="14644" y="1000"/>
                  <a:ext cx="67" cy="111"/>
                </a:xfrm>
                <a:custGeom>
                  <a:avLst/>
                  <a:gdLst>
                    <a:gd name="T0" fmla="*/ 23 w 28"/>
                    <a:gd name="T1" fmla="*/ 5 h 47"/>
                    <a:gd name="T2" fmla="*/ 18 w 28"/>
                    <a:gd name="T3" fmla="*/ 0 h 47"/>
                    <a:gd name="T4" fmla="*/ 10 w 28"/>
                    <a:gd name="T5" fmla="*/ 0 h 47"/>
                    <a:gd name="T6" fmla="*/ 5 w 28"/>
                    <a:gd name="T7" fmla="*/ 5 h 47"/>
                    <a:gd name="T8" fmla="*/ 1 w 28"/>
                    <a:gd name="T9" fmla="*/ 18 h 47"/>
                    <a:gd name="T10" fmla="*/ 2 w 28"/>
                    <a:gd name="T11" fmla="*/ 21 h 47"/>
                    <a:gd name="T12" fmla="*/ 4 w 28"/>
                    <a:gd name="T13" fmla="*/ 20 h 47"/>
                    <a:gd name="T14" fmla="*/ 8 w 28"/>
                    <a:gd name="T15" fmla="*/ 7 h 47"/>
                    <a:gd name="T16" fmla="*/ 9 w 28"/>
                    <a:gd name="T17" fmla="*/ 7 h 47"/>
                    <a:gd name="T18" fmla="*/ 3 w 28"/>
                    <a:gd name="T19" fmla="*/ 28 h 47"/>
                    <a:gd name="T20" fmla="*/ 9 w 28"/>
                    <a:gd name="T21" fmla="*/ 28 h 47"/>
                    <a:gd name="T22" fmla="*/ 9 w 28"/>
                    <a:gd name="T23" fmla="*/ 45 h 47"/>
                    <a:gd name="T24" fmla="*/ 11 w 28"/>
                    <a:gd name="T25" fmla="*/ 47 h 47"/>
                    <a:gd name="T26" fmla="*/ 14 w 28"/>
                    <a:gd name="T27" fmla="*/ 45 h 47"/>
                    <a:gd name="T28" fmla="*/ 14 w 28"/>
                    <a:gd name="T29" fmla="*/ 28 h 47"/>
                    <a:gd name="T30" fmla="*/ 15 w 28"/>
                    <a:gd name="T31" fmla="*/ 28 h 47"/>
                    <a:gd name="T32" fmla="*/ 15 w 28"/>
                    <a:gd name="T33" fmla="*/ 45 h 47"/>
                    <a:gd name="T34" fmla="*/ 17 w 28"/>
                    <a:gd name="T35" fmla="*/ 47 h 47"/>
                    <a:gd name="T36" fmla="*/ 19 w 28"/>
                    <a:gd name="T37" fmla="*/ 45 h 47"/>
                    <a:gd name="T38" fmla="*/ 19 w 28"/>
                    <a:gd name="T39" fmla="*/ 28 h 47"/>
                    <a:gd name="T40" fmla="*/ 25 w 28"/>
                    <a:gd name="T41" fmla="*/ 28 h 47"/>
                    <a:gd name="T42" fmla="*/ 19 w 28"/>
                    <a:gd name="T43" fmla="*/ 7 h 47"/>
                    <a:gd name="T44" fmla="*/ 20 w 28"/>
                    <a:gd name="T45" fmla="*/ 7 h 47"/>
                    <a:gd name="T46" fmla="*/ 24 w 28"/>
                    <a:gd name="T47" fmla="*/ 20 h 47"/>
                    <a:gd name="T48" fmla="*/ 26 w 28"/>
                    <a:gd name="T49" fmla="*/ 21 h 47"/>
                    <a:gd name="T50" fmla="*/ 27 w 28"/>
                    <a:gd name="T51" fmla="*/ 18 h 47"/>
                    <a:gd name="T52" fmla="*/ 23 w 28"/>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5"/>
                      </a:moveTo>
                      <a:cubicBezTo>
                        <a:pt x="23" y="2"/>
                        <a:pt x="20" y="0"/>
                        <a:pt x="18" y="0"/>
                      </a:cubicBezTo>
                      <a:cubicBezTo>
                        <a:pt x="17" y="0"/>
                        <a:pt x="11" y="0"/>
                        <a:pt x="10" y="0"/>
                      </a:cubicBezTo>
                      <a:cubicBezTo>
                        <a:pt x="8" y="0"/>
                        <a:pt x="6" y="2"/>
                        <a:pt x="5" y="5"/>
                      </a:cubicBezTo>
                      <a:cubicBezTo>
                        <a:pt x="3" y="10"/>
                        <a:pt x="1" y="18"/>
                        <a:pt x="1" y="18"/>
                      </a:cubicBezTo>
                      <a:cubicBezTo>
                        <a:pt x="0" y="19"/>
                        <a:pt x="1" y="20"/>
                        <a:pt x="2" y="21"/>
                      </a:cubicBezTo>
                      <a:cubicBezTo>
                        <a:pt x="3" y="21"/>
                        <a:pt x="4" y="20"/>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3"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0"/>
                        <a:pt x="25" y="21"/>
                        <a:pt x="26" y="21"/>
                      </a:cubicBezTo>
                      <a:cubicBezTo>
                        <a:pt x="27" y="20"/>
                        <a:pt x="28"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56" name="Freeform 1272"/>
                <p:cNvSpPr>
                  <a:spLocks/>
                </p:cNvSpPr>
                <p:nvPr/>
              </p:nvSpPr>
              <p:spPr bwMode="auto">
                <a:xfrm>
                  <a:off x="14235" y="872"/>
                  <a:ext cx="17" cy="31"/>
                </a:xfrm>
                <a:custGeom>
                  <a:avLst/>
                  <a:gdLst>
                    <a:gd name="T0" fmla="*/ 3 w 7"/>
                    <a:gd name="T1" fmla="*/ 12 h 13"/>
                    <a:gd name="T2" fmla="*/ 5 w 7"/>
                    <a:gd name="T3" fmla="*/ 13 h 13"/>
                    <a:gd name="T4" fmla="*/ 6 w 7"/>
                    <a:gd name="T5" fmla="*/ 11 h 13"/>
                    <a:gd name="T6" fmla="*/ 3 w 7"/>
                    <a:gd name="T7" fmla="*/ 0 h 13"/>
                    <a:gd name="T8" fmla="*/ 0 w 7"/>
                    <a:gd name="T9" fmla="*/ 2 h 13"/>
                    <a:gd name="T10" fmla="*/ 3 w 7"/>
                    <a:gd name="T11" fmla="*/ 12 h 13"/>
                  </a:gdLst>
                  <a:ahLst/>
                  <a:cxnLst>
                    <a:cxn ang="0">
                      <a:pos x="T0" y="T1"/>
                    </a:cxn>
                    <a:cxn ang="0">
                      <a:pos x="T2" y="T3"/>
                    </a:cxn>
                    <a:cxn ang="0">
                      <a:pos x="T4" y="T5"/>
                    </a:cxn>
                    <a:cxn ang="0">
                      <a:pos x="T6" y="T7"/>
                    </a:cxn>
                    <a:cxn ang="0">
                      <a:pos x="T8" y="T9"/>
                    </a:cxn>
                    <a:cxn ang="0">
                      <a:pos x="T10" y="T11"/>
                    </a:cxn>
                  </a:cxnLst>
                  <a:rect l="0" t="0" r="r" b="b"/>
                  <a:pathLst>
                    <a:path w="7" h="13">
                      <a:moveTo>
                        <a:pt x="3" y="12"/>
                      </a:moveTo>
                      <a:cubicBezTo>
                        <a:pt x="3" y="13"/>
                        <a:pt x="4" y="13"/>
                        <a:pt x="5" y="13"/>
                      </a:cubicBezTo>
                      <a:cubicBezTo>
                        <a:pt x="6" y="13"/>
                        <a:pt x="7" y="12"/>
                        <a:pt x="6" y="11"/>
                      </a:cubicBezTo>
                      <a:cubicBezTo>
                        <a:pt x="6" y="10"/>
                        <a:pt x="5" y="5"/>
                        <a:pt x="3" y="0"/>
                      </a:cubicBezTo>
                      <a:cubicBezTo>
                        <a:pt x="2" y="0"/>
                        <a:pt x="1" y="1"/>
                        <a:pt x="0" y="2"/>
                      </a:cubicBezTo>
                      <a:cubicBezTo>
                        <a:pt x="1" y="5"/>
                        <a:pt x="3" y="11"/>
                        <a:pt x="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57" name="Freeform 1273"/>
                <p:cNvSpPr>
                  <a:spLocks/>
                </p:cNvSpPr>
                <p:nvPr/>
              </p:nvSpPr>
              <p:spPr bwMode="auto">
                <a:xfrm>
                  <a:off x="14337" y="797"/>
                  <a:ext cx="12" cy="19"/>
                </a:xfrm>
                <a:custGeom>
                  <a:avLst/>
                  <a:gdLst>
                    <a:gd name="T0" fmla="*/ 2 w 5"/>
                    <a:gd name="T1" fmla="*/ 8 h 8"/>
                    <a:gd name="T2" fmla="*/ 5 w 5"/>
                    <a:gd name="T3" fmla="*/ 6 h 8"/>
                    <a:gd name="T4" fmla="*/ 5 w 5"/>
                    <a:gd name="T5" fmla="*/ 0 h 8"/>
                    <a:gd name="T6" fmla="*/ 0 w 5"/>
                    <a:gd name="T7" fmla="*/ 3 h 8"/>
                    <a:gd name="T8" fmla="*/ 0 w 5"/>
                    <a:gd name="T9" fmla="*/ 6 h 8"/>
                    <a:gd name="T10" fmla="*/ 2 w 5"/>
                    <a:gd name="T11" fmla="*/ 8 h 8"/>
                  </a:gdLst>
                  <a:ahLst/>
                  <a:cxnLst>
                    <a:cxn ang="0">
                      <a:pos x="T0" y="T1"/>
                    </a:cxn>
                    <a:cxn ang="0">
                      <a:pos x="T2" y="T3"/>
                    </a:cxn>
                    <a:cxn ang="0">
                      <a:pos x="T4" y="T5"/>
                    </a:cxn>
                    <a:cxn ang="0">
                      <a:pos x="T6" y="T7"/>
                    </a:cxn>
                    <a:cxn ang="0">
                      <a:pos x="T8" y="T9"/>
                    </a:cxn>
                    <a:cxn ang="0">
                      <a:pos x="T10" y="T11"/>
                    </a:cxn>
                  </a:cxnLst>
                  <a:rect l="0" t="0" r="r" b="b"/>
                  <a:pathLst>
                    <a:path w="5" h="8">
                      <a:moveTo>
                        <a:pt x="2" y="8"/>
                      </a:moveTo>
                      <a:cubicBezTo>
                        <a:pt x="4" y="8"/>
                        <a:pt x="5" y="7"/>
                        <a:pt x="5" y="6"/>
                      </a:cubicBezTo>
                      <a:cubicBezTo>
                        <a:pt x="5" y="5"/>
                        <a:pt x="5" y="3"/>
                        <a:pt x="5" y="0"/>
                      </a:cubicBezTo>
                      <a:cubicBezTo>
                        <a:pt x="3" y="1"/>
                        <a:pt x="1" y="2"/>
                        <a:pt x="0" y="3"/>
                      </a:cubicBezTo>
                      <a:cubicBezTo>
                        <a:pt x="0" y="5"/>
                        <a:pt x="0" y="5"/>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58" name="Freeform 1274"/>
                <p:cNvSpPr>
                  <a:spLocks/>
                </p:cNvSpPr>
                <p:nvPr/>
              </p:nvSpPr>
              <p:spPr bwMode="auto">
                <a:xfrm>
                  <a:off x="14278" y="835"/>
                  <a:ext cx="19" cy="16"/>
                </a:xfrm>
                <a:custGeom>
                  <a:avLst/>
                  <a:gdLst>
                    <a:gd name="T0" fmla="*/ 8 w 8"/>
                    <a:gd name="T1" fmla="*/ 2 h 7"/>
                    <a:gd name="T2" fmla="*/ 7 w 8"/>
                    <a:gd name="T3" fmla="*/ 0 h 7"/>
                    <a:gd name="T4" fmla="*/ 0 w 8"/>
                    <a:gd name="T5" fmla="*/ 6 h 7"/>
                    <a:gd name="T6" fmla="*/ 3 w 8"/>
                    <a:gd name="T7" fmla="*/ 7 h 7"/>
                    <a:gd name="T8" fmla="*/ 8 w 8"/>
                    <a:gd name="T9" fmla="*/ 2 h 7"/>
                  </a:gdLst>
                  <a:ahLst/>
                  <a:cxnLst>
                    <a:cxn ang="0">
                      <a:pos x="T0" y="T1"/>
                    </a:cxn>
                    <a:cxn ang="0">
                      <a:pos x="T2" y="T3"/>
                    </a:cxn>
                    <a:cxn ang="0">
                      <a:pos x="T4" y="T5"/>
                    </a:cxn>
                    <a:cxn ang="0">
                      <a:pos x="T6" y="T7"/>
                    </a:cxn>
                    <a:cxn ang="0">
                      <a:pos x="T8" y="T9"/>
                    </a:cxn>
                  </a:cxnLst>
                  <a:rect l="0" t="0" r="r" b="b"/>
                  <a:pathLst>
                    <a:path w="8" h="7">
                      <a:moveTo>
                        <a:pt x="8" y="2"/>
                      </a:moveTo>
                      <a:cubicBezTo>
                        <a:pt x="8" y="2"/>
                        <a:pt x="8" y="1"/>
                        <a:pt x="7" y="0"/>
                      </a:cubicBezTo>
                      <a:cubicBezTo>
                        <a:pt x="5" y="2"/>
                        <a:pt x="2" y="4"/>
                        <a:pt x="0" y="6"/>
                      </a:cubicBezTo>
                      <a:cubicBezTo>
                        <a:pt x="1" y="7"/>
                        <a:pt x="2" y="7"/>
                        <a:pt x="3" y="7"/>
                      </a:cubicBezTo>
                      <a:cubicBezTo>
                        <a:pt x="6" y="7"/>
                        <a:pt x="8" y="5"/>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59" name="Freeform 1275"/>
                <p:cNvSpPr>
                  <a:spLocks/>
                </p:cNvSpPr>
                <p:nvPr/>
              </p:nvSpPr>
              <p:spPr bwMode="auto">
                <a:xfrm>
                  <a:off x="14259" y="853"/>
                  <a:ext cx="52" cy="112"/>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8 w 22"/>
                    <a:gd name="T13" fmla="*/ 47 h 47"/>
                    <a:gd name="T14" fmla="*/ 10 w 22"/>
                    <a:gd name="T15" fmla="*/ 44 h 47"/>
                    <a:gd name="T16" fmla="*/ 10 w 22"/>
                    <a:gd name="T17" fmla="*/ 23 h 47"/>
                    <a:gd name="T18" fmla="*/ 12 w 22"/>
                    <a:gd name="T19" fmla="*/ 23 h 47"/>
                    <a:gd name="T20" fmla="*/ 12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6 h 47"/>
                    <a:gd name="T38" fmla="*/ 16 w 22"/>
                    <a:gd name="T39" fmla="*/ 0 h 47"/>
                    <a:gd name="T40" fmla="*/ 6 w 22"/>
                    <a:gd name="T41" fmla="*/ 0 h 47"/>
                    <a:gd name="T42" fmla="*/ 5 w 22"/>
                    <a:gd name="T43" fmla="*/ 0 h 47"/>
                    <a:gd name="T44" fmla="*/ 0 w 22"/>
                    <a:gd name="T45" fmla="*/ 4 h 47"/>
                    <a:gd name="T46" fmla="*/ 0 w 22"/>
                    <a:gd name="T47" fmla="*/ 6 h 47"/>
                    <a:gd name="T48" fmla="*/ 0 w 22"/>
                    <a:gd name="T49"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19" y="0"/>
                        <a:pt x="16" y="0"/>
                      </a:cubicBezTo>
                      <a:cubicBezTo>
                        <a:pt x="15" y="0"/>
                        <a:pt x="7" y="0"/>
                        <a:pt x="6" y="0"/>
                      </a:cubicBezTo>
                      <a:cubicBezTo>
                        <a:pt x="6" y="0"/>
                        <a:pt x="5" y="0"/>
                        <a:pt x="5" y="0"/>
                      </a:cubicBezTo>
                      <a:cubicBezTo>
                        <a:pt x="4" y="1"/>
                        <a:pt x="2" y="2"/>
                        <a:pt x="0" y="4"/>
                      </a:cubicBezTo>
                      <a:cubicBezTo>
                        <a:pt x="0" y="4"/>
                        <a:pt x="0" y="5"/>
                        <a:pt x="0" y="6"/>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60" name="Freeform 1276"/>
                <p:cNvSpPr>
                  <a:spLocks/>
                </p:cNvSpPr>
                <p:nvPr/>
              </p:nvSpPr>
              <p:spPr bwMode="auto">
                <a:xfrm>
                  <a:off x="14384" y="1000"/>
                  <a:ext cx="64" cy="111"/>
                </a:xfrm>
                <a:custGeom>
                  <a:avLst/>
                  <a:gdLst>
                    <a:gd name="T0" fmla="*/ 1 w 27"/>
                    <a:gd name="T1" fmla="*/ 21 h 47"/>
                    <a:gd name="T2" fmla="*/ 4 w 27"/>
                    <a:gd name="T3" fmla="*/ 20 h 47"/>
                    <a:gd name="T4" fmla="*/ 7 w 27"/>
                    <a:gd name="T5" fmla="*/ 7 h 47"/>
                    <a:gd name="T6" fmla="*/ 9 w 27"/>
                    <a:gd name="T7" fmla="*/ 7 h 47"/>
                    <a:gd name="T8" fmla="*/ 2 w 27"/>
                    <a:gd name="T9" fmla="*/ 28 h 47"/>
                    <a:gd name="T10" fmla="*/ 8 w 27"/>
                    <a:gd name="T11" fmla="*/ 28 h 47"/>
                    <a:gd name="T12" fmla="*/ 8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7 w 27"/>
                    <a:gd name="T41" fmla="*/ 18 h 47"/>
                    <a:gd name="T42" fmla="*/ 22 w 27"/>
                    <a:gd name="T43" fmla="*/ 5 h 47"/>
                    <a:gd name="T44" fmla="*/ 17 w 27"/>
                    <a:gd name="T45" fmla="*/ 0 h 47"/>
                    <a:gd name="T46" fmla="*/ 10 w 27"/>
                    <a:gd name="T47" fmla="*/ 0 h 47"/>
                    <a:gd name="T48" fmla="*/ 4 w 27"/>
                    <a:gd name="T49" fmla="*/ 5 h 47"/>
                    <a:gd name="T50" fmla="*/ 0 w 27"/>
                    <a:gd name="T51" fmla="*/ 18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0"/>
                        <a:pt x="4" y="20"/>
                      </a:cubicBezTo>
                      <a:cubicBezTo>
                        <a:pt x="4" y="18"/>
                        <a:pt x="7" y="7"/>
                        <a:pt x="7"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3" y="18"/>
                        <a:pt x="23" y="20"/>
                      </a:cubicBezTo>
                      <a:cubicBezTo>
                        <a:pt x="23" y="20"/>
                        <a:pt x="24" y="21"/>
                        <a:pt x="25" y="21"/>
                      </a:cubicBezTo>
                      <a:cubicBezTo>
                        <a:pt x="26" y="20"/>
                        <a:pt x="27" y="19"/>
                        <a:pt x="27" y="18"/>
                      </a:cubicBezTo>
                      <a:cubicBezTo>
                        <a:pt x="26" y="18"/>
                        <a:pt x="24" y="10"/>
                        <a:pt x="22" y="5"/>
                      </a:cubicBezTo>
                      <a:cubicBezTo>
                        <a:pt x="22" y="2"/>
                        <a:pt x="19" y="0"/>
                        <a:pt x="17" y="0"/>
                      </a:cubicBezTo>
                      <a:cubicBezTo>
                        <a:pt x="16" y="0"/>
                        <a:pt x="11" y="0"/>
                        <a:pt x="10" y="0"/>
                      </a:cubicBezTo>
                      <a:cubicBezTo>
                        <a:pt x="7" y="0"/>
                        <a:pt x="5" y="2"/>
                        <a:pt x="4" y="5"/>
                      </a:cubicBezTo>
                      <a:cubicBezTo>
                        <a:pt x="2" y="10"/>
                        <a:pt x="0" y="18"/>
                        <a:pt x="0" y="18"/>
                      </a:cubicBezTo>
                      <a:cubicBezTo>
                        <a:pt x="0" y="19"/>
                        <a:pt x="0" y="20"/>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61" name="Oval 1277"/>
                <p:cNvSpPr>
                  <a:spLocks noChangeArrowheads="1"/>
                </p:cNvSpPr>
                <p:nvPr/>
              </p:nvSpPr>
              <p:spPr bwMode="auto">
                <a:xfrm>
                  <a:off x="14405" y="974"/>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62" name="Oval 1278"/>
                <p:cNvSpPr>
                  <a:spLocks noChangeArrowheads="1"/>
                </p:cNvSpPr>
                <p:nvPr/>
              </p:nvSpPr>
              <p:spPr bwMode="auto">
                <a:xfrm>
                  <a:off x="14469" y="83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63" name="Freeform 1279"/>
                <p:cNvSpPr>
                  <a:spLocks/>
                </p:cNvSpPr>
                <p:nvPr/>
              </p:nvSpPr>
              <p:spPr bwMode="auto">
                <a:xfrm>
                  <a:off x="14389" y="853"/>
                  <a:ext cx="54" cy="112"/>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7 w 23"/>
                    <a:gd name="T23" fmla="*/ 44 h 47"/>
                    <a:gd name="T24" fmla="*/ 17 w 23"/>
                    <a:gd name="T25" fmla="*/ 8 h 47"/>
                    <a:gd name="T26" fmla="*/ 19 w 23"/>
                    <a:gd name="T27" fmla="*/ 8 h 47"/>
                    <a:gd name="T28" fmla="*/ 19 w 23"/>
                    <a:gd name="T29" fmla="*/ 21 h 47"/>
                    <a:gd name="T30" fmla="*/ 21 w 23"/>
                    <a:gd name="T31" fmla="*/ 23 h 47"/>
                    <a:gd name="T32" fmla="*/ 23 w 23"/>
                    <a:gd name="T33" fmla="*/ 21 h 47"/>
                    <a:gd name="T34" fmla="*/ 23 w 23"/>
                    <a:gd name="T35" fmla="*/ 6 h 47"/>
                    <a:gd name="T36" fmla="*/ 17 w 23"/>
                    <a:gd name="T37" fmla="*/ 0 h 47"/>
                    <a:gd name="T38" fmla="*/ 6 w 23"/>
                    <a:gd name="T39" fmla="*/ 0 h 47"/>
                    <a:gd name="T40" fmla="*/ 0 w 23"/>
                    <a:gd name="T41" fmla="*/ 6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9" y="8"/>
                      </a:cubicBezTo>
                      <a:cubicBezTo>
                        <a:pt x="19" y="8"/>
                        <a:pt x="19" y="20"/>
                        <a:pt x="19" y="21"/>
                      </a:cubicBezTo>
                      <a:cubicBezTo>
                        <a:pt x="19" y="22"/>
                        <a:pt x="19"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64" name="Freeform 1280"/>
                <p:cNvSpPr>
                  <a:spLocks/>
                </p:cNvSpPr>
                <p:nvPr/>
              </p:nvSpPr>
              <p:spPr bwMode="auto">
                <a:xfrm>
                  <a:off x="14450" y="853"/>
                  <a:ext cx="64" cy="112"/>
                </a:xfrm>
                <a:custGeom>
                  <a:avLst/>
                  <a:gdLst>
                    <a:gd name="T0" fmla="*/ 1 w 27"/>
                    <a:gd name="T1" fmla="*/ 21 h 47"/>
                    <a:gd name="T2" fmla="*/ 3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9 h 47"/>
                    <a:gd name="T42" fmla="*/ 22 w 27"/>
                    <a:gd name="T43" fmla="*/ 5 h 47"/>
                    <a:gd name="T44" fmla="*/ 17 w 27"/>
                    <a:gd name="T45" fmla="*/ 0 h 47"/>
                    <a:gd name="T46" fmla="*/ 9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65" name="Oval 1281"/>
                <p:cNvSpPr>
                  <a:spLocks noChangeArrowheads="1"/>
                </p:cNvSpPr>
                <p:nvPr/>
              </p:nvSpPr>
              <p:spPr bwMode="auto">
                <a:xfrm>
                  <a:off x="14469" y="681"/>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66" name="Oval 1282"/>
                <p:cNvSpPr>
                  <a:spLocks noChangeArrowheads="1"/>
                </p:cNvSpPr>
                <p:nvPr/>
              </p:nvSpPr>
              <p:spPr bwMode="auto">
                <a:xfrm>
                  <a:off x="14405" y="830"/>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67" name="Oval 1283"/>
                <p:cNvSpPr>
                  <a:spLocks noChangeArrowheads="1"/>
                </p:cNvSpPr>
                <p:nvPr/>
              </p:nvSpPr>
              <p:spPr bwMode="auto">
                <a:xfrm>
                  <a:off x="14666" y="974"/>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68" name="Freeform 1284"/>
                <p:cNvSpPr>
                  <a:spLocks/>
                </p:cNvSpPr>
                <p:nvPr/>
              </p:nvSpPr>
              <p:spPr bwMode="auto">
                <a:xfrm>
                  <a:off x="14318" y="853"/>
                  <a:ext cx="64" cy="112"/>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8 w 27"/>
                    <a:gd name="T33" fmla="*/ 7 h 47"/>
                    <a:gd name="T34" fmla="*/ 20 w 27"/>
                    <a:gd name="T35" fmla="*/ 7 h 47"/>
                    <a:gd name="T36" fmla="*/ 23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4"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69" name="Freeform 1285"/>
                <p:cNvSpPr>
                  <a:spLocks/>
                </p:cNvSpPr>
                <p:nvPr/>
              </p:nvSpPr>
              <p:spPr bwMode="auto">
                <a:xfrm>
                  <a:off x="14323" y="1000"/>
                  <a:ext cx="54" cy="111"/>
                </a:xfrm>
                <a:custGeom>
                  <a:avLst/>
                  <a:gdLst>
                    <a:gd name="T0" fmla="*/ 0 w 23"/>
                    <a:gd name="T1" fmla="*/ 6 h 47"/>
                    <a:gd name="T2" fmla="*/ 0 w 23"/>
                    <a:gd name="T3" fmla="*/ 21 h 47"/>
                    <a:gd name="T4" fmla="*/ 2 w 23"/>
                    <a:gd name="T5" fmla="*/ 23 h 47"/>
                    <a:gd name="T6" fmla="*/ 4 w 23"/>
                    <a:gd name="T7" fmla="*/ 21 h 47"/>
                    <a:gd name="T8" fmla="*/ 4 w 23"/>
                    <a:gd name="T9" fmla="*/ 8 h 47"/>
                    <a:gd name="T10" fmla="*/ 6 w 23"/>
                    <a:gd name="T11" fmla="*/ 8 h 47"/>
                    <a:gd name="T12" fmla="*/ 6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8 h 47"/>
                    <a:gd name="T30" fmla="*/ 19 w 23"/>
                    <a:gd name="T31" fmla="*/ 8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20"/>
                        <a:pt x="0" y="21"/>
                      </a:cubicBezTo>
                      <a:cubicBezTo>
                        <a:pt x="0" y="22"/>
                        <a:pt x="1" y="23"/>
                        <a:pt x="2" y="23"/>
                      </a:cubicBezTo>
                      <a:cubicBezTo>
                        <a:pt x="4" y="23"/>
                        <a:pt x="4" y="22"/>
                        <a:pt x="4" y="21"/>
                      </a:cubicBezTo>
                      <a:cubicBezTo>
                        <a:pt x="4" y="19"/>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70" name="Oval 1286"/>
                <p:cNvSpPr>
                  <a:spLocks noChangeArrowheads="1"/>
                </p:cNvSpPr>
                <p:nvPr/>
              </p:nvSpPr>
              <p:spPr bwMode="auto">
                <a:xfrm>
                  <a:off x="14339" y="830"/>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71" name="Oval 1287"/>
                <p:cNvSpPr>
                  <a:spLocks noChangeArrowheads="1"/>
                </p:cNvSpPr>
                <p:nvPr/>
              </p:nvSpPr>
              <p:spPr bwMode="auto">
                <a:xfrm>
                  <a:off x="14536"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72" name="Oval 1288"/>
                <p:cNvSpPr>
                  <a:spLocks noChangeArrowheads="1"/>
                </p:cNvSpPr>
                <p:nvPr/>
              </p:nvSpPr>
              <p:spPr bwMode="auto">
                <a:xfrm>
                  <a:off x="14469"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73" name="Freeform 1289"/>
                <p:cNvSpPr>
                  <a:spLocks/>
                </p:cNvSpPr>
                <p:nvPr/>
              </p:nvSpPr>
              <p:spPr bwMode="auto">
                <a:xfrm>
                  <a:off x="14514" y="1000"/>
                  <a:ext cx="64" cy="111"/>
                </a:xfrm>
                <a:custGeom>
                  <a:avLst/>
                  <a:gdLst>
                    <a:gd name="T0" fmla="*/ 23 w 27"/>
                    <a:gd name="T1" fmla="*/ 5 h 47"/>
                    <a:gd name="T2" fmla="*/ 17 w 27"/>
                    <a:gd name="T3" fmla="*/ 0 h 47"/>
                    <a:gd name="T4" fmla="*/ 10 w 27"/>
                    <a:gd name="T5" fmla="*/ 0 h 47"/>
                    <a:gd name="T6" fmla="*/ 5 w 27"/>
                    <a:gd name="T7" fmla="*/ 5 h 47"/>
                    <a:gd name="T8" fmla="*/ 0 w 27"/>
                    <a:gd name="T9" fmla="*/ 18 h 47"/>
                    <a:gd name="T10" fmla="*/ 2 w 27"/>
                    <a:gd name="T11" fmla="*/ 21 h 47"/>
                    <a:gd name="T12" fmla="*/ 4 w 27"/>
                    <a:gd name="T13" fmla="*/ 20 h 47"/>
                    <a:gd name="T14" fmla="*/ 8 w 27"/>
                    <a:gd name="T15" fmla="*/ 7 h 47"/>
                    <a:gd name="T16" fmla="*/ 9 w 27"/>
                    <a:gd name="T17" fmla="*/ 7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9 w 27"/>
                    <a:gd name="T37" fmla="*/ 45 h 47"/>
                    <a:gd name="T38" fmla="*/ 19 w 27"/>
                    <a:gd name="T39" fmla="*/ 28 h 47"/>
                    <a:gd name="T40" fmla="*/ 25 w 27"/>
                    <a:gd name="T41" fmla="*/ 28 h 47"/>
                    <a:gd name="T42" fmla="*/ 18 w 27"/>
                    <a:gd name="T43" fmla="*/ 7 h 47"/>
                    <a:gd name="T44" fmla="*/ 20 w 27"/>
                    <a:gd name="T45" fmla="*/ 7 h 47"/>
                    <a:gd name="T46" fmla="*/ 23 w 27"/>
                    <a:gd name="T47" fmla="*/ 20 h 47"/>
                    <a:gd name="T48" fmla="*/ 26 w 27"/>
                    <a:gd name="T49" fmla="*/ 21 h 47"/>
                    <a:gd name="T50" fmla="*/ 27 w 27"/>
                    <a:gd name="T51" fmla="*/ 18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2"/>
                        <a:pt x="20" y="0"/>
                        <a:pt x="17" y="0"/>
                      </a:cubicBezTo>
                      <a:cubicBezTo>
                        <a:pt x="16" y="0"/>
                        <a:pt x="11" y="0"/>
                        <a:pt x="10" y="0"/>
                      </a:cubicBezTo>
                      <a:cubicBezTo>
                        <a:pt x="8" y="0"/>
                        <a:pt x="5" y="2"/>
                        <a:pt x="5" y="5"/>
                      </a:cubicBezTo>
                      <a:cubicBezTo>
                        <a:pt x="3" y="10"/>
                        <a:pt x="1" y="18"/>
                        <a:pt x="0" y="18"/>
                      </a:cubicBezTo>
                      <a:cubicBezTo>
                        <a:pt x="0" y="19"/>
                        <a:pt x="1" y="20"/>
                        <a:pt x="2" y="21"/>
                      </a:cubicBezTo>
                      <a:cubicBezTo>
                        <a:pt x="3" y="21"/>
                        <a:pt x="4" y="20"/>
                        <a:pt x="4" y="20"/>
                      </a:cubicBezTo>
                      <a:cubicBezTo>
                        <a:pt x="4"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20" y="7"/>
                        <a:pt x="20" y="7"/>
                        <a:pt x="20" y="7"/>
                      </a:cubicBezTo>
                      <a:cubicBezTo>
                        <a:pt x="20" y="7"/>
                        <a:pt x="23" y="18"/>
                        <a:pt x="23" y="20"/>
                      </a:cubicBezTo>
                      <a:cubicBezTo>
                        <a:pt x="24" y="20"/>
                        <a:pt x="25" y="21"/>
                        <a:pt x="26" y="21"/>
                      </a:cubicBezTo>
                      <a:cubicBezTo>
                        <a:pt x="27" y="20"/>
                        <a:pt x="27" y="19"/>
                        <a:pt x="27" y="18"/>
                      </a:cubicBezTo>
                      <a:cubicBezTo>
                        <a:pt x="27" y="18"/>
                        <a:pt x="25" y="10"/>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74" name="Freeform 1290"/>
                <p:cNvSpPr>
                  <a:spLocks/>
                </p:cNvSpPr>
                <p:nvPr/>
              </p:nvSpPr>
              <p:spPr bwMode="auto">
                <a:xfrm>
                  <a:off x="14519" y="853"/>
                  <a:ext cx="54" cy="112"/>
                </a:xfrm>
                <a:custGeom>
                  <a:avLst/>
                  <a:gdLst>
                    <a:gd name="T0" fmla="*/ 0 w 23"/>
                    <a:gd name="T1" fmla="*/ 6 h 47"/>
                    <a:gd name="T2" fmla="*/ 0 w 23"/>
                    <a:gd name="T3" fmla="*/ 21 h 47"/>
                    <a:gd name="T4" fmla="*/ 2 w 23"/>
                    <a:gd name="T5" fmla="*/ 23 h 47"/>
                    <a:gd name="T6" fmla="*/ 4 w 23"/>
                    <a:gd name="T7" fmla="*/ 21 h 47"/>
                    <a:gd name="T8" fmla="*/ 4 w 23"/>
                    <a:gd name="T9" fmla="*/ 8 h 47"/>
                    <a:gd name="T10" fmla="*/ 6 w 23"/>
                    <a:gd name="T11" fmla="*/ 8 h 47"/>
                    <a:gd name="T12" fmla="*/ 6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8 h 47"/>
                    <a:gd name="T30" fmla="*/ 19 w 23"/>
                    <a:gd name="T31" fmla="*/ 8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20"/>
                        <a:pt x="0" y="21"/>
                      </a:cubicBezTo>
                      <a:cubicBezTo>
                        <a:pt x="0" y="22"/>
                        <a:pt x="1" y="23"/>
                        <a:pt x="2" y="23"/>
                      </a:cubicBezTo>
                      <a:cubicBezTo>
                        <a:pt x="4"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75" name="Oval 1291"/>
                <p:cNvSpPr>
                  <a:spLocks noChangeArrowheads="1"/>
                </p:cNvSpPr>
                <p:nvPr/>
              </p:nvSpPr>
              <p:spPr bwMode="auto">
                <a:xfrm>
                  <a:off x="14339" y="974"/>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76" name="Freeform 1292"/>
                <p:cNvSpPr>
                  <a:spLocks/>
                </p:cNvSpPr>
                <p:nvPr/>
              </p:nvSpPr>
              <p:spPr bwMode="auto">
                <a:xfrm>
                  <a:off x="14455" y="1000"/>
                  <a:ext cx="52" cy="111"/>
                </a:xfrm>
                <a:custGeom>
                  <a:avLst/>
                  <a:gdLst>
                    <a:gd name="T0" fmla="*/ 16 w 22"/>
                    <a:gd name="T1" fmla="*/ 0 h 47"/>
                    <a:gd name="T2" fmla="*/ 6 w 22"/>
                    <a:gd name="T3" fmla="*/ 0 h 47"/>
                    <a:gd name="T4" fmla="*/ 0 w 22"/>
                    <a:gd name="T5" fmla="*/ 6 h 47"/>
                    <a:gd name="T6" fmla="*/ 0 w 22"/>
                    <a:gd name="T7" fmla="*/ 21 h 47"/>
                    <a:gd name="T8" fmla="*/ 2 w 22"/>
                    <a:gd name="T9" fmla="*/ 23 h 47"/>
                    <a:gd name="T10" fmla="*/ 4 w 22"/>
                    <a:gd name="T11" fmla="*/ 21 h 47"/>
                    <a:gd name="T12" fmla="*/ 4 w 22"/>
                    <a:gd name="T13" fmla="*/ 8 h 47"/>
                    <a:gd name="T14" fmla="*/ 5 w 22"/>
                    <a:gd name="T15" fmla="*/ 8 h 47"/>
                    <a:gd name="T16" fmla="*/ 5 w 22"/>
                    <a:gd name="T17" fmla="*/ 44 h 47"/>
                    <a:gd name="T18" fmla="*/ 8 w 22"/>
                    <a:gd name="T19" fmla="*/ 47 h 47"/>
                    <a:gd name="T20" fmla="*/ 10 w 22"/>
                    <a:gd name="T21" fmla="*/ 44 h 47"/>
                    <a:gd name="T22" fmla="*/ 10 w 22"/>
                    <a:gd name="T23" fmla="*/ 23 h 47"/>
                    <a:gd name="T24" fmla="*/ 12 w 22"/>
                    <a:gd name="T25" fmla="*/ 23 h 47"/>
                    <a:gd name="T26" fmla="*/ 12 w 22"/>
                    <a:gd name="T27" fmla="*/ 44 h 47"/>
                    <a:gd name="T28" fmla="*/ 14 w 22"/>
                    <a:gd name="T29" fmla="*/ 47 h 47"/>
                    <a:gd name="T30" fmla="*/ 17 w 22"/>
                    <a:gd name="T31" fmla="*/ 44 h 47"/>
                    <a:gd name="T32" fmla="*/ 17 w 22"/>
                    <a:gd name="T33" fmla="*/ 8 h 47"/>
                    <a:gd name="T34" fmla="*/ 18 w 22"/>
                    <a:gd name="T35" fmla="*/ 8 h 47"/>
                    <a:gd name="T36" fmla="*/ 18 w 22"/>
                    <a:gd name="T37" fmla="*/ 21 h 47"/>
                    <a:gd name="T38" fmla="*/ 20 w 22"/>
                    <a:gd name="T39" fmla="*/ 23 h 47"/>
                    <a:gd name="T40" fmla="*/ 22 w 22"/>
                    <a:gd name="T41" fmla="*/ 21 h 47"/>
                    <a:gd name="T42" fmla="*/ 22 w 22"/>
                    <a:gd name="T43" fmla="*/ 6 h 47"/>
                    <a:gd name="T44" fmla="*/ 16 w 22"/>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16" y="0"/>
                      </a:moveTo>
                      <a:cubicBezTo>
                        <a:pt x="14" y="0"/>
                        <a:pt x="7" y="0"/>
                        <a:pt x="6" y="0"/>
                      </a:cubicBezTo>
                      <a:cubicBezTo>
                        <a:pt x="2" y="0"/>
                        <a:pt x="0" y="3"/>
                        <a:pt x="0" y="6"/>
                      </a:cubicBez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77" name="Oval 1293"/>
                <p:cNvSpPr>
                  <a:spLocks noChangeArrowheads="1"/>
                </p:cNvSpPr>
                <p:nvPr/>
              </p:nvSpPr>
              <p:spPr bwMode="auto">
                <a:xfrm>
                  <a:off x="14536"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78" name="Oval 1294"/>
                <p:cNvSpPr>
                  <a:spLocks noChangeArrowheads="1"/>
                </p:cNvSpPr>
                <p:nvPr/>
              </p:nvSpPr>
              <p:spPr bwMode="auto">
                <a:xfrm>
                  <a:off x="14536" y="681"/>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79" name="Freeform 1295"/>
                <p:cNvSpPr>
                  <a:spLocks/>
                </p:cNvSpPr>
                <p:nvPr/>
              </p:nvSpPr>
              <p:spPr bwMode="auto">
                <a:xfrm>
                  <a:off x="14514" y="707"/>
                  <a:ext cx="64" cy="111"/>
                </a:xfrm>
                <a:custGeom>
                  <a:avLst/>
                  <a:gdLst>
                    <a:gd name="T0" fmla="*/ 23 w 27"/>
                    <a:gd name="T1" fmla="*/ 4 h 47"/>
                    <a:gd name="T2" fmla="*/ 17 w 27"/>
                    <a:gd name="T3" fmla="*/ 0 h 47"/>
                    <a:gd name="T4" fmla="*/ 10 w 27"/>
                    <a:gd name="T5" fmla="*/ 0 h 47"/>
                    <a:gd name="T6" fmla="*/ 5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9 w 27"/>
                    <a:gd name="T37" fmla="*/ 44 h 47"/>
                    <a:gd name="T38" fmla="*/ 19 w 27"/>
                    <a:gd name="T39" fmla="*/ 28 h 47"/>
                    <a:gd name="T40" fmla="*/ 25 w 27"/>
                    <a:gd name="T41" fmla="*/ 28 h 47"/>
                    <a:gd name="T42" fmla="*/ 18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7"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6"/>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6"/>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80" name="Freeform 1296"/>
                <p:cNvSpPr>
                  <a:spLocks/>
                </p:cNvSpPr>
                <p:nvPr/>
              </p:nvSpPr>
              <p:spPr bwMode="auto">
                <a:xfrm>
                  <a:off x="14455" y="707"/>
                  <a:ext cx="52" cy="109"/>
                </a:xfrm>
                <a:custGeom>
                  <a:avLst/>
                  <a:gdLst>
                    <a:gd name="T0" fmla="*/ 20 w 22"/>
                    <a:gd name="T1" fmla="*/ 23 h 46"/>
                    <a:gd name="T2" fmla="*/ 22 w 22"/>
                    <a:gd name="T3" fmla="*/ 20 h 46"/>
                    <a:gd name="T4" fmla="*/ 22 w 22"/>
                    <a:gd name="T5" fmla="*/ 6 h 46"/>
                    <a:gd name="T6" fmla="*/ 16 w 22"/>
                    <a:gd name="T7" fmla="*/ 0 h 46"/>
                    <a:gd name="T8" fmla="*/ 6 w 22"/>
                    <a:gd name="T9" fmla="*/ 0 h 46"/>
                    <a:gd name="T10" fmla="*/ 0 w 22"/>
                    <a:gd name="T11" fmla="*/ 6 h 46"/>
                    <a:gd name="T12" fmla="*/ 0 w 22"/>
                    <a:gd name="T13" fmla="*/ 20 h 46"/>
                    <a:gd name="T14" fmla="*/ 2 w 22"/>
                    <a:gd name="T15" fmla="*/ 23 h 46"/>
                    <a:gd name="T16" fmla="*/ 4 w 22"/>
                    <a:gd name="T17" fmla="*/ 20 h 46"/>
                    <a:gd name="T18" fmla="*/ 4 w 22"/>
                    <a:gd name="T19" fmla="*/ 7 h 46"/>
                    <a:gd name="T20" fmla="*/ 5 w 22"/>
                    <a:gd name="T21" fmla="*/ 7 h 46"/>
                    <a:gd name="T22" fmla="*/ 5 w 22"/>
                    <a:gd name="T23" fmla="*/ 44 h 46"/>
                    <a:gd name="T24" fmla="*/ 8 w 22"/>
                    <a:gd name="T25" fmla="*/ 46 h 46"/>
                    <a:gd name="T26" fmla="*/ 10 w 22"/>
                    <a:gd name="T27" fmla="*/ 44 h 46"/>
                    <a:gd name="T28" fmla="*/ 10 w 22"/>
                    <a:gd name="T29" fmla="*/ 23 h 46"/>
                    <a:gd name="T30" fmla="*/ 12 w 22"/>
                    <a:gd name="T31" fmla="*/ 23 h 46"/>
                    <a:gd name="T32" fmla="*/ 12 w 22"/>
                    <a:gd name="T33" fmla="*/ 44 h 46"/>
                    <a:gd name="T34" fmla="*/ 14 w 22"/>
                    <a:gd name="T35" fmla="*/ 46 h 46"/>
                    <a:gd name="T36" fmla="*/ 17 w 22"/>
                    <a:gd name="T37" fmla="*/ 44 h 46"/>
                    <a:gd name="T38" fmla="*/ 17 w 22"/>
                    <a:gd name="T39" fmla="*/ 7 h 46"/>
                    <a:gd name="T40" fmla="*/ 18 w 22"/>
                    <a:gd name="T41" fmla="*/ 7 h 46"/>
                    <a:gd name="T42" fmla="*/ 18 w 22"/>
                    <a:gd name="T43" fmla="*/ 20 h 46"/>
                    <a:gd name="T44" fmla="*/ 20 w 22"/>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0" y="23"/>
                      </a:moveTo>
                      <a:cubicBezTo>
                        <a:pt x="21" y="23"/>
                        <a:pt x="22" y="22"/>
                        <a:pt x="22" y="20"/>
                      </a:cubicBezTo>
                      <a:cubicBezTo>
                        <a:pt x="22" y="19"/>
                        <a:pt x="22" y="7"/>
                        <a:pt x="22" y="6"/>
                      </a:cubicBezTo>
                      <a:cubicBezTo>
                        <a:pt x="22" y="3"/>
                        <a:pt x="20" y="0"/>
                        <a:pt x="16" y="0"/>
                      </a:cubicBezTo>
                      <a:cubicBezTo>
                        <a:pt x="14" y="0"/>
                        <a:pt x="7" y="0"/>
                        <a:pt x="6" y="0"/>
                      </a:cubicBezTo>
                      <a:cubicBezTo>
                        <a:pt x="2" y="0"/>
                        <a:pt x="0" y="3"/>
                        <a:pt x="0" y="6"/>
                      </a:cubicBez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81" name="Freeform 1297"/>
                <p:cNvSpPr>
                  <a:spLocks/>
                </p:cNvSpPr>
                <p:nvPr/>
              </p:nvSpPr>
              <p:spPr bwMode="auto">
                <a:xfrm>
                  <a:off x="13830" y="1066"/>
                  <a:ext cx="12" cy="45"/>
                </a:xfrm>
                <a:custGeom>
                  <a:avLst/>
                  <a:gdLst>
                    <a:gd name="T0" fmla="*/ 0 w 5"/>
                    <a:gd name="T1" fmla="*/ 16 h 19"/>
                    <a:gd name="T2" fmla="*/ 3 w 5"/>
                    <a:gd name="T3" fmla="*/ 19 h 19"/>
                    <a:gd name="T4" fmla="*/ 5 w 5"/>
                    <a:gd name="T5" fmla="*/ 16 h 19"/>
                    <a:gd name="T6" fmla="*/ 5 w 5"/>
                    <a:gd name="T7" fmla="*/ 0 h 19"/>
                    <a:gd name="T8" fmla="*/ 0 w 5"/>
                    <a:gd name="T9" fmla="*/ 2 h 19"/>
                    <a:gd name="T10" fmla="*/ 0 w 5"/>
                    <a:gd name="T11" fmla="*/ 16 h 19"/>
                  </a:gdLst>
                  <a:ahLst/>
                  <a:cxnLst>
                    <a:cxn ang="0">
                      <a:pos x="T0" y="T1"/>
                    </a:cxn>
                    <a:cxn ang="0">
                      <a:pos x="T2" y="T3"/>
                    </a:cxn>
                    <a:cxn ang="0">
                      <a:pos x="T4" y="T5"/>
                    </a:cxn>
                    <a:cxn ang="0">
                      <a:pos x="T6" y="T7"/>
                    </a:cxn>
                    <a:cxn ang="0">
                      <a:pos x="T8" y="T9"/>
                    </a:cxn>
                    <a:cxn ang="0">
                      <a:pos x="T10" y="T11"/>
                    </a:cxn>
                  </a:cxnLst>
                  <a:rect l="0" t="0" r="r" b="b"/>
                  <a:pathLst>
                    <a:path w="5" h="19">
                      <a:moveTo>
                        <a:pt x="0" y="16"/>
                      </a:moveTo>
                      <a:cubicBezTo>
                        <a:pt x="0" y="18"/>
                        <a:pt x="1" y="19"/>
                        <a:pt x="3" y="19"/>
                      </a:cubicBezTo>
                      <a:cubicBezTo>
                        <a:pt x="4" y="19"/>
                        <a:pt x="5" y="18"/>
                        <a:pt x="5" y="16"/>
                      </a:cubicBezTo>
                      <a:cubicBezTo>
                        <a:pt x="5" y="15"/>
                        <a:pt x="5" y="8"/>
                        <a:pt x="5" y="0"/>
                      </a:cubicBezTo>
                      <a:cubicBezTo>
                        <a:pt x="3" y="1"/>
                        <a:pt x="2" y="1"/>
                        <a:pt x="0" y="2"/>
                      </a:cubicBezTo>
                      <a:cubicBezTo>
                        <a:pt x="0" y="7"/>
                        <a:pt x="0" y="15"/>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82" name="Freeform 1298"/>
                <p:cNvSpPr>
                  <a:spLocks/>
                </p:cNvSpPr>
                <p:nvPr/>
              </p:nvSpPr>
              <p:spPr bwMode="auto">
                <a:xfrm>
                  <a:off x="13814" y="1071"/>
                  <a:ext cx="14" cy="40"/>
                </a:xfrm>
                <a:custGeom>
                  <a:avLst/>
                  <a:gdLst>
                    <a:gd name="T0" fmla="*/ 3 w 6"/>
                    <a:gd name="T1" fmla="*/ 17 h 17"/>
                    <a:gd name="T2" fmla="*/ 6 w 6"/>
                    <a:gd name="T3" fmla="*/ 14 h 17"/>
                    <a:gd name="T4" fmla="*/ 6 w 6"/>
                    <a:gd name="T5" fmla="*/ 0 h 17"/>
                    <a:gd name="T6" fmla="*/ 0 w 6"/>
                    <a:gd name="T7" fmla="*/ 1 h 17"/>
                    <a:gd name="T8" fmla="*/ 0 w 6"/>
                    <a:gd name="T9" fmla="*/ 14 h 17"/>
                    <a:gd name="T10" fmla="*/ 3 w 6"/>
                    <a:gd name="T11" fmla="*/ 17 h 17"/>
                  </a:gdLst>
                  <a:ahLst/>
                  <a:cxnLst>
                    <a:cxn ang="0">
                      <a:pos x="T0" y="T1"/>
                    </a:cxn>
                    <a:cxn ang="0">
                      <a:pos x="T2" y="T3"/>
                    </a:cxn>
                    <a:cxn ang="0">
                      <a:pos x="T4" y="T5"/>
                    </a:cxn>
                    <a:cxn ang="0">
                      <a:pos x="T6" y="T7"/>
                    </a:cxn>
                    <a:cxn ang="0">
                      <a:pos x="T8" y="T9"/>
                    </a:cxn>
                    <a:cxn ang="0">
                      <a:pos x="T10" y="T11"/>
                    </a:cxn>
                  </a:cxnLst>
                  <a:rect l="0" t="0" r="r" b="b"/>
                  <a:pathLst>
                    <a:path w="6" h="17">
                      <a:moveTo>
                        <a:pt x="3" y="17"/>
                      </a:moveTo>
                      <a:cubicBezTo>
                        <a:pt x="4" y="17"/>
                        <a:pt x="6" y="16"/>
                        <a:pt x="6" y="14"/>
                      </a:cubicBezTo>
                      <a:cubicBezTo>
                        <a:pt x="6" y="13"/>
                        <a:pt x="6" y="5"/>
                        <a:pt x="6" y="0"/>
                      </a:cubicBezTo>
                      <a:cubicBezTo>
                        <a:pt x="4" y="0"/>
                        <a:pt x="2" y="1"/>
                        <a:pt x="0" y="1"/>
                      </a:cubicBezTo>
                      <a:cubicBezTo>
                        <a:pt x="0" y="8"/>
                        <a:pt x="0" y="13"/>
                        <a:pt x="0" y="14"/>
                      </a:cubicBezTo>
                      <a:cubicBezTo>
                        <a:pt x="0" y="16"/>
                        <a:pt x="1" y="17"/>
                        <a:pt x="3"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83" name="Freeform 1299"/>
                <p:cNvSpPr>
                  <a:spLocks/>
                </p:cNvSpPr>
                <p:nvPr/>
              </p:nvSpPr>
              <p:spPr bwMode="auto">
                <a:xfrm>
                  <a:off x="13764" y="1081"/>
                  <a:ext cx="12" cy="30"/>
                </a:xfrm>
                <a:custGeom>
                  <a:avLst/>
                  <a:gdLst>
                    <a:gd name="T0" fmla="*/ 0 w 5"/>
                    <a:gd name="T1" fmla="*/ 11 h 13"/>
                    <a:gd name="T2" fmla="*/ 2 w 5"/>
                    <a:gd name="T3" fmla="*/ 13 h 13"/>
                    <a:gd name="T4" fmla="*/ 5 w 5"/>
                    <a:gd name="T5" fmla="*/ 11 h 13"/>
                    <a:gd name="T6" fmla="*/ 5 w 5"/>
                    <a:gd name="T7" fmla="*/ 0 h 13"/>
                    <a:gd name="T8" fmla="*/ 0 w 5"/>
                    <a:gd name="T9" fmla="*/ 0 h 13"/>
                    <a:gd name="T10" fmla="*/ 0 w 5"/>
                    <a:gd name="T11" fmla="*/ 11 h 13"/>
                  </a:gdLst>
                  <a:ahLst/>
                  <a:cxnLst>
                    <a:cxn ang="0">
                      <a:pos x="T0" y="T1"/>
                    </a:cxn>
                    <a:cxn ang="0">
                      <a:pos x="T2" y="T3"/>
                    </a:cxn>
                    <a:cxn ang="0">
                      <a:pos x="T4" y="T5"/>
                    </a:cxn>
                    <a:cxn ang="0">
                      <a:pos x="T6" y="T7"/>
                    </a:cxn>
                    <a:cxn ang="0">
                      <a:pos x="T8" y="T9"/>
                    </a:cxn>
                    <a:cxn ang="0">
                      <a:pos x="T10" y="T11"/>
                    </a:cxn>
                  </a:cxnLst>
                  <a:rect l="0" t="0" r="r" b="b"/>
                  <a:pathLst>
                    <a:path w="5" h="13">
                      <a:moveTo>
                        <a:pt x="0" y="11"/>
                      </a:moveTo>
                      <a:cubicBezTo>
                        <a:pt x="0" y="12"/>
                        <a:pt x="1" y="13"/>
                        <a:pt x="2" y="13"/>
                      </a:cubicBezTo>
                      <a:cubicBezTo>
                        <a:pt x="4" y="13"/>
                        <a:pt x="5" y="12"/>
                        <a:pt x="5" y="11"/>
                      </a:cubicBezTo>
                      <a:cubicBezTo>
                        <a:pt x="5" y="10"/>
                        <a:pt x="5" y="5"/>
                        <a:pt x="5" y="0"/>
                      </a:cubicBezTo>
                      <a:cubicBezTo>
                        <a:pt x="3" y="0"/>
                        <a:pt x="2" y="0"/>
                        <a:pt x="0" y="0"/>
                      </a:cubicBezTo>
                      <a:cubicBezTo>
                        <a:pt x="0" y="4"/>
                        <a:pt x="0" y="10"/>
                        <a:pt x="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84" name="Freeform 1300"/>
                <p:cNvSpPr>
                  <a:spLocks/>
                </p:cNvSpPr>
                <p:nvPr/>
              </p:nvSpPr>
              <p:spPr bwMode="auto">
                <a:xfrm>
                  <a:off x="13868" y="1050"/>
                  <a:ext cx="52" cy="61"/>
                </a:xfrm>
                <a:custGeom>
                  <a:avLst/>
                  <a:gdLst>
                    <a:gd name="T0" fmla="*/ 6 w 22"/>
                    <a:gd name="T1" fmla="*/ 7 h 26"/>
                    <a:gd name="T2" fmla="*/ 6 w 22"/>
                    <a:gd name="T3" fmla="*/ 24 h 26"/>
                    <a:gd name="T4" fmla="*/ 8 w 22"/>
                    <a:gd name="T5" fmla="*/ 26 h 26"/>
                    <a:gd name="T6" fmla="*/ 10 w 22"/>
                    <a:gd name="T7" fmla="*/ 24 h 26"/>
                    <a:gd name="T8" fmla="*/ 10 w 22"/>
                    <a:gd name="T9" fmla="*/ 7 h 26"/>
                    <a:gd name="T10" fmla="*/ 11 w 22"/>
                    <a:gd name="T11" fmla="*/ 7 h 26"/>
                    <a:gd name="T12" fmla="*/ 11 w 22"/>
                    <a:gd name="T13" fmla="*/ 24 h 26"/>
                    <a:gd name="T14" fmla="*/ 14 w 22"/>
                    <a:gd name="T15" fmla="*/ 26 h 26"/>
                    <a:gd name="T16" fmla="*/ 16 w 22"/>
                    <a:gd name="T17" fmla="*/ 24 h 26"/>
                    <a:gd name="T18" fmla="*/ 16 w 22"/>
                    <a:gd name="T19" fmla="*/ 7 h 26"/>
                    <a:gd name="T20" fmla="*/ 22 w 22"/>
                    <a:gd name="T21" fmla="*/ 7 h 26"/>
                    <a:gd name="T22" fmla="*/ 20 w 22"/>
                    <a:gd name="T23" fmla="*/ 0 h 26"/>
                    <a:gd name="T24" fmla="*/ 15 w 22"/>
                    <a:gd name="T25" fmla="*/ 1 h 26"/>
                    <a:gd name="T26" fmla="*/ 1 w 22"/>
                    <a:gd name="T27" fmla="*/ 4 h 26"/>
                    <a:gd name="T28" fmla="*/ 0 w 22"/>
                    <a:gd name="T29" fmla="*/ 7 h 26"/>
                    <a:gd name="T30" fmla="*/ 6 w 22"/>
                    <a:gd name="T31"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6">
                      <a:moveTo>
                        <a:pt x="6" y="7"/>
                      </a:moveTo>
                      <a:cubicBezTo>
                        <a:pt x="6" y="15"/>
                        <a:pt x="6" y="23"/>
                        <a:pt x="6" y="24"/>
                      </a:cubicBezTo>
                      <a:cubicBezTo>
                        <a:pt x="6" y="25"/>
                        <a:pt x="7" y="26"/>
                        <a:pt x="8" y="26"/>
                      </a:cubicBezTo>
                      <a:cubicBezTo>
                        <a:pt x="9" y="26"/>
                        <a:pt x="10" y="25"/>
                        <a:pt x="10" y="24"/>
                      </a:cubicBezTo>
                      <a:cubicBezTo>
                        <a:pt x="10" y="22"/>
                        <a:pt x="10" y="7"/>
                        <a:pt x="10" y="7"/>
                      </a:cubicBezTo>
                      <a:cubicBezTo>
                        <a:pt x="11" y="7"/>
                        <a:pt x="11" y="7"/>
                        <a:pt x="11" y="7"/>
                      </a:cubicBezTo>
                      <a:cubicBezTo>
                        <a:pt x="11" y="7"/>
                        <a:pt x="11" y="22"/>
                        <a:pt x="11" y="24"/>
                      </a:cubicBezTo>
                      <a:cubicBezTo>
                        <a:pt x="11" y="25"/>
                        <a:pt x="12" y="26"/>
                        <a:pt x="14" y="26"/>
                      </a:cubicBezTo>
                      <a:cubicBezTo>
                        <a:pt x="15" y="26"/>
                        <a:pt x="16" y="25"/>
                        <a:pt x="16" y="24"/>
                      </a:cubicBezTo>
                      <a:cubicBezTo>
                        <a:pt x="16" y="23"/>
                        <a:pt x="16" y="15"/>
                        <a:pt x="16" y="7"/>
                      </a:cubicBezTo>
                      <a:cubicBezTo>
                        <a:pt x="22" y="7"/>
                        <a:pt x="22" y="7"/>
                        <a:pt x="22" y="7"/>
                      </a:cubicBezTo>
                      <a:cubicBezTo>
                        <a:pt x="21" y="4"/>
                        <a:pt x="21" y="2"/>
                        <a:pt x="20" y="0"/>
                      </a:cubicBezTo>
                      <a:cubicBezTo>
                        <a:pt x="18" y="0"/>
                        <a:pt x="17" y="0"/>
                        <a:pt x="15" y="1"/>
                      </a:cubicBezTo>
                      <a:cubicBezTo>
                        <a:pt x="10" y="2"/>
                        <a:pt x="5" y="3"/>
                        <a:pt x="1" y="4"/>
                      </a:cubicBezTo>
                      <a:cubicBezTo>
                        <a:pt x="0" y="7"/>
                        <a:pt x="0" y="7"/>
                        <a:pt x="0" y="7"/>
                      </a:cubicBezTo>
                      <a:cubicBezTo>
                        <a:pt x="6" y="7"/>
                        <a:pt x="6" y="7"/>
                        <a:pt x="6"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85" name="Freeform 1301"/>
                <p:cNvSpPr>
                  <a:spLocks/>
                </p:cNvSpPr>
                <p:nvPr/>
              </p:nvSpPr>
              <p:spPr bwMode="auto">
                <a:xfrm>
                  <a:off x="13918" y="1048"/>
                  <a:ext cx="7" cy="2"/>
                </a:xfrm>
                <a:custGeom>
                  <a:avLst/>
                  <a:gdLst>
                    <a:gd name="T0" fmla="*/ 2 w 3"/>
                    <a:gd name="T1" fmla="*/ 1 h 1"/>
                    <a:gd name="T2" fmla="*/ 3 w 3"/>
                    <a:gd name="T3" fmla="*/ 0 h 1"/>
                    <a:gd name="T4" fmla="*/ 0 w 3"/>
                    <a:gd name="T5" fmla="*/ 1 h 1"/>
                    <a:gd name="T6" fmla="*/ 2 w 3"/>
                    <a:gd name="T7" fmla="*/ 1 h 1"/>
                  </a:gdLst>
                  <a:ahLst/>
                  <a:cxnLst>
                    <a:cxn ang="0">
                      <a:pos x="T0" y="T1"/>
                    </a:cxn>
                    <a:cxn ang="0">
                      <a:pos x="T2" y="T3"/>
                    </a:cxn>
                    <a:cxn ang="0">
                      <a:pos x="T4" y="T5"/>
                    </a:cxn>
                    <a:cxn ang="0">
                      <a:pos x="T6" y="T7"/>
                    </a:cxn>
                  </a:cxnLst>
                  <a:rect l="0" t="0" r="r" b="b"/>
                  <a:pathLst>
                    <a:path w="3" h="1">
                      <a:moveTo>
                        <a:pt x="2" y="1"/>
                      </a:moveTo>
                      <a:cubicBezTo>
                        <a:pt x="2" y="1"/>
                        <a:pt x="3" y="0"/>
                        <a:pt x="3" y="0"/>
                      </a:cubicBezTo>
                      <a:cubicBezTo>
                        <a:pt x="2" y="0"/>
                        <a:pt x="1" y="0"/>
                        <a:pt x="0" y="1"/>
                      </a:cubicBezTo>
                      <a:cubicBezTo>
                        <a:pt x="1" y="1"/>
                        <a:pt x="1"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86" name="Freeform 1302"/>
                <p:cNvSpPr>
                  <a:spLocks/>
                </p:cNvSpPr>
                <p:nvPr/>
              </p:nvSpPr>
              <p:spPr bwMode="auto">
                <a:xfrm>
                  <a:off x="13684" y="1076"/>
                  <a:ext cx="12" cy="35"/>
                </a:xfrm>
                <a:custGeom>
                  <a:avLst/>
                  <a:gdLst>
                    <a:gd name="T0" fmla="*/ 2 w 5"/>
                    <a:gd name="T1" fmla="*/ 15 h 15"/>
                    <a:gd name="T2" fmla="*/ 5 w 5"/>
                    <a:gd name="T3" fmla="*/ 12 h 15"/>
                    <a:gd name="T4" fmla="*/ 5 w 5"/>
                    <a:gd name="T5" fmla="*/ 1 h 15"/>
                    <a:gd name="T6" fmla="*/ 0 w 5"/>
                    <a:gd name="T7" fmla="*/ 0 h 15"/>
                    <a:gd name="T8" fmla="*/ 0 w 5"/>
                    <a:gd name="T9" fmla="*/ 12 h 15"/>
                    <a:gd name="T10" fmla="*/ 2 w 5"/>
                    <a:gd name="T11" fmla="*/ 15 h 15"/>
                  </a:gdLst>
                  <a:ahLst/>
                  <a:cxnLst>
                    <a:cxn ang="0">
                      <a:pos x="T0" y="T1"/>
                    </a:cxn>
                    <a:cxn ang="0">
                      <a:pos x="T2" y="T3"/>
                    </a:cxn>
                    <a:cxn ang="0">
                      <a:pos x="T4" y="T5"/>
                    </a:cxn>
                    <a:cxn ang="0">
                      <a:pos x="T6" y="T7"/>
                    </a:cxn>
                    <a:cxn ang="0">
                      <a:pos x="T8" y="T9"/>
                    </a:cxn>
                    <a:cxn ang="0">
                      <a:pos x="T10" y="T11"/>
                    </a:cxn>
                  </a:cxnLst>
                  <a:rect l="0" t="0" r="r" b="b"/>
                  <a:pathLst>
                    <a:path w="5" h="15">
                      <a:moveTo>
                        <a:pt x="2" y="15"/>
                      </a:moveTo>
                      <a:cubicBezTo>
                        <a:pt x="4" y="15"/>
                        <a:pt x="5" y="14"/>
                        <a:pt x="5" y="12"/>
                      </a:cubicBezTo>
                      <a:cubicBezTo>
                        <a:pt x="5" y="11"/>
                        <a:pt x="5" y="6"/>
                        <a:pt x="5" y="1"/>
                      </a:cubicBezTo>
                      <a:cubicBezTo>
                        <a:pt x="3" y="1"/>
                        <a:pt x="2" y="1"/>
                        <a:pt x="0" y="0"/>
                      </a:cubicBezTo>
                      <a:cubicBezTo>
                        <a:pt x="0" y="6"/>
                        <a:pt x="0" y="11"/>
                        <a:pt x="0" y="12"/>
                      </a:cubicBezTo>
                      <a:cubicBezTo>
                        <a:pt x="0" y="14"/>
                        <a:pt x="1" y="15"/>
                        <a:pt x="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87" name="Freeform 1303"/>
                <p:cNvSpPr>
                  <a:spLocks/>
                </p:cNvSpPr>
                <p:nvPr/>
              </p:nvSpPr>
              <p:spPr bwMode="auto">
                <a:xfrm>
                  <a:off x="13752" y="1081"/>
                  <a:ext cx="10" cy="30"/>
                </a:xfrm>
                <a:custGeom>
                  <a:avLst/>
                  <a:gdLst>
                    <a:gd name="T0" fmla="*/ 2 w 4"/>
                    <a:gd name="T1" fmla="*/ 13 h 13"/>
                    <a:gd name="T2" fmla="*/ 4 w 4"/>
                    <a:gd name="T3" fmla="*/ 11 h 13"/>
                    <a:gd name="T4" fmla="*/ 4 w 4"/>
                    <a:gd name="T5" fmla="*/ 0 h 13"/>
                    <a:gd name="T6" fmla="*/ 0 w 4"/>
                    <a:gd name="T7" fmla="*/ 1 h 13"/>
                    <a:gd name="T8" fmla="*/ 0 w 4"/>
                    <a:gd name="T9" fmla="*/ 11 h 13"/>
                    <a:gd name="T10" fmla="*/ 2 w 4"/>
                    <a:gd name="T11" fmla="*/ 13 h 13"/>
                  </a:gdLst>
                  <a:ahLst/>
                  <a:cxnLst>
                    <a:cxn ang="0">
                      <a:pos x="T0" y="T1"/>
                    </a:cxn>
                    <a:cxn ang="0">
                      <a:pos x="T2" y="T3"/>
                    </a:cxn>
                    <a:cxn ang="0">
                      <a:pos x="T4" y="T5"/>
                    </a:cxn>
                    <a:cxn ang="0">
                      <a:pos x="T6" y="T7"/>
                    </a:cxn>
                    <a:cxn ang="0">
                      <a:pos x="T8" y="T9"/>
                    </a:cxn>
                    <a:cxn ang="0">
                      <a:pos x="T10" y="T11"/>
                    </a:cxn>
                  </a:cxnLst>
                  <a:rect l="0" t="0" r="r" b="b"/>
                  <a:pathLst>
                    <a:path w="4" h="13">
                      <a:moveTo>
                        <a:pt x="2" y="13"/>
                      </a:moveTo>
                      <a:cubicBezTo>
                        <a:pt x="3" y="13"/>
                        <a:pt x="4" y="12"/>
                        <a:pt x="4" y="11"/>
                      </a:cubicBezTo>
                      <a:cubicBezTo>
                        <a:pt x="4" y="10"/>
                        <a:pt x="4" y="5"/>
                        <a:pt x="4" y="0"/>
                      </a:cubicBezTo>
                      <a:cubicBezTo>
                        <a:pt x="3" y="0"/>
                        <a:pt x="1" y="0"/>
                        <a:pt x="0" y="1"/>
                      </a:cubicBezTo>
                      <a:cubicBezTo>
                        <a:pt x="0" y="6"/>
                        <a:pt x="0" y="10"/>
                        <a:pt x="0" y="11"/>
                      </a:cubicBezTo>
                      <a:cubicBezTo>
                        <a:pt x="0" y="12"/>
                        <a:pt x="1" y="13"/>
                        <a:pt x="2"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88" name="Freeform 1304"/>
                <p:cNvSpPr>
                  <a:spLocks/>
                </p:cNvSpPr>
                <p:nvPr/>
              </p:nvSpPr>
              <p:spPr bwMode="auto">
                <a:xfrm>
                  <a:off x="13698" y="1078"/>
                  <a:ext cx="14" cy="33"/>
                </a:xfrm>
                <a:custGeom>
                  <a:avLst/>
                  <a:gdLst>
                    <a:gd name="T0" fmla="*/ 0 w 6"/>
                    <a:gd name="T1" fmla="*/ 0 h 14"/>
                    <a:gd name="T2" fmla="*/ 0 w 6"/>
                    <a:gd name="T3" fmla="*/ 11 h 14"/>
                    <a:gd name="T4" fmla="*/ 3 w 6"/>
                    <a:gd name="T5" fmla="*/ 14 h 14"/>
                    <a:gd name="T6" fmla="*/ 6 w 6"/>
                    <a:gd name="T7" fmla="*/ 11 h 14"/>
                    <a:gd name="T8" fmla="*/ 6 w 6"/>
                    <a:gd name="T9" fmla="*/ 1 h 14"/>
                    <a:gd name="T10" fmla="*/ 0 w 6"/>
                    <a:gd name="T11" fmla="*/ 0 h 14"/>
                    <a:gd name="T12" fmla="*/ 0 w 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6" h="14">
                      <a:moveTo>
                        <a:pt x="0" y="0"/>
                      </a:moveTo>
                      <a:cubicBezTo>
                        <a:pt x="0" y="5"/>
                        <a:pt x="0" y="10"/>
                        <a:pt x="0" y="11"/>
                      </a:cubicBezTo>
                      <a:cubicBezTo>
                        <a:pt x="0" y="13"/>
                        <a:pt x="2" y="14"/>
                        <a:pt x="3" y="14"/>
                      </a:cubicBezTo>
                      <a:cubicBezTo>
                        <a:pt x="5" y="14"/>
                        <a:pt x="6" y="13"/>
                        <a:pt x="6" y="11"/>
                      </a:cubicBezTo>
                      <a:cubicBezTo>
                        <a:pt x="6" y="10"/>
                        <a:pt x="6" y="6"/>
                        <a:pt x="6" y="1"/>
                      </a:cubicBezTo>
                      <a:cubicBezTo>
                        <a:pt x="4" y="1"/>
                        <a:pt x="2" y="1"/>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89" name="Freeform 1305"/>
                <p:cNvSpPr>
                  <a:spLocks/>
                </p:cNvSpPr>
                <p:nvPr/>
              </p:nvSpPr>
              <p:spPr bwMode="auto">
                <a:xfrm>
                  <a:off x="14079" y="906"/>
                  <a:ext cx="38" cy="59"/>
                </a:xfrm>
                <a:custGeom>
                  <a:avLst/>
                  <a:gdLst>
                    <a:gd name="T0" fmla="*/ 2 w 16"/>
                    <a:gd name="T1" fmla="*/ 25 h 25"/>
                    <a:gd name="T2" fmla="*/ 5 w 16"/>
                    <a:gd name="T3" fmla="*/ 23 h 25"/>
                    <a:gd name="T4" fmla="*/ 5 w 16"/>
                    <a:gd name="T5" fmla="*/ 6 h 25"/>
                    <a:gd name="T6" fmla="*/ 6 w 16"/>
                    <a:gd name="T7" fmla="*/ 6 h 25"/>
                    <a:gd name="T8" fmla="*/ 6 w 16"/>
                    <a:gd name="T9" fmla="*/ 23 h 25"/>
                    <a:gd name="T10" fmla="*/ 8 w 16"/>
                    <a:gd name="T11" fmla="*/ 25 h 25"/>
                    <a:gd name="T12" fmla="*/ 10 w 16"/>
                    <a:gd name="T13" fmla="*/ 23 h 25"/>
                    <a:gd name="T14" fmla="*/ 10 w 16"/>
                    <a:gd name="T15" fmla="*/ 6 h 25"/>
                    <a:gd name="T16" fmla="*/ 16 w 16"/>
                    <a:gd name="T17" fmla="*/ 6 h 25"/>
                    <a:gd name="T18" fmla="*/ 14 w 16"/>
                    <a:gd name="T19" fmla="*/ 0 h 25"/>
                    <a:gd name="T20" fmla="*/ 0 w 16"/>
                    <a:gd name="T21" fmla="*/ 7 h 25"/>
                    <a:gd name="T22" fmla="*/ 0 w 16"/>
                    <a:gd name="T23" fmla="*/ 23 h 25"/>
                    <a:gd name="T24" fmla="*/ 2 w 16"/>
                    <a:gd name="T2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5">
                      <a:moveTo>
                        <a:pt x="2" y="25"/>
                      </a:moveTo>
                      <a:cubicBezTo>
                        <a:pt x="4" y="25"/>
                        <a:pt x="5" y="24"/>
                        <a:pt x="5" y="23"/>
                      </a:cubicBezTo>
                      <a:cubicBezTo>
                        <a:pt x="5" y="21"/>
                        <a:pt x="5" y="6"/>
                        <a:pt x="5" y="6"/>
                      </a:cubicBezTo>
                      <a:cubicBezTo>
                        <a:pt x="6" y="6"/>
                        <a:pt x="6" y="6"/>
                        <a:pt x="6" y="6"/>
                      </a:cubicBezTo>
                      <a:cubicBezTo>
                        <a:pt x="6" y="6"/>
                        <a:pt x="6" y="21"/>
                        <a:pt x="6" y="23"/>
                      </a:cubicBezTo>
                      <a:cubicBezTo>
                        <a:pt x="6" y="24"/>
                        <a:pt x="7" y="25"/>
                        <a:pt x="8" y="25"/>
                      </a:cubicBezTo>
                      <a:cubicBezTo>
                        <a:pt x="9" y="25"/>
                        <a:pt x="10" y="24"/>
                        <a:pt x="10" y="23"/>
                      </a:cubicBezTo>
                      <a:cubicBezTo>
                        <a:pt x="10" y="22"/>
                        <a:pt x="10" y="14"/>
                        <a:pt x="10" y="6"/>
                      </a:cubicBezTo>
                      <a:cubicBezTo>
                        <a:pt x="16" y="6"/>
                        <a:pt x="16" y="6"/>
                        <a:pt x="16" y="6"/>
                      </a:cubicBezTo>
                      <a:cubicBezTo>
                        <a:pt x="16" y="4"/>
                        <a:pt x="15" y="2"/>
                        <a:pt x="14" y="0"/>
                      </a:cubicBezTo>
                      <a:cubicBezTo>
                        <a:pt x="9" y="1"/>
                        <a:pt x="4" y="4"/>
                        <a:pt x="0" y="7"/>
                      </a:cubicBezTo>
                      <a:cubicBezTo>
                        <a:pt x="0" y="14"/>
                        <a:pt x="0" y="22"/>
                        <a:pt x="0" y="23"/>
                      </a:cubicBezTo>
                      <a:cubicBezTo>
                        <a:pt x="0" y="24"/>
                        <a:pt x="1" y="25"/>
                        <a:pt x="2"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90" name="Freeform 1306"/>
                <p:cNvSpPr>
                  <a:spLocks/>
                </p:cNvSpPr>
                <p:nvPr/>
              </p:nvSpPr>
              <p:spPr bwMode="auto">
                <a:xfrm>
                  <a:off x="14174" y="891"/>
                  <a:ext cx="9" cy="17"/>
                </a:xfrm>
                <a:custGeom>
                  <a:avLst/>
                  <a:gdLst>
                    <a:gd name="T0" fmla="*/ 0 w 4"/>
                    <a:gd name="T1" fmla="*/ 5 h 7"/>
                    <a:gd name="T2" fmla="*/ 2 w 4"/>
                    <a:gd name="T3" fmla="*/ 7 h 7"/>
                    <a:gd name="T4" fmla="*/ 4 w 4"/>
                    <a:gd name="T5" fmla="*/ 5 h 7"/>
                    <a:gd name="T6" fmla="*/ 4 w 4"/>
                    <a:gd name="T7" fmla="*/ 0 h 7"/>
                    <a:gd name="T8" fmla="*/ 0 w 4"/>
                    <a:gd name="T9" fmla="*/ 1 h 7"/>
                    <a:gd name="T10" fmla="*/ 0 w 4"/>
                    <a:gd name="T11" fmla="*/ 5 h 7"/>
                  </a:gdLst>
                  <a:ahLst/>
                  <a:cxnLst>
                    <a:cxn ang="0">
                      <a:pos x="T0" y="T1"/>
                    </a:cxn>
                    <a:cxn ang="0">
                      <a:pos x="T2" y="T3"/>
                    </a:cxn>
                    <a:cxn ang="0">
                      <a:pos x="T4" y="T5"/>
                    </a:cxn>
                    <a:cxn ang="0">
                      <a:pos x="T6" y="T7"/>
                    </a:cxn>
                    <a:cxn ang="0">
                      <a:pos x="T8" y="T9"/>
                    </a:cxn>
                    <a:cxn ang="0">
                      <a:pos x="T10" y="T11"/>
                    </a:cxn>
                  </a:cxnLst>
                  <a:rect l="0" t="0" r="r" b="b"/>
                  <a:pathLst>
                    <a:path w="4" h="7">
                      <a:moveTo>
                        <a:pt x="0" y="5"/>
                      </a:moveTo>
                      <a:cubicBezTo>
                        <a:pt x="0" y="6"/>
                        <a:pt x="1" y="7"/>
                        <a:pt x="2" y="7"/>
                      </a:cubicBezTo>
                      <a:cubicBezTo>
                        <a:pt x="3" y="7"/>
                        <a:pt x="4" y="6"/>
                        <a:pt x="4" y="5"/>
                      </a:cubicBezTo>
                      <a:cubicBezTo>
                        <a:pt x="4" y="5"/>
                        <a:pt x="4" y="3"/>
                        <a:pt x="4" y="0"/>
                      </a:cubicBezTo>
                      <a:cubicBezTo>
                        <a:pt x="3" y="1"/>
                        <a:pt x="1" y="1"/>
                        <a:pt x="0" y="1"/>
                      </a:cubicBezTo>
                      <a:cubicBezTo>
                        <a:pt x="0" y="3"/>
                        <a:pt x="0" y="5"/>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91" name="Freeform 1307"/>
                <p:cNvSpPr>
                  <a:spLocks/>
                </p:cNvSpPr>
                <p:nvPr/>
              </p:nvSpPr>
              <p:spPr bwMode="auto">
                <a:xfrm>
                  <a:off x="13998" y="1000"/>
                  <a:ext cx="60" cy="111"/>
                </a:xfrm>
                <a:custGeom>
                  <a:avLst/>
                  <a:gdLst>
                    <a:gd name="T0" fmla="*/ 6 w 25"/>
                    <a:gd name="T1" fmla="*/ 10 h 47"/>
                    <a:gd name="T2" fmla="*/ 0 w 25"/>
                    <a:gd name="T3" fmla="*/ 28 h 47"/>
                    <a:gd name="T4" fmla="*/ 6 w 25"/>
                    <a:gd name="T5" fmla="*/ 28 h 47"/>
                    <a:gd name="T6" fmla="*/ 6 w 25"/>
                    <a:gd name="T7" fmla="*/ 45 h 47"/>
                    <a:gd name="T8" fmla="*/ 9 w 25"/>
                    <a:gd name="T9" fmla="*/ 47 h 47"/>
                    <a:gd name="T10" fmla="*/ 11 w 25"/>
                    <a:gd name="T11" fmla="*/ 45 h 47"/>
                    <a:gd name="T12" fmla="*/ 11 w 25"/>
                    <a:gd name="T13" fmla="*/ 28 h 47"/>
                    <a:gd name="T14" fmla="*/ 12 w 25"/>
                    <a:gd name="T15" fmla="*/ 28 h 47"/>
                    <a:gd name="T16" fmla="*/ 12 w 25"/>
                    <a:gd name="T17" fmla="*/ 45 h 47"/>
                    <a:gd name="T18" fmla="*/ 14 w 25"/>
                    <a:gd name="T19" fmla="*/ 47 h 47"/>
                    <a:gd name="T20" fmla="*/ 16 w 25"/>
                    <a:gd name="T21" fmla="*/ 45 h 47"/>
                    <a:gd name="T22" fmla="*/ 16 w 25"/>
                    <a:gd name="T23" fmla="*/ 28 h 47"/>
                    <a:gd name="T24" fmla="*/ 23 w 25"/>
                    <a:gd name="T25" fmla="*/ 28 h 47"/>
                    <a:gd name="T26" fmla="*/ 16 w 25"/>
                    <a:gd name="T27" fmla="*/ 7 h 47"/>
                    <a:gd name="T28" fmla="*/ 17 w 25"/>
                    <a:gd name="T29" fmla="*/ 7 h 47"/>
                    <a:gd name="T30" fmla="*/ 21 w 25"/>
                    <a:gd name="T31" fmla="*/ 20 h 47"/>
                    <a:gd name="T32" fmla="*/ 23 w 25"/>
                    <a:gd name="T33" fmla="*/ 21 h 47"/>
                    <a:gd name="T34" fmla="*/ 24 w 25"/>
                    <a:gd name="T35" fmla="*/ 18 h 47"/>
                    <a:gd name="T36" fmla="*/ 20 w 25"/>
                    <a:gd name="T37" fmla="*/ 5 h 47"/>
                    <a:gd name="T38" fmla="*/ 15 w 25"/>
                    <a:gd name="T39" fmla="*/ 0 h 47"/>
                    <a:gd name="T40" fmla="*/ 6 w 25"/>
                    <a:gd name="T41"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47">
                      <a:moveTo>
                        <a:pt x="6" y="10"/>
                      </a:moveTo>
                      <a:cubicBezTo>
                        <a:pt x="0" y="28"/>
                        <a:pt x="0" y="28"/>
                        <a:pt x="0" y="28"/>
                      </a:cubicBezTo>
                      <a:cubicBezTo>
                        <a:pt x="6" y="28"/>
                        <a:pt x="6" y="28"/>
                        <a:pt x="6" y="28"/>
                      </a:cubicBezTo>
                      <a:cubicBezTo>
                        <a:pt x="6" y="36"/>
                        <a:pt x="6" y="44"/>
                        <a:pt x="6" y="45"/>
                      </a:cubicBezTo>
                      <a:cubicBezTo>
                        <a:pt x="6" y="46"/>
                        <a:pt x="7" y="47"/>
                        <a:pt x="9" y="47"/>
                      </a:cubicBezTo>
                      <a:cubicBezTo>
                        <a:pt x="10" y="47"/>
                        <a:pt x="11" y="46"/>
                        <a:pt x="11" y="45"/>
                      </a:cubicBezTo>
                      <a:cubicBezTo>
                        <a:pt x="11" y="43"/>
                        <a:pt x="11" y="28"/>
                        <a:pt x="11" y="28"/>
                      </a:cubicBezTo>
                      <a:cubicBezTo>
                        <a:pt x="12" y="28"/>
                        <a:pt x="12" y="28"/>
                        <a:pt x="12" y="28"/>
                      </a:cubicBezTo>
                      <a:cubicBezTo>
                        <a:pt x="12" y="28"/>
                        <a:pt x="12" y="43"/>
                        <a:pt x="12" y="45"/>
                      </a:cubicBezTo>
                      <a:cubicBezTo>
                        <a:pt x="12" y="46"/>
                        <a:pt x="13" y="47"/>
                        <a:pt x="14" y="47"/>
                      </a:cubicBezTo>
                      <a:cubicBezTo>
                        <a:pt x="15" y="47"/>
                        <a:pt x="16" y="46"/>
                        <a:pt x="16" y="45"/>
                      </a:cubicBezTo>
                      <a:cubicBezTo>
                        <a:pt x="16" y="44"/>
                        <a:pt x="16" y="36"/>
                        <a:pt x="16" y="28"/>
                      </a:cubicBezTo>
                      <a:cubicBezTo>
                        <a:pt x="23" y="28"/>
                        <a:pt x="23" y="28"/>
                        <a:pt x="23" y="28"/>
                      </a:cubicBezTo>
                      <a:cubicBezTo>
                        <a:pt x="16" y="7"/>
                        <a:pt x="16" y="7"/>
                        <a:pt x="16" y="7"/>
                      </a:cubicBezTo>
                      <a:cubicBezTo>
                        <a:pt x="17" y="7"/>
                        <a:pt x="17" y="7"/>
                        <a:pt x="17" y="7"/>
                      </a:cubicBezTo>
                      <a:cubicBezTo>
                        <a:pt x="17" y="7"/>
                        <a:pt x="21" y="18"/>
                        <a:pt x="21" y="20"/>
                      </a:cubicBezTo>
                      <a:cubicBezTo>
                        <a:pt x="21" y="20"/>
                        <a:pt x="22" y="21"/>
                        <a:pt x="23" y="21"/>
                      </a:cubicBezTo>
                      <a:cubicBezTo>
                        <a:pt x="24" y="20"/>
                        <a:pt x="25" y="19"/>
                        <a:pt x="24" y="18"/>
                      </a:cubicBezTo>
                      <a:cubicBezTo>
                        <a:pt x="24" y="18"/>
                        <a:pt x="22" y="10"/>
                        <a:pt x="20" y="5"/>
                      </a:cubicBezTo>
                      <a:cubicBezTo>
                        <a:pt x="20" y="2"/>
                        <a:pt x="18" y="0"/>
                        <a:pt x="15" y="0"/>
                      </a:cubicBezTo>
                      <a:cubicBezTo>
                        <a:pt x="13" y="3"/>
                        <a:pt x="11" y="7"/>
                        <a:pt x="6"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92" name="Freeform 1308"/>
                <p:cNvSpPr>
                  <a:spLocks/>
                </p:cNvSpPr>
                <p:nvPr/>
              </p:nvSpPr>
              <p:spPr bwMode="auto">
                <a:xfrm>
                  <a:off x="14129" y="898"/>
                  <a:ext cx="11" cy="10"/>
                </a:xfrm>
                <a:custGeom>
                  <a:avLst/>
                  <a:gdLst>
                    <a:gd name="T0" fmla="*/ 3 w 5"/>
                    <a:gd name="T1" fmla="*/ 4 h 4"/>
                    <a:gd name="T2" fmla="*/ 5 w 5"/>
                    <a:gd name="T3" fmla="*/ 2 h 4"/>
                    <a:gd name="T4" fmla="*/ 5 w 5"/>
                    <a:gd name="T5" fmla="*/ 0 h 4"/>
                    <a:gd name="T6" fmla="*/ 0 w 5"/>
                    <a:gd name="T7" fmla="*/ 1 h 4"/>
                    <a:gd name="T8" fmla="*/ 0 w 5"/>
                    <a:gd name="T9" fmla="*/ 2 h 4"/>
                    <a:gd name="T10" fmla="*/ 3 w 5"/>
                    <a:gd name="T11" fmla="*/ 4 h 4"/>
                  </a:gdLst>
                  <a:ahLst/>
                  <a:cxnLst>
                    <a:cxn ang="0">
                      <a:pos x="T0" y="T1"/>
                    </a:cxn>
                    <a:cxn ang="0">
                      <a:pos x="T2" y="T3"/>
                    </a:cxn>
                    <a:cxn ang="0">
                      <a:pos x="T4" y="T5"/>
                    </a:cxn>
                    <a:cxn ang="0">
                      <a:pos x="T6" y="T7"/>
                    </a:cxn>
                    <a:cxn ang="0">
                      <a:pos x="T8" y="T9"/>
                    </a:cxn>
                    <a:cxn ang="0">
                      <a:pos x="T10" y="T11"/>
                    </a:cxn>
                  </a:cxnLst>
                  <a:rect l="0" t="0" r="r" b="b"/>
                  <a:pathLst>
                    <a:path w="5" h="4">
                      <a:moveTo>
                        <a:pt x="3" y="4"/>
                      </a:moveTo>
                      <a:cubicBezTo>
                        <a:pt x="4" y="4"/>
                        <a:pt x="5" y="3"/>
                        <a:pt x="5" y="2"/>
                      </a:cubicBezTo>
                      <a:cubicBezTo>
                        <a:pt x="5" y="2"/>
                        <a:pt x="5" y="1"/>
                        <a:pt x="5" y="0"/>
                      </a:cubicBezTo>
                      <a:cubicBezTo>
                        <a:pt x="3" y="1"/>
                        <a:pt x="2" y="1"/>
                        <a:pt x="0" y="1"/>
                      </a:cubicBezTo>
                      <a:cubicBezTo>
                        <a:pt x="0" y="2"/>
                        <a:pt x="0" y="2"/>
                        <a:pt x="0" y="2"/>
                      </a:cubicBezTo>
                      <a:cubicBezTo>
                        <a:pt x="0" y="3"/>
                        <a:pt x="1" y="4"/>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93" name="Freeform 1309"/>
                <p:cNvSpPr>
                  <a:spLocks/>
                </p:cNvSpPr>
                <p:nvPr/>
              </p:nvSpPr>
              <p:spPr bwMode="auto">
                <a:xfrm>
                  <a:off x="13932" y="1045"/>
                  <a:ext cx="10" cy="10"/>
                </a:xfrm>
                <a:custGeom>
                  <a:avLst/>
                  <a:gdLst>
                    <a:gd name="T0" fmla="*/ 2 w 4"/>
                    <a:gd name="T1" fmla="*/ 4 h 4"/>
                    <a:gd name="T2" fmla="*/ 4 w 4"/>
                    <a:gd name="T3" fmla="*/ 2 h 4"/>
                    <a:gd name="T4" fmla="*/ 4 w 4"/>
                    <a:gd name="T5" fmla="*/ 0 h 4"/>
                    <a:gd name="T6" fmla="*/ 0 w 4"/>
                    <a:gd name="T7" fmla="*/ 1 h 4"/>
                    <a:gd name="T8" fmla="*/ 0 w 4"/>
                    <a:gd name="T9" fmla="*/ 2 h 4"/>
                    <a:gd name="T10" fmla="*/ 2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2" y="4"/>
                      </a:moveTo>
                      <a:cubicBezTo>
                        <a:pt x="3" y="4"/>
                        <a:pt x="4" y="3"/>
                        <a:pt x="4" y="2"/>
                      </a:cubicBezTo>
                      <a:cubicBezTo>
                        <a:pt x="4" y="2"/>
                        <a:pt x="4" y="1"/>
                        <a:pt x="4" y="0"/>
                      </a:cubicBezTo>
                      <a:cubicBezTo>
                        <a:pt x="3" y="0"/>
                        <a:pt x="2" y="0"/>
                        <a:pt x="0" y="1"/>
                      </a:cubicBezTo>
                      <a:cubicBezTo>
                        <a:pt x="0" y="1"/>
                        <a:pt x="0" y="2"/>
                        <a:pt x="0" y="2"/>
                      </a:cubicBezTo>
                      <a:cubicBezTo>
                        <a:pt x="0" y="3"/>
                        <a:pt x="1" y="4"/>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94" name="Oval 1310"/>
                <p:cNvSpPr>
                  <a:spLocks noChangeArrowheads="1"/>
                </p:cNvSpPr>
                <p:nvPr/>
              </p:nvSpPr>
              <p:spPr bwMode="auto">
                <a:xfrm>
                  <a:off x="14079"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95" name="Freeform 1311"/>
                <p:cNvSpPr>
                  <a:spLocks/>
                </p:cNvSpPr>
                <p:nvPr/>
              </p:nvSpPr>
              <p:spPr bwMode="auto">
                <a:xfrm>
                  <a:off x="14065" y="1000"/>
                  <a:ext cx="52" cy="111"/>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8 w 22"/>
                    <a:gd name="T11" fmla="*/ 47 h 47"/>
                    <a:gd name="T12" fmla="*/ 10 w 22"/>
                    <a:gd name="T13" fmla="*/ 44 h 47"/>
                    <a:gd name="T14" fmla="*/ 10 w 22"/>
                    <a:gd name="T15" fmla="*/ 23 h 47"/>
                    <a:gd name="T16" fmla="*/ 12 w 22"/>
                    <a:gd name="T17" fmla="*/ 23 h 47"/>
                    <a:gd name="T18" fmla="*/ 12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6 h 47"/>
                    <a:gd name="T36" fmla="*/ 16 w 22"/>
                    <a:gd name="T37" fmla="*/ 0 h 47"/>
                    <a:gd name="T38" fmla="*/ 6 w 22"/>
                    <a:gd name="T39" fmla="*/ 0 h 47"/>
                    <a:gd name="T40" fmla="*/ 0 w 22"/>
                    <a:gd name="T41" fmla="*/ 6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20" y="0"/>
                        <a:pt x="16" y="0"/>
                      </a:cubicBezTo>
                      <a:cubicBezTo>
                        <a:pt x="14" y="0"/>
                        <a:pt x="7" y="0"/>
                        <a:pt x="6" y="0"/>
                      </a:cubicBezTo>
                      <a:cubicBezTo>
                        <a:pt x="2"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96" name="Freeform 1312"/>
                <p:cNvSpPr>
                  <a:spLocks/>
                </p:cNvSpPr>
                <p:nvPr/>
              </p:nvSpPr>
              <p:spPr bwMode="auto">
                <a:xfrm>
                  <a:off x="14143" y="894"/>
                  <a:ext cx="28" cy="71"/>
                </a:xfrm>
                <a:custGeom>
                  <a:avLst/>
                  <a:gdLst>
                    <a:gd name="T0" fmla="*/ 0 w 12"/>
                    <a:gd name="T1" fmla="*/ 27 h 30"/>
                    <a:gd name="T2" fmla="*/ 2 w 12"/>
                    <a:gd name="T3" fmla="*/ 30 h 30"/>
                    <a:gd name="T4" fmla="*/ 5 w 12"/>
                    <a:gd name="T5" fmla="*/ 27 h 30"/>
                    <a:gd name="T6" fmla="*/ 5 w 12"/>
                    <a:gd name="T7" fmla="*/ 6 h 30"/>
                    <a:gd name="T8" fmla="*/ 6 w 12"/>
                    <a:gd name="T9" fmla="*/ 6 h 30"/>
                    <a:gd name="T10" fmla="*/ 6 w 12"/>
                    <a:gd name="T11" fmla="*/ 27 h 30"/>
                    <a:gd name="T12" fmla="*/ 9 w 12"/>
                    <a:gd name="T13" fmla="*/ 30 h 30"/>
                    <a:gd name="T14" fmla="*/ 12 w 12"/>
                    <a:gd name="T15" fmla="*/ 27 h 30"/>
                    <a:gd name="T16" fmla="*/ 12 w 12"/>
                    <a:gd name="T17" fmla="*/ 0 h 30"/>
                    <a:gd name="T18" fmla="*/ 0 w 12"/>
                    <a:gd name="T19" fmla="*/ 2 h 30"/>
                    <a:gd name="T20" fmla="*/ 0 w 12"/>
                    <a:gd name="T2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30">
                      <a:moveTo>
                        <a:pt x="0" y="27"/>
                      </a:moveTo>
                      <a:cubicBezTo>
                        <a:pt x="0" y="29"/>
                        <a:pt x="1" y="30"/>
                        <a:pt x="2" y="30"/>
                      </a:cubicBezTo>
                      <a:cubicBezTo>
                        <a:pt x="4" y="30"/>
                        <a:pt x="5" y="29"/>
                        <a:pt x="5" y="27"/>
                      </a:cubicBezTo>
                      <a:cubicBezTo>
                        <a:pt x="5" y="25"/>
                        <a:pt x="5" y="6"/>
                        <a:pt x="5" y="6"/>
                      </a:cubicBezTo>
                      <a:cubicBezTo>
                        <a:pt x="5" y="6"/>
                        <a:pt x="5" y="6"/>
                        <a:pt x="6" y="6"/>
                      </a:cubicBezTo>
                      <a:cubicBezTo>
                        <a:pt x="6" y="6"/>
                        <a:pt x="6" y="25"/>
                        <a:pt x="6" y="27"/>
                      </a:cubicBezTo>
                      <a:cubicBezTo>
                        <a:pt x="6" y="29"/>
                        <a:pt x="8" y="30"/>
                        <a:pt x="9" y="30"/>
                      </a:cubicBezTo>
                      <a:cubicBezTo>
                        <a:pt x="11" y="30"/>
                        <a:pt x="12" y="29"/>
                        <a:pt x="12" y="27"/>
                      </a:cubicBezTo>
                      <a:cubicBezTo>
                        <a:pt x="12" y="26"/>
                        <a:pt x="12" y="11"/>
                        <a:pt x="12" y="0"/>
                      </a:cubicBezTo>
                      <a:cubicBezTo>
                        <a:pt x="8" y="1"/>
                        <a:pt x="3" y="2"/>
                        <a:pt x="0" y="2"/>
                      </a:cubicBezTo>
                      <a:cubicBezTo>
                        <a:pt x="0" y="12"/>
                        <a:pt x="0" y="26"/>
                        <a:pt x="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97" name="Freeform 1313"/>
                <p:cNvSpPr>
                  <a:spLocks/>
                </p:cNvSpPr>
                <p:nvPr/>
              </p:nvSpPr>
              <p:spPr bwMode="auto">
                <a:xfrm>
                  <a:off x="13994" y="1026"/>
                  <a:ext cx="14" cy="24"/>
                </a:xfrm>
                <a:custGeom>
                  <a:avLst/>
                  <a:gdLst>
                    <a:gd name="T0" fmla="*/ 1 w 6"/>
                    <a:gd name="T1" fmla="*/ 10 h 10"/>
                    <a:gd name="T2" fmla="*/ 4 w 6"/>
                    <a:gd name="T3" fmla="*/ 9 h 10"/>
                    <a:gd name="T4" fmla="*/ 6 w 6"/>
                    <a:gd name="T5" fmla="*/ 0 h 10"/>
                    <a:gd name="T6" fmla="*/ 5 w 6"/>
                    <a:gd name="T7" fmla="*/ 1 h 10"/>
                    <a:gd name="T8" fmla="*/ 1 w 6"/>
                    <a:gd name="T9" fmla="*/ 2 h 10"/>
                    <a:gd name="T10" fmla="*/ 0 w 6"/>
                    <a:gd name="T11" fmla="*/ 7 h 10"/>
                    <a:gd name="T12" fmla="*/ 1 w 6"/>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1" y="10"/>
                      </a:moveTo>
                      <a:cubicBezTo>
                        <a:pt x="2" y="10"/>
                        <a:pt x="3" y="9"/>
                        <a:pt x="4" y="9"/>
                      </a:cubicBezTo>
                      <a:cubicBezTo>
                        <a:pt x="4" y="8"/>
                        <a:pt x="5" y="3"/>
                        <a:pt x="6" y="0"/>
                      </a:cubicBezTo>
                      <a:cubicBezTo>
                        <a:pt x="6" y="0"/>
                        <a:pt x="5" y="0"/>
                        <a:pt x="5" y="1"/>
                      </a:cubicBezTo>
                      <a:cubicBezTo>
                        <a:pt x="4" y="1"/>
                        <a:pt x="3" y="2"/>
                        <a:pt x="1" y="2"/>
                      </a:cubicBezTo>
                      <a:cubicBezTo>
                        <a:pt x="1" y="5"/>
                        <a:pt x="0" y="7"/>
                        <a:pt x="0" y="7"/>
                      </a:cubicBezTo>
                      <a:cubicBezTo>
                        <a:pt x="0" y="8"/>
                        <a:pt x="0" y="9"/>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98" name="Freeform 1314"/>
                <p:cNvSpPr>
                  <a:spLocks/>
                </p:cNvSpPr>
                <p:nvPr/>
              </p:nvSpPr>
              <p:spPr bwMode="auto">
                <a:xfrm>
                  <a:off x="13977" y="1036"/>
                  <a:ext cx="10" cy="19"/>
                </a:xfrm>
                <a:custGeom>
                  <a:avLst/>
                  <a:gdLst>
                    <a:gd name="T0" fmla="*/ 0 w 4"/>
                    <a:gd name="T1" fmla="*/ 6 h 8"/>
                    <a:gd name="T2" fmla="*/ 2 w 4"/>
                    <a:gd name="T3" fmla="*/ 8 h 8"/>
                    <a:gd name="T4" fmla="*/ 4 w 4"/>
                    <a:gd name="T5" fmla="*/ 6 h 8"/>
                    <a:gd name="T6" fmla="*/ 4 w 4"/>
                    <a:gd name="T7" fmla="*/ 0 h 8"/>
                    <a:gd name="T8" fmla="*/ 0 w 4"/>
                    <a:gd name="T9" fmla="*/ 1 h 8"/>
                    <a:gd name="T10" fmla="*/ 0 w 4"/>
                    <a:gd name="T11" fmla="*/ 6 h 8"/>
                  </a:gdLst>
                  <a:ahLst/>
                  <a:cxnLst>
                    <a:cxn ang="0">
                      <a:pos x="T0" y="T1"/>
                    </a:cxn>
                    <a:cxn ang="0">
                      <a:pos x="T2" y="T3"/>
                    </a:cxn>
                    <a:cxn ang="0">
                      <a:pos x="T4" y="T5"/>
                    </a:cxn>
                    <a:cxn ang="0">
                      <a:pos x="T6" y="T7"/>
                    </a:cxn>
                    <a:cxn ang="0">
                      <a:pos x="T8" y="T9"/>
                    </a:cxn>
                    <a:cxn ang="0">
                      <a:pos x="T10" y="T11"/>
                    </a:cxn>
                  </a:cxnLst>
                  <a:rect l="0" t="0" r="r" b="b"/>
                  <a:pathLst>
                    <a:path w="4" h="8">
                      <a:moveTo>
                        <a:pt x="0" y="6"/>
                      </a:moveTo>
                      <a:cubicBezTo>
                        <a:pt x="0" y="7"/>
                        <a:pt x="1" y="8"/>
                        <a:pt x="2" y="8"/>
                      </a:cubicBezTo>
                      <a:cubicBezTo>
                        <a:pt x="3" y="8"/>
                        <a:pt x="4" y="7"/>
                        <a:pt x="4" y="6"/>
                      </a:cubicBezTo>
                      <a:cubicBezTo>
                        <a:pt x="4" y="5"/>
                        <a:pt x="4" y="3"/>
                        <a:pt x="4" y="0"/>
                      </a:cubicBezTo>
                      <a:cubicBezTo>
                        <a:pt x="3" y="1"/>
                        <a:pt x="1" y="1"/>
                        <a:pt x="0" y="1"/>
                      </a:cubicBezTo>
                      <a:cubicBezTo>
                        <a:pt x="0" y="4"/>
                        <a:pt x="0" y="5"/>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999" name="Oval 1315"/>
                <p:cNvSpPr>
                  <a:spLocks noChangeArrowheads="1"/>
                </p:cNvSpPr>
                <p:nvPr/>
              </p:nvSpPr>
              <p:spPr bwMode="auto">
                <a:xfrm>
                  <a:off x="14145"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00" name="Freeform 1316"/>
                <p:cNvSpPr>
                  <a:spLocks/>
                </p:cNvSpPr>
                <p:nvPr/>
              </p:nvSpPr>
              <p:spPr bwMode="auto">
                <a:xfrm>
                  <a:off x="14124" y="1000"/>
                  <a:ext cx="64" cy="111"/>
                </a:xfrm>
                <a:custGeom>
                  <a:avLst/>
                  <a:gdLst>
                    <a:gd name="T0" fmla="*/ 2 w 27"/>
                    <a:gd name="T1" fmla="*/ 21 h 47"/>
                    <a:gd name="T2" fmla="*/ 4 w 27"/>
                    <a:gd name="T3" fmla="*/ 20 h 47"/>
                    <a:gd name="T4" fmla="*/ 8 w 27"/>
                    <a:gd name="T5" fmla="*/ 7 h 47"/>
                    <a:gd name="T6" fmla="*/ 9 w 27"/>
                    <a:gd name="T7" fmla="*/ 7 h 47"/>
                    <a:gd name="T8" fmla="*/ 2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9 w 27"/>
                    <a:gd name="T27" fmla="*/ 45 h 47"/>
                    <a:gd name="T28" fmla="*/ 19 w 27"/>
                    <a:gd name="T29" fmla="*/ 28 h 47"/>
                    <a:gd name="T30" fmla="*/ 25 w 27"/>
                    <a:gd name="T31" fmla="*/ 28 h 47"/>
                    <a:gd name="T32" fmla="*/ 18 w 27"/>
                    <a:gd name="T33" fmla="*/ 7 h 47"/>
                    <a:gd name="T34" fmla="*/ 20 w 27"/>
                    <a:gd name="T35" fmla="*/ 7 h 47"/>
                    <a:gd name="T36" fmla="*/ 23 w 27"/>
                    <a:gd name="T37" fmla="*/ 20 h 47"/>
                    <a:gd name="T38" fmla="*/ 26 w 27"/>
                    <a:gd name="T39" fmla="*/ 21 h 47"/>
                    <a:gd name="T40" fmla="*/ 27 w 27"/>
                    <a:gd name="T41" fmla="*/ 18 h 47"/>
                    <a:gd name="T42" fmla="*/ 23 w 27"/>
                    <a:gd name="T43" fmla="*/ 5 h 47"/>
                    <a:gd name="T44" fmla="*/ 17 w 27"/>
                    <a:gd name="T45" fmla="*/ 0 h 47"/>
                    <a:gd name="T46" fmla="*/ 10 w 27"/>
                    <a:gd name="T47" fmla="*/ 0 h 47"/>
                    <a:gd name="T48" fmla="*/ 5 w 27"/>
                    <a:gd name="T49" fmla="*/ 5 h 47"/>
                    <a:gd name="T50" fmla="*/ 0 w 27"/>
                    <a:gd name="T51" fmla="*/ 18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0"/>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20" y="7"/>
                        <a:pt x="20" y="7"/>
                        <a:pt x="20" y="7"/>
                      </a:cubicBezTo>
                      <a:cubicBezTo>
                        <a:pt x="20" y="7"/>
                        <a:pt x="23" y="18"/>
                        <a:pt x="23" y="20"/>
                      </a:cubicBezTo>
                      <a:cubicBezTo>
                        <a:pt x="24" y="20"/>
                        <a:pt x="25" y="21"/>
                        <a:pt x="26" y="21"/>
                      </a:cubicBezTo>
                      <a:cubicBezTo>
                        <a:pt x="27" y="20"/>
                        <a:pt x="27" y="19"/>
                        <a:pt x="27" y="18"/>
                      </a:cubicBezTo>
                      <a:cubicBezTo>
                        <a:pt x="27" y="18"/>
                        <a:pt x="25" y="10"/>
                        <a:pt x="23" y="5"/>
                      </a:cubicBezTo>
                      <a:cubicBezTo>
                        <a:pt x="22" y="2"/>
                        <a:pt x="20" y="0"/>
                        <a:pt x="17" y="0"/>
                      </a:cubicBezTo>
                      <a:cubicBezTo>
                        <a:pt x="16" y="0"/>
                        <a:pt x="11" y="0"/>
                        <a:pt x="10" y="0"/>
                      </a:cubicBezTo>
                      <a:cubicBezTo>
                        <a:pt x="8" y="0"/>
                        <a:pt x="5" y="2"/>
                        <a:pt x="5" y="5"/>
                      </a:cubicBezTo>
                      <a:cubicBezTo>
                        <a:pt x="3" y="10"/>
                        <a:pt x="1" y="18"/>
                        <a:pt x="0" y="18"/>
                      </a:cubicBezTo>
                      <a:cubicBezTo>
                        <a:pt x="0" y="19"/>
                        <a:pt x="1" y="20"/>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01" name="Freeform 1317"/>
                <p:cNvSpPr>
                  <a:spLocks/>
                </p:cNvSpPr>
                <p:nvPr/>
              </p:nvSpPr>
              <p:spPr bwMode="auto">
                <a:xfrm>
                  <a:off x="13944" y="1040"/>
                  <a:ext cx="31" cy="71"/>
                </a:xfrm>
                <a:custGeom>
                  <a:avLst/>
                  <a:gdLst>
                    <a:gd name="T0" fmla="*/ 0 w 13"/>
                    <a:gd name="T1" fmla="*/ 27 h 30"/>
                    <a:gd name="T2" fmla="*/ 3 w 13"/>
                    <a:gd name="T3" fmla="*/ 30 h 30"/>
                    <a:gd name="T4" fmla="*/ 6 w 13"/>
                    <a:gd name="T5" fmla="*/ 27 h 30"/>
                    <a:gd name="T6" fmla="*/ 6 w 13"/>
                    <a:gd name="T7" fmla="*/ 6 h 30"/>
                    <a:gd name="T8" fmla="*/ 7 w 13"/>
                    <a:gd name="T9" fmla="*/ 6 h 30"/>
                    <a:gd name="T10" fmla="*/ 7 w 13"/>
                    <a:gd name="T11" fmla="*/ 27 h 30"/>
                    <a:gd name="T12" fmla="*/ 10 w 13"/>
                    <a:gd name="T13" fmla="*/ 30 h 30"/>
                    <a:gd name="T14" fmla="*/ 13 w 13"/>
                    <a:gd name="T15" fmla="*/ 27 h 30"/>
                    <a:gd name="T16" fmla="*/ 13 w 13"/>
                    <a:gd name="T17" fmla="*/ 0 h 30"/>
                    <a:gd name="T18" fmla="*/ 0 w 13"/>
                    <a:gd name="T19" fmla="*/ 2 h 30"/>
                    <a:gd name="T20" fmla="*/ 0 w 13"/>
                    <a:gd name="T2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30">
                      <a:moveTo>
                        <a:pt x="0" y="27"/>
                      </a:moveTo>
                      <a:cubicBezTo>
                        <a:pt x="0" y="29"/>
                        <a:pt x="2" y="30"/>
                        <a:pt x="3" y="30"/>
                      </a:cubicBezTo>
                      <a:cubicBezTo>
                        <a:pt x="5" y="30"/>
                        <a:pt x="6" y="29"/>
                        <a:pt x="6" y="27"/>
                      </a:cubicBezTo>
                      <a:cubicBezTo>
                        <a:pt x="6" y="25"/>
                        <a:pt x="6" y="6"/>
                        <a:pt x="6" y="6"/>
                      </a:cubicBezTo>
                      <a:cubicBezTo>
                        <a:pt x="6" y="6"/>
                        <a:pt x="6" y="6"/>
                        <a:pt x="7" y="6"/>
                      </a:cubicBezTo>
                      <a:cubicBezTo>
                        <a:pt x="7" y="6"/>
                        <a:pt x="7" y="25"/>
                        <a:pt x="7" y="27"/>
                      </a:cubicBezTo>
                      <a:cubicBezTo>
                        <a:pt x="7" y="29"/>
                        <a:pt x="8" y="30"/>
                        <a:pt x="10" y="30"/>
                      </a:cubicBezTo>
                      <a:cubicBezTo>
                        <a:pt x="11" y="30"/>
                        <a:pt x="13" y="29"/>
                        <a:pt x="13" y="27"/>
                      </a:cubicBezTo>
                      <a:cubicBezTo>
                        <a:pt x="13" y="26"/>
                        <a:pt x="13" y="10"/>
                        <a:pt x="13" y="0"/>
                      </a:cubicBezTo>
                      <a:cubicBezTo>
                        <a:pt x="9" y="1"/>
                        <a:pt x="5" y="1"/>
                        <a:pt x="0" y="2"/>
                      </a:cubicBezTo>
                      <a:cubicBezTo>
                        <a:pt x="0" y="12"/>
                        <a:pt x="0" y="26"/>
                        <a:pt x="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02" name="Freeform 1318"/>
                <p:cNvSpPr>
                  <a:spLocks/>
                </p:cNvSpPr>
                <p:nvPr/>
              </p:nvSpPr>
              <p:spPr bwMode="auto">
                <a:xfrm>
                  <a:off x="13227" y="917"/>
                  <a:ext cx="14" cy="48"/>
                </a:xfrm>
                <a:custGeom>
                  <a:avLst/>
                  <a:gdLst>
                    <a:gd name="T0" fmla="*/ 3 w 6"/>
                    <a:gd name="T1" fmla="*/ 20 h 20"/>
                    <a:gd name="T2" fmla="*/ 6 w 6"/>
                    <a:gd name="T3" fmla="*/ 17 h 20"/>
                    <a:gd name="T4" fmla="*/ 6 w 6"/>
                    <a:gd name="T5" fmla="*/ 5 h 20"/>
                    <a:gd name="T6" fmla="*/ 4 w 6"/>
                    <a:gd name="T7" fmla="*/ 3 h 20"/>
                    <a:gd name="T8" fmla="*/ 0 w 6"/>
                    <a:gd name="T9" fmla="*/ 0 h 20"/>
                    <a:gd name="T10" fmla="*/ 0 w 6"/>
                    <a:gd name="T11" fmla="*/ 17 h 20"/>
                    <a:gd name="T12" fmla="*/ 3 w 6"/>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6" h="20">
                      <a:moveTo>
                        <a:pt x="3" y="20"/>
                      </a:moveTo>
                      <a:cubicBezTo>
                        <a:pt x="4" y="20"/>
                        <a:pt x="6" y="19"/>
                        <a:pt x="6" y="17"/>
                      </a:cubicBezTo>
                      <a:cubicBezTo>
                        <a:pt x="6" y="16"/>
                        <a:pt x="6" y="10"/>
                        <a:pt x="6" y="5"/>
                      </a:cubicBezTo>
                      <a:cubicBezTo>
                        <a:pt x="5" y="4"/>
                        <a:pt x="4" y="4"/>
                        <a:pt x="4" y="3"/>
                      </a:cubicBezTo>
                      <a:cubicBezTo>
                        <a:pt x="3" y="2"/>
                        <a:pt x="1" y="1"/>
                        <a:pt x="0" y="0"/>
                      </a:cubicBezTo>
                      <a:cubicBezTo>
                        <a:pt x="0" y="8"/>
                        <a:pt x="0" y="16"/>
                        <a:pt x="0" y="17"/>
                      </a:cubicBezTo>
                      <a:cubicBezTo>
                        <a:pt x="0" y="19"/>
                        <a:pt x="1" y="20"/>
                        <a:pt x="3"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03" name="Freeform 1319"/>
                <p:cNvSpPr>
                  <a:spLocks/>
                </p:cNvSpPr>
                <p:nvPr/>
              </p:nvSpPr>
              <p:spPr bwMode="auto">
                <a:xfrm>
                  <a:off x="13149" y="887"/>
                  <a:ext cx="54" cy="78"/>
                </a:xfrm>
                <a:custGeom>
                  <a:avLst/>
                  <a:gdLst>
                    <a:gd name="T0" fmla="*/ 0 w 23"/>
                    <a:gd name="T1" fmla="*/ 14 h 33"/>
                    <a:gd name="T2" fmla="*/ 6 w 23"/>
                    <a:gd name="T3" fmla="*/ 14 h 33"/>
                    <a:gd name="T4" fmla="*/ 6 w 23"/>
                    <a:gd name="T5" fmla="*/ 31 h 33"/>
                    <a:gd name="T6" fmla="*/ 9 w 23"/>
                    <a:gd name="T7" fmla="*/ 33 h 33"/>
                    <a:gd name="T8" fmla="*/ 11 w 23"/>
                    <a:gd name="T9" fmla="*/ 31 h 33"/>
                    <a:gd name="T10" fmla="*/ 11 w 23"/>
                    <a:gd name="T11" fmla="*/ 14 h 33"/>
                    <a:gd name="T12" fmla="*/ 12 w 23"/>
                    <a:gd name="T13" fmla="*/ 14 h 33"/>
                    <a:gd name="T14" fmla="*/ 12 w 23"/>
                    <a:gd name="T15" fmla="*/ 31 h 33"/>
                    <a:gd name="T16" fmla="*/ 14 w 23"/>
                    <a:gd name="T17" fmla="*/ 33 h 33"/>
                    <a:gd name="T18" fmla="*/ 17 w 23"/>
                    <a:gd name="T19" fmla="*/ 31 h 33"/>
                    <a:gd name="T20" fmla="*/ 17 w 23"/>
                    <a:gd name="T21" fmla="*/ 14 h 33"/>
                    <a:gd name="T22" fmla="*/ 23 w 23"/>
                    <a:gd name="T23" fmla="*/ 14 h 33"/>
                    <a:gd name="T24" fmla="*/ 20 w 23"/>
                    <a:gd name="T25" fmla="*/ 6 h 33"/>
                    <a:gd name="T26" fmla="*/ 4 w 23"/>
                    <a:gd name="T27" fmla="*/ 0 h 33"/>
                    <a:gd name="T28" fmla="*/ 0 w 23"/>
                    <a:gd name="T29"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3">
                      <a:moveTo>
                        <a:pt x="0" y="14"/>
                      </a:moveTo>
                      <a:cubicBezTo>
                        <a:pt x="6" y="14"/>
                        <a:pt x="6" y="14"/>
                        <a:pt x="6" y="14"/>
                      </a:cubicBezTo>
                      <a:cubicBezTo>
                        <a:pt x="6" y="22"/>
                        <a:pt x="6" y="30"/>
                        <a:pt x="6" y="31"/>
                      </a:cubicBezTo>
                      <a:cubicBezTo>
                        <a:pt x="6" y="32"/>
                        <a:pt x="7" y="33"/>
                        <a:pt x="9" y="33"/>
                      </a:cubicBezTo>
                      <a:cubicBezTo>
                        <a:pt x="10" y="33"/>
                        <a:pt x="11" y="32"/>
                        <a:pt x="11" y="31"/>
                      </a:cubicBezTo>
                      <a:cubicBezTo>
                        <a:pt x="11" y="29"/>
                        <a:pt x="11" y="14"/>
                        <a:pt x="11" y="14"/>
                      </a:cubicBezTo>
                      <a:cubicBezTo>
                        <a:pt x="12" y="14"/>
                        <a:pt x="12" y="14"/>
                        <a:pt x="12" y="14"/>
                      </a:cubicBezTo>
                      <a:cubicBezTo>
                        <a:pt x="12" y="14"/>
                        <a:pt x="12" y="29"/>
                        <a:pt x="12" y="31"/>
                      </a:cubicBezTo>
                      <a:cubicBezTo>
                        <a:pt x="12" y="32"/>
                        <a:pt x="13" y="33"/>
                        <a:pt x="14" y="33"/>
                      </a:cubicBezTo>
                      <a:cubicBezTo>
                        <a:pt x="16" y="33"/>
                        <a:pt x="17" y="32"/>
                        <a:pt x="17" y="31"/>
                      </a:cubicBezTo>
                      <a:cubicBezTo>
                        <a:pt x="17" y="30"/>
                        <a:pt x="17" y="22"/>
                        <a:pt x="17" y="14"/>
                      </a:cubicBezTo>
                      <a:cubicBezTo>
                        <a:pt x="23" y="14"/>
                        <a:pt x="23" y="14"/>
                        <a:pt x="23" y="14"/>
                      </a:cubicBezTo>
                      <a:cubicBezTo>
                        <a:pt x="22" y="11"/>
                        <a:pt x="21" y="9"/>
                        <a:pt x="20" y="6"/>
                      </a:cubicBezTo>
                      <a:cubicBezTo>
                        <a:pt x="15" y="4"/>
                        <a:pt x="10" y="2"/>
                        <a:pt x="4" y="0"/>
                      </a:cubicBezTo>
                      <a:cubicBezTo>
                        <a:pt x="0" y="14"/>
                        <a:pt x="0" y="14"/>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04" name="Freeform 1320"/>
                <p:cNvSpPr>
                  <a:spLocks/>
                </p:cNvSpPr>
                <p:nvPr/>
              </p:nvSpPr>
              <p:spPr bwMode="auto">
                <a:xfrm>
                  <a:off x="13345" y="1036"/>
                  <a:ext cx="55" cy="75"/>
                </a:xfrm>
                <a:custGeom>
                  <a:avLst/>
                  <a:gdLst>
                    <a:gd name="T0" fmla="*/ 0 w 23"/>
                    <a:gd name="T1" fmla="*/ 13 h 32"/>
                    <a:gd name="T2" fmla="*/ 7 w 23"/>
                    <a:gd name="T3" fmla="*/ 13 h 32"/>
                    <a:gd name="T4" fmla="*/ 7 w 23"/>
                    <a:gd name="T5" fmla="*/ 30 h 32"/>
                    <a:gd name="T6" fmla="*/ 9 w 23"/>
                    <a:gd name="T7" fmla="*/ 32 h 32"/>
                    <a:gd name="T8" fmla="*/ 11 w 23"/>
                    <a:gd name="T9" fmla="*/ 30 h 32"/>
                    <a:gd name="T10" fmla="*/ 11 w 23"/>
                    <a:gd name="T11" fmla="*/ 13 h 32"/>
                    <a:gd name="T12" fmla="*/ 12 w 23"/>
                    <a:gd name="T13" fmla="*/ 13 h 32"/>
                    <a:gd name="T14" fmla="*/ 12 w 23"/>
                    <a:gd name="T15" fmla="*/ 30 h 32"/>
                    <a:gd name="T16" fmla="*/ 14 w 23"/>
                    <a:gd name="T17" fmla="*/ 32 h 32"/>
                    <a:gd name="T18" fmla="*/ 17 w 23"/>
                    <a:gd name="T19" fmla="*/ 30 h 32"/>
                    <a:gd name="T20" fmla="*/ 17 w 23"/>
                    <a:gd name="T21" fmla="*/ 13 h 32"/>
                    <a:gd name="T22" fmla="*/ 23 w 23"/>
                    <a:gd name="T23" fmla="*/ 13 h 32"/>
                    <a:gd name="T24" fmla="*/ 19 w 23"/>
                    <a:gd name="T25" fmla="*/ 1 h 32"/>
                    <a:gd name="T26" fmla="*/ 4 w 23"/>
                    <a:gd name="T27" fmla="*/ 0 h 32"/>
                    <a:gd name="T28" fmla="*/ 0 w 23"/>
                    <a:gd name="T29"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2">
                      <a:moveTo>
                        <a:pt x="0" y="13"/>
                      </a:moveTo>
                      <a:cubicBezTo>
                        <a:pt x="7" y="13"/>
                        <a:pt x="7" y="13"/>
                        <a:pt x="7" y="13"/>
                      </a:cubicBezTo>
                      <a:cubicBezTo>
                        <a:pt x="7" y="21"/>
                        <a:pt x="7" y="29"/>
                        <a:pt x="7" y="30"/>
                      </a:cubicBezTo>
                      <a:cubicBezTo>
                        <a:pt x="7" y="31"/>
                        <a:pt x="8" y="32"/>
                        <a:pt x="9" y="32"/>
                      </a:cubicBezTo>
                      <a:cubicBezTo>
                        <a:pt x="10" y="32"/>
                        <a:pt x="11" y="31"/>
                        <a:pt x="11" y="30"/>
                      </a:cubicBezTo>
                      <a:cubicBezTo>
                        <a:pt x="11" y="28"/>
                        <a:pt x="11" y="13"/>
                        <a:pt x="11" y="13"/>
                      </a:cubicBezTo>
                      <a:cubicBezTo>
                        <a:pt x="12" y="13"/>
                        <a:pt x="12" y="13"/>
                        <a:pt x="12" y="13"/>
                      </a:cubicBezTo>
                      <a:cubicBezTo>
                        <a:pt x="12" y="13"/>
                        <a:pt x="12" y="28"/>
                        <a:pt x="12" y="30"/>
                      </a:cubicBezTo>
                      <a:cubicBezTo>
                        <a:pt x="12" y="31"/>
                        <a:pt x="13" y="32"/>
                        <a:pt x="14" y="32"/>
                      </a:cubicBezTo>
                      <a:cubicBezTo>
                        <a:pt x="16" y="32"/>
                        <a:pt x="17" y="31"/>
                        <a:pt x="17" y="30"/>
                      </a:cubicBezTo>
                      <a:cubicBezTo>
                        <a:pt x="17" y="29"/>
                        <a:pt x="17" y="21"/>
                        <a:pt x="17" y="13"/>
                      </a:cubicBezTo>
                      <a:cubicBezTo>
                        <a:pt x="23" y="13"/>
                        <a:pt x="23" y="13"/>
                        <a:pt x="23" y="13"/>
                      </a:cubicBezTo>
                      <a:cubicBezTo>
                        <a:pt x="21" y="8"/>
                        <a:pt x="20" y="4"/>
                        <a:pt x="19" y="1"/>
                      </a:cubicBezTo>
                      <a:cubicBezTo>
                        <a:pt x="14" y="1"/>
                        <a:pt x="9" y="1"/>
                        <a:pt x="4" y="0"/>
                      </a:cubicBezTo>
                      <a:cubicBezTo>
                        <a:pt x="0" y="13"/>
                        <a:pt x="0" y="13"/>
                        <a:pt x="0"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05" name="Freeform 1321"/>
                <p:cNvSpPr>
                  <a:spLocks/>
                </p:cNvSpPr>
                <p:nvPr/>
              </p:nvSpPr>
              <p:spPr bwMode="auto">
                <a:xfrm>
                  <a:off x="13144" y="884"/>
                  <a:ext cx="12" cy="19"/>
                </a:xfrm>
                <a:custGeom>
                  <a:avLst/>
                  <a:gdLst>
                    <a:gd name="T0" fmla="*/ 1 w 5"/>
                    <a:gd name="T1" fmla="*/ 8 h 8"/>
                    <a:gd name="T2" fmla="*/ 4 w 5"/>
                    <a:gd name="T3" fmla="*/ 7 h 8"/>
                    <a:gd name="T4" fmla="*/ 5 w 5"/>
                    <a:gd name="T5" fmla="*/ 1 h 8"/>
                    <a:gd name="T6" fmla="*/ 2 w 5"/>
                    <a:gd name="T7" fmla="*/ 0 h 8"/>
                    <a:gd name="T8" fmla="*/ 0 w 5"/>
                    <a:gd name="T9" fmla="*/ 6 h 8"/>
                    <a:gd name="T10" fmla="*/ 1 w 5"/>
                    <a:gd name="T11" fmla="*/ 8 h 8"/>
                  </a:gdLst>
                  <a:ahLst/>
                  <a:cxnLst>
                    <a:cxn ang="0">
                      <a:pos x="T0" y="T1"/>
                    </a:cxn>
                    <a:cxn ang="0">
                      <a:pos x="T2" y="T3"/>
                    </a:cxn>
                    <a:cxn ang="0">
                      <a:pos x="T4" y="T5"/>
                    </a:cxn>
                    <a:cxn ang="0">
                      <a:pos x="T6" y="T7"/>
                    </a:cxn>
                    <a:cxn ang="0">
                      <a:pos x="T8" y="T9"/>
                    </a:cxn>
                    <a:cxn ang="0">
                      <a:pos x="T10" y="T11"/>
                    </a:cxn>
                  </a:cxnLst>
                  <a:rect l="0" t="0" r="r" b="b"/>
                  <a:pathLst>
                    <a:path w="5" h="8">
                      <a:moveTo>
                        <a:pt x="1" y="8"/>
                      </a:moveTo>
                      <a:cubicBezTo>
                        <a:pt x="2" y="8"/>
                        <a:pt x="3" y="8"/>
                        <a:pt x="4" y="7"/>
                      </a:cubicBezTo>
                      <a:cubicBezTo>
                        <a:pt x="4" y="6"/>
                        <a:pt x="5" y="4"/>
                        <a:pt x="5" y="1"/>
                      </a:cubicBezTo>
                      <a:cubicBezTo>
                        <a:pt x="4" y="1"/>
                        <a:pt x="3" y="0"/>
                        <a:pt x="2" y="0"/>
                      </a:cubicBezTo>
                      <a:cubicBezTo>
                        <a:pt x="1" y="3"/>
                        <a:pt x="0" y="5"/>
                        <a:pt x="0" y="6"/>
                      </a:cubicBezTo>
                      <a:cubicBezTo>
                        <a:pt x="0" y="7"/>
                        <a:pt x="0" y="8"/>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06" name="Freeform 1322"/>
                <p:cNvSpPr>
                  <a:spLocks/>
                </p:cNvSpPr>
                <p:nvPr/>
              </p:nvSpPr>
              <p:spPr bwMode="auto">
                <a:xfrm>
                  <a:off x="13244" y="932"/>
                  <a:ext cx="11" cy="33"/>
                </a:xfrm>
                <a:custGeom>
                  <a:avLst/>
                  <a:gdLst>
                    <a:gd name="T0" fmla="*/ 0 w 5"/>
                    <a:gd name="T1" fmla="*/ 11 h 14"/>
                    <a:gd name="T2" fmla="*/ 3 w 5"/>
                    <a:gd name="T3" fmla="*/ 14 h 14"/>
                    <a:gd name="T4" fmla="*/ 5 w 5"/>
                    <a:gd name="T5" fmla="*/ 11 h 14"/>
                    <a:gd name="T6" fmla="*/ 5 w 5"/>
                    <a:gd name="T7" fmla="*/ 8 h 14"/>
                    <a:gd name="T8" fmla="*/ 0 w 5"/>
                    <a:gd name="T9" fmla="*/ 0 h 14"/>
                    <a:gd name="T10" fmla="*/ 0 w 5"/>
                    <a:gd name="T11" fmla="*/ 11 h 14"/>
                  </a:gdLst>
                  <a:ahLst/>
                  <a:cxnLst>
                    <a:cxn ang="0">
                      <a:pos x="T0" y="T1"/>
                    </a:cxn>
                    <a:cxn ang="0">
                      <a:pos x="T2" y="T3"/>
                    </a:cxn>
                    <a:cxn ang="0">
                      <a:pos x="T4" y="T5"/>
                    </a:cxn>
                    <a:cxn ang="0">
                      <a:pos x="T6" y="T7"/>
                    </a:cxn>
                    <a:cxn ang="0">
                      <a:pos x="T8" y="T9"/>
                    </a:cxn>
                    <a:cxn ang="0">
                      <a:pos x="T10" y="T11"/>
                    </a:cxn>
                  </a:cxnLst>
                  <a:rect l="0" t="0" r="r" b="b"/>
                  <a:pathLst>
                    <a:path w="5" h="14">
                      <a:moveTo>
                        <a:pt x="0" y="11"/>
                      </a:moveTo>
                      <a:cubicBezTo>
                        <a:pt x="0" y="13"/>
                        <a:pt x="1" y="14"/>
                        <a:pt x="3" y="14"/>
                      </a:cubicBezTo>
                      <a:cubicBezTo>
                        <a:pt x="4" y="14"/>
                        <a:pt x="5" y="13"/>
                        <a:pt x="5" y="11"/>
                      </a:cubicBezTo>
                      <a:cubicBezTo>
                        <a:pt x="5" y="11"/>
                        <a:pt x="5" y="10"/>
                        <a:pt x="5" y="8"/>
                      </a:cubicBezTo>
                      <a:cubicBezTo>
                        <a:pt x="4" y="6"/>
                        <a:pt x="2" y="3"/>
                        <a:pt x="0" y="0"/>
                      </a:cubicBezTo>
                      <a:cubicBezTo>
                        <a:pt x="0" y="5"/>
                        <a:pt x="0" y="10"/>
                        <a:pt x="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07" name="Freeform 1323"/>
                <p:cNvSpPr>
                  <a:spLocks/>
                </p:cNvSpPr>
                <p:nvPr/>
              </p:nvSpPr>
              <p:spPr bwMode="auto">
                <a:xfrm>
                  <a:off x="13279" y="1003"/>
                  <a:ext cx="43" cy="108"/>
                </a:xfrm>
                <a:custGeom>
                  <a:avLst/>
                  <a:gdLst>
                    <a:gd name="T0" fmla="*/ 0 w 18"/>
                    <a:gd name="T1" fmla="*/ 5 h 46"/>
                    <a:gd name="T2" fmla="*/ 0 w 18"/>
                    <a:gd name="T3" fmla="*/ 20 h 46"/>
                    <a:gd name="T4" fmla="*/ 3 w 18"/>
                    <a:gd name="T5" fmla="*/ 22 h 46"/>
                    <a:gd name="T6" fmla="*/ 5 w 18"/>
                    <a:gd name="T7" fmla="*/ 20 h 46"/>
                    <a:gd name="T8" fmla="*/ 5 w 18"/>
                    <a:gd name="T9" fmla="*/ 7 h 46"/>
                    <a:gd name="T10" fmla="*/ 6 w 18"/>
                    <a:gd name="T11" fmla="*/ 7 h 46"/>
                    <a:gd name="T12" fmla="*/ 6 w 18"/>
                    <a:gd name="T13" fmla="*/ 43 h 46"/>
                    <a:gd name="T14" fmla="*/ 8 w 18"/>
                    <a:gd name="T15" fmla="*/ 46 h 46"/>
                    <a:gd name="T16" fmla="*/ 11 w 18"/>
                    <a:gd name="T17" fmla="*/ 43 h 46"/>
                    <a:gd name="T18" fmla="*/ 11 w 18"/>
                    <a:gd name="T19" fmla="*/ 22 h 46"/>
                    <a:gd name="T20" fmla="*/ 12 w 18"/>
                    <a:gd name="T21" fmla="*/ 22 h 46"/>
                    <a:gd name="T22" fmla="*/ 12 w 18"/>
                    <a:gd name="T23" fmla="*/ 43 h 46"/>
                    <a:gd name="T24" fmla="*/ 15 w 18"/>
                    <a:gd name="T25" fmla="*/ 46 h 46"/>
                    <a:gd name="T26" fmla="*/ 18 w 18"/>
                    <a:gd name="T27" fmla="*/ 43 h 46"/>
                    <a:gd name="T28" fmla="*/ 18 w 18"/>
                    <a:gd name="T29" fmla="*/ 10 h 46"/>
                    <a:gd name="T30" fmla="*/ 6 w 18"/>
                    <a:gd name="T31" fmla="*/ 2 h 46"/>
                    <a:gd name="T32" fmla="*/ 3 w 18"/>
                    <a:gd name="T33" fmla="*/ 0 h 46"/>
                    <a:gd name="T34" fmla="*/ 0 w 18"/>
                    <a:gd name="T35"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6">
                      <a:moveTo>
                        <a:pt x="0" y="5"/>
                      </a:moveTo>
                      <a:cubicBezTo>
                        <a:pt x="0" y="7"/>
                        <a:pt x="0" y="19"/>
                        <a:pt x="0" y="20"/>
                      </a:cubicBezTo>
                      <a:cubicBezTo>
                        <a:pt x="0" y="21"/>
                        <a:pt x="1" y="22"/>
                        <a:pt x="3" y="22"/>
                      </a:cubicBezTo>
                      <a:cubicBezTo>
                        <a:pt x="4" y="22"/>
                        <a:pt x="5" y="21"/>
                        <a:pt x="5" y="20"/>
                      </a:cubicBezTo>
                      <a:cubicBezTo>
                        <a:pt x="5" y="18"/>
                        <a:pt x="5" y="7"/>
                        <a:pt x="5" y="7"/>
                      </a:cubicBezTo>
                      <a:cubicBezTo>
                        <a:pt x="5" y="7"/>
                        <a:pt x="5" y="7"/>
                        <a:pt x="6" y="7"/>
                      </a:cubicBezTo>
                      <a:cubicBezTo>
                        <a:pt x="6" y="7"/>
                        <a:pt x="6" y="41"/>
                        <a:pt x="6" y="43"/>
                      </a:cubicBezTo>
                      <a:cubicBezTo>
                        <a:pt x="6" y="45"/>
                        <a:pt x="7" y="46"/>
                        <a:pt x="8" y="46"/>
                      </a:cubicBezTo>
                      <a:cubicBezTo>
                        <a:pt x="10" y="46"/>
                        <a:pt x="11" y="45"/>
                        <a:pt x="11" y="43"/>
                      </a:cubicBezTo>
                      <a:cubicBezTo>
                        <a:pt x="11" y="41"/>
                        <a:pt x="11" y="22"/>
                        <a:pt x="11" y="22"/>
                      </a:cubicBezTo>
                      <a:cubicBezTo>
                        <a:pt x="11" y="22"/>
                        <a:pt x="11" y="22"/>
                        <a:pt x="12" y="22"/>
                      </a:cubicBezTo>
                      <a:cubicBezTo>
                        <a:pt x="12" y="22"/>
                        <a:pt x="12" y="41"/>
                        <a:pt x="12" y="43"/>
                      </a:cubicBezTo>
                      <a:cubicBezTo>
                        <a:pt x="12" y="45"/>
                        <a:pt x="14" y="46"/>
                        <a:pt x="15" y="46"/>
                      </a:cubicBezTo>
                      <a:cubicBezTo>
                        <a:pt x="17" y="46"/>
                        <a:pt x="18" y="45"/>
                        <a:pt x="18" y="43"/>
                      </a:cubicBezTo>
                      <a:cubicBezTo>
                        <a:pt x="18" y="41"/>
                        <a:pt x="18" y="19"/>
                        <a:pt x="18" y="10"/>
                      </a:cubicBezTo>
                      <a:cubicBezTo>
                        <a:pt x="14" y="8"/>
                        <a:pt x="10" y="6"/>
                        <a:pt x="6" y="2"/>
                      </a:cubicBezTo>
                      <a:cubicBezTo>
                        <a:pt x="5" y="1"/>
                        <a:pt x="4" y="1"/>
                        <a:pt x="3" y="0"/>
                      </a:cubicBezTo>
                      <a:cubicBezTo>
                        <a:pt x="2" y="1"/>
                        <a:pt x="0" y="3"/>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08" name="Freeform 1324"/>
                <p:cNvSpPr>
                  <a:spLocks/>
                </p:cNvSpPr>
                <p:nvPr/>
              </p:nvSpPr>
              <p:spPr bwMode="auto">
                <a:xfrm>
                  <a:off x="13324" y="1029"/>
                  <a:ext cx="9" cy="26"/>
                </a:xfrm>
                <a:custGeom>
                  <a:avLst/>
                  <a:gdLst>
                    <a:gd name="T0" fmla="*/ 0 w 4"/>
                    <a:gd name="T1" fmla="*/ 9 h 11"/>
                    <a:gd name="T2" fmla="*/ 2 w 4"/>
                    <a:gd name="T3" fmla="*/ 11 h 11"/>
                    <a:gd name="T4" fmla="*/ 4 w 4"/>
                    <a:gd name="T5" fmla="*/ 9 h 11"/>
                    <a:gd name="T6" fmla="*/ 4 w 4"/>
                    <a:gd name="T7" fmla="*/ 1 h 11"/>
                    <a:gd name="T8" fmla="*/ 0 w 4"/>
                    <a:gd name="T9" fmla="*/ 0 h 11"/>
                    <a:gd name="T10" fmla="*/ 0 w 4"/>
                    <a:gd name="T11" fmla="*/ 9 h 11"/>
                  </a:gdLst>
                  <a:ahLst/>
                  <a:cxnLst>
                    <a:cxn ang="0">
                      <a:pos x="T0" y="T1"/>
                    </a:cxn>
                    <a:cxn ang="0">
                      <a:pos x="T2" y="T3"/>
                    </a:cxn>
                    <a:cxn ang="0">
                      <a:pos x="T4" y="T5"/>
                    </a:cxn>
                    <a:cxn ang="0">
                      <a:pos x="T6" y="T7"/>
                    </a:cxn>
                    <a:cxn ang="0">
                      <a:pos x="T8" y="T9"/>
                    </a:cxn>
                    <a:cxn ang="0">
                      <a:pos x="T10" y="T11"/>
                    </a:cxn>
                  </a:cxnLst>
                  <a:rect l="0" t="0" r="r" b="b"/>
                  <a:pathLst>
                    <a:path w="4" h="11">
                      <a:moveTo>
                        <a:pt x="0" y="9"/>
                      </a:moveTo>
                      <a:cubicBezTo>
                        <a:pt x="0" y="10"/>
                        <a:pt x="1" y="11"/>
                        <a:pt x="2" y="11"/>
                      </a:cubicBezTo>
                      <a:cubicBezTo>
                        <a:pt x="3" y="11"/>
                        <a:pt x="4" y="10"/>
                        <a:pt x="4" y="9"/>
                      </a:cubicBezTo>
                      <a:cubicBezTo>
                        <a:pt x="4" y="8"/>
                        <a:pt x="4" y="5"/>
                        <a:pt x="4" y="1"/>
                      </a:cubicBezTo>
                      <a:cubicBezTo>
                        <a:pt x="3" y="1"/>
                        <a:pt x="1" y="0"/>
                        <a:pt x="0" y="0"/>
                      </a:cubicBezTo>
                      <a:cubicBezTo>
                        <a:pt x="0" y="3"/>
                        <a:pt x="0" y="8"/>
                        <a:pt x="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09" name="Freeform 1325"/>
                <p:cNvSpPr>
                  <a:spLocks/>
                </p:cNvSpPr>
                <p:nvPr/>
              </p:nvSpPr>
              <p:spPr bwMode="auto">
                <a:xfrm>
                  <a:off x="13341" y="1033"/>
                  <a:ext cx="11" cy="17"/>
                </a:xfrm>
                <a:custGeom>
                  <a:avLst/>
                  <a:gdLst>
                    <a:gd name="T0" fmla="*/ 1 w 5"/>
                    <a:gd name="T1" fmla="*/ 7 h 7"/>
                    <a:gd name="T2" fmla="*/ 4 w 5"/>
                    <a:gd name="T3" fmla="*/ 6 h 7"/>
                    <a:gd name="T4" fmla="*/ 5 w 5"/>
                    <a:gd name="T5" fmla="*/ 1 h 7"/>
                    <a:gd name="T6" fmla="*/ 1 w 5"/>
                    <a:gd name="T7" fmla="*/ 0 h 7"/>
                    <a:gd name="T8" fmla="*/ 0 w 5"/>
                    <a:gd name="T9" fmla="*/ 4 h 7"/>
                    <a:gd name="T10" fmla="*/ 1 w 5"/>
                    <a:gd name="T11" fmla="*/ 7 h 7"/>
                  </a:gdLst>
                  <a:ahLst/>
                  <a:cxnLst>
                    <a:cxn ang="0">
                      <a:pos x="T0" y="T1"/>
                    </a:cxn>
                    <a:cxn ang="0">
                      <a:pos x="T2" y="T3"/>
                    </a:cxn>
                    <a:cxn ang="0">
                      <a:pos x="T4" y="T5"/>
                    </a:cxn>
                    <a:cxn ang="0">
                      <a:pos x="T6" y="T7"/>
                    </a:cxn>
                    <a:cxn ang="0">
                      <a:pos x="T8" y="T9"/>
                    </a:cxn>
                    <a:cxn ang="0">
                      <a:pos x="T10" y="T11"/>
                    </a:cxn>
                  </a:cxnLst>
                  <a:rect l="0" t="0" r="r" b="b"/>
                  <a:pathLst>
                    <a:path w="5" h="7">
                      <a:moveTo>
                        <a:pt x="1" y="7"/>
                      </a:moveTo>
                      <a:cubicBezTo>
                        <a:pt x="2" y="7"/>
                        <a:pt x="4" y="6"/>
                        <a:pt x="4" y="6"/>
                      </a:cubicBezTo>
                      <a:cubicBezTo>
                        <a:pt x="4" y="5"/>
                        <a:pt x="5" y="3"/>
                        <a:pt x="5" y="1"/>
                      </a:cubicBezTo>
                      <a:cubicBezTo>
                        <a:pt x="4" y="1"/>
                        <a:pt x="3" y="1"/>
                        <a:pt x="1" y="0"/>
                      </a:cubicBezTo>
                      <a:cubicBezTo>
                        <a:pt x="1" y="2"/>
                        <a:pt x="0" y="4"/>
                        <a:pt x="0" y="4"/>
                      </a:cubicBezTo>
                      <a:cubicBezTo>
                        <a:pt x="0" y="5"/>
                        <a:pt x="1" y="6"/>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10" name="Freeform 1326"/>
                <p:cNvSpPr>
                  <a:spLocks/>
                </p:cNvSpPr>
                <p:nvPr/>
              </p:nvSpPr>
              <p:spPr bwMode="auto">
                <a:xfrm>
                  <a:off x="13393" y="1038"/>
                  <a:ext cx="11" cy="12"/>
                </a:xfrm>
                <a:custGeom>
                  <a:avLst/>
                  <a:gdLst>
                    <a:gd name="T0" fmla="*/ 1 w 5"/>
                    <a:gd name="T1" fmla="*/ 4 h 5"/>
                    <a:gd name="T2" fmla="*/ 4 w 5"/>
                    <a:gd name="T3" fmla="*/ 5 h 5"/>
                    <a:gd name="T4" fmla="*/ 5 w 5"/>
                    <a:gd name="T5" fmla="*/ 2 h 5"/>
                    <a:gd name="T6" fmla="*/ 4 w 5"/>
                    <a:gd name="T7" fmla="*/ 0 h 5"/>
                    <a:gd name="T8" fmla="*/ 0 w 5"/>
                    <a:gd name="T9" fmla="*/ 0 h 5"/>
                    <a:gd name="T10" fmla="*/ 1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1" y="4"/>
                      </a:moveTo>
                      <a:cubicBezTo>
                        <a:pt x="1" y="4"/>
                        <a:pt x="3" y="5"/>
                        <a:pt x="4" y="5"/>
                      </a:cubicBezTo>
                      <a:cubicBezTo>
                        <a:pt x="4" y="4"/>
                        <a:pt x="5" y="3"/>
                        <a:pt x="5" y="2"/>
                      </a:cubicBezTo>
                      <a:cubicBezTo>
                        <a:pt x="5" y="2"/>
                        <a:pt x="4" y="1"/>
                        <a:pt x="4" y="0"/>
                      </a:cubicBezTo>
                      <a:cubicBezTo>
                        <a:pt x="3" y="0"/>
                        <a:pt x="2" y="0"/>
                        <a:pt x="0" y="0"/>
                      </a:cubicBezTo>
                      <a:cubicBezTo>
                        <a:pt x="1" y="2"/>
                        <a:pt x="1" y="3"/>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11" name="Freeform 1327"/>
                <p:cNvSpPr>
                  <a:spLocks/>
                </p:cNvSpPr>
                <p:nvPr/>
              </p:nvSpPr>
              <p:spPr bwMode="auto">
                <a:xfrm>
                  <a:off x="13608" y="1059"/>
                  <a:ext cx="38" cy="52"/>
                </a:xfrm>
                <a:custGeom>
                  <a:avLst/>
                  <a:gdLst>
                    <a:gd name="T0" fmla="*/ 6 w 16"/>
                    <a:gd name="T1" fmla="*/ 3 h 22"/>
                    <a:gd name="T2" fmla="*/ 6 w 16"/>
                    <a:gd name="T3" fmla="*/ 20 h 22"/>
                    <a:gd name="T4" fmla="*/ 9 w 16"/>
                    <a:gd name="T5" fmla="*/ 22 h 22"/>
                    <a:gd name="T6" fmla="*/ 11 w 16"/>
                    <a:gd name="T7" fmla="*/ 20 h 22"/>
                    <a:gd name="T8" fmla="*/ 11 w 16"/>
                    <a:gd name="T9" fmla="*/ 3 h 22"/>
                    <a:gd name="T10" fmla="*/ 12 w 16"/>
                    <a:gd name="T11" fmla="*/ 3 h 22"/>
                    <a:gd name="T12" fmla="*/ 12 w 16"/>
                    <a:gd name="T13" fmla="*/ 20 h 22"/>
                    <a:gd name="T14" fmla="*/ 14 w 16"/>
                    <a:gd name="T15" fmla="*/ 22 h 22"/>
                    <a:gd name="T16" fmla="*/ 16 w 16"/>
                    <a:gd name="T17" fmla="*/ 20 h 22"/>
                    <a:gd name="T18" fmla="*/ 16 w 16"/>
                    <a:gd name="T19" fmla="*/ 4 h 22"/>
                    <a:gd name="T20" fmla="*/ 1 w 16"/>
                    <a:gd name="T21" fmla="*/ 0 h 22"/>
                    <a:gd name="T22" fmla="*/ 0 w 16"/>
                    <a:gd name="T23" fmla="*/ 3 h 22"/>
                    <a:gd name="T24" fmla="*/ 6 w 16"/>
                    <a:gd name="T25"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2">
                      <a:moveTo>
                        <a:pt x="6" y="3"/>
                      </a:moveTo>
                      <a:cubicBezTo>
                        <a:pt x="6" y="11"/>
                        <a:pt x="6" y="19"/>
                        <a:pt x="6" y="20"/>
                      </a:cubicBezTo>
                      <a:cubicBezTo>
                        <a:pt x="6" y="21"/>
                        <a:pt x="7" y="22"/>
                        <a:pt x="9" y="22"/>
                      </a:cubicBezTo>
                      <a:cubicBezTo>
                        <a:pt x="10" y="22"/>
                        <a:pt x="11" y="21"/>
                        <a:pt x="11" y="20"/>
                      </a:cubicBezTo>
                      <a:cubicBezTo>
                        <a:pt x="11" y="18"/>
                        <a:pt x="11" y="3"/>
                        <a:pt x="11" y="3"/>
                      </a:cubicBezTo>
                      <a:cubicBezTo>
                        <a:pt x="12" y="3"/>
                        <a:pt x="12" y="3"/>
                        <a:pt x="12" y="3"/>
                      </a:cubicBezTo>
                      <a:cubicBezTo>
                        <a:pt x="12" y="3"/>
                        <a:pt x="12" y="18"/>
                        <a:pt x="12" y="20"/>
                      </a:cubicBezTo>
                      <a:cubicBezTo>
                        <a:pt x="12" y="21"/>
                        <a:pt x="13" y="22"/>
                        <a:pt x="14" y="22"/>
                      </a:cubicBezTo>
                      <a:cubicBezTo>
                        <a:pt x="15" y="22"/>
                        <a:pt x="16" y="21"/>
                        <a:pt x="16" y="20"/>
                      </a:cubicBezTo>
                      <a:cubicBezTo>
                        <a:pt x="16" y="19"/>
                        <a:pt x="16" y="11"/>
                        <a:pt x="16" y="4"/>
                      </a:cubicBezTo>
                      <a:cubicBezTo>
                        <a:pt x="11" y="3"/>
                        <a:pt x="6" y="1"/>
                        <a:pt x="1" y="0"/>
                      </a:cubicBezTo>
                      <a:cubicBezTo>
                        <a:pt x="0" y="3"/>
                        <a:pt x="0" y="3"/>
                        <a:pt x="0" y="3"/>
                      </a:cubicBezTo>
                      <a:cubicBezTo>
                        <a:pt x="6" y="3"/>
                        <a:pt x="6" y="3"/>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12" name="Freeform 1328"/>
                <p:cNvSpPr>
                  <a:spLocks/>
                </p:cNvSpPr>
                <p:nvPr/>
              </p:nvSpPr>
              <p:spPr bwMode="auto">
                <a:xfrm>
                  <a:off x="13589" y="1055"/>
                  <a:ext cx="2"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1" y="0"/>
                        <a:pt x="0" y="0"/>
                        <a:pt x="0" y="0"/>
                      </a:cubicBezTo>
                      <a:cubicBezTo>
                        <a:pt x="0"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13" name="Oval 1329"/>
                <p:cNvSpPr>
                  <a:spLocks noChangeArrowheads="1"/>
                </p:cNvSpPr>
                <p:nvPr/>
              </p:nvSpPr>
              <p:spPr bwMode="auto">
                <a:xfrm>
                  <a:off x="13229"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14" name="Oval 1330"/>
                <p:cNvSpPr>
                  <a:spLocks noChangeArrowheads="1"/>
                </p:cNvSpPr>
                <p:nvPr/>
              </p:nvSpPr>
              <p:spPr bwMode="auto">
                <a:xfrm>
                  <a:off x="13165" y="974"/>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15" name="Freeform 1331"/>
                <p:cNvSpPr>
                  <a:spLocks/>
                </p:cNvSpPr>
                <p:nvPr/>
              </p:nvSpPr>
              <p:spPr bwMode="auto">
                <a:xfrm>
                  <a:off x="13210" y="1000"/>
                  <a:ext cx="64" cy="111"/>
                </a:xfrm>
                <a:custGeom>
                  <a:avLst/>
                  <a:gdLst>
                    <a:gd name="T0" fmla="*/ 1 w 27"/>
                    <a:gd name="T1" fmla="*/ 21 h 47"/>
                    <a:gd name="T2" fmla="*/ 3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8 h 47"/>
                    <a:gd name="T42" fmla="*/ 22 w 27"/>
                    <a:gd name="T43" fmla="*/ 5 h 47"/>
                    <a:gd name="T44" fmla="*/ 17 w 27"/>
                    <a:gd name="T45" fmla="*/ 0 h 47"/>
                    <a:gd name="T46" fmla="*/ 9 w 27"/>
                    <a:gd name="T47" fmla="*/ 0 h 47"/>
                    <a:gd name="T48" fmla="*/ 4 w 27"/>
                    <a:gd name="T49" fmla="*/ 5 h 47"/>
                    <a:gd name="T50" fmla="*/ 0 w 27"/>
                    <a:gd name="T51" fmla="*/ 18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0"/>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0"/>
                        <a:pt x="24" y="21"/>
                        <a:pt x="25" y="21"/>
                      </a:cubicBezTo>
                      <a:cubicBezTo>
                        <a:pt x="26" y="20"/>
                        <a:pt x="27" y="19"/>
                        <a:pt x="26" y="18"/>
                      </a:cubicBezTo>
                      <a:cubicBezTo>
                        <a:pt x="26" y="18"/>
                        <a:pt x="24" y="10"/>
                        <a:pt x="22" y="5"/>
                      </a:cubicBezTo>
                      <a:cubicBezTo>
                        <a:pt x="22" y="2"/>
                        <a:pt x="19" y="0"/>
                        <a:pt x="17" y="0"/>
                      </a:cubicBezTo>
                      <a:cubicBezTo>
                        <a:pt x="16" y="0"/>
                        <a:pt x="10" y="0"/>
                        <a:pt x="9" y="0"/>
                      </a:cubicBezTo>
                      <a:cubicBezTo>
                        <a:pt x="7" y="0"/>
                        <a:pt x="5" y="2"/>
                        <a:pt x="4" y="5"/>
                      </a:cubicBezTo>
                      <a:cubicBezTo>
                        <a:pt x="2" y="10"/>
                        <a:pt x="0" y="18"/>
                        <a:pt x="0" y="18"/>
                      </a:cubicBezTo>
                      <a:cubicBezTo>
                        <a:pt x="0" y="19"/>
                        <a:pt x="0" y="20"/>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16" name="Freeform 1332"/>
                <p:cNvSpPr>
                  <a:spLocks/>
                </p:cNvSpPr>
                <p:nvPr/>
              </p:nvSpPr>
              <p:spPr bwMode="auto">
                <a:xfrm>
                  <a:off x="13412" y="1038"/>
                  <a:ext cx="9" cy="17"/>
                </a:xfrm>
                <a:custGeom>
                  <a:avLst/>
                  <a:gdLst>
                    <a:gd name="T0" fmla="*/ 2 w 4"/>
                    <a:gd name="T1" fmla="*/ 7 h 7"/>
                    <a:gd name="T2" fmla="*/ 4 w 4"/>
                    <a:gd name="T3" fmla="*/ 5 h 7"/>
                    <a:gd name="T4" fmla="*/ 4 w 4"/>
                    <a:gd name="T5" fmla="*/ 0 h 7"/>
                    <a:gd name="T6" fmla="*/ 0 w 4"/>
                    <a:gd name="T7" fmla="*/ 0 h 7"/>
                    <a:gd name="T8" fmla="*/ 0 w 4"/>
                    <a:gd name="T9" fmla="*/ 5 h 7"/>
                    <a:gd name="T10" fmla="*/ 2 w 4"/>
                    <a:gd name="T11" fmla="*/ 7 h 7"/>
                  </a:gdLst>
                  <a:ahLst/>
                  <a:cxnLst>
                    <a:cxn ang="0">
                      <a:pos x="T0" y="T1"/>
                    </a:cxn>
                    <a:cxn ang="0">
                      <a:pos x="T2" y="T3"/>
                    </a:cxn>
                    <a:cxn ang="0">
                      <a:pos x="T4" y="T5"/>
                    </a:cxn>
                    <a:cxn ang="0">
                      <a:pos x="T6" y="T7"/>
                    </a:cxn>
                    <a:cxn ang="0">
                      <a:pos x="T8" y="T9"/>
                    </a:cxn>
                    <a:cxn ang="0">
                      <a:pos x="T10" y="T11"/>
                    </a:cxn>
                  </a:cxnLst>
                  <a:rect l="0" t="0" r="r" b="b"/>
                  <a:pathLst>
                    <a:path w="4" h="7">
                      <a:moveTo>
                        <a:pt x="2" y="7"/>
                      </a:moveTo>
                      <a:cubicBezTo>
                        <a:pt x="3" y="7"/>
                        <a:pt x="4" y="6"/>
                        <a:pt x="4" y="5"/>
                      </a:cubicBezTo>
                      <a:cubicBezTo>
                        <a:pt x="4" y="4"/>
                        <a:pt x="4" y="2"/>
                        <a:pt x="4" y="0"/>
                      </a:cubicBezTo>
                      <a:cubicBezTo>
                        <a:pt x="3" y="0"/>
                        <a:pt x="1" y="0"/>
                        <a:pt x="0" y="0"/>
                      </a:cubicBezTo>
                      <a:cubicBezTo>
                        <a:pt x="0" y="2"/>
                        <a:pt x="0" y="4"/>
                        <a:pt x="0" y="5"/>
                      </a:cubicBezTo>
                      <a:cubicBezTo>
                        <a:pt x="0" y="6"/>
                        <a:pt x="1" y="7"/>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17" name="Freeform 1333"/>
                <p:cNvSpPr>
                  <a:spLocks/>
                </p:cNvSpPr>
                <p:nvPr/>
              </p:nvSpPr>
              <p:spPr bwMode="auto">
                <a:xfrm>
                  <a:off x="13554" y="1045"/>
                  <a:ext cx="30" cy="66"/>
                </a:xfrm>
                <a:custGeom>
                  <a:avLst/>
                  <a:gdLst>
                    <a:gd name="T0" fmla="*/ 0 w 13"/>
                    <a:gd name="T1" fmla="*/ 25 h 28"/>
                    <a:gd name="T2" fmla="*/ 3 w 13"/>
                    <a:gd name="T3" fmla="*/ 28 h 28"/>
                    <a:gd name="T4" fmla="*/ 6 w 13"/>
                    <a:gd name="T5" fmla="*/ 25 h 28"/>
                    <a:gd name="T6" fmla="*/ 6 w 13"/>
                    <a:gd name="T7" fmla="*/ 4 h 28"/>
                    <a:gd name="T8" fmla="*/ 7 w 13"/>
                    <a:gd name="T9" fmla="*/ 4 h 28"/>
                    <a:gd name="T10" fmla="*/ 7 w 13"/>
                    <a:gd name="T11" fmla="*/ 25 h 28"/>
                    <a:gd name="T12" fmla="*/ 10 w 13"/>
                    <a:gd name="T13" fmla="*/ 28 h 28"/>
                    <a:gd name="T14" fmla="*/ 13 w 13"/>
                    <a:gd name="T15" fmla="*/ 25 h 28"/>
                    <a:gd name="T16" fmla="*/ 13 w 13"/>
                    <a:gd name="T17" fmla="*/ 3 h 28"/>
                    <a:gd name="T18" fmla="*/ 0 w 13"/>
                    <a:gd name="T19" fmla="*/ 0 h 28"/>
                    <a:gd name="T20" fmla="*/ 0 w 13"/>
                    <a:gd name="T21"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28">
                      <a:moveTo>
                        <a:pt x="0" y="25"/>
                      </a:moveTo>
                      <a:cubicBezTo>
                        <a:pt x="0" y="27"/>
                        <a:pt x="2" y="28"/>
                        <a:pt x="3" y="28"/>
                      </a:cubicBezTo>
                      <a:cubicBezTo>
                        <a:pt x="5" y="28"/>
                        <a:pt x="6" y="27"/>
                        <a:pt x="6" y="25"/>
                      </a:cubicBezTo>
                      <a:cubicBezTo>
                        <a:pt x="6" y="23"/>
                        <a:pt x="6" y="4"/>
                        <a:pt x="6" y="4"/>
                      </a:cubicBezTo>
                      <a:cubicBezTo>
                        <a:pt x="6" y="4"/>
                        <a:pt x="6" y="4"/>
                        <a:pt x="7" y="4"/>
                      </a:cubicBezTo>
                      <a:cubicBezTo>
                        <a:pt x="7" y="4"/>
                        <a:pt x="7" y="23"/>
                        <a:pt x="7" y="25"/>
                      </a:cubicBezTo>
                      <a:cubicBezTo>
                        <a:pt x="7" y="27"/>
                        <a:pt x="8" y="28"/>
                        <a:pt x="10" y="28"/>
                      </a:cubicBezTo>
                      <a:cubicBezTo>
                        <a:pt x="11" y="28"/>
                        <a:pt x="13" y="27"/>
                        <a:pt x="13" y="25"/>
                      </a:cubicBezTo>
                      <a:cubicBezTo>
                        <a:pt x="13" y="24"/>
                        <a:pt x="13" y="13"/>
                        <a:pt x="13" y="3"/>
                      </a:cubicBezTo>
                      <a:cubicBezTo>
                        <a:pt x="9" y="2"/>
                        <a:pt x="5" y="1"/>
                        <a:pt x="0" y="0"/>
                      </a:cubicBezTo>
                      <a:cubicBezTo>
                        <a:pt x="0" y="10"/>
                        <a:pt x="0" y="24"/>
                        <a:pt x="0"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18" name="Freeform 1334"/>
                <p:cNvSpPr>
                  <a:spLocks/>
                </p:cNvSpPr>
                <p:nvPr/>
              </p:nvSpPr>
              <p:spPr bwMode="auto">
                <a:xfrm>
                  <a:off x="13149" y="1000"/>
                  <a:ext cx="54" cy="111"/>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8 h 47"/>
                    <a:gd name="T26" fmla="*/ 19 w 23"/>
                    <a:gd name="T27" fmla="*/ 8 h 47"/>
                    <a:gd name="T28" fmla="*/ 19 w 23"/>
                    <a:gd name="T29" fmla="*/ 21 h 47"/>
                    <a:gd name="T30" fmla="*/ 21 w 23"/>
                    <a:gd name="T31" fmla="*/ 23 h 47"/>
                    <a:gd name="T32" fmla="*/ 23 w 23"/>
                    <a:gd name="T33" fmla="*/ 21 h 47"/>
                    <a:gd name="T34" fmla="*/ 23 w 23"/>
                    <a:gd name="T35" fmla="*/ 6 h 47"/>
                    <a:gd name="T36" fmla="*/ 17 w 23"/>
                    <a:gd name="T37" fmla="*/ 0 h 47"/>
                    <a:gd name="T38" fmla="*/ 6 w 23"/>
                    <a:gd name="T39" fmla="*/ 0 h 47"/>
                    <a:gd name="T40" fmla="*/ 0 w 23"/>
                    <a:gd name="T41" fmla="*/ 6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19"/>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19" name="Freeform 1335"/>
                <p:cNvSpPr>
                  <a:spLocks/>
                </p:cNvSpPr>
                <p:nvPr/>
              </p:nvSpPr>
              <p:spPr bwMode="auto">
                <a:xfrm>
                  <a:off x="13454" y="1036"/>
                  <a:ext cx="10" cy="19"/>
                </a:xfrm>
                <a:custGeom>
                  <a:avLst/>
                  <a:gdLst>
                    <a:gd name="T0" fmla="*/ 0 w 4"/>
                    <a:gd name="T1" fmla="*/ 6 h 8"/>
                    <a:gd name="T2" fmla="*/ 2 w 4"/>
                    <a:gd name="T3" fmla="*/ 8 h 8"/>
                    <a:gd name="T4" fmla="*/ 4 w 4"/>
                    <a:gd name="T5" fmla="*/ 6 h 8"/>
                    <a:gd name="T6" fmla="*/ 4 w 4"/>
                    <a:gd name="T7" fmla="*/ 0 h 8"/>
                    <a:gd name="T8" fmla="*/ 0 w 4"/>
                    <a:gd name="T9" fmla="*/ 0 h 8"/>
                    <a:gd name="T10" fmla="*/ 0 w 4"/>
                    <a:gd name="T11" fmla="*/ 6 h 8"/>
                  </a:gdLst>
                  <a:ahLst/>
                  <a:cxnLst>
                    <a:cxn ang="0">
                      <a:pos x="T0" y="T1"/>
                    </a:cxn>
                    <a:cxn ang="0">
                      <a:pos x="T2" y="T3"/>
                    </a:cxn>
                    <a:cxn ang="0">
                      <a:pos x="T4" y="T5"/>
                    </a:cxn>
                    <a:cxn ang="0">
                      <a:pos x="T6" y="T7"/>
                    </a:cxn>
                    <a:cxn ang="0">
                      <a:pos x="T8" y="T9"/>
                    </a:cxn>
                    <a:cxn ang="0">
                      <a:pos x="T10" y="T11"/>
                    </a:cxn>
                  </a:cxnLst>
                  <a:rect l="0" t="0" r="r" b="b"/>
                  <a:pathLst>
                    <a:path w="4" h="8">
                      <a:moveTo>
                        <a:pt x="0" y="6"/>
                      </a:moveTo>
                      <a:cubicBezTo>
                        <a:pt x="0" y="7"/>
                        <a:pt x="1" y="8"/>
                        <a:pt x="2" y="8"/>
                      </a:cubicBezTo>
                      <a:cubicBezTo>
                        <a:pt x="4" y="8"/>
                        <a:pt x="4" y="7"/>
                        <a:pt x="4" y="6"/>
                      </a:cubicBezTo>
                      <a:cubicBezTo>
                        <a:pt x="4" y="5"/>
                        <a:pt x="4" y="3"/>
                        <a:pt x="4" y="0"/>
                      </a:cubicBezTo>
                      <a:cubicBezTo>
                        <a:pt x="3" y="0"/>
                        <a:pt x="2" y="0"/>
                        <a:pt x="0" y="0"/>
                      </a:cubicBezTo>
                      <a:cubicBezTo>
                        <a:pt x="0" y="3"/>
                        <a:pt x="0" y="5"/>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20" name="Freeform 1336"/>
                <p:cNvSpPr>
                  <a:spLocks/>
                </p:cNvSpPr>
                <p:nvPr/>
              </p:nvSpPr>
              <p:spPr bwMode="auto">
                <a:xfrm>
                  <a:off x="13423" y="1036"/>
                  <a:ext cx="29" cy="75"/>
                </a:xfrm>
                <a:custGeom>
                  <a:avLst/>
                  <a:gdLst>
                    <a:gd name="T0" fmla="*/ 0 w 12"/>
                    <a:gd name="T1" fmla="*/ 29 h 32"/>
                    <a:gd name="T2" fmla="*/ 3 w 12"/>
                    <a:gd name="T3" fmla="*/ 32 h 32"/>
                    <a:gd name="T4" fmla="*/ 6 w 12"/>
                    <a:gd name="T5" fmla="*/ 29 h 32"/>
                    <a:gd name="T6" fmla="*/ 6 w 12"/>
                    <a:gd name="T7" fmla="*/ 8 h 32"/>
                    <a:gd name="T8" fmla="*/ 7 w 12"/>
                    <a:gd name="T9" fmla="*/ 8 h 32"/>
                    <a:gd name="T10" fmla="*/ 7 w 12"/>
                    <a:gd name="T11" fmla="*/ 29 h 32"/>
                    <a:gd name="T12" fmla="*/ 9 w 12"/>
                    <a:gd name="T13" fmla="*/ 32 h 32"/>
                    <a:gd name="T14" fmla="*/ 12 w 12"/>
                    <a:gd name="T15" fmla="*/ 29 h 32"/>
                    <a:gd name="T16" fmla="*/ 12 w 12"/>
                    <a:gd name="T17" fmla="*/ 0 h 32"/>
                    <a:gd name="T18" fmla="*/ 0 w 12"/>
                    <a:gd name="T19" fmla="*/ 1 h 32"/>
                    <a:gd name="T20" fmla="*/ 0 w 12"/>
                    <a:gd name="T21" fmla="*/ 2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32">
                      <a:moveTo>
                        <a:pt x="0" y="29"/>
                      </a:moveTo>
                      <a:cubicBezTo>
                        <a:pt x="0" y="31"/>
                        <a:pt x="1" y="32"/>
                        <a:pt x="3" y="32"/>
                      </a:cubicBezTo>
                      <a:cubicBezTo>
                        <a:pt x="4" y="32"/>
                        <a:pt x="6" y="31"/>
                        <a:pt x="6" y="29"/>
                      </a:cubicBezTo>
                      <a:cubicBezTo>
                        <a:pt x="6" y="27"/>
                        <a:pt x="6" y="8"/>
                        <a:pt x="6" y="8"/>
                      </a:cubicBezTo>
                      <a:cubicBezTo>
                        <a:pt x="6" y="8"/>
                        <a:pt x="6" y="8"/>
                        <a:pt x="7" y="8"/>
                      </a:cubicBezTo>
                      <a:cubicBezTo>
                        <a:pt x="7" y="8"/>
                        <a:pt x="7" y="27"/>
                        <a:pt x="7" y="29"/>
                      </a:cubicBezTo>
                      <a:cubicBezTo>
                        <a:pt x="7" y="31"/>
                        <a:pt x="8" y="32"/>
                        <a:pt x="9" y="32"/>
                      </a:cubicBezTo>
                      <a:cubicBezTo>
                        <a:pt x="11" y="32"/>
                        <a:pt x="12" y="31"/>
                        <a:pt x="12" y="29"/>
                      </a:cubicBezTo>
                      <a:cubicBezTo>
                        <a:pt x="12" y="27"/>
                        <a:pt x="12" y="10"/>
                        <a:pt x="12" y="0"/>
                      </a:cubicBezTo>
                      <a:cubicBezTo>
                        <a:pt x="8" y="0"/>
                        <a:pt x="4" y="1"/>
                        <a:pt x="0" y="1"/>
                      </a:cubicBezTo>
                      <a:cubicBezTo>
                        <a:pt x="0" y="11"/>
                        <a:pt x="0" y="27"/>
                        <a:pt x="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21" name="Freeform 1337"/>
                <p:cNvSpPr>
                  <a:spLocks/>
                </p:cNvSpPr>
                <p:nvPr/>
              </p:nvSpPr>
              <p:spPr bwMode="auto">
                <a:xfrm>
                  <a:off x="13471" y="1036"/>
                  <a:ext cx="12" cy="14"/>
                </a:xfrm>
                <a:custGeom>
                  <a:avLst/>
                  <a:gdLst>
                    <a:gd name="T0" fmla="*/ 2 w 5"/>
                    <a:gd name="T1" fmla="*/ 6 h 6"/>
                    <a:gd name="T2" fmla="*/ 4 w 5"/>
                    <a:gd name="T3" fmla="*/ 5 h 6"/>
                    <a:gd name="T4" fmla="*/ 5 w 5"/>
                    <a:gd name="T5" fmla="*/ 0 h 6"/>
                    <a:gd name="T6" fmla="*/ 2 w 5"/>
                    <a:gd name="T7" fmla="*/ 0 h 6"/>
                    <a:gd name="T8" fmla="*/ 1 w 5"/>
                    <a:gd name="T9" fmla="*/ 3 h 6"/>
                    <a:gd name="T10" fmla="*/ 2 w 5"/>
                    <a:gd name="T11" fmla="*/ 6 h 6"/>
                  </a:gdLst>
                  <a:ahLst/>
                  <a:cxnLst>
                    <a:cxn ang="0">
                      <a:pos x="T0" y="T1"/>
                    </a:cxn>
                    <a:cxn ang="0">
                      <a:pos x="T2" y="T3"/>
                    </a:cxn>
                    <a:cxn ang="0">
                      <a:pos x="T4" y="T5"/>
                    </a:cxn>
                    <a:cxn ang="0">
                      <a:pos x="T6" y="T7"/>
                    </a:cxn>
                    <a:cxn ang="0">
                      <a:pos x="T8" y="T9"/>
                    </a:cxn>
                    <a:cxn ang="0">
                      <a:pos x="T10" y="T11"/>
                    </a:cxn>
                  </a:cxnLst>
                  <a:rect l="0" t="0" r="r" b="b"/>
                  <a:pathLst>
                    <a:path w="5" h="6">
                      <a:moveTo>
                        <a:pt x="2" y="6"/>
                      </a:moveTo>
                      <a:cubicBezTo>
                        <a:pt x="3" y="6"/>
                        <a:pt x="4" y="5"/>
                        <a:pt x="4" y="5"/>
                      </a:cubicBezTo>
                      <a:cubicBezTo>
                        <a:pt x="4" y="4"/>
                        <a:pt x="5" y="2"/>
                        <a:pt x="5" y="0"/>
                      </a:cubicBezTo>
                      <a:cubicBezTo>
                        <a:pt x="4" y="0"/>
                        <a:pt x="3" y="0"/>
                        <a:pt x="2" y="0"/>
                      </a:cubicBezTo>
                      <a:cubicBezTo>
                        <a:pt x="1" y="2"/>
                        <a:pt x="1" y="3"/>
                        <a:pt x="1" y="3"/>
                      </a:cubicBezTo>
                      <a:cubicBezTo>
                        <a:pt x="0" y="4"/>
                        <a:pt x="1" y="5"/>
                        <a:pt x="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22" name="Freeform 1338"/>
                <p:cNvSpPr>
                  <a:spLocks/>
                </p:cNvSpPr>
                <p:nvPr/>
              </p:nvSpPr>
              <p:spPr bwMode="auto">
                <a:xfrm>
                  <a:off x="13478" y="1036"/>
                  <a:ext cx="52" cy="75"/>
                </a:xfrm>
                <a:custGeom>
                  <a:avLst/>
                  <a:gdLst>
                    <a:gd name="T0" fmla="*/ 4 w 22"/>
                    <a:gd name="T1" fmla="*/ 0 h 32"/>
                    <a:gd name="T2" fmla="*/ 0 w 22"/>
                    <a:gd name="T3" fmla="*/ 13 h 32"/>
                    <a:gd name="T4" fmla="*/ 6 w 22"/>
                    <a:gd name="T5" fmla="*/ 13 h 32"/>
                    <a:gd name="T6" fmla="*/ 6 w 22"/>
                    <a:gd name="T7" fmla="*/ 30 h 32"/>
                    <a:gd name="T8" fmla="*/ 8 w 22"/>
                    <a:gd name="T9" fmla="*/ 32 h 32"/>
                    <a:gd name="T10" fmla="*/ 10 w 22"/>
                    <a:gd name="T11" fmla="*/ 30 h 32"/>
                    <a:gd name="T12" fmla="*/ 10 w 22"/>
                    <a:gd name="T13" fmla="*/ 13 h 32"/>
                    <a:gd name="T14" fmla="*/ 11 w 22"/>
                    <a:gd name="T15" fmla="*/ 13 h 32"/>
                    <a:gd name="T16" fmla="*/ 11 w 22"/>
                    <a:gd name="T17" fmla="*/ 30 h 32"/>
                    <a:gd name="T18" fmla="*/ 14 w 22"/>
                    <a:gd name="T19" fmla="*/ 32 h 32"/>
                    <a:gd name="T20" fmla="*/ 16 w 22"/>
                    <a:gd name="T21" fmla="*/ 30 h 32"/>
                    <a:gd name="T22" fmla="*/ 16 w 22"/>
                    <a:gd name="T23" fmla="*/ 13 h 32"/>
                    <a:gd name="T24" fmla="*/ 22 w 22"/>
                    <a:gd name="T25" fmla="*/ 13 h 32"/>
                    <a:gd name="T26" fmla="*/ 19 w 22"/>
                    <a:gd name="T27" fmla="*/ 2 h 32"/>
                    <a:gd name="T28" fmla="*/ 10 w 22"/>
                    <a:gd name="T29" fmla="*/ 0 h 32"/>
                    <a:gd name="T30" fmla="*/ 4 w 22"/>
                    <a:gd name="T3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32">
                      <a:moveTo>
                        <a:pt x="4" y="0"/>
                      </a:moveTo>
                      <a:cubicBezTo>
                        <a:pt x="0" y="13"/>
                        <a:pt x="0" y="13"/>
                        <a:pt x="0" y="13"/>
                      </a:cubicBezTo>
                      <a:cubicBezTo>
                        <a:pt x="6" y="13"/>
                        <a:pt x="6" y="13"/>
                        <a:pt x="6" y="13"/>
                      </a:cubicBezTo>
                      <a:cubicBezTo>
                        <a:pt x="6" y="21"/>
                        <a:pt x="6" y="29"/>
                        <a:pt x="6" y="30"/>
                      </a:cubicBezTo>
                      <a:cubicBezTo>
                        <a:pt x="6" y="31"/>
                        <a:pt x="7" y="32"/>
                        <a:pt x="8" y="32"/>
                      </a:cubicBezTo>
                      <a:cubicBezTo>
                        <a:pt x="9" y="32"/>
                        <a:pt x="10" y="31"/>
                        <a:pt x="10" y="30"/>
                      </a:cubicBezTo>
                      <a:cubicBezTo>
                        <a:pt x="10" y="28"/>
                        <a:pt x="10" y="13"/>
                        <a:pt x="10" y="13"/>
                      </a:cubicBezTo>
                      <a:cubicBezTo>
                        <a:pt x="11" y="13"/>
                        <a:pt x="11" y="13"/>
                        <a:pt x="11" y="13"/>
                      </a:cubicBezTo>
                      <a:cubicBezTo>
                        <a:pt x="11" y="13"/>
                        <a:pt x="11" y="28"/>
                        <a:pt x="11" y="30"/>
                      </a:cubicBezTo>
                      <a:cubicBezTo>
                        <a:pt x="11" y="31"/>
                        <a:pt x="12" y="32"/>
                        <a:pt x="14" y="32"/>
                      </a:cubicBezTo>
                      <a:cubicBezTo>
                        <a:pt x="15" y="32"/>
                        <a:pt x="16" y="31"/>
                        <a:pt x="16" y="30"/>
                      </a:cubicBezTo>
                      <a:cubicBezTo>
                        <a:pt x="16" y="29"/>
                        <a:pt x="16" y="21"/>
                        <a:pt x="16" y="13"/>
                      </a:cubicBezTo>
                      <a:cubicBezTo>
                        <a:pt x="22" y="13"/>
                        <a:pt x="22" y="13"/>
                        <a:pt x="22" y="13"/>
                      </a:cubicBezTo>
                      <a:cubicBezTo>
                        <a:pt x="21" y="8"/>
                        <a:pt x="20" y="4"/>
                        <a:pt x="19" y="2"/>
                      </a:cubicBezTo>
                      <a:cubicBezTo>
                        <a:pt x="16" y="1"/>
                        <a:pt x="13" y="1"/>
                        <a:pt x="10" y="0"/>
                      </a:cubicBezTo>
                      <a:cubicBezTo>
                        <a:pt x="8" y="0"/>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23" name="Freeform 1339"/>
                <p:cNvSpPr>
                  <a:spLocks/>
                </p:cNvSpPr>
                <p:nvPr/>
              </p:nvSpPr>
              <p:spPr bwMode="auto">
                <a:xfrm>
                  <a:off x="13525" y="1040"/>
                  <a:ext cx="10" cy="10"/>
                </a:xfrm>
                <a:custGeom>
                  <a:avLst/>
                  <a:gdLst>
                    <a:gd name="T0" fmla="*/ 1 w 4"/>
                    <a:gd name="T1" fmla="*/ 3 h 4"/>
                    <a:gd name="T2" fmla="*/ 3 w 4"/>
                    <a:gd name="T3" fmla="*/ 4 h 4"/>
                    <a:gd name="T4" fmla="*/ 4 w 4"/>
                    <a:gd name="T5" fmla="*/ 1 h 4"/>
                    <a:gd name="T6" fmla="*/ 4 w 4"/>
                    <a:gd name="T7" fmla="*/ 0 h 4"/>
                    <a:gd name="T8" fmla="*/ 0 w 4"/>
                    <a:gd name="T9" fmla="*/ 0 h 4"/>
                    <a:gd name="T10" fmla="*/ 1 w 4"/>
                    <a:gd name="T11" fmla="*/ 3 h 4"/>
                  </a:gdLst>
                  <a:ahLst/>
                  <a:cxnLst>
                    <a:cxn ang="0">
                      <a:pos x="T0" y="T1"/>
                    </a:cxn>
                    <a:cxn ang="0">
                      <a:pos x="T2" y="T3"/>
                    </a:cxn>
                    <a:cxn ang="0">
                      <a:pos x="T4" y="T5"/>
                    </a:cxn>
                    <a:cxn ang="0">
                      <a:pos x="T6" y="T7"/>
                    </a:cxn>
                    <a:cxn ang="0">
                      <a:pos x="T8" y="T9"/>
                    </a:cxn>
                    <a:cxn ang="0">
                      <a:pos x="T10" y="T11"/>
                    </a:cxn>
                  </a:cxnLst>
                  <a:rect l="0" t="0" r="r" b="b"/>
                  <a:pathLst>
                    <a:path w="4" h="4">
                      <a:moveTo>
                        <a:pt x="1" y="3"/>
                      </a:moveTo>
                      <a:cubicBezTo>
                        <a:pt x="1" y="3"/>
                        <a:pt x="2" y="4"/>
                        <a:pt x="3" y="4"/>
                      </a:cubicBezTo>
                      <a:cubicBezTo>
                        <a:pt x="4" y="3"/>
                        <a:pt x="4" y="2"/>
                        <a:pt x="4" y="1"/>
                      </a:cubicBezTo>
                      <a:cubicBezTo>
                        <a:pt x="4" y="1"/>
                        <a:pt x="4" y="1"/>
                        <a:pt x="4" y="0"/>
                      </a:cubicBezTo>
                      <a:cubicBezTo>
                        <a:pt x="2" y="0"/>
                        <a:pt x="1" y="0"/>
                        <a:pt x="0" y="0"/>
                      </a:cubicBezTo>
                      <a:cubicBezTo>
                        <a:pt x="0" y="1"/>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24" name="Freeform 1340"/>
                <p:cNvSpPr>
                  <a:spLocks/>
                </p:cNvSpPr>
                <p:nvPr/>
              </p:nvSpPr>
              <p:spPr bwMode="auto">
                <a:xfrm>
                  <a:off x="13542" y="1043"/>
                  <a:ext cx="9" cy="12"/>
                </a:xfrm>
                <a:custGeom>
                  <a:avLst/>
                  <a:gdLst>
                    <a:gd name="T0" fmla="*/ 2 w 4"/>
                    <a:gd name="T1" fmla="*/ 5 h 5"/>
                    <a:gd name="T2" fmla="*/ 4 w 4"/>
                    <a:gd name="T3" fmla="*/ 3 h 5"/>
                    <a:gd name="T4" fmla="*/ 4 w 4"/>
                    <a:gd name="T5" fmla="*/ 1 h 5"/>
                    <a:gd name="T6" fmla="*/ 0 w 4"/>
                    <a:gd name="T7" fmla="*/ 0 h 5"/>
                    <a:gd name="T8" fmla="*/ 0 w 4"/>
                    <a:gd name="T9" fmla="*/ 3 h 5"/>
                    <a:gd name="T10" fmla="*/ 2 w 4"/>
                    <a:gd name="T11" fmla="*/ 5 h 5"/>
                  </a:gdLst>
                  <a:ahLst/>
                  <a:cxnLst>
                    <a:cxn ang="0">
                      <a:pos x="T0" y="T1"/>
                    </a:cxn>
                    <a:cxn ang="0">
                      <a:pos x="T2" y="T3"/>
                    </a:cxn>
                    <a:cxn ang="0">
                      <a:pos x="T4" y="T5"/>
                    </a:cxn>
                    <a:cxn ang="0">
                      <a:pos x="T6" y="T7"/>
                    </a:cxn>
                    <a:cxn ang="0">
                      <a:pos x="T8" y="T9"/>
                    </a:cxn>
                    <a:cxn ang="0">
                      <a:pos x="T10" y="T11"/>
                    </a:cxn>
                  </a:cxnLst>
                  <a:rect l="0" t="0" r="r" b="b"/>
                  <a:pathLst>
                    <a:path w="4" h="5">
                      <a:moveTo>
                        <a:pt x="2" y="5"/>
                      </a:moveTo>
                      <a:cubicBezTo>
                        <a:pt x="3" y="5"/>
                        <a:pt x="4" y="4"/>
                        <a:pt x="4" y="3"/>
                      </a:cubicBezTo>
                      <a:cubicBezTo>
                        <a:pt x="4" y="3"/>
                        <a:pt x="4" y="2"/>
                        <a:pt x="4" y="1"/>
                      </a:cubicBezTo>
                      <a:cubicBezTo>
                        <a:pt x="3" y="0"/>
                        <a:pt x="2" y="0"/>
                        <a:pt x="0" y="0"/>
                      </a:cubicBezTo>
                      <a:cubicBezTo>
                        <a:pt x="0" y="1"/>
                        <a:pt x="0" y="2"/>
                        <a:pt x="0" y="3"/>
                      </a:cubicBezTo>
                      <a:cubicBezTo>
                        <a:pt x="0" y="4"/>
                        <a:pt x="1" y="5"/>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25" name="Freeform 1341"/>
                <p:cNvSpPr>
                  <a:spLocks/>
                </p:cNvSpPr>
                <p:nvPr/>
              </p:nvSpPr>
              <p:spPr bwMode="auto">
                <a:xfrm>
                  <a:off x="13130" y="877"/>
                  <a:ext cx="9" cy="31"/>
                </a:xfrm>
                <a:custGeom>
                  <a:avLst/>
                  <a:gdLst>
                    <a:gd name="T0" fmla="*/ 0 w 4"/>
                    <a:gd name="T1" fmla="*/ 11 h 13"/>
                    <a:gd name="T2" fmla="*/ 2 w 4"/>
                    <a:gd name="T3" fmla="*/ 13 h 13"/>
                    <a:gd name="T4" fmla="*/ 4 w 4"/>
                    <a:gd name="T5" fmla="*/ 11 h 13"/>
                    <a:gd name="T6" fmla="*/ 4 w 4"/>
                    <a:gd name="T7" fmla="*/ 1 h 13"/>
                    <a:gd name="T8" fmla="*/ 0 w 4"/>
                    <a:gd name="T9" fmla="*/ 0 h 13"/>
                    <a:gd name="T10" fmla="*/ 0 w 4"/>
                    <a:gd name="T11" fmla="*/ 11 h 13"/>
                  </a:gdLst>
                  <a:ahLst/>
                  <a:cxnLst>
                    <a:cxn ang="0">
                      <a:pos x="T0" y="T1"/>
                    </a:cxn>
                    <a:cxn ang="0">
                      <a:pos x="T2" y="T3"/>
                    </a:cxn>
                    <a:cxn ang="0">
                      <a:pos x="T4" y="T5"/>
                    </a:cxn>
                    <a:cxn ang="0">
                      <a:pos x="T6" y="T7"/>
                    </a:cxn>
                    <a:cxn ang="0">
                      <a:pos x="T8" y="T9"/>
                    </a:cxn>
                    <a:cxn ang="0">
                      <a:pos x="T10" y="T11"/>
                    </a:cxn>
                  </a:cxnLst>
                  <a:rect l="0" t="0" r="r" b="b"/>
                  <a:pathLst>
                    <a:path w="4" h="13">
                      <a:moveTo>
                        <a:pt x="0" y="11"/>
                      </a:moveTo>
                      <a:cubicBezTo>
                        <a:pt x="0" y="12"/>
                        <a:pt x="1" y="13"/>
                        <a:pt x="2" y="13"/>
                      </a:cubicBezTo>
                      <a:cubicBezTo>
                        <a:pt x="3" y="13"/>
                        <a:pt x="4" y="12"/>
                        <a:pt x="4" y="11"/>
                      </a:cubicBezTo>
                      <a:cubicBezTo>
                        <a:pt x="4" y="10"/>
                        <a:pt x="4" y="5"/>
                        <a:pt x="4" y="1"/>
                      </a:cubicBezTo>
                      <a:cubicBezTo>
                        <a:pt x="3" y="0"/>
                        <a:pt x="1" y="0"/>
                        <a:pt x="0" y="0"/>
                      </a:cubicBezTo>
                      <a:cubicBezTo>
                        <a:pt x="0" y="3"/>
                        <a:pt x="0" y="10"/>
                        <a:pt x="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26" name="Freeform 1342"/>
                <p:cNvSpPr>
                  <a:spLocks/>
                </p:cNvSpPr>
                <p:nvPr/>
              </p:nvSpPr>
              <p:spPr bwMode="auto">
                <a:xfrm>
                  <a:off x="13016" y="853"/>
                  <a:ext cx="64" cy="112"/>
                </a:xfrm>
                <a:custGeom>
                  <a:avLst/>
                  <a:gdLst>
                    <a:gd name="T0" fmla="*/ 1 w 27"/>
                    <a:gd name="T1" fmla="*/ 21 h 47"/>
                    <a:gd name="T2" fmla="*/ 4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9 h 47"/>
                    <a:gd name="T42" fmla="*/ 22 w 27"/>
                    <a:gd name="T43" fmla="*/ 5 h 47"/>
                    <a:gd name="T44" fmla="*/ 17 w 27"/>
                    <a:gd name="T45" fmla="*/ 0 h 47"/>
                    <a:gd name="T46" fmla="*/ 9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27" name="Oval 1343"/>
                <p:cNvSpPr>
                  <a:spLocks noChangeArrowheads="1"/>
                </p:cNvSpPr>
                <p:nvPr/>
              </p:nvSpPr>
              <p:spPr bwMode="auto">
                <a:xfrm>
                  <a:off x="13035"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28" name="Freeform 1344"/>
                <p:cNvSpPr>
                  <a:spLocks/>
                </p:cNvSpPr>
                <p:nvPr/>
              </p:nvSpPr>
              <p:spPr bwMode="auto">
                <a:xfrm>
                  <a:off x="13021" y="1000"/>
                  <a:ext cx="52" cy="111"/>
                </a:xfrm>
                <a:custGeom>
                  <a:avLst/>
                  <a:gdLst>
                    <a:gd name="T0" fmla="*/ 0 w 22"/>
                    <a:gd name="T1" fmla="*/ 6 h 47"/>
                    <a:gd name="T2" fmla="*/ 0 w 22"/>
                    <a:gd name="T3" fmla="*/ 21 h 47"/>
                    <a:gd name="T4" fmla="*/ 2 w 22"/>
                    <a:gd name="T5" fmla="*/ 23 h 47"/>
                    <a:gd name="T6" fmla="*/ 4 w 22"/>
                    <a:gd name="T7" fmla="*/ 21 h 47"/>
                    <a:gd name="T8" fmla="*/ 4 w 22"/>
                    <a:gd name="T9" fmla="*/ 8 h 47"/>
                    <a:gd name="T10" fmla="*/ 5 w 22"/>
                    <a:gd name="T11" fmla="*/ 8 h 47"/>
                    <a:gd name="T12" fmla="*/ 5 w 22"/>
                    <a:gd name="T13" fmla="*/ 44 h 47"/>
                    <a:gd name="T14" fmla="*/ 8 w 22"/>
                    <a:gd name="T15" fmla="*/ 47 h 47"/>
                    <a:gd name="T16" fmla="*/ 11 w 22"/>
                    <a:gd name="T17" fmla="*/ 44 h 47"/>
                    <a:gd name="T18" fmla="*/ 11 w 22"/>
                    <a:gd name="T19" fmla="*/ 23 h 47"/>
                    <a:gd name="T20" fmla="*/ 12 w 22"/>
                    <a:gd name="T21" fmla="*/ 23 h 47"/>
                    <a:gd name="T22" fmla="*/ 12 w 22"/>
                    <a:gd name="T23" fmla="*/ 44 h 47"/>
                    <a:gd name="T24" fmla="*/ 14 w 22"/>
                    <a:gd name="T25" fmla="*/ 47 h 47"/>
                    <a:gd name="T26" fmla="*/ 17 w 22"/>
                    <a:gd name="T27" fmla="*/ 44 h 47"/>
                    <a:gd name="T28" fmla="*/ 17 w 22"/>
                    <a:gd name="T29" fmla="*/ 8 h 47"/>
                    <a:gd name="T30" fmla="*/ 18 w 22"/>
                    <a:gd name="T31" fmla="*/ 8 h 47"/>
                    <a:gd name="T32" fmla="*/ 18 w 22"/>
                    <a:gd name="T33" fmla="*/ 21 h 47"/>
                    <a:gd name="T34" fmla="*/ 20 w 22"/>
                    <a:gd name="T35" fmla="*/ 23 h 47"/>
                    <a:gd name="T36" fmla="*/ 22 w 22"/>
                    <a:gd name="T37" fmla="*/ 21 h 47"/>
                    <a:gd name="T38" fmla="*/ 22 w 22"/>
                    <a:gd name="T39" fmla="*/ 6 h 47"/>
                    <a:gd name="T40" fmla="*/ 16 w 22"/>
                    <a:gd name="T41" fmla="*/ 0 h 47"/>
                    <a:gd name="T42" fmla="*/ 6 w 22"/>
                    <a:gd name="T43" fmla="*/ 0 h 47"/>
                    <a:gd name="T44" fmla="*/ 0 w 22"/>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6"/>
                      </a:move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2" y="23"/>
                        <a:pt x="22" y="22"/>
                        <a:pt x="22" y="21"/>
                      </a:cubicBezTo>
                      <a:cubicBezTo>
                        <a:pt x="22" y="20"/>
                        <a:pt x="22" y="8"/>
                        <a:pt x="22" y="6"/>
                      </a:cubicBezTo>
                      <a:cubicBezTo>
                        <a:pt x="22" y="3"/>
                        <a:pt x="20" y="0"/>
                        <a:pt x="16"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29" name="Oval 1345"/>
                <p:cNvSpPr>
                  <a:spLocks noChangeArrowheads="1"/>
                </p:cNvSpPr>
                <p:nvPr/>
              </p:nvSpPr>
              <p:spPr bwMode="auto">
                <a:xfrm>
                  <a:off x="13038"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30" name="Freeform 1346"/>
                <p:cNvSpPr>
                  <a:spLocks/>
                </p:cNvSpPr>
                <p:nvPr/>
              </p:nvSpPr>
              <p:spPr bwMode="auto">
                <a:xfrm>
                  <a:off x="13080" y="1000"/>
                  <a:ext cx="64" cy="111"/>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4 w 27"/>
                    <a:gd name="T37" fmla="*/ 20 h 47"/>
                    <a:gd name="T38" fmla="*/ 26 w 27"/>
                    <a:gd name="T39" fmla="*/ 21 h 47"/>
                    <a:gd name="T40" fmla="*/ 27 w 27"/>
                    <a:gd name="T41" fmla="*/ 18 h 47"/>
                    <a:gd name="T42" fmla="*/ 23 w 27"/>
                    <a:gd name="T43" fmla="*/ 5 h 47"/>
                    <a:gd name="T44" fmla="*/ 18 w 27"/>
                    <a:gd name="T45" fmla="*/ 0 h 47"/>
                    <a:gd name="T46" fmla="*/ 10 w 27"/>
                    <a:gd name="T47" fmla="*/ 0 h 47"/>
                    <a:gd name="T48" fmla="*/ 5 w 27"/>
                    <a:gd name="T49" fmla="*/ 5 h 47"/>
                    <a:gd name="T50" fmla="*/ 1 w 27"/>
                    <a:gd name="T51" fmla="*/ 18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0"/>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0"/>
                        <a:pt x="25" y="21"/>
                        <a:pt x="26" y="21"/>
                      </a:cubicBezTo>
                      <a:cubicBezTo>
                        <a:pt x="27" y="20"/>
                        <a:pt x="27" y="19"/>
                        <a:pt x="27" y="18"/>
                      </a:cubicBezTo>
                      <a:cubicBezTo>
                        <a:pt x="27" y="18"/>
                        <a:pt x="25" y="10"/>
                        <a:pt x="23" y="5"/>
                      </a:cubicBezTo>
                      <a:cubicBezTo>
                        <a:pt x="22" y="2"/>
                        <a:pt x="20" y="0"/>
                        <a:pt x="18" y="0"/>
                      </a:cubicBezTo>
                      <a:cubicBezTo>
                        <a:pt x="17" y="0"/>
                        <a:pt x="11" y="0"/>
                        <a:pt x="10" y="0"/>
                      </a:cubicBezTo>
                      <a:cubicBezTo>
                        <a:pt x="8" y="0"/>
                        <a:pt x="5" y="2"/>
                        <a:pt x="5" y="5"/>
                      </a:cubicBezTo>
                      <a:cubicBezTo>
                        <a:pt x="3" y="10"/>
                        <a:pt x="1" y="18"/>
                        <a:pt x="1" y="18"/>
                      </a:cubicBezTo>
                      <a:cubicBezTo>
                        <a:pt x="0" y="19"/>
                        <a:pt x="1" y="20"/>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31" name="Oval 1347"/>
                <p:cNvSpPr>
                  <a:spLocks noChangeArrowheads="1"/>
                </p:cNvSpPr>
                <p:nvPr/>
              </p:nvSpPr>
              <p:spPr bwMode="auto">
                <a:xfrm>
                  <a:off x="12971" y="974"/>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32" name="Oval 1348"/>
                <p:cNvSpPr>
                  <a:spLocks noChangeArrowheads="1"/>
                </p:cNvSpPr>
                <p:nvPr/>
              </p:nvSpPr>
              <p:spPr bwMode="auto">
                <a:xfrm>
                  <a:off x="13102" y="974"/>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33" name="Oval 1349"/>
                <p:cNvSpPr>
                  <a:spLocks noChangeArrowheads="1"/>
                </p:cNvSpPr>
                <p:nvPr/>
              </p:nvSpPr>
              <p:spPr bwMode="auto">
                <a:xfrm>
                  <a:off x="12971" y="681"/>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34" name="Oval 1350"/>
                <p:cNvSpPr>
                  <a:spLocks noChangeArrowheads="1"/>
                </p:cNvSpPr>
                <p:nvPr/>
              </p:nvSpPr>
              <p:spPr bwMode="auto">
                <a:xfrm>
                  <a:off x="12971" y="830"/>
                  <a:ext cx="22"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35" name="Freeform 1351"/>
                <p:cNvSpPr>
                  <a:spLocks/>
                </p:cNvSpPr>
                <p:nvPr/>
              </p:nvSpPr>
              <p:spPr bwMode="auto">
                <a:xfrm>
                  <a:off x="12950" y="707"/>
                  <a:ext cx="64" cy="111"/>
                </a:xfrm>
                <a:custGeom>
                  <a:avLst/>
                  <a:gdLst>
                    <a:gd name="T0" fmla="*/ 1 w 27"/>
                    <a:gd name="T1" fmla="*/ 20 h 47"/>
                    <a:gd name="T2" fmla="*/ 4 w 27"/>
                    <a:gd name="T3" fmla="*/ 19 h 47"/>
                    <a:gd name="T4" fmla="*/ 8 w 27"/>
                    <a:gd name="T5" fmla="*/ 6 h 47"/>
                    <a:gd name="T6" fmla="*/ 9 w 27"/>
                    <a:gd name="T7" fmla="*/ 6 h 47"/>
                    <a:gd name="T8" fmla="*/ 2 w 27"/>
                    <a:gd name="T9" fmla="*/ 28 h 47"/>
                    <a:gd name="T10" fmla="*/ 8 w 27"/>
                    <a:gd name="T11" fmla="*/ 28 h 47"/>
                    <a:gd name="T12" fmla="*/ 8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6 w 27"/>
                    <a:gd name="T25" fmla="*/ 47 h 47"/>
                    <a:gd name="T26" fmla="*/ 19 w 27"/>
                    <a:gd name="T27" fmla="*/ 44 h 47"/>
                    <a:gd name="T28" fmla="*/ 19 w 27"/>
                    <a:gd name="T29" fmla="*/ 28 h 47"/>
                    <a:gd name="T30" fmla="*/ 25 w 27"/>
                    <a:gd name="T31" fmla="*/ 28 h 47"/>
                    <a:gd name="T32" fmla="*/ 18 w 27"/>
                    <a:gd name="T33" fmla="*/ 6 h 47"/>
                    <a:gd name="T34" fmla="*/ 19 w 27"/>
                    <a:gd name="T35" fmla="*/ 6 h 47"/>
                    <a:gd name="T36" fmla="*/ 23 w 27"/>
                    <a:gd name="T37" fmla="*/ 19 h 47"/>
                    <a:gd name="T38" fmla="*/ 26 w 27"/>
                    <a:gd name="T39" fmla="*/ 20 h 47"/>
                    <a:gd name="T40" fmla="*/ 27 w 27"/>
                    <a:gd name="T41" fmla="*/ 18 h 47"/>
                    <a:gd name="T42" fmla="*/ 23 w 27"/>
                    <a:gd name="T43" fmla="*/ 4 h 47"/>
                    <a:gd name="T44" fmla="*/ 17 w 27"/>
                    <a:gd name="T45" fmla="*/ 0 h 47"/>
                    <a:gd name="T46" fmla="*/ 10 w 27"/>
                    <a:gd name="T47" fmla="*/ 0 h 47"/>
                    <a:gd name="T48" fmla="*/ 4 w 27"/>
                    <a:gd name="T49" fmla="*/ 4 h 47"/>
                    <a:gd name="T50" fmla="*/ 0 w 27"/>
                    <a:gd name="T51" fmla="*/ 18 h 47"/>
                    <a:gd name="T52" fmla="*/ 1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0"/>
                      </a:moveTo>
                      <a:cubicBezTo>
                        <a:pt x="2" y="21"/>
                        <a:pt x="4" y="20"/>
                        <a:pt x="4" y="19"/>
                      </a:cubicBezTo>
                      <a:cubicBezTo>
                        <a:pt x="4" y="18"/>
                        <a:pt x="8" y="6"/>
                        <a:pt x="8" y="6"/>
                      </a:cubicBezTo>
                      <a:cubicBezTo>
                        <a:pt x="9" y="6"/>
                        <a:pt x="9" y="6"/>
                        <a:pt x="9" y="6"/>
                      </a:cubicBezTo>
                      <a:cubicBezTo>
                        <a:pt x="2" y="28"/>
                        <a:pt x="2" y="28"/>
                        <a:pt x="2" y="28"/>
                      </a:cubicBezTo>
                      <a:cubicBezTo>
                        <a:pt x="8" y="28"/>
                        <a:pt x="8" y="28"/>
                        <a:pt x="8" y="28"/>
                      </a:cubicBezTo>
                      <a:cubicBezTo>
                        <a:pt x="8" y="36"/>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6"/>
                        <a:pt x="19" y="28"/>
                      </a:cubicBezTo>
                      <a:cubicBezTo>
                        <a:pt x="25" y="28"/>
                        <a:pt x="25" y="28"/>
                        <a:pt x="25" y="28"/>
                      </a:cubicBezTo>
                      <a:cubicBezTo>
                        <a:pt x="18" y="6"/>
                        <a:pt x="18" y="6"/>
                        <a:pt x="18" y="6"/>
                      </a:cubicBezTo>
                      <a:cubicBezTo>
                        <a:pt x="19" y="6"/>
                        <a:pt x="19" y="6"/>
                        <a:pt x="19" y="6"/>
                      </a:cubicBezTo>
                      <a:cubicBezTo>
                        <a:pt x="19" y="6"/>
                        <a:pt x="23" y="18"/>
                        <a:pt x="23" y="19"/>
                      </a:cubicBezTo>
                      <a:cubicBezTo>
                        <a:pt x="24" y="20"/>
                        <a:pt x="25" y="21"/>
                        <a:pt x="26" y="20"/>
                      </a:cubicBezTo>
                      <a:cubicBezTo>
                        <a:pt x="26" y="20"/>
                        <a:pt x="27" y="19"/>
                        <a:pt x="27" y="18"/>
                      </a:cubicBezTo>
                      <a:cubicBezTo>
                        <a:pt x="26" y="17"/>
                        <a:pt x="24" y="10"/>
                        <a:pt x="23" y="4"/>
                      </a:cubicBezTo>
                      <a:cubicBezTo>
                        <a:pt x="22" y="2"/>
                        <a:pt x="20" y="0"/>
                        <a:pt x="17" y="0"/>
                      </a:cubicBezTo>
                      <a:cubicBezTo>
                        <a:pt x="16" y="0"/>
                        <a:pt x="11" y="0"/>
                        <a:pt x="10" y="0"/>
                      </a:cubicBezTo>
                      <a:cubicBezTo>
                        <a:pt x="7" y="0"/>
                        <a:pt x="5" y="2"/>
                        <a:pt x="4" y="4"/>
                      </a:cubicBezTo>
                      <a:cubicBezTo>
                        <a:pt x="3" y="10"/>
                        <a:pt x="0" y="17"/>
                        <a:pt x="0" y="18"/>
                      </a:cubicBezTo>
                      <a:cubicBezTo>
                        <a:pt x="0" y="19"/>
                        <a:pt x="0"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36" name="Freeform 1352"/>
                <p:cNvSpPr>
                  <a:spLocks/>
                </p:cNvSpPr>
                <p:nvPr/>
              </p:nvSpPr>
              <p:spPr bwMode="auto">
                <a:xfrm>
                  <a:off x="12955" y="853"/>
                  <a:ext cx="54" cy="112"/>
                </a:xfrm>
                <a:custGeom>
                  <a:avLst/>
                  <a:gdLst>
                    <a:gd name="T0" fmla="*/ 21 w 23"/>
                    <a:gd name="T1" fmla="*/ 23 h 47"/>
                    <a:gd name="T2" fmla="*/ 23 w 23"/>
                    <a:gd name="T3" fmla="*/ 21 h 47"/>
                    <a:gd name="T4" fmla="*/ 23 w 23"/>
                    <a:gd name="T5" fmla="*/ 6 h 47"/>
                    <a:gd name="T6" fmla="*/ 17 w 23"/>
                    <a:gd name="T7" fmla="*/ 0 h 47"/>
                    <a:gd name="T8" fmla="*/ 6 w 23"/>
                    <a:gd name="T9" fmla="*/ 0 h 47"/>
                    <a:gd name="T10" fmla="*/ 0 w 23"/>
                    <a:gd name="T11" fmla="*/ 6 h 47"/>
                    <a:gd name="T12" fmla="*/ 0 w 23"/>
                    <a:gd name="T13" fmla="*/ 21 h 47"/>
                    <a:gd name="T14" fmla="*/ 2 w 23"/>
                    <a:gd name="T15" fmla="*/ 23 h 47"/>
                    <a:gd name="T16" fmla="*/ 4 w 23"/>
                    <a:gd name="T17" fmla="*/ 21 h 47"/>
                    <a:gd name="T18" fmla="*/ 4 w 23"/>
                    <a:gd name="T19" fmla="*/ 8 h 47"/>
                    <a:gd name="T20" fmla="*/ 5 w 23"/>
                    <a:gd name="T21" fmla="*/ 8 h 47"/>
                    <a:gd name="T22" fmla="*/ 5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8 w 23"/>
                    <a:gd name="T37" fmla="*/ 44 h 47"/>
                    <a:gd name="T38" fmla="*/ 18 w 23"/>
                    <a:gd name="T39" fmla="*/ 8 h 47"/>
                    <a:gd name="T40" fmla="*/ 19 w 23"/>
                    <a:gd name="T41" fmla="*/ 8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37" name="Freeform 1353"/>
                <p:cNvSpPr>
                  <a:spLocks/>
                </p:cNvSpPr>
                <p:nvPr/>
              </p:nvSpPr>
              <p:spPr bwMode="auto">
                <a:xfrm>
                  <a:off x="12664" y="837"/>
                  <a:ext cx="2" cy="7"/>
                </a:xfrm>
                <a:custGeom>
                  <a:avLst/>
                  <a:gdLst>
                    <a:gd name="T0" fmla="*/ 1 w 1"/>
                    <a:gd name="T1" fmla="*/ 0 h 3"/>
                    <a:gd name="T2" fmla="*/ 0 w 1"/>
                    <a:gd name="T3" fmla="*/ 3 h 3"/>
                    <a:gd name="T4" fmla="*/ 1 w 1"/>
                    <a:gd name="T5" fmla="*/ 1 h 3"/>
                    <a:gd name="T6" fmla="*/ 1 w 1"/>
                    <a:gd name="T7" fmla="*/ 0 h 3"/>
                  </a:gdLst>
                  <a:ahLst/>
                  <a:cxnLst>
                    <a:cxn ang="0">
                      <a:pos x="T0" y="T1"/>
                    </a:cxn>
                    <a:cxn ang="0">
                      <a:pos x="T2" y="T3"/>
                    </a:cxn>
                    <a:cxn ang="0">
                      <a:pos x="T4" y="T5"/>
                    </a:cxn>
                    <a:cxn ang="0">
                      <a:pos x="T6" y="T7"/>
                    </a:cxn>
                  </a:cxnLst>
                  <a:rect l="0" t="0" r="r" b="b"/>
                  <a:pathLst>
                    <a:path w="1" h="3">
                      <a:moveTo>
                        <a:pt x="1" y="0"/>
                      </a:moveTo>
                      <a:cubicBezTo>
                        <a:pt x="1" y="1"/>
                        <a:pt x="1" y="2"/>
                        <a:pt x="0" y="3"/>
                      </a:cubicBezTo>
                      <a:cubicBezTo>
                        <a:pt x="1" y="3"/>
                        <a:pt x="1" y="2"/>
                        <a:pt x="1" y="1"/>
                      </a:cubicBezTo>
                      <a:cubicBezTo>
                        <a:pt x="1"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38" name="Freeform 1354"/>
                <p:cNvSpPr>
                  <a:spLocks/>
                </p:cNvSpPr>
                <p:nvPr/>
              </p:nvSpPr>
              <p:spPr bwMode="auto">
                <a:xfrm>
                  <a:off x="12770" y="756"/>
                  <a:ext cx="14" cy="62"/>
                </a:xfrm>
                <a:custGeom>
                  <a:avLst/>
                  <a:gdLst>
                    <a:gd name="T0" fmla="*/ 0 w 6"/>
                    <a:gd name="T1" fmla="*/ 23 h 26"/>
                    <a:gd name="T2" fmla="*/ 3 w 6"/>
                    <a:gd name="T3" fmla="*/ 26 h 26"/>
                    <a:gd name="T4" fmla="*/ 6 w 6"/>
                    <a:gd name="T5" fmla="*/ 23 h 26"/>
                    <a:gd name="T6" fmla="*/ 6 w 6"/>
                    <a:gd name="T7" fmla="*/ 3 h 26"/>
                    <a:gd name="T8" fmla="*/ 0 w 6"/>
                    <a:gd name="T9" fmla="*/ 0 h 26"/>
                    <a:gd name="T10" fmla="*/ 0 w 6"/>
                    <a:gd name="T11" fmla="*/ 23 h 26"/>
                  </a:gdLst>
                  <a:ahLst/>
                  <a:cxnLst>
                    <a:cxn ang="0">
                      <a:pos x="T0" y="T1"/>
                    </a:cxn>
                    <a:cxn ang="0">
                      <a:pos x="T2" y="T3"/>
                    </a:cxn>
                    <a:cxn ang="0">
                      <a:pos x="T4" y="T5"/>
                    </a:cxn>
                    <a:cxn ang="0">
                      <a:pos x="T6" y="T7"/>
                    </a:cxn>
                    <a:cxn ang="0">
                      <a:pos x="T8" y="T9"/>
                    </a:cxn>
                    <a:cxn ang="0">
                      <a:pos x="T10" y="T11"/>
                    </a:cxn>
                  </a:cxnLst>
                  <a:rect l="0" t="0" r="r" b="b"/>
                  <a:pathLst>
                    <a:path w="6" h="26">
                      <a:moveTo>
                        <a:pt x="0" y="23"/>
                      </a:moveTo>
                      <a:cubicBezTo>
                        <a:pt x="0" y="24"/>
                        <a:pt x="2" y="26"/>
                        <a:pt x="3" y="26"/>
                      </a:cubicBezTo>
                      <a:cubicBezTo>
                        <a:pt x="5" y="26"/>
                        <a:pt x="6" y="24"/>
                        <a:pt x="6" y="23"/>
                      </a:cubicBezTo>
                      <a:cubicBezTo>
                        <a:pt x="6" y="21"/>
                        <a:pt x="6" y="8"/>
                        <a:pt x="6" y="3"/>
                      </a:cubicBezTo>
                      <a:cubicBezTo>
                        <a:pt x="4" y="3"/>
                        <a:pt x="2" y="1"/>
                        <a:pt x="0" y="0"/>
                      </a:cubicBezTo>
                      <a:cubicBezTo>
                        <a:pt x="0" y="10"/>
                        <a:pt x="0" y="21"/>
                        <a:pt x="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39" name="Freeform 1355"/>
                <p:cNvSpPr>
                  <a:spLocks/>
                </p:cNvSpPr>
                <p:nvPr/>
              </p:nvSpPr>
              <p:spPr bwMode="auto">
                <a:xfrm>
                  <a:off x="12787" y="766"/>
                  <a:ext cx="14" cy="52"/>
                </a:xfrm>
                <a:custGeom>
                  <a:avLst/>
                  <a:gdLst>
                    <a:gd name="T0" fmla="*/ 0 w 6"/>
                    <a:gd name="T1" fmla="*/ 0 h 22"/>
                    <a:gd name="T2" fmla="*/ 0 w 6"/>
                    <a:gd name="T3" fmla="*/ 19 h 22"/>
                    <a:gd name="T4" fmla="*/ 3 w 6"/>
                    <a:gd name="T5" fmla="*/ 22 h 22"/>
                    <a:gd name="T6" fmla="*/ 6 w 6"/>
                    <a:gd name="T7" fmla="*/ 19 h 22"/>
                    <a:gd name="T8" fmla="*/ 6 w 6"/>
                    <a:gd name="T9" fmla="*/ 0 h 22"/>
                    <a:gd name="T10" fmla="*/ 0 w 6"/>
                    <a:gd name="T11" fmla="*/ 0 h 22"/>
                  </a:gdLst>
                  <a:ahLst/>
                  <a:cxnLst>
                    <a:cxn ang="0">
                      <a:pos x="T0" y="T1"/>
                    </a:cxn>
                    <a:cxn ang="0">
                      <a:pos x="T2" y="T3"/>
                    </a:cxn>
                    <a:cxn ang="0">
                      <a:pos x="T4" y="T5"/>
                    </a:cxn>
                    <a:cxn ang="0">
                      <a:pos x="T6" y="T7"/>
                    </a:cxn>
                    <a:cxn ang="0">
                      <a:pos x="T8" y="T9"/>
                    </a:cxn>
                    <a:cxn ang="0">
                      <a:pos x="T10" y="T11"/>
                    </a:cxn>
                  </a:cxnLst>
                  <a:rect l="0" t="0" r="r" b="b"/>
                  <a:pathLst>
                    <a:path w="6" h="22">
                      <a:moveTo>
                        <a:pt x="0" y="0"/>
                      </a:moveTo>
                      <a:cubicBezTo>
                        <a:pt x="0" y="5"/>
                        <a:pt x="0" y="17"/>
                        <a:pt x="0" y="19"/>
                      </a:cubicBezTo>
                      <a:cubicBezTo>
                        <a:pt x="0" y="20"/>
                        <a:pt x="1" y="22"/>
                        <a:pt x="3" y="22"/>
                      </a:cubicBezTo>
                      <a:cubicBezTo>
                        <a:pt x="4" y="22"/>
                        <a:pt x="6" y="20"/>
                        <a:pt x="6" y="19"/>
                      </a:cubicBezTo>
                      <a:cubicBezTo>
                        <a:pt x="6" y="18"/>
                        <a:pt x="6" y="9"/>
                        <a:pt x="6" y="0"/>
                      </a:cubicBezTo>
                      <a:cubicBezTo>
                        <a:pt x="3"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40" name="Freeform 1356"/>
                <p:cNvSpPr>
                  <a:spLocks/>
                </p:cNvSpPr>
                <p:nvPr/>
              </p:nvSpPr>
              <p:spPr bwMode="auto">
                <a:xfrm>
                  <a:off x="13021" y="707"/>
                  <a:ext cx="40" cy="111"/>
                </a:xfrm>
                <a:custGeom>
                  <a:avLst/>
                  <a:gdLst>
                    <a:gd name="T0" fmla="*/ 0 w 17"/>
                    <a:gd name="T1" fmla="*/ 6 h 47"/>
                    <a:gd name="T2" fmla="*/ 0 w 17"/>
                    <a:gd name="T3" fmla="*/ 20 h 47"/>
                    <a:gd name="T4" fmla="*/ 2 w 17"/>
                    <a:gd name="T5" fmla="*/ 23 h 47"/>
                    <a:gd name="T6" fmla="*/ 4 w 17"/>
                    <a:gd name="T7" fmla="*/ 20 h 47"/>
                    <a:gd name="T8" fmla="*/ 4 w 17"/>
                    <a:gd name="T9" fmla="*/ 7 h 47"/>
                    <a:gd name="T10" fmla="*/ 5 w 17"/>
                    <a:gd name="T11" fmla="*/ 7 h 47"/>
                    <a:gd name="T12" fmla="*/ 5 w 17"/>
                    <a:gd name="T13" fmla="*/ 44 h 47"/>
                    <a:gd name="T14" fmla="*/ 8 w 17"/>
                    <a:gd name="T15" fmla="*/ 47 h 47"/>
                    <a:gd name="T16" fmla="*/ 11 w 17"/>
                    <a:gd name="T17" fmla="*/ 44 h 47"/>
                    <a:gd name="T18" fmla="*/ 11 w 17"/>
                    <a:gd name="T19" fmla="*/ 23 h 47"/>
                    <a:gd name="T20" fmla="*/ 12 w 17"/>
                    <a:gd name="T21" fmla="*/ 23 h 47"/>
                    <a:gd name="T22" fmla="*/ 12 w 17"/>
                    <a:gd name="T23" fmla="*/ 44 h 47"/>
                    <a:gd name="T24" fmla="*/ 14 w 17"/>
                    <a:gd name="T25" fmla="*/ 47 h 47"/>
                    <a:gd name="T26" fmla="*/ 17 w 17"/>
                    <a:gd name="T27" fmla="*/ 44 h 47"/>
                    <a:gd name="T28" fmla="*/ 17 w 17"/>
                    <a:gd name="T29" fmla="*/ 12 h 47"/>
                    <a:gd name="T30" fmla="*/ 5 w 17"/>
                    <a:gd name="T31" fmla="*/ 0 h 47"/>
                    <a:gd name="T32" fmla="*/ 0 w 17"/>
                    <a:gd name="T33"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47">
                      <a:moveTo>
                        <a:pt x="0" y="6"/>
                      </a:move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7"/>
                        <a:pt x="8" y="47"/>
                      </a:cubicBezTo>
                      <a:cubicBezTo>
                        <a:pt x="9" y="47"/>
                        <a:pt x="11" y="45"/>
                        <a:pt x="11" y="44"/>
                      </a:cubicBezTo>
                      <a:cubicBezTo>
                        <a:pt x="11" y="41"/>
                        <a:pt x="11" y="23"/>
                        <a:pt x="11" y="23"/>
                      </a:cubicBezTo>
                      <a:cubicBezTo>
                        <a:pt x="11" y="23"/>
                        <a:pt x="11" y="23"/>
                        <a:pt x="12" y="23"/>
                      </a:cubicBezTo>
                      <a:cubicBezTo>
                        <a:pt x="12" y="23"/>
                        <a:pt x="12" y="41"/>
                        <a:pt x="12" y="44"/>
                      </a:cubicBezTo>
                      <a:cubicBezTo>
                        <a:pt x="12" y="45"/>
                        <a:pt x="13" y="47"/>
                        <a:pt x="14" y="47"/>
                      </a:cubicBezTo>
                      <a:cubicBezTo>
                        <a:pt x="16" y="47"/>
                        <a:pt x="17" y="45"/>
                        <a:pt x="17" y="44"/>
                      </a:cubicBezTo>
                      <a:cubicBezTo>
                        <a:pt x="17" y="42"/>
                        <a:pt x="17" y="22"/>
                        <a:pt x="17" y="12"/>
                      </a:cubicBezTo>
                      <a:cubicBezTo>
                        <a:pt x="15" y="9"/>
                        <a:pt x="11" y="5"/>
                        <a:pt x="5" y="0"/>
                      </a:cubicBezTo>
                      <a:cubicBezTo>
                        <a:pt x="2"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41" name="Freeform 1357"/>
                <p:cNvSpPr>
                  <a:spLocks/>
                </p:cNvSpPr>
                <p:nvPr/>
              </p:nvSpPr>
              <p:spPr bwMode="auto">
                <a:xfrm>
                  <a:off x="12758" y="740"/>
                  <a:ext cx="10" cy="21"/>
                </a:xfrm>
                <a:custGeom>
                  <a:avLst/>
                  <a:gdLst>
                    <a:gd name="T0" fmla="*/ 2 w 4"/>
                    <a:gd name="T1" fmla="*/ 9 h 9"/>
                    <a:gd name="T2" fmla="*/ 4 w 4"/>
                    <a:gd name="T3" fmla="*/ 6 h 9"/>
                    <a:gd name="T4" fmla="*/ 4 w 4"/>
                    <a:gd name="T5" fmla="*/ 6 h 9"/>
                    <a:gd name="T6" fmla="*/ 0 w 4"/>
                    <a:gd name="T7" fmla="*/ 0 h 9"/>
                    <a:gd name="T8" fmla="*/ 0 w 4"/>
                    <a:gd name="T9" fmla="*/ 6 h 9"/>
                    <a:gd name="T10" fmla="*/ 2 w 4"/>
                    <a:gd name="T11" fmla="*/ 9 h 9"/>
                  </a:gdLst>
                  <a:ahLst/>
                  <a:cxnLst>
                    <a:cxn ang="0">
                      <a:pos x="T0" y="T1"/>
                    </a:cxn>
                    <a:cxn ang="0">
                      <a:pos x="T2" y="T3"/>
                    </a:cxn>
                    <a:cxn ang="0">
                      <a:pos x="T4" y="T5"/>
                    </a:cxn>
                    <a:cxn ang="0">
                      <a:pos x="T6" y="T7"/>
                    </a:cxn>
                    <a:cxn ang="0">
                      <a:pos x="T8" y="T9"/>
                    </a:cxn>
                    <a:cxn ang="0">
                      <a:pos x="T10" y="T11"/>
                    </a:cxn>
                  </a:cxnLst>
                  <a:rect l="0" t="0" r="r" b="b"/>
                  <a:pathLst>
                    <a:path w="4" h="9">
                      <a:moveTo>
                        <a:pt x="2" y="9"/>
                      </a:moveTo>
                      <a:cubicBezTo>
                        <a:pt x="3" y="9"/>
                        <a:pt x="4" y="8"/>
                        <a:pt x="4" y="6"/>
                      </a:cubicBezTo>
                      <a:cubicBezTo>
                        <a:pt x="4" y="6"/>
                        <a:pt x="4" y="6"/>
                        <a:pt x="4" y="6"/>
                      </a:cubicBezTo>
                      <a:cubicBezTo>
                        <a:pt x="3" y="4"/>
                        <a:pt x="1" y="2"/>
                        <a:pt x="0" y="0"/>
                      </a:cubicBezTo>
                      <a:cubicBezTo>
                        <a:pt x="0" y="3"/>
                        <a:pt x="0" y="6"/>
                        <a:pt x="0" y="6"/>
                      </a:cubicBezTo>
                      <a:cubicBezTo>
                        <a:pt x="0" y="8"/>
                        <a:pt x="1" y="9"/>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42" name="Freeform 1358"/>
                <p:cNvSpPr>
                  <a:spLocks/>
                </p:cNvSpPr>
                <p:nvPr/>
              </p:nvSpPr>
              <p:spPr bwMode="auto">
                <a:xfrm>
                  <a:off x="13087" y="856"/>
                  <a:ext cx="41" cy="109"/>
                </a:xfrm>
                <a:custGeom>
                  <a:avLst/>
                  <a:gdLst>
                    <a:gd name="T0" fmla="*/ 0 w 17"/>
                    <a:gd name="T1" fmla="*/ 5 h 46"/>
                    <a:gd name="T2" fmla="*/ 0 w 17"/>
                    <a:gd name="T3" fmla="*/ 20 h 46"/>
                    <a:gd name="T4" fmla="*/ 2 w 17"/>
                    <a:gd name="T5" fmla="*/ 22 h 46"/>
                    <a:gd name="T6" fmla="*/ 4 w 17"/>
                    <a:gd name="T7" fmla="*/ 20 h 46"/>
                    <a:gd name="T8" fmla="*/ 4 w 17"/>
                    <a:gd name="T9" fmla="*/ 7 h 46"/>
                    <a:gd name="T10" fmla="*/ 5 w 17"/>
                    <a:gd name="T11" fmla="*/ 7 h 46"/>
                    <a:gd name="T12" fmla="*/ 5 w 17"/>
                    <a:gd name="T13" fmla="*/ 43 h 46"/>
                    <a:gd name="T14" fmla="*/ 8 w 17"/>
                    <a:gd name="T15" fmla="*/ 46 h 46"/>
                    <a:gd name="T16" fmla="*/ 10 w 17"/>
                    <a:gd name="T17" fmla="*/ 43 h 46"/>
                    <a:gd name="T18" fmla="*/ 10 w 17"/>
                    <a:gd name="T19" fmla="*/ 22 h 46"/>
                    <a:gd name="T20" fmla="*/ 11 w 17"/>
                    <a:gd name="T21" fmla="*/ 22 h 46"/>
                    <a:gd name="T22" fmla="*/ 11 w 17"/>
                    <a:gd name="T23" fmla="*/ 43 h 46"/>
                    <a:gd name="T24" fmla="*/ 14 w 17"/>
                    <a:gd name="T25" fmla="*/ 46 h 46"/>
                    <a:gd name="T26" fmla="*/ 17 w 17"/>
                    <a:gd name="T27" fmla="*/ 43 h 46"/>
                    <a:gd name="T28" fmla="*/ 17 w 17"/>
                    <a:gd name="T29" fmla="*/ 8 h 46"/>
                    <a:gd name="T30" fmla="*/ 4 w 17"/>
                    <a:gd name="T31" fmla="*/ 0 h 46"/>
                    <a:gd name="T32" fmla="*/ 0 w 17"/>
                    <a:gd name="T3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46">
                      <a:moveTo>
                        <a:pt x="0" y="5"/>
                      </a:moveTo>
                      <a:cubicBezTo>
                        <a:pt x="0" y="7"/>
                        <a:pt x="0" y="19"/>
                        <a:pt x="0" y="20"/>
                      </a:cubicBezTo>
                      <a:cubicBezTo>
                        <a:pt x="0" y="21"/>
                        <a:pt x="0" y="22"/>
                        <a:pt x="2" y="22"/>
                      </a:cubicBezTo>
                      <a:cubicBezTo>
                        <a:pt x="3" y="22"/>
                        <a:pt x="4" y="21"/>
                        <a:pt x="4" y="20"/>
                      </a:cubicBezTo>
                      <a:cubicBezTo>
                        <a:pt x="4" y="19"/>
                        <a:pt x="4" y="7"/>
                        <a:pt x="4" y="7"/>
                      </a:cubicBezTo>
                      <a:cubicBezTo>
                        <a:pt x="4" y="7"/>
                        <a:pt x="4" y="7"/>
                        <a:pt x="5" y="7"/>
                      </a:cubicBezTo>
                      <a:cubicBezTo>
                        <a:pt x="5" y="7"/>
                        <a:pt x="5" y="41"/>
                        <a:pt x="5" y="43"/>
                      </a:cubicBezTo>
                      <a:cubicBezTo>
                        <a:pt x="5" y="45"/>
                        <a:pt x="6" y="46"/>
                        <a:pt x="8" y="46"/>
                      </a:cubicBezTo>
                      <a:cubicBezTo>
                        <a:pt x="9" y="46"/>
                        <a:pt x="10" y="45"/>
                        <a:pt x="10" y="43"/>
                      </a:cubicBezTo>
                      <a:cubicBezTo>
                        <a:pt x="10" y="41"/>
                        <a:pt x="10" y="22"/>
                        <a:pt x="10" y="22"/>
                      </a:cubicBezTo>
                      <a:cubicBezTo>
                        <a:pt x="10" y="22"/>
                        <a:pt x="10" y="22"/>
                        <a:pt x="11" y="22"/>
                      </a:cubicBezTo>
                      <a:cubicBezTo>
                        <a:pt x="11" y="22"/>
                        <a:pt x="11" y="41"/>
                        <a:pt x="11" y="43"/>
                      </a:cubicBezTo>
                      <a:cubicBezTo>
                        <a:pt x="11" y="45"/>
                        <a:pt x="13" y="46"/>
                        <a:pt x="14" y="46"/>
                      </a:cubicBezTo>
                      <a:cubicBezTo>
                        <a:pt x="16" y="46"/>
                        <a:pt x="17" y="45"/>
                        <a:pt x="17" y="43"/>
                      </a:cubicBezTo>
                      <a:cubicBezTo>
                        <a:pt x="17" y="41"/>
                        <a:pt x="17" y="15"/>
                        <a:pt x="17" y="8"/>
                      </a:cubicBezTo>
                      <a:cubicBezTo>
                        <a:pt x="8" y="6"/>
                        <a:pt x="8" y="10"/>
                        <a:pt x="4" y="0"/>
                      </a:cubicBezTo>
                      <a:cubicBezTo>
                        <a:pt x="1" y="1"/>
                        <a:pt x="0" y="3"/>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43" name="Freeform 1359"/>
                <p:cNvSpPr>
                  <a:spLocks/>
                </p:cNvSpPr>
                <p:nvPr/>
              </p:nvSpPr>
              <p:spPr bwMode="auto">
                <a:xfrm>
                  <a:off x="12687" y="721"/>
                  <a:ext cx="19" cy="35"/>
                </a:xfrm>
                <a:custGeom>
                  <a:avLst/>
                  <a:gdLst>
                    <a:gd name="T0" fmla="*/ 2 w 8"/>
                    <a:gd name="T1" fmla="*/ 14 h 15"/>
                    <a:gd name="T2" fmla="*/ 4 w 8"/>
                    <a:gd name="T3" fmla="*/ 13 h 15"/>
                    <a:gd name="T4" fmla="*/ 8 w 8"/>
                    <a:gd name="T5" fmla="*/ 0 h 15"/>
                    <a:gd name="T6" fmla="*/ 2 w 8"/>
                    <a:gd name="T7" fmla="*/ 6 h 15"/>
                    <a:gd name="T8" fmla="*/ 0 w 8"/>
                    <a:gd name="T9" fmla="*/ 12 h 15"/>
                    <a:gd name="T10" fmla="*/ 2 w 8"/>
                    <a:gd name="T11" fmla="*/ 14 h 15"/>
                  </a:gdLst>
                  <a:ahLst/>
                  <a:cxnLst>
                    <a:cxn ang="0">
                      <a:pos x="T0" y="T1"/>
                    </a:cxn>
                    <a:cxn ang="0">
                      <a:pos x="T2" y="T3"/>
                    </a:cxn>
                    <a:cxn ang="0">
                      <a:pos x="T4" y="T5"/>
                    </a:cxn>
                    <a:cxn ang="0">
                      <a:pos x="T6" y="T7"/>
                    </a:cxn>
                    <a:cxn ang="0">
                      <a:pos x="T8" y="T9"/>
                    </a:cxn>
                    <a:cxn ang="0">
                      <a:pos x="T10" y="T11"/>
                    </a:cxn>
                  </a:cxnLst>
                  <a:rect l="0" t="0" r="r" b="b"/>
                  <a:pathLst>
                    <a:path w="8" h="15">
                      <a:moveTo>
                        <a:pt x="2" y="14"/>
                      </a:moveTo>
                      <a:cubicBezTo>
                        <a:pt x="3" y="15"/>
                        <a:pt x="4" y="14"/>
                        <a:pt x="4" y="13"/>
                      </a:cubicBezTo>
                      <a:cubicBezTo>
                        <a:pt x="4" y="12"/>
                        <a:pt x="7" y="2"/>
                        <a:pt x="8" y="0"/>
                      </a:cubicBezTo>
                      <a:cubicBezTo>
                        <a:pt x="6" y="2"/>
                        <a:pt x="4" y="3"/>
                        <a:pt x="2" y="6"/>
                      </a:cubicBezTo>
                      <a:cubicBezTo>
                        <a:pt x="1" y="9"/>
                        <a:pt x="1" y="12"/>
                        <a:pt x="0" y="12"/>
                      </a:cubicBezTo>
                      <a:cubicBezTo>
                        <a:pt x="0" y="13"/>
                        <a:pt x="1" y="14"/>
                        <a:pt x="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44" name="Freeform 1360"/>
                <p:cNvSpPr>
                  <a:spLocks/>
                </p:cNvSpPr>
                <p:nvPr/>
              </p:nvSpPr>
              <p:spPr bwMode="auto">
                <a:xfrm>
                  <a:off x="12694" y="711"/>
                  <a:ext cx="57" cy="107"/>
                </a:xfrm>
                <a:custGeom>
                  <a:avLst/>
                  <a:gdLst>
                    <a:gd name="T0" fmla="*/ 5 w 24"/>
                    <a:gd name="T1" fmla="*/ 4 h 45"/>
                    <a:gd name="T2" fmla="*/ 5 w 24"/>
                    <a:gd name="T3" fmla="*/ 4 h 45"/>
                    <a:gd name="T4" fmla="*/ 6 w 24"/>
                    <a:gd name="T5" fmla="*/ 4 h 45"/>
                    <a:gd name="T6" fmla="*/ 0 w 24"/>
                    <a:gd name="T7" fmla="*/ 26 h 45"/>
                    <a:gd name="T8" fmla="*/ 6 w 24"/>
                    <a:gd name="T9" fmla="*/ 26 h 45"/>
                    <a:gd name="T10" fmla="*/ 6 w 24"/>
                    <a:gd name="T11" fmla="*/ 42 h 45"/>
                    <a:gd name="T12" fmla="*/ 8 w 24"/>
                    <a:gd name="T13" fmla="*/ 45 h 45"/>
                    <a:gd name="T14" fmla="*/ 10 w 24"/>
                    <a:gd name="T15" fmla="*/ 42 h 45"/>
                    <a:gd name="T16" fmla="*/ 10 w 24"/>
                    <a:gd name="T17" fmla="*/ 26 h 45"/>
                    <a:gd name="T18" fmla="*/ 11 w 24"/>
                    <a:gd name="T19" fmla="*/ 26 h 45"/>
                    <a:gd name="T20" fmla="*/ 11 w 24"/>
                    <a:gd name="T21" fmla="*/ 42 h 45"/>
                    <a:gd name="T22" fmla="*/ 14 w 24"/>
                    <a:gd name="T23" fmla="*/ 45 h 45"/>
                    <a:gd name="T24" fmla="*/ 16 w 24"/>
                    <a:gd name="T25" fmla="*/ 42 h 45"/>
                    <a:gd name="T26" fmla="*/ 16 w 24"/>
                    <a:gd name="T27" fmla="*/ 26 h 45"/>
                    <a:gd name="T28" fmla="*/ 22 w 24"/>
                    <a:gd name="T29" fmla="*/ 26 h 45"/>
                    <a:gd name="T30" fmla="*/ 16 w 24"/>
                    <a:gd name="T31" fmla="*/ 4 h 45"/>
                    <a:gd name="T32" fmla="*/ 17 w 24"/>
                    <a:gd name="T33" fmla="*/ 4 h 45"/>
                    <a:gd name="T34" fmla="*/ 20 w 24"/>
                    <a:gd name="T35" fmla="*/ 17 h 45"/>
                    <a:gd name="T36" fmla="*/ 23 w 24"/>
                    <a:gd name="T37" fmla="*/ 18 h 45"/>
                    <a:gd name="T38" fmla="*/ 24 w 24"/>
                    <a:gd name="T39" fmla="*/ 16 h 45"/>
                    <a:gd name="T40" fmla="*/ 20 w 24"/>
                    <a:gd name="T41" fmla="*/ 3 h 45"/>
                    <a:gd name="T42" fmla="*/ 5 w 24"/>
                    <a:gd name="T43" fmla="*/ 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45">
                      <a:moveTo>
                        <a:pt x="5" y="4"/>
                      </a:moveTo>
                      <a:cubicBezTo>
                        <a:pt x="5" y="4"/>
                        <a:pt x="5" y="4"/>
                        <a:pt x="5" y="4"/>
                      </a:cubicBezTo>
                      <a:cubicBezTo>
                        <a:pt x="6" y="4"/>
                        <a:pt x="6" y="4"/>
                        <a:pt x="6" y="4"/>
                      </a:cubicBezTo>
                      <a:cubicBezTo>
                        <a:pt x="0" y="26"/>
                        <a:pt x="0" y="26"/>
                        <a:pt x="0" y="26"/>
                      </a:cubicBezTo>
                      <a:cubicBezTo>
                        <a:pt x="6" y="26"/>
                        <a:pt x="6" y="26"/>
                        <a:pt x="6" y="26"/>
                      </a:cubicBezTo>
                      <a:cubicBezTo>
                        <a:pt x="6" y="34"/>
                        <a:pt x="6" y="41"/>
                        <a:pt x="6" y="42"/>
                      </a:cubicBezTo>
                      <a:cubicBezTo>
                        <a:pt x="6" y="44"/>
                        <a:pt x="7" y="45"/>
                        <a:pt x="8" y="45"/>
                      </a:cubicBezTo>
                      <a:cubicBezTo>
                        <a:pt x="9" y="45"/>
                        <a:pt x="10" y="44"/>
                        <a:pt x="10" y="42"/>
                      </a:cubicBezTo>
                      <a:cubicBezTo>
                        <a:pt x="10" y="41"/>
                        <a:pt x="10" y="26"/>
                        <a:pt x="10" y="26"/>
                      </a:cubicBezTo>
                      <a:cubicBezTo>
                        <a:pt x="11" y="26"/>
                        <a:pt x="11" y="26"/>
                        <a:pt x="11" y="26"/>
                      </a:cubicBezTo>
                      <a:cubicBezTo>
                        <a:pt x="11" y="26"/>
                        <a:pt x="11" y="41"/>
                        <a:pt x="11" y="42"/>
                      </a:cubicBezTo>
                      <a:cubicBezTo>
                        <a:pt x="11" y="44"/>
                        <a:pt x="12" y="45"/>
                        <a:pt x="14" y="45"/>
                      </a:cubicBezTo>
                      <a:cubicBezTo>
                        <a:pt x="15" y="45"/>
                        <a:pt x="16" y="44"/>
                        <a:pt x="16" y="42"/>
                      </a:cubicBezTo>
                      <a:cubicBezTo>
                        <a:pt x="16" y="41"/>
                        <a:pt x="16" y="34"/>
                        <a:pt x="16" y="26"/>
                      </a:cubicBezTo>
                      <a:cubicBezTo>
                        <a:pt x="22" y="26"/>
                        <a:pt x="22" y="26"/>
                        <a:pt x="22" y="26"/>
                      </a:cubicBezTo>
                      <a:cubicBezTo>
                        <a:pt x="16" y="4"/>
                        <a:pt x="16" y="4"/>
                        <a:pt x="16" y="4"/>
                      </a:cubicBezTo>
                      <a:cubicBezTo>
                        <a:pt x="17" y="4"/>
                        <a:pt x="17" y="4"/>
                        <a:pt x="17" y="4"/>
                      </a:cubicBezTo>
                      <a:cubicBezTo>
                        <a:pt x="17" y="4"/>
                        <a:pt x="20" y="16"/>
                        <a:pt x="20" y="17"/>
                      </a:cubicBezTo>
                      <a:cubicBezTo>
                        <a:pt x="21" y="18"/>
                        <a:pt x="22" y="19"/>
                        <a:pt x="23" y="18"/>
                      </a:cubicBezTo>
                      <a:cubicBezTo>
                        <a:pt x="24" y="18"/>
                        <a:pt x="24" y="17"/>
                        <a:pt x="24" y="16"/>
                      </a:cubicBezTo>
                      <a:cubicBezTo>
                        <a:pt x="24" y="16"/>
                        <a:pt x="22" y="9"/>
                        <a:pt x="20" y="3"/>
                      </a:cubicBezTo>
                      <a:cubicBezTo>
                        <a:pt x="17" y="0"/>
                        <a:pt x="13" y="0"/>
                        <a:pt x="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45" name="Freeform 1361"/>
                <p:cNvSpPr>
                  <a:spLocks/>
                </p:cNvSpPr>
                <p:nvPr/>
              </p:nvSpPr>
              <p:spPr bwMode="auto">
                <a:xfrm>
                  <a:off x="12668" y="808"/>
                  <a:ext cx="0" cy="5"/>
                </a:xfrm>
                <a:custGeom>
                  <a:avLst/>
                  <a:gdLst>
                    <a:gd name="T0" fmla="*/ 0 h 2"/>
                    <a:gd name="T1" fmla="*/ 2 h 2"/>
                    <a:gd name="T2" fmla="*/ 1 h 2"/>
                    <a:gd name="T3" fmla="*/ 0 h 2"/>
                  </a:gdLst>
                  <a:ahLst/>
                  <a:cxnLst>
                    <a:cxn ang="0">
                      <a:pos x="0" y="T0"/>
                    </a:cxn>
                    <a:cxn ang="0">
                      <a:pos x="0" y="T1"/>
                    </a:cxn>
                    <a:cxn ang="0">
                      <a:pos x="0" y="T2"/>
                    </a:cxn>
                    <a:cxn ang="0">
                      <a:pos x="0" y="T3"/>
                    </a:cxn>
                  </a:cxnLst>
                  <a:rect l="0" t="0" r="r" b="b"/>
                  <a:pathLst>
                    <a:path h="2">
                      <a:moveTo>
                        <a:pt x="0" y="0"/>
                      </a:moveTo>
                      <a:cubicBezTo>
                        <a:pt x="0" y="1"/>
                        <a:pt x="0" y="1"/>
                        <a:pt x="0" y="2"/>
                      </a:cubicBezTo>
                      <a:cubicBezTo>
                        <a:pt x="0" y="1"/>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46" name="Freeform 1362"/>
                <p:cNvSpPr>
                  <a:spLocks/>
                </p:cNvSpPr>
                <p:nvPr/>
              </p:nvSpPr>
              <p:spPr bwMode="auto">
                <a:xfrm>
                  <a:off x="12950" y="1000"/>
                  <a:ext cx="64" cy="111"/>
                </a:xfrm>
                <a:custGeom>
                  <a:avLst/>
                  <a:gdLst>
                    <a:gd name="T0" fmla="*/ 1 w 27"/>
                    <a:gd name="T1" fmla="*/ 21 h 47"/>
                    <a:gd name="T2" fmla="*/ 4 w 27"/>
                    <a:gd name="T3" fmla="*/ 20 h 47"/>
                    <a:gd name="T4" fmla="*/ 8 w 27"/>
                    <a:gd name="T5" fmla="*/ 7 h 47"/>
                    <a:gd name="T6" fmla="*/ 9 w 27"/>
                    <a:gd name="T7" fmla="*/ 7 h 47"/>
                    <a:gd name="T8" fmla="*/ 2 w 27"/>
                    <a:gd name="T9" fmla="*/ 28 h 47"/>
                    <a:gd name="T10" fmla="*/ 8 w 27"/>
                    <a:gd name="T11" fmla="*/ 28 h 47"/>
                    <a:gd name="T12" fmla="*/ 8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9 w 27"/>
                    <a:gd name="T27" fmla="*/ 45 h 47"/>
                    <a:gd name="T28" fmla="*/ 19 w 27"/>
                    <a:gd name="T29" fmla="*/ 28 h 47"/>
                    <a:gd name="T30" fmla="*/ 25 w 27"/>
                    <a:gd name="T31" fmla="*/ 28 h 47"/>
                    <a:gd name="T32" fmla="*/ 18 w 27"/>
                    <a:gd name="T33" fmla="*/ 7 h 47"/>
                    <a:gd name="T34" fmla="*/ 19 w 27"/>
                    <a:gd name="T35" fmla="*/ 7 h 47"/>
                    <a:gd name="T36" fmla="*/ 23 w 27"/>
                    <a:gd name="T37" fmla="*/ 20 h 47"/>
                    <a:gd name="T38" fmla="*/ 26 w 27"/>
                    <a:gd name="T39" fmla="*/ 21 h 47"/>
                    <a:gd name="T40" fmla="*/ 27 w 27"/>
                    <a:gd name="T41" fmla="*/ 18 h 47"/>
                    <a:gd name="T42" fmla="*/ 23 w 27"/>
                    <a:gd name="T43" fmla="*/ 5 h 47"/>
                    <a:gd name="T44" fmla="*/ 17 w 27"/>
                    <a:gd name="T45" fmla="*/ 0 h 47"/>
                    <a:gd name="T46" fmla="*/ 10 w 27"/>
                    <a:gd name="T47" fmla="*/ 0 h 47"/>
                    <a:gd name="T48" fmla="*/ 4 w 27"/>
                    <a:gd name="T49" fmla="*/ 5 h 47"/>
                    <a:gd name="T50" fmla="*/ 0 w 27"/>
                    <a:gd name="T51" fmla="*/ 18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4" y="20"/>
                        <a:pt x="4" y="20"/>
                      </a:cubicBezTo>
                      <a:cubicBezTo>
                        <a:pt x="4" y="18"/>
                        <a:pt x="8" y="7"/>
                        <a:pt x="8"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19" y="7"/>
                        <a:pt x="19" y="7"/>
                        <a:pt x="19" y="7"/>
                      </a:cubicBezTo>
                      <a:cubicBezTo>
                        <a:pt x="19" y="7"/>
                        <a:pt x="23" y="18"/>
                        <a:pt x="23" y="20"/>
                      </a:cubicBezTo>
                      <a:cubicBezTo>
                        <a:pt x="24" y="20"/>
                        <a:pt x="25" y="21"/>
                        <a:pt x="26" y="21"/>
                      </a:cubicBezTo>
                      <a:cubicBezTo>
                        <a:pt x="26" y="20"/>
                        <a:pt x="27" y="19"/>
                        <a:pt x="27" y="18"/>
                      </a:cubicBezTo>
                      <a:cubicBezTo>
                        <a:pt x="26" y="18"/>
                        <a:pt x="24" y="10"/>
                        <a:pt x="23" y="5"/>
                      </a:cubicBezTo>
                      <a:cubicBezTo>
                        <a:pt x="22" y="2"/>
                        <a:pt x="20" y="0"/>
                        <a:pt x="17" y="0"/>
                      </a:cubicBezTo>
                      <a:cubicBezTo>
                        <a:pt x="16" y="0"/>
                        <a:pt x="11" y="0"/>
                        <a:pt x="10" y="0"/>
                      </a:cubicBezTo>
                      <a:cubicBezTo>
                        <a:pt x="7" y="0"/>
                        <a:pt x="5" y="2"/>
                        <a:pt x="4" y="5"/>
                      </a:cubicBezTo>
                      <a:cubicBezTo>
                        <a:pt x="3" y="10"/>
                        <a:pt x="0" y="18"/>
                        <a:pt x="0" y="18"/>
                      </a:cubicBezTo>
                      <a:cubicBezTo>
                        <a:pt x="0" y="19"/>
                        <a:pt x="0" y="20"/>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47" name="Freeform 1363"/>
                <p:cNvSpPr>
                  <a:spLocks/>
                </p:cNvSpPr>
                <p:nvPr/>
              </p:nvSpPr>
              <p:spPr bwMode="auto">
                <a:xfrm>
                  <a:off x="12623" y="853"/>
                  <a:ext cx="64" cy="112"/>
                </a:xfrm>
                <a:custGeom>
                  <a:avLst/>
                  <a:gdLst>
                    <a:gd name="T0" fmla="*/ 0 w 27"/>
                    <a:gd name="T1" fmla="*/ 19 h 47"/>
                    <a:gd name="T2" fmla="*/ 1 w 27"/>
                    <a:gd name="T3" fmla="*/ 21 h 47"/>
                    <a:gd name="T4" fmla="*/ 3 w 27"/>
                    <a:gd name="T5" fmla="*/ 20 h 47"/>
                    <a:gd name="T6" fmla="*/ 7 w 27"/>
                    <a:gd name="T7" fmla="*/ 7 h 47"/>
                    <a:gd name="T8" fmla="*/ 8 w 27"/>
                    <a:gd name="T9" fmla="*/ 7 h 47"/>
                    <a:gd name="T10" fmla="*/ 2 w 27"/>
                    <a:gd name="T11" fmla="*/ 28 h 47"/>
                    <a:gd name="T12" fmla="*/ 8 w 27"/>
                    <a:gd name="T13" fmla="*/ 28 h 47"/>
                    <a:gd name="T14" fmla="*/ 8 w 27"/>
                    <a:gd name="T15" fmla="*/ 45 h 47"/>
                    <a:gd name="T16" fmla="*/ 10 w 27"/>
                    <a:gd name="T17" fmla="*/ 47 h 47"/>
                    <a:gd name="T18" fmla="*/ 13 w 27"/>
                    <a:gd name="T19" fmla="*/ 45 h 47"/>
                    <a:gd name="T20" fmla="*/ 13 w 27"/>
                    <a:gd name="T21" fmla="*/ 28 h 47"/>
                    <a:gd name="T22" fmla="*/ 14 w 27"/>
                    <a:gd name="T23" fmla="*/ 28 h 47"/>
                    <a:gd name="T24" fmla="*/ 14 w 27"/>
                    <a:gd name="T25" fmla="*/ 45 h 47"/>
                    <a:gd name="T26" fmla="*/ 16 w 27"/>
                    <a:gd name="T27" fmla="*/ 47 h 47"/>
                    <a:gd name="T28" fmla="*/ 18 w 27"/>
                    <a:gd name="T29" fmla="*/ 45 h 47"/>
                    <a:gd name="T30" fmla="*/ 18 w 27"/>
                    <a:gd name="T31" fmla="*/ 28 h 47"/>
                    <a:gd name="T32" fmla="*/ 24 w 27"/>
                    <a:gd name="T33" fmla="*/ 28 h 47"/>
                    <a:gd name="T34" fmla="*/ 18 w 27"/>
                    <a:gd name="T35" fmla="*/ 7 h 47"/>
                    <a:gd name="T36" fmla="*/ 19 w 27"/>
                    <a:gd name="T37" fmla="*/ 7 h 47"/>
                    <a:gd name="T38" fmla="*/ 23 w 27"/>
                    <a:gd name="T39" fmla="*/ 20 h 47"/>
                    <a:gd name="T40" fmla="*/ 25 w 27"/>
                    <a:gd name="T41" fmla="*/ 21 h 47"/>
                    <a:gd name="T42" fmla="*/ 26 w 27"/>
                    <a:gd name="T43" fmla="*/ 19 h 47"/>
                    <a:gd name="T44" fmla="*/ 22 w 27"/>
                    <a:gd name="T45" fmla="*/ 5 h 47"/>
                    <a:gd name="T46" fmla="*/ 17 w 27"/>
                    <a:gd name="T47" fmla="*/ 0 h 47"/>
                    <a:gd name="T48" fmla="*/ 17 w 27"/>
                    <a:gd name="T49" fmla="*/ 9 h 47"/>
                    <a:gd name="T50" fmla="*/ 10 w 27"/>
                    <a:gd name="T51" fmla="*/ 3 h 47"/>
                    <a:gd name="T52" fmla="*/ 5 w 27"/>
                    <a:gd name="T53" fmla="*/ 3 h 47"/>
                    <a:gd name="T54" fmla="*/ 4 w 27"/>
                    <a:gd name="T55" fmla="*/ 5 h 47"/>
                    <a:gd name="T56" fmla="*/ 0 w 27"/>
                    <a:gd name="T57"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 h="47">
                      <a:moveTo>
                        <a:pt x="0" y="19"/>
                      </a:moveTo>
                      <a:cubicBezTo>
                        <a:pt x="0" y="20"/>
                        <a:pt x="0" y="21"/>
                        <a:pt x="1" y="21"/>
                      </a:cubicBez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ubicBezTo>
                        <a:pt x="22" y="3"/>
                        <a:pt x="19" y="1"/>
                        <a:pt x="17" y="0"/>
                      </a:cubicBezTo>
                      <a:cubicBezTo>
                        <a:pt x="17" y="4"/>
                        <a:pt x="17" y="7"/>
                        <a:pt x="17" y="9"/>
                      </a:cubicBezTo>
                      <a:cubicBezTo>
                        <a:pt x="10" y="3"/>
                        <a:pt x="10" y="3"/>
                        <a:pt x="10" y="3"/>
                      </a:cubicBezTo>
                      <a:cubicBezTo>
                        <a:pt x="8" y="3"/>
                        <a:pt x="6" y="3"/>
                        <a:pt x="5" y="3"/>
                      </a:cubicBezTo>
                      <a:cubicBezTo>
                        <a:pt x="4" y="4"/>
                        <a:pt x="4" y="4"/>
                        <a:pt x="4" y="5"/>
                      </a:cubicBezTo>
                      <a:cubicBezTo>
                        <a:pt x="2" y="11"/>
                        <a:pt x="0" y="18"/>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48" name="Freeform 1364"/>
                <p:cNvSpPr>
                  <a:spLocks/>
                </p:cNvSpPr>
                <p:nvPr/>
              </p:nvSpPr>
              <p:spPr bwMode="auto">
                <a:xfrm>
                  <a:off x="13064" y="740"/>
                  <a:ext cx="9" cy="21"/>
                </a:xfrm>
                <a:custGeom>
                  <a:avLst/>
                  <a:gdLst>
                    <a:gd name="T0" fmla="*/ 0 w 4"/>
                    <a:gd name="T1" fmla="*/ 0 h 9"/>
                    <a:gd name="T2" fmla="*/ 0 w 4"/>
                    <a:gd name="T3" fmla="*/ 6 h 9"/>
                    <a:gd name="T4" fmla="*/ 2 w 4"/>
                    <a:gd name="T5" fmla="*/ 9 h 9"/>
                    <a:gd name="T6" fmla="*/ 4 w 4"/>
                    <a:gd name="T7" fmla="*/ 7 h 9"/>
                    <a:gd name="T8" fmla="*/ 0 w 4"/>
                    <a:gd name="T9" fmla="*/ 0 h 9"/>
                    <a:gd name="T10" fmla="*/ 0 w 4"/>
                    <a:gd name="T11" fmla="*/ 0 h 9"/>
                  </a:gdLst>
                  <a:ahLst/>
                  <a:cxnLst>
                    <a:cxn ang="0">
                      <a:pos x="T0" y="T1"/>
                    </a:cxn>
                    <a:cxn ang="0">
                      <a:pos x="T2" y="T3"/>
                    </a:cxn>
                    <a:cxn ang="0">
                      <a:pos x="T4" y="T5"/>
                    </a:cxn>
                    <a:cxn ang="0">
                      <a:pos x="T6" y="T7"/>
                    </a:cxn>
                    <a:cxn ang="0">
                      <a:pos x="T8" y="T9"/>
                    </a:cxn>
                    <a:cxn ang="0">
                      <a:pos x="T10" y="T11"/>
                    </a:cxn>
                  </a:cxnLst>
                  <a:rect l="0" t="0" r="r" b="b"/>
                  <a:pathLst>
                    <a:path w="4" h="9">
                      <a:moveTo>
                        <a:pt x="0" y="0"/>
                      </a:moveTo>
                      <a:cubicBezTo>
                        <a:pt x="0" y="3"/>
                        <a:pt x="0" y="6"/>
                        <a:pt x="0" y="6"/>
                      </a:cubicBezTo>
                      <a:cubicBezTo>
                        <a:pt x="0" y="8"/>
                        <a:pt x="1" y="9"/>
                        <a:pt x="2" y="9"/>
                      </a:cubicBezTo>
                      <a:cubicBezTo>
                        <a:pt x="3" y="9"/>
                        <a:pt x="4" y="8"/>
                        <a:pt x="4" y="7"/>
                      </a:cubicBezTo>
                      <a:cubicBezTo>
                        <a:pt x="3" y="5"/>
                        <a:pt x="2" y="2"/>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49" name="Oval 1365"/>
                <p:cNvSpPr>
                  <a:spLocks noChangeArrowheads="1"/>
                </p:cNvSpPr>
                <p:nvPr/>
              </p:nvSpPr>
              <p:spPr bwMode="auto">
                <a:xfrm>
                  <a:off x="12775"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50" name="Oval 1366"/>
                <p:cNvSpPr>
                  <a:spLocks noChangeArrowheads="1"/>
                </p:cNvSpPr>
                <p:nvPr/>
              </p:nvSpPr>
              <p:spPr bwMode="auto">
                <a:xfrm>
                  <a:off x="12709" y="830"/>
                  <a:ext cx="23"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51" name="Freeform 1367"/>
                <p:cNvSpPr>
                  <a:spLocks/>
                </p:cNvSpPr>
                <p:nvPr/>
              </p:nvSpPr>
              <p:spPr bwMode="auto">
                <a:xfrm>
                  <a:off x="12692" y="853"/>
                  <a:ext cx="55" cy="112"/>
                </a:xfrm>
                <a:custGeom>
                  <a:avLst/>
                  <a:gdLst>
                    <a:gd name="T0" fmla="*/ 2 w 23"/>
                    <a:gd name="T1" fmla="*/ 23 h 47"/>
                    <a:gd name="T2" fmla="*/ 5 w 23"/>
                    <a:gd name="T3" fmla="*/ 21 h 47"/>
                    <a:gd name="T4" fmla="*/ 5 w 23"/>
                    <a:gd name="T5" fmla="*/ 8 h 47"/>
                    <a:gd name="T6" fmla="*/ 6 w 23"/>
                    <a:gd name="T7" fmla="*/ 8 h 47"/>
                    <a:gd name="T8" fmla="*/ 6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8 h 47"/>
                    <a:gd name="T26" fmla="*/ 19 w 23"/>
                    <a:gd name="T27" fmla="*/ 8 h 47"/>
                    <a:gd name="T28" fmla="*/ 19 w 23"/>
                    <a:gd name="T29" fmla="*/ 21 h 47"/>
                    <a:gd name="T30" fmla="*/ 21 w 23"/>
                    <a:gd name="T31" fmla="*/ 23 h 47"/>
                    <a:gd name="T32" fmla="*/ 23 w 23"/>
                    <a:gd name="T33" fmla="*/ 21 h 47"/>
                    <a:gd name="T34" fmla="*/ 23 w 23"/>
                    <a:gd name="T35" fmla="*/ 6 h 47"/>
                    <a:gd name="T36" fmla="*/ 17 w 23"/>
                    <a:gd name="T37" fmla="*/ 0 h 47"/>
                    <a:gd name="T38" fmla="*/ 7 w 23"/>
                    <a:gd name="T39" fmla="*/ 0 h 47"/>
                    <a:gd name="T40" fmla="*/ 0 w 23"/>
                    <a:gd name="T41" fmla="*/ 6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7" y="0"/>
                      </a:cubicBezTo>
                      <a:cubicBezTo>
                        <a:pt x="3"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52" name="Freeform 1368"/>
                <p:cNvSpPr>
                  <a:spLocks/>
                </p:cNvSpPr>
                <p:nvPr/>
              </p:nvSpPr>
              <p:spPr bwMode="auto">
                <a:xfrm>
                  <a:off x="12754" y="853"/>
                  <a:ext cx="64" cy="112"/>
                </a:xfrm>
                <a:custGeom>
                  <a:avLst/>
                  <a:gdLst>
                    <a:gd name="T0" fmla="*/ 1 w 27"/>
                    <a:gd name="T1" fmla="*/ 21 h 47"/>
                    <a:gd name="T2" fmla="*/ 4 w 27"/>
                    <a:gd name="T3" fmla="*/ 20 h 47"/>
                    <a:gd name="T4" fmla="*/ 8 w 27"/>
                    <a:gd name="T5" fmla="*/ 7 h 47"/>
                    <a:gd name="T6" fmla="*/ 9 w 27"/>
                    <a:gd name="T7" fmla="*/ 7 h 47"/>
                    <a:gd name="T8" fmla="*/ 2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9 w 27"/>
                    <a:gd name="T27" fmla="*/ 45 h 47"/>
                    <a:gd name="T28" fmla="*/ 19 w 27"/>
                    <a:gd name="T29" fmla="*/ 28 h 47"/>
                    <a:gd name="T30" fmla="*/ 25 w 27"/>
                    <a:gd name="T31" fmla="*/ 28 h 47"/>
                    <a:gd name="T32" fmla="*/ 18 w 27"/>
                    <a:gd name="T33" fmla="*/ 7 h 47"/>
                    <a:gd name="T34" fmla="*/ 19 w 27"/>
                    <a:gd name="T35" fmla="*/ 7 h 47"/>
                    <a:gd name="T36" fmla="*/ 23 w 27"/>
                    <a:gd name="T37" fmla="*/ 20 h 47"/>
                    <a:gd name="T38" fmla="*/ 25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3"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53" name="Freeform 1369"/>
                <p:cNvSpPr>
                  <a:spLocks/>
                </p:cNvSpPr>
                <p:nvPr/>
              </p:nvSpPr>
              <p:spPr bwMode="auto">
                <a:xfrm>
                  <a:off x="12758" y="1000"/>
                  <a:ext cx="55" cy="111"/>
                </a:xfrm>
                <a:custGeom>
                  <a:avLst/>
                  <a:gdLst>
                    <a:gd name="T0" fmla="*/ 0 w 23"/>
                    <a:gd name="T1" fmla="*/ 6 h 47"/>
                    <a:gd name="T2" fmla="*/ 0 w 23"/>
                    <a:gd name="T3" fmla="*/ 21 h 47"/>
                    <a:gd name="T4" fmla="*/ 2 w 23"/>
                    <a:gd name="T5" fmla="*/ 23 h 47"/>
                    <a:gd name="T6" fmla="*/ 4 w 23"/>
                    <a:gd name="T7" fmla="*/ 21 h 47"/>
                    <a:gd name="T8" fmla="*/ 4 w 23"/>
                    <a:gd name="T9" fmla="*/ 8 h 47"/>
                    <a:gd name="T10" fmla="*/ 5 w 23"/>
                    <a:gd name="T11" fmla="*/ 8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8 h 47"/>
                    <a:gd name="T30" fmla="*/ 19 w 23"/>
                    <a:gd name="T31" fmla="*/ 8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20"/>
                        <a:pt x="0" y="21"/>
                      </a:cubicBezTo>
                      <a:cubicBezTo>
                        <a:pt x="0" y="22"/>
                        <a:pt x="1" y="23"/>
                        <a:pt x="2" y="23"/>
                      </a:cubicBezTo>
                      <a:cubicBezTo>
                        <a:pt x="3" y="23"/>
                        <a:pt x="4" y="22"/>
                        <a:pt x="4" y="21"/>
                      </a:cubicBezTo>
                      <a:cubicBezTo>
                        <a:pt x="4" y="19"/>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54" name="Freeform 1370"/>
                <p:cNvSpPr>
                  <a:spLocks/>
                </p:cNvSpPr>
                <p:nvPr/>
              </p:nvSpPr>
              <p:spPr bwMode="auto">
                <a:xfrm>
                  <a:off x="12687" y="1000"/>
                  <a:ext cx="64" cy="111"/>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3 w 27"/>
                    <a:gd name="T37" fmla="*/ 20 h 47"/>
                    <a:gd name="T38" fmla="*/ 26 w 27"/>
                    <a:gd name="T39" fmla="*/ 21 h 47"/>
                    <a:gd name="T40" fmla="*/ 27 w 27"/>
                    <a:gd name="T41" fmla="*/ 18 h 47"/>
                    <a:gd name="T42" fmla="*/ 23 w 27"/>
                    <a:gd name="T43" fmla="*/ 5 h 47"/>
                    <a:gd name="T44" fmla="*/ 18 w 27"/>
                    <a:gd name="T45" fmla="*/ 0 h 47"/>
                    <a:gd name="T46" fmla="*/ 10 w 27"/>
                    <a:gd name="T47" fmla="*/ 0 h 47"/>
                    <a:gd name="T48" fmla="*/ 5 w 27"/>
                    <a:gd name="T49" fmla="*/ 5 h 47"/>
                    <a:gd name="T50" fmla="*/ 0 w 27"/>
                    <a:gd name="T51" fmla="*/ 18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0"/>
                        <a:pt x="4" y="20"/>
                      </a:cubicBezTo>
                      <a:cubicBezTo>
                        <a:pt x="4"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3" y="20"/>
                      </a:cubicBezTo>
                      <a:cubicBezTo>
                        <a:pt x="24" y="20"/>
                        <a:pt x="25" y="21"/>
                        <a:pt x="26" y="21"/>
                      </a:cubicBezTo>
                      <a:cubicBezTo>
                        <a:pt x="27" y="20"/>
                        <a:pt x="27" y="19"/>
                        <a:pt x="27" y="18"/>
                      </a:cubicBezTo>
                      <a:cubicBezTo>
                        <a:pt x="27" y="18"/>
                        <a:pt x="25" y="10"/>
                        <a:pt x="23" y="5"/>
                      </a:cubicBezTo>
                      <a:cubicBezTo>
                        <a:pt x="22" y="2"/>
                        <a:pt x="20" y="0"/>
                        <a:pt x="18" y="0"/>
                      </a:cubicBezTo>
                      <a:cubicBezTo>
                        <a:pt x="16" y="0"/>
                        <a:pt x="11" y="0"/>
                        <a:pt x="10" y="0"/>
                      </a:cubicBezTo>
                      <a:cubicBezTo>
                        <a:pt x="8" y="0"/>
                        <a:pt x="5" y="2"/>
                        <a:pt x="5" y="5"/>
                      </a:cubicBezTo>
                      <a:cubicBezTo>
                        <a:pt x="3" y="10"/>
                        <a:pt x="1" y="18"/>
                        <a:pt x="0" y="18"/>
                      </a:cubicBezTo>
                      <a:cubicBezTo>
                        <a:pt x="0" y="19"/>
                        <a:pt x="1" y="20"/>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55" name="Oval 1371"/>
                <p:cNvSpPr>
                  <a:spLocks noChangeArrowheads="1"/>
                </p:cNvSpPr>
                <p:nvPr/>
              </p:nvSpPr>
              <p:spPr bwMode="auto">
                <a:xfrm>
                  <a:off x="12642"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56" name="Freeform 1372"/>
                <p:cNvSpPr>
                  <a:spLocks/>
                </p:cNvSpPr>
                <p:nvPr/>
              </p:nvSpPr>
              <p:spPr bwMode="auto">
                <a:xfrm>
                  <a:off x="12628" y="1000"/>
                  <a:ext cx="52" cy="111"/>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8 w 22"/>
                    <a:gd name="T11" fmla="*/ 47 h 47"/>
                    <a:gd name="T12" fmla="*/ 10 w 22"/>
                    <a:gd name="T13" fmla="*/ 44 h 47"/>
                    <a:gd name="T14" fmla="*/ 10 w 22"/>
                    <a:gd name="T15" fmla="*/ 23 h 47"/>
                    <a:gd name="T16" fmla="*/ 11 w 22"/>
                    <a:gd name="T17" fmla="*/ 23 h 47"/>
                    <a:gd name="T18" fmla="*/ 11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6 h 47"/>
                    <a:gd name="T36" fmla="*/ 16 w 22"/>
                    <a:gd name="T37" fmla="*/ 0 h 47"/>
                    <a:gd name="T38" fmla="*/ 6 w 22"/>
                    <a:gd name="T39" fmla="*/ 0 h 47"/>
                    <a:gd name="T40" fmla="*/ 0 w 22"/>
                    <a:gd name="T41" fmla="*/ 6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19"/>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19"/>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57" name="Freeform 1373"/>
                <p:cNvSpPr>
                  <a:spLocks/>
                </p:cNvSpPr>
                <p:nvPr/>
              </p:nvSpPr>
              <p:spPr bwMode="auto">
                <a:xfrm>
                  <a:off x="12820" y="1000"/>
                  <a:ext cx="64" cy="111"/>
                </a:xfrm>
                <a:custGeom>
                  <a:avLst/>
                  <a:gdLst>
                    <a:gd name="T0" fmla="*/ 1 w 27"/>
                    <a:gd name="T1" fmla="*/ 21 h 47"/>
                    <a:gd name="T2" fmla="*/ 3 w 27"/>
                    <a:gd name="T3" fmla="*/ 20 h 47"/>
                    <a:gd name="T4" fmla="*/ 7 w 27"/>
                    <a:gd name="T5" fmla="*/ 7 h 47"/>
                    <a:gd name="T6" fmla="*/ 8 w 27"/>
                    <a:gd name="T7" fmla="*/ 7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7 h 47"/>
                    <a:gd name="T34" fmla="*/ 19 w 27"/>
                    <a:gd name="T35" fmla="*/ 7 h 47"/>
                    <a:gd name="T36" fmla="*/ 23 w 27"/>
                    <a:gd name="T37" fmla="*/ 20 h 47"/>
                    <a:gd name="T38" fmla="*/ 25 w 27"/>
                    <a:gd name="T39" fmla="*/ 21 h 47"/>
                    <a:gd name="T40" fmla="*/ 26 w 27"/>
                    <a:gd name="T41" fmla="*/ 18 h 47"/>
                    <a:gd name="T42" fmla="*/ 22 w 27"/>
                    <a:gd name="T43" fmla="*/ 5 h 47"/>
                    <a:gd name="T44" fmla="*/ 17 w 27"/>
                    <a:gd name="T45" fmla="*/ 0 h 47"/>
                    <a:gd name="T46" fmla="*/ 9 w 27"/>
                    <a:gd name="T47" fmla="*/ 0 h 47"/>
                    <a:gd name="T48" fmla="*/ 4 w 27"/>
                    <a:gd name="T49" fmla="*/ 5 h 47"/>
                    <a:gd name="T50" fmla="*/ 0 w 27"/>
                    <a:gd name="T51" fmla="*/ 18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0"/>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0"/>
                        <a:pt x="24" y="21"/>
                        <a:pt x="25" y="21"/>
                      </a:cubicBezTo>
                      <a:cubicBezTo>
                        <a:pt x="26" y="20"/>
                        <a:pt x="27" y="19"/>
                        <a:pt x="26" y="18"/>
                      </a:cubicBezTo>
                      <a:cubicBezTo>
                        <a:pt x="26" y="18"/>
                        <a:pt x="24" y="10"/>
                        <a:pt x="22" y="5"/>
                      </a:cubicBezTo>
                      <a:cubicBezTo>
                        <a:pt x="22" y="2"/>
                        <a:pt x="19" y="0"/>
                        <a:pt x="17" y="0"/>
                      </a:cubicBezTo>
                      <a:cubicBezTo>
                        <a:pt x="16" y="0"/>
                        <a:pt x="10" y="0"/>
                        <a:pt x="9" y="0"/>
                      </a:cubicBezTo>
                      <a:cubicBezTo>
                        <a:pt x="7" y="0"/>
                        <a:pt x="5" y="2"/>
                        <a:pt x="4" y="5"/>
                      </a:cubicBezTo>
                      <a:cubicBezTo>
                        <a:pt x="2" y="10"/>
                        <a:pt x="0" y="18"/>
                        <a:pt x="0" y="18"/>
                      </a:cubicBezTo>
                      <a:cubicBezTo>
                        <a:pt x="0" y="19"/>
                        <a:pt x="0" y="20"/>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58" name="Oval 1374"/>
                <p:cNvSpPr>
                  <a:spLocks noChangeArrowheads="1"/>
                </p:cNvSpPr>
                <p:nvPr/>
              </p:nvSpPr>
              <p:spPr bwMode="auto">
                <a:xfrm>
                  <a:off x="12709"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59" name="Freeform 1375"/>
                <p:cNvSpPr>
                  <a:spLocks/>
                </p:cNvSpPr>
                <p:nvPr/>
              </p:nvSpPr>
              <p:spPr bwMode="auto">
                <a:xfrm>
                  <a:off x="12884" y="853"/>
                  <a:ext cx="64" cy="112"/>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1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1"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60" name="Freeform 1376"/>
                <p:cNvSpPr>
                  <a:spLocks/>
                </p:cNvSpPr>
                <p:nvPr/>
              </p:nvSpPr>
              <p:spPr bwMode="auto">
                <a:xfrm>
                  <a:off x="12889" y="1000"/>
                  <a:ext cx="54" cy="111"/>
                </a:xfrm>
                <a:custGeom>
                  <a:avLst/>
                  <a:gdLst>
                    <a:gd name="T0" fmla="*/ 0 w 23"/>
                    <a:gd name="T1" fmla="*/ 6 h 47"/>
                    <a:gd name="T2" fmla="*/ 0 w 23"/>
                    <a:gd name="T3" fmla="*/ 21 h 47"/>
                    <a:gd name="T4" fmla="*/ 3 w 23"/>
                    <a:gd name="T5" fmla="*/ 23 h 47"/>
                    <a:gd name="T6" fmla="*/ 5 w 23"/>
                    <a:gd name="T7" fmla="*/ 21 h 47"/>
                    <a:gd name="T8" fmla="*/ 5 w 23"/>
                    <a:gd name="T9" fmla="*/ 8 h 47"/>
                    <a:gd name="T10" fmla="*/ 6 w 23"/>
                    <a:gd name="T11" fmla="*/ 8 h 47"/>
                    <a:gd name="T12" fmla="*/ 6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8 h 47"/>
                    <a:gd name="T30" fmla="*/ 19 w 23"/>
                    <a:gd name="T31" fmla="*/ 8 h 47"/>
                    <a:gd name="T32" fmla="*/ 19 w 23"/>
                    <a:gd name="T33" fmla="*/ 21 h 47"/>
                    <a:gd name="T34" fmla="*/ 21 w 23"/>
                    <a:gd name="T35" fmla="*/ 23 h 47"/>
                    <a:gd name="T36" fmla="*/ 23 w 23"/>
                    <a:gd name="T37" fmla="*/ 21 h 47"/>
                    <a:gd name="T38" fmla="*/ 23 w 23"/>
                    <a:gd name="T39" fmla="*/ 6 h 47"/>
                    <a:gd name="T40" fmla="*/ 17 w 23"/>
                    <a:gd name="T41" fmla="*/ 0 h 47"/>
                    <a:gd name="T42" fmla="*/ 7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20"/>
                        <a:pt x="0" y="21"/>
                      </a:cubicBezTo>
                      <a:cubicBezTo>
                        <a:pt x="0" y="22"/>
                        <a:pt x="1" y="23"/>
                        <a:pt x="3" y="23"/>
                      </a:cubicBezTo>
                      <a:cubicBezTo>
                        <a:pt x="4" y="23"/>
                        <a:pt x="5" y="22"/>
                        <a:pt x="5" y="21"/>
                      </a:cubicBezTo>
                      <a:cubicBezTo>
                        <a:pt x="5" y="19"/>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19"/>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7"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61" name="Oval 1377"/>
                <p:cNvSpPr>
                  <a:spLocks noChangeArrowheads="1"/>
                </p:cNvSpPr>
                <p:nvPr/>
              </p:nvSpPr>
              <p:spPr bwMode="auto">
                <a:xfrm>
                  <a:off x="12905" y="681"/>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62" name="Oval 1378"/>
                <p:cNvSpPr>
                  <a:spLocks noChangeArrowheads="1"/>
                </p:cNvSpPr>
                <p:nvPr/>
              </p:nvSpPr>
              <p:spPr bwMode="auto">
                <a:xfrm>
                  <a:off x="12839" y="83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63" name="Freeform 1379"/>
                <p:cNvSpPr>
                  <a:spLocks/>
                </p:cNvSpPr>
                <p:nvPr/>
              </p:nvSpPr>
              <p:spPr bwMode="auto">
                <a:xfrm>
                  <a:off x="12889" y="707"/>
                  <a:ext cx="54" cy="111"/>
                </a:xfrm>
                <a:custGeom>
                  <a:avLst/>
                  <a:gdLst>
                    <a:gd name="T0" fmla="*/ 3 w 23"/>
                    <a:gd name="T1" fmla="*/ 23 h 47"/>
                    <a:gd name="T2" fmla="*/ 5 w 23"/>
                    <a:gd name="T3" fmla="*/ 20 h 47"/>
                    <a:gd name="T4" fmla="*/ 5 w 23"/>
                    <a:gd name="T5" fmla="*/ 7 h 47"/>
                    <a:gd name="T6" fmla="*/ 6 w 23"/>
                    <a:gd name="T7" fmla="*/ 7 h 47"/>
                    <a:gd name="T8" fmla="*/ 6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7 h 47"/>
                    <a:gd name="T26" fmla="*/ 19 w 23"/>
                    <a:gd name="T27" fmla="*/ 7 h 47"/>
                    <a:gd name="T28" fmla="*/ 19 w 23"/>
                    <a:gd name="T29" fmla="*/ 20 h 47"/>
                    <a:gd name="T30" fmla="*/ 21 w 23"/>
                    <a:gd name="T31" fmla="*/ 23 h 47"/>
                    <a:gd name="T32" fmla="*/ 23 w 23"/>
                    <a:gd name="T33" fmla="*/ 20 h 47"/>
                    <a:gd name="T34" fmla="*/ 23 w 23"/>
                    <a:gd name="T35" fmla="*/ 6 h 47"/>
                    <a:gd name="T36" fmla="*/ 17 w 23"/>
                    <a:gd name="T37" fmla="*/ 0 h 47"/>
                    <a:gd name="T38" fmla="*/ 7 w 23"/>
                    <a:gd name="T39" fmla="*/ 0 h 47"/>
                    <a:gd name="T40" fmla="*/ 0 w 23"/>
                    <a:gd name="T41" fmla="*/ 6 h 47"/>
                    <a:gd name="T42" fmla="*/ 0 w 23"/>
                    <a:gd name="T43" fmla="*/ 20 h 47"/>
                    <a:gd name="T44" fmla="*/ 3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3" y="23"/>
                      </a:moveTo>
                      <a:cubicBezTo>
                        <a:pt x="4" y="23"/>
                        <a:pt x="5" y="22"/>
                        <a:pt x="5" y="20"/>
                      </a:cubicBezTo>
                      <a:cubicBezTo>
                        <a:pt x="5" y="19"/>
                        <a:pt x="5" y="7"/>
                        <a:pt x="5" y="7"/>
                      </a:cubicBezTo>
                      <a:cubicBezTo>
                        <a:pt x="5" y="7"/>
                        <a:pt x="5" y="7"/>
                        <a:pt x="6" y="7"/>
                      </a:cubicBezTo>
                      <a:cubicBezTo>
                        <a:pt x="6" y="7"/>
                        <a:pt x="6" y="41"/>
                        <a:pt x="6" y="44"/>
                      </a:cubicBezTo>
                      <a:cubicBezTo>
                        <a:pt x="6" y="45"/>
                        <a:pt x="7" y="47"/>
                        <a:pt x="8" y="47"/>
                      </a:cubicBezTo>
                      <a:cubicBezTo>
                        <a:pt x="10" y="47"/>
                        <a:pt x="11" y="45"/>
                        <a:pt x="11" y="44"/>
                      </a:cubicBezTo>
                      <a:cubicBezTo>
                        <a:pt x="11" y="41"/>
                        <a:pt x="11" y="23"/>
                        <a:pt x="11" y="23"/>
                      </a:cubicBezTo>
                      <a:cubicBezTo>
                        <a:pt x="11" y="23"/>
                        <a:pt x="11" y="23"/>
                        <a:pt x="12" y="23"/>
                      </a:cubicBezTo>
                      <a:cubicBezTo>
                        <a:pt x="12" y="23"/>
                        <a:pt x="12" y="41"/>
                        <a:pt x="12" y="44"/>
                      </a:cubicBezTo>
                      <a:cubicBezTo>
                        <a:pt x="12" y="45"/>
                        <a:pt x="14" y="47"/>
                        <a:pt x="15" y="47"/>
                      </a:cubicBezTo>
                      <a:cubicBezTo>
                        <a:pt x="17" y="47"/>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7"/>
                        <a:pt x="23" y="6"/>
                      </a:cubicBezTo>
                      <a:cubicBezTo>
                        <a:pt x="23" y="3"/>
                        <a:pt x="20" y="0"/>
                        <a:pt x="17" y="0"/>
                      </a:cubicBezTo>
                      <a:cubicBezTo>
                        <a:pt x="15" y="0"/>
                        <a:pt x="8" y="0"/>
                        <a:pt x="7" y="0"/>
                      </a:cubicBezTo>
                      <a:cubicBezTo>
                        <a:pt x="3" y="0"/>
                        <a:pt x="0" y="3"/>
                        <a:pt x="0" y="6"/>
                      </a:cubicBezTo>
                      <a:cubicBezTo>
                        <a:pt x="0" y="7"/>
                        <a:pt x="0" y="19"/>
                        <a:pt x="0" y="20"/>
                      </a:cubicBezTo>
                      <a:cubicBezTo>
                        <a:pt x="0" y="22"/>
                        <a:pt x="1" y="23"/>
                        <a:pt x="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64" name="Oval 1380"/>
                <p:cNvSpPr>
                  <a:spLocks noChangeArrowheads="1"/>
                </p:cNvSpPr>
                <p:nvPr/>
              </p:nvSpPr>
              <p:spPr bwMode="auto">
                <a:xfrm>
                  <a:off x="12905" y="830"/>
                  <a:ext cx="24"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65" name="Oval 1381"/>
                <p:cNvSpPr>
                  <a:spLocks noChangeArrowheads="1"/>
                </p:cNvSpPr>
                <p:nvPr/>
              </p:nvSpPr>
              <p:spPr bwMode="auto">
                <a:xfrm>
                  <a:off x="12905"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66" name="Oval 1382"/>
                <p:cNvSpPr>
                  <a:spLocks noChangeArrowheads="1"/>
                </p:cNvSpPr>
                <p:nvPr/>
              </p:nvSpPr>
              <p:spPr bwMode="auto">
                <a:xfrm>
                  <a:off x="12839" y="974"/>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67" name="Freeform 1383"/>
                <p:cNvSpPr>
                  <a:spLocks/>
                </p:cNvSpPr>
                <p:nvPr/>
              </p:nvSpPr>
              <p:spPr bwMode="auto">
                <a:xfrm>
                  <a:off x="12825" y="853"/>
                  <a:ext cx="52" cy="112"/>
                </a:xfrm>
                <a:custGeom>
                  <a:avLst/>
                  <a:gdLst>
                    <a:gd name="T0" fmla="*/ 20 w 22"/>
                    <a:gd name="T1" fmla="*/ 23 h 47"/>
                    <a:gd name="T2" fmla="*/ 22 w 22"/>
                    <a:gd name="T3" fmla="*/ 21 h 47"/>
                    <a:gd name="T4" fmla="*/ 22 w 22"/>
                    <a:gd name="T5" fmla="*/ 6 h 47"/>
                    <a:gd name="T6" fmla="*/ 16 w 22"/>
                    <a:gd name="T7" fmla="*/ 0 h 47"/>
                    <a:gd name="T8" fmla="*/ 6 w 22"/>
                    <a:gd name="T9" fmla="*/ 0 h 47"/>
                    <a:gd name="T10" fmla="*/ 0 w 22"/>
                    <a:gd name="T11" fmla="*/ 6 h 47"/>
                    <a:gd name="T12" fmla="*/ 0 w 22"/>
                    <a:gd name="T13" fmla="*/ 21 h 47"/>
                    <a:gd name="T14" fmla="*/ 2 w 22"/>
                    <a:gd name="T15" fmla="*/ 23 h 47"/>
                    <a:gd name="T16" fmla="*/ 4 w 22"/>
                    <a:gd name="T17" fmla="*/ 21 h 47"/>
                    <a:gd name="T18" fmla="*/ 4 w 22"/>
                    <a:gd name="T19" fmla="*/ 8 h 47"/>
                    <a:gd name="T20" fmla="*/ 5 w 22"/>
                    <a:gd name="T21" fmla="*/ 8 h 47"/>
                    <a:gd name="T22" fmla="*/ 5 w 22"/>
                    <a:gd name="T23" fmla="*/ 44 h 47"/>
                    <a:gd name="T24" fmla="*/ 8 w 22"/>
                    <a:gd name="T25" fmla="*/ 47 h 47"/>
                    <a:gd name="T26" fmla="*/ 11 w 22"/>
                    <a:gd name="T27" fmla="*/ 44 h 47"/>
                    <a:gd name="T28" fmla="*/ 11 w 22"/>
                    <a:gd name="T29" fmla="*/ 23 h 47"/>
                    <a:gd name="T30" fmla="*/ 12 w 22"/>
                    <a:gd name="T31" fmla="*/ 23 h 47"/>
                    <a:gd name="T32" fmla="*/ 12 w 22"/>
                    <a:gd name="T33" fmla="*/ 44 h 47"/>
                    <a:gd name="T34" fmla="*/ 14 w 22"/>
                    <a:gd name="T35" fmla="*/ 47 h 47"/>
                    <a:gd name="T36" fmla="*/ 17 w 22"/>
                    <a:gd name="T37" fmla="*/ 44 h 47"/>
                    <a:gd name="T38" fmla="*/ 17 w 22"/>
                    <a:gd name="T39" fmla="*/ 8 h 47"/>
                    <a:gd name="T40" fmla="*/ 18 w 22"/>
                    <a:gd name="T41" fmla="*/ 8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20"/>
                        <a:pt x="22" y="8"/>
                        <a:pt x="22" y="6"/>
                      </a:cubicBezTo>
                      <a:cubicBezTo>
                        <a:pt x="22" y="3"/>
                        <a:pt x="20" y="0"/>
                        <a:pt x="16" y="0"/>
                      </a:cubicBez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68" name="Oval 1384"/>
                <p:cNvSpPr>
                  <a:spLocks noChangeArrowheads="1"/>
                </p:cNvSpPr>
                <p:nvPr/>
              </p:nvSpPr>
              <p:spPr bwMode="auto">
                <a:xfrm>
                  <a:off x="12839" y="681"/>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69" name="Freeform 1385"/>
                <p:cNvSpPr>
                  <a:spLocks/>
                </p:cNvSpPr>
                <p:nvPr/>
              </p:nvSpPr>
              <p:spPr bwMode="auto">
                <a:xfrm>
                  <a:off x="12820" y="707"/>
                  <a:ext cx="64" cy="111"/>
                </a:xfrm>
                <a:custGeom>
                  <a:avLst/>
                  <a:gdLst>
                    <a:gd name="T0" fmla="*/ 1 w 27"/>
                    <a:gd name="T1" fmla="*/ 20 h 47"/>
                    <a:gd name="T2" fmla="*/ 3 w 27"/>
                    <a:gd name="T3" fmla="*/ 19 h 47"/>
                    <a:gd name="T4" fmla="*/ 7 w 27"/>
                    <a:gd name="T5" fmla="*/ 6 h 47"/>
                    <a:gd name="T6" fmla="*/ 8 w 27"/>
                    <a:gd name="T7" fmla="*/ 6 h 47"/>
                    <a:gd name="T8" fmla="*/ 2 w 27"/>
                    <a:gd name="T9" fmla="*/ 28 h 47"/>
                    <a:gd name="T10" fmla="*/ 8 w 27"/>
                    <a:gd name="T11" fmla="*/ 28 h 47"/>
                    <a:gd name="T12" fmla="*/ 8 w 27"/>
                    <a:gd name="T13" fmla="*/ 44 h 47"/>
                    <a:gd name="T14" fmla="*/ 10 w 27"/>
                    <a:gd name="T15" fmla="*/ 47 h 47"/>
                    <a:gd name="T16" fmla="*/ 13 w 27"/>
                    <a:gd name="T17" fmla="*/ 44 h 47"/>
                    <a:gd name="T18" fmla="*/ 13 w 27"/>
                    <a:gd name="T19" fmla="*/ 28 h 47"/>
                    <a:gd name="T20" fmla="*/ 14 w 27"/>
                    <a:gd name="T21" fmla="*/ 28 h 47"/>
                    <a:gd name="T22" fmla="*/ 14 w 27"/>
                    <a:gd name="T23" fmla="*/ 44 h 47"/>
                    <a:gd name="T24" fmla="*/ 16 w 27"/>
                    <a:gd name="T25" fmla="*/ 47 h 47"/>
                    <a:gd name="T26" fmla="*/ 18 w 27"/>
                    <a:gd name="T27" fmla="*/ 44 h 47"/>
                    <a:gd name="T28" fmla="*/ 18 w 27"/>
                    <a:gd name="T29" fmla="*/ 28 h 47"/>
                    <a:gd name="T30" fmla="*/ 24 w 27"/>
                    <a:gd name="T31" fmla="*/ 28 h 47"/>
                    <a:gd name="T32" fmla="*/ 18 w 27"/>
                    <a:gd name="T33" fmla="*/ 6 h 47"/>
                    <a:gd name="T34" fmla="*/ 19 w 27"/>
                    <a:gd name="T35" fmla="*/ 6 h 47"/>
                    <a:gd name="T36" fmla="*/ 23 w 27"/>
                    <a:gd name="T37" fmla="*/ 19 h 47"/>
                    <a:gd name="T38" fmla="*/ 25 w 27"/>
                    <a:gd name="T39" fmla="*/ 20 h 47"/>
                    <a:gd name="T40" fmla="*/ 26 w 27"/>
                    <a:gd name="T41" fmla="*/ 18 h 47"/>
                    <a:gd name="T42" fmla="*/ 22 w 27"/>
                    <a:gd name="T43" fmla="*/ 4 h 47"/>
                    <a:gd name="T44" fmla="*/ 17 w 27"/>
                    <a:gd name="T45" fmla="*/ 0 h 47"/>
                    <a:gd name="T46" fmla="*/ 9 w 27"/>
                    <a:gd name="T47" fmla="*/ 0 h 47"/>
                    <a:gd name="T48" fmla="*/ 4 w 27"/>
                    <a:gd name="T49" fmla="*/ 4 h 47"/>
                    <a:gd name="T50" fmla="*/ 0 w 27"/>
                    <a:gd name="T51" fmla="*/ 18 h 47"/>
                    <a:gd name="T52" fmla="*/ 1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0"/>
                      </a:move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6"/>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6"/>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70" name="Oval 1386"/>
                <p:cNvSpPr>
                  <a:spLocks noChangeArrowheads="1"/>
                </p:cNvSpPr>
                <p:nvPr/>
              </p:nvSpPr>
              <p:spPr bwMode="auto">
                <a:xfrm>
                  <a:off x="12775" y="830"/>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71" name="Oval 1387"/>
                <p:cNvSpPr>
                  <a:spLocks noChangeArrowheads="1"/>
                </p:cNvSpPr>
                <p:nvPr/>
              </p:nvSpPr>
              <p:spPr bwMode="auto">
                <a:xfrm>
                  <a:off x="12581" y="974"/>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72" name="Freeform 1388"/>
                <p:cNvSpPr>
                  <a:spLocks/>
                </p:cNvSpPr>
                <p:nvPr/>
              </p:nvSpPr>
              <p:spPr bwMode="auto">
                <a:xfrm>
                  <a:off x="12564" y="1000"/>
                  <a:ext cx="59" cy="111"/>
                </a:xfrm>
                <a:custGeom>
                  <a:avLst/>
                  <a:gdLst>
                    <a:gd name="T0" fmla="*/ 7 w 25"/>
                    <a:gd name="T1" fmla="*/ 7 h 47"/>
                    <a:gd name="T2" fmla="*/ 0 w 25"/>
                    <a:gd name="T3" fmla="*/ 28 h 47"/>
                    <a:gd name="T4" fmla="*/ 6 w 25"/>
                    <a:gd name="T5" fmla="*/ 28 h 47"/>
                    <a:gd name="T6" fmla="*/ 6 w 25"/>
                    <a:gd name="T7" fmla="*/ 45 h 47"/>
                    <a:gd name="T8" fmla="*/ 9 w 25"/>
                    <a:gd name="T9" fmla="*/ 47 h 47"/>
                    <a:gd name="T10" fmla="*/ 11 w 25"/>
                    <a:gd name="T11" fmla="*/ 45 h 47"/>
                    <a:gd name="T12" fmla="*/ 11 w 25"/>
                    <a:gd name="T13" fmla="*/ 28 h 47"/>
                    <a:gd name="T14" fmla="*/ 12 w 25"/>
                    <a:gd name="T15" fmla="*/ 28 h 47"/>
                    <a:gd name="T16" fmla="*/ 12 w 25"/>
                    <a:gd name="T17" fmla="*/ 45 h 47"/>
                    <a:gd name="T18" fmla="*/ 14 w 25"/>
                    <a:gd name="T19" fmla="*/ 47 h 47"/>
                    <a:gd name="T20" fmla="*/ 17 w 25"/>
                    <a:gd name="T21" fmla="*/ 45 h 47"/>
                    <a:gd name="T22" fmla="*/ 17 w 25"/>
                    <a:gd name="T23" fmla="*/ 28 h 47"/>
                    <a:gd name="T24" fmla="*/ 23 w 25"/>
                    <a:gd name="T25" fmla="*/ 28 h 47"/>
                    <a:gd name="T26" fmla="*/ 16 w 25"/>
                    <a:gd name="T27" fmla="*/ 7 h 47"/>
                    <a:gd name="T28" fmla="*/ 17 w 25"/>
                    <a:gd name="T29" fmla="*/ 7 h 47"/>
                    <a:gd name="T30" fmla="*/ 21 w 25"/>
                    <a:gd name="T31" fmla="*/ 20 h 47"/>
                    <a:gd name="T32" fmla="*/ 23 w 25"/>
                    <a:gd name="T33" fmla="*/ 21 h 47"/>
                    <a:gd name="T34" fmla="*/ 25 w 25"/>
                    <a:gd name="T35" fmla="*/ 18 h 47"/>
                    <a:gd name="T36" fmla="*/ 21 w 25"/>
                    <a:gd name="T37" fmla="*/ 5 h 47"/>
                    <a:gd name="T38" fmla="*/ 15 w 25"/>
                    <a:gd name="T39" fmla="*/ 0 h 47"/>
                    <a:gd name="T40" fmla="*/ 8 w 25"/>
                    <a:gd name="T41" fmla="*/ 0 h 47"/>
                    <a:gd name="T42" fmla="*/ 6 w 25"/>
                    <a:gd name="T43" fmla="*/ 1 h 47"/>
                    <a:gd name="T44" fmla="*/ 5 w 25"/>
                    <a:gd name="T45" fmla="*/ 8 h 47"/>
                    <a:gd name="T46" fmla="*/ 6 w 25"/>
                    <a:gd name="T47" fmla="*/ 7 h 47"/>
                    <a:gd name="T48" fmla="*/ 7 w 25"/>
                    <a:gd name="T49" fmla="*/ 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47">
                      <a:moveTo>
                        <a:pt x="7" y="7"/>
                      </a:moveTo>
                      <a:cubicBezTo>
                        <a:pt x="0" y="28"/>
                        <a:pt x="0" y="28"/>
                        <a:pt x="0" y="28"/>
                      </a:cubicBezTo>
                      <a:cubicBezTo>
                        <a:pt x="6" y="28"/>
                        <a:pt x="6" y="28"/>
                        <a:pt x="6" y="28"/>
                      </a:cubicBezTo>
                      <a:cubicBezTo>
                        <a:pt x="6" y="36"/>
                        <a:pt x="6" y="44"/>
                        <a:pt x="6" y="45"/>
                      </a:cubicBezTo>
                      <a:cubicBezTo>
                        <a:pt x="6" y="46"/>
                        <a:pt x="7" y="47"/>
                        <a:pt x="9" y="47"/>
                      </a:cubicBezTo>
                      <a:cubicBezTo>
                        <a:pt x="10" y="47"/>
                        <a:pt x="11" y="46"/>
                        <a:pt x="11" y="45"/>
                      </a:cubicBezTo>
                      <a:cubicBezTo>
                        <a:pt x="11" y="43"/>
                        <a:pt x="11" y="28"/>
                        <a:pt x="11" y="28"/>
                      </a:cubicBezTo>
                      <a:cubicBezTo>
                        <a:pt x="12" y="28"/>
                        <a:pt x="12" y="28"/>
                        <a:pt x="12" y="28"/>
                      </a:cubicBezTo>
                      <a:cubicBezTo>
                        <a:pt x="12" y="28"/>
                        <a:pt x="12" y="43"/>
                        <a:pt x="12" y="45"/>
                      </a:cubicBezTo>
                      <a:cubicBezTo>
                        <a:pt x="12" y="46"/>
                        <a:pt x="13" y="47"/>
                        <a:pt x="14" y="47"/>
                      </a:cubicBezTo>
                      <a:cubicBezTo>
                        <a:pt x="16" y="47"/>
                        <a:pt x="17" y="46"/>
                        <a:pt x="17" y="45"/>
                      </a:cubicBezTo>
                      <a:cubicBezTo>
                        <a:pt x="17" y="44"/>
                        <a:pt x="17" y="36"/>
                        <a:pt x="17" y="28"/>
                      </a:cubicBezTo>
                      <a:cubicBezTo>
                        <a:pt x="23" y="28"/>
                        <a:pt x="23" y="28"/>
                        <a:pt x="23" y="28"/>
                      </a:cubicBezTo>
                      <a:cubicBezTo>
                        <a:pt x="16" y="7"/>
                        <a:pt x="16" y="7"/>
                        <a:pt x="16" y="7"/>
                      </a:cubicBezTo>
                      <a:cubicBezTo>
                        <a:pt x="17" y="7"/>
                        <a:pt x="17" y="7"/>
                        <a:pt x="17" y="7"/>
                      </a:cubicBezTo>
                      <a:cubicBezTo>
                        <a:pt x="17" y="7"/>
                        <a:pt x="21" y="18"/>
                        <a:pt x="21" y="20"/>
                      </a:cubicBezTo>
                      <a:cubicBezTo>
                        <a:pt x="21" y="20"/>
                        <a:pt x="22" y="21"/>
                        <a:pt x="23" y="21"/>
                      </a:cubicBezTo>
                      <a:cubicBezTo>
                        <a:pt x="25" y="20"/>
                        <a:pt x="25" y="19"/>
                        <a:pt x="25" y="18"/>
                      </a:cubicBezTo>
                      <a:cubicBezTo>
                        <a:pt x="24" y="18"/>
                        <a:pt x="22" y="10"/>
                        <a:pt x="21" y="5"/>
                      </a:cubicBezTo>
                      <a:cubicBezTo>
                        <a:pt x="20" y="2"/>
                        <a:pt x="18" y="0"/>
                        <a:pt x="15" y="0"/>
                      </a:cubicBezTo>
                      <a:cubicBezTo>
                        <a:pt x="14" y="0"/>
                        <a:pt x="9" y="0"/>
                        <a:pt x="8" y="0"/>
                      </a:cubicBezTo>
                      <a:cubicBezTo>
                        <a:pt x="7" y="0"/>
                        <a:pt x="6" y="0"/>
                        <a:pt x="6" y="1"/>
                      </a:cubicBezTo>
                      <a:cubicBezTo>
                        <a:pt x="6" y="3"/>
                        <a:pt x="5" y="6"/>
                        <a:pt x="5" y="8"/>
                      </a:cubicBezTo>
                      <a:cubicBezTo>
                        <a:pt x="5" y="7"/>
                        <a:pt x="6" y="7"/>
                        <a:pt x="6" y="7"/>
                      </a:cubicBezTo>
                      <a:cubicBezTo>
                        <a:pt x="7" y="7"/>
                        <a:pt x="7" y="7"/>
                        <a:pt x="7"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73" name="Freeform 1389"/>
                <p:cNvSpPr>
                  <a:spLocks/>
                </p:cNvSpPr>
                <p:nvPr/>
              </p:nvSpPr>
              <p:spPr bwMode="auto">
                <a:xfrm>
                  <a:off x="12526" y="1097"/>
                  <a:ext cx="15" cy="14"/>
                </a:xfrm>
                <a:custGeom>
                  <a:avLst/>
                  <a:gdLst>
                    <a:gd name="T0" fmla="*/ 3 w 6"/>
                    <a:gd name="T1" fmla="*/ 6 h 6"/>
                    <a:gd name="T2" fmla="*/ 6 w 6"/>
                    <a:gd name="T3" fmla="*/ 3 h 6"/>
                    <a:gd name="T4" fmla="*/ 6 w 6"/>
                    <a:gd name="T5" fmla="*/ 0 h 6"/>
                    <a:gd name="T6" fmla="*/ 2 w 6"/>
                    <a:gd name="T7" fmla="*/ 2 h 6"/>
                    <a:gd name="T8" fmla="*/ 0 w 6"/>
                    <a:gd name="T9" fmla="*/ 4 h 6"/>
                    <a:gd name="T10" fmla="*/ 3 w 6"/>
                    <a:gd name="T11" fmla="*/ 6 h 6"/>
                  </a:gdLst>
                  <a:ahLst/>
                  <a:cxnLst>
                    <a:cxn ang="0">
                      <a:pos x="T0" y="T1"/>
                    </a:cxn>
                    <a:cxn ang="0">
                      <a:pos x="T2" y="T3"/>
                    </a:cxn>
                    <a:cxn ang="0">
                      <a:pos x="T4" y="T5"/>
                    </a:cxn>
                    <a:cxn ang="0">
                      <a:pos x="T6" y="T7"/>
                    </a:cxn>
                    <a:cxn ang="0">
                      <a:pos x="T8" y="T9"/>
                    </a:cxn>
                    <a:cxn ang="0">
                      <a:pos x="T10" y="T11"/>
                    </a:cxn>
                  </a:cxnLst>
                  <a:rect l="0" t="0" r="r" b="b"/>
                  <a:pathLst>
                    <a:path w="6" h="6">
                      <a:moveTo>
                        <a:pt x="3" y="6"/>
                      </a:moveTo>
                      <a:cubicBezTo>
                        <a:pt x="5" y="6"/>
                        <a:pt x="6" y="5"/>
                        <a:pt x="6" y="3"/>
                      </a:cubicBezTo>
                      <a:cubicBezTo>
                        <a:pt x="6" y="3"/>
                        <a:pt x="6" y="1"/>
                        <a:pt x="6" y="0"/>
                      </a:cubicBezTo>
                      <a:cubicBezTo>
                        <a:pt x="5" y="1"/>
                        <a:pt x="4" y="2"/>
                        <a:pt x="2" y="2"/>
                      </a:cubicBezTo>
                      <a:cubicBezTo>
                        <a:pt x="2" y="3"/>
                        <a:pt x="1" y="3"/>
                        <a:pt x="0" y="4"/>
                      </a:cubicBezTo>
                      <a:cubicBezTo>
                        <a:pt x="1" y="5"/>
                        <a:pt x="2"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74" name="Freeform 1390"/>
                <p:cNvSpPr>
                  <a:spLocks/>
                </p:cNvSpPr>
                <p:nvPr/>
              </p:nvSpPr>
              <p:spPr bwMode="auto">
                <a:xfrm>
                  <a:off x="12576" y="863"/>
                  <a:ext cx="43" cy="102"/>
                </a:xfrm>
                <a:custGeom>
                  <a:avLst/>
                  <a:gdLst>
                    <a:gd name="T0" fmla="*/ 3 w 18"/>
                    <a:gd name="T1" fmla="*/ 43 h 43"/>
                    <a:gd name="T2" fmla="*/ 6 w 18"/>
                    <a:gd name="T3" fmla="*/ 40 h 43"/>
                    <a:gd name="T4" fmla="*/ 6 w 18"/>
                    <a:gd name="T5" fmla="*/ 19 h 43"/>
                    <a:gd name="T6" fmla="*/ 7 w 18"/>
                    <a:gd name="T7" fmla="*/ 19 h 43"/>
                    <a:gd name="T8" fmla="*/ 7 w 18"/>
                    <a:gd name="T9" fmla="*/ 40 h 43"/>
                    <a:gd name="T10" fmla="*/ 10 w 18"/>
                    <a:gd name="T11" fmla="*/ 43 h 43"/>
                    <a:gd name="T12" fmla="*/ 13 w 18"/>
                    <a:gd name="T13" fmla="*/ 40 h 43"/>
                    <a:gd name="T14" fmla="*/ 13 w 18"/>
                    <a:gd name="T15" fmla="*/ 4 h 43"/>
                    <a:gd name="T16" fmla="*/ 14 w 18"/>
                    <a:gd name="T17" fmla="*/ 4 h 43"/>
                    <a:gd name="T18" fmla="*/ 14 w 18"/>
                    <a:gd name="T19" fmla="*/ 17 h 43"/>
                    <a:gd name="T20" fmla="*/ 16 w 18"/>
                    <a:gd name="T21" fmla="*/ 19 h 43"/>
                    <a:gd name="T22" fmla="*/ 18 w 18"/>
                    <a:gd name="T23" fmla="*/ 17 h 43"/>
                    <a:gd name="T24" fmla="*/ 18 w 18"/>
                    <a:gd name="T25" fmla="*/ 2 h 43"/>
                    <a:gd name="T26" fmla="*/ 17 w 18"/>
                    <a:gd name="T27" fmla="*/ 0 h 43"/>
                    <a:gd name="T28" fmla="*/ 0 w 18"/>
                    <a:gd name="T29" fmla="*/ 6 h 43"/>
                    <a:gd name="T30" fmla="*/ 0 w 18"/>
                    <a:gd name="T31" fmla="*/ 35 h 43"/>
                    <a:gd name="T32" fmla="*/ 1 w 18"/>
                    <a:gd name="T33" fmla="*/ 41 h 43"/>
                    <a:gd name="T34" fmla="*/ 3 w 18"/>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3">
                      <a:moveTo>
                        <a:pt x="3" y="43"/>
                      </a:moveTo>
                      <a:cubicBezTo>
                        <a:pt x="5" y="43"/>
                        <a:pt x="6" y="42"/>
                        <a:pt x="6" y="40"/>
                      </a:cubicBezTo>
                      <a:cubicBezTo>
                        <a:pt x="6" y="38"/>
                        <a:pt x="6" y="19"/>
                        <a:pt x="6" y="19"/>
                      </a:cubicBezTo>
                      <a:cubicBezTo>
                        <a:pt x="6" y="19"/>
                        <a:pt x="6" y="19"/>
                        <a:pt x="7" y="19"/>
                      </a:cubicBezTo>
                      <a:cubicBezTo>
                        <a:pt x="7" y="19"/>
                        <a:pt x="7" y="38"/>
                        <a:pt x="7" y="40"/>
                      </a:cubicBezTo>
                      <a:cubicBezTo>
                        <a:pt x="7" y="42"/>
                        <a:pt x="8" y="43"/>
                        <a:pt x="10" y="43"/>
                      </a:cubicBezTo>
                      <a:cubicBezTo>
                        <a:pt x="11" y="43"/>
                        <a:pt x="13" y="42"/>
                        <a:pt x="13" y="40"/>
                      </a:cubicBezTo>
                      <a:cubicBezTo>
                        <a:pt x="13" y="38"/>
                        <a:pt x="13" y="4"/>
                        <a:pt x="13" y="4"/>
                      </a:cubicBezTo>
                      <a:cubicBezTo>
                        <a:pt x="13" y="4"/>
                        <a:pt x="13" y="4"/>
                        <a:pt x="14" y="4"/>
                      </a:cubicBezTo>
                      <a:cubicBezTo>
                        <a:pt x="14" y="4"/>
                        <a:pt x="14" y="16"/>
                        <a:pt x="14" y="17"/>
                      </a:cubicBezTo>
                      <a:cubicBezTo>
                        <a:pt x="14" y="18"/>
                        <a:pt x="15" y="19"/>
                        <a:pt x="16" y="19"/>
                      </a:cubicBezTo>
                      <a:cubicBezTo>
                        <a:pt x="17" y="19"/>
                        <a:pt x="18" y="18"/>
                        <a:pt x="18" y="17"/>
                      </a:cubicBezTo>
                      <a:cubicBezTo>
                        <a:pt x="18" y="16"/>
                        <a:pt x="18" y="4"/>
                        <a:pt x="18" y="2"/>
                      </a:cubicBezTo>
                      <a:cubicBezTo>
                        <a:pt x="18" y="2"/>
                        <a:pt x="18" y="1"/>
                        <a:pt x="17" y="0"/>
                      </a:cubicBezTo>
                      <a:cubicBezTo>
                        <a:pt x="12" y="1"/>
                        <a:pt x="6" y="3"/>
                        <a:pt x="0" y="6"/>
                      </a:cubicBezTo>
                      <a:cubicBezTo>
                        <a:pt x="0" y="11"/>
                        <a:pt x="0" y="26"/>
                        <a:pt x="0" y="35"/>
                      </a:cubicBezTo>
                      <a:cubicBezTo>
                        <a:pt x="0" y="37"/>
                        <a:pt x="1" y="39"/>
                        <a:pt x="1" y="41"/>
                      </a:cubicBezTo>
                      <a:cubicBezTo>
                        <a:pt x="1" y="42"/>
                        <a:pt x="2" y="43"/>
                        <a:pt x="3"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75" name="Freeform 1391"/>
                <p:cNvSpPr>
                  <a:spLocks/>
                </p:cNvSpPr>
                <p:nvPr/>
              </p:nvSpPr>
              <p:spPr bwMode="auto">
                <a:xfrm>
                  <a:off x="14715" y="1147"/>
                  <a:ext cx="41" cy="24"/>
                </a:xfrm>
                <a:custGeom>
                  <a:avLst/>
                  <a:gdLst>
                    <a:gd name="T0" fmla="*/ 6 w 17"/>
                    <a:gd name="T1" fmla="*/ 0 h 10"/>
                    <a:gd name="T2" fmla="*/ 0 w 17"/>
                    <a:gd name="T3" fmla="*/ 7 h 10"/>
                    <a:gd name="T4" fmla="*/ 0 w 17"/>
                    <a:gd name="T5" fmla="*/ 10 h 10"/>
                    <a:gd name="T6" fmla="*/ 17 w 17"/>
                    <a:gd name="T7" fmla="*/ 1 h 10"/>
                    <a:gd name="T8" fmla="*/ 16 w 17"/>
                    <a:gd name="T9" fmla="*/ 0 h 10"/>
                    <a:gd name="T10" fmla="*/ 6 w 17"/>
                    <a:gd name="T11" fmla="*/ 0 h 10"/>
                  </a:gdLst>
                  <a:ahLst/>
                  <a:cxnLst>
                    <a:cxn ang="0">
                      <a:pos x="T0" y="T1"/>
                    </a:cxn>
                    <a:cxn ang="0">
                      <a:pos x="T2" y="T3"/>
                    </a:cxn>
                    <a:cxn ang="0">
                      <a:pos x="T4" y="T5"/>
                    </a:cxn>
                    <a:cxn ang="0">
                      <a:pos x="T6" y="T7"/>
                    </a:cxn>
                    <a:cxn ang="0">
                      <a:pos x="T8" y="T9"/>
                    </a:cxn>
                    <a:cxn ang="0">
                      <a:pos x="T10" y="T11"/>
                    </a:cxn>
                  </a:cxnLst>
                  <a:rect l="0" t="0" r="r" b="b"/>
                  <a:pathLst>
                    <a:path w="17" h="10">
                      <a:moveTo>
                        <a:pt x="6" y="0"/>
                      </a:moveTo>
                      <a:cubicBezTo>
                        <a:pt x="3" y="0"/>
                        <a:pt x="0" y="3"/>
                        <a:pt x="0" y="7"/>
                      </a:cubicBezTo>
                      <a:cubicBezTo>
                        <a:pt x="0" y="7"/>
                        <a:pt x="0" y="8"/>
                        <a:pt x="0" y="10"/>
                      </a:cubicBezTo>
                      <a:cubicBezTo>
                        <a:pt x="6" y="6"/>
                        <a:pt x="11" y="3"/>
                        <a:pt x="17" y="1"/>
                      </a:cubicBezTo>
                      <a:cubicBezTo>
                        <a:pt x="17" y="0"/>
                        <a:pt x="17" y="0"/>
                        <a:pt x="16" y="0"/>
                      </a:cubicBezTo>
                      <a:cubicBezTo>
                        <a:pt x="15" y="0"/>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76" name="Oval 1392"/>
                <p:cNvSpPr>
                  <a:spLocks noChangeArrowheads="1"/>
                </p:cNvSpPr>
                <p:nvPr/>
              </p:nvSpPr>
              <p:spPr bwMode="auto">
                <a:xfrm>
                  <a:off x="14732"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77" name="Freeform 1393"/>
                <p:cNvSpPr>
                  <a:spLocks/>
                </p:cNvSpPr>
                <p:nvPr/>
              </p:nvSpPr>
              <p:spPr bwMode="auto">
                <a:xfrm>
                  <a:off x="14796" y="1123"/>
                  <a:ext cx="19" cy="7"/>
                </a:xfrm>
                <a:custGeom>
                  <a:avLst/>
                  <a:gdLst>
                    <a:gd name="T0" fmla="*/ 0 w 8"/>
                    <a:gd name="T1" fmla="*/ 3 h 3"/>
                    <a:gd name="T2" fmla="*/ 8 w 8"/>
                    <a:gd name="T3" fmla="*/ 1 h 3"/>
                    <a:gd name="T4" fmla="*/ 5 w 8"/>
                    <a:gd name="T5" fmla="*/ 0 h 3"/>
                    <a:gd name="T6" fmla="*/ 0 w 8"/>
                    <a:gd name="T7" fmla="*/ 3 h 3"/>
                  </a:gdLst>
                  <a:ahLst/>
                  <a:cxnLst>
                    <a:cxn ang="0">
                      <a:pos x="T0" y="T1"/>
                    </a:cxn>
                    <a:cxn ang="0">
                      <a:pos x="T2" y="T3"/>
                    </a:cxn>
                    <a:cxn ang="0">
                      <a:pos x="T4" y="T5"/>
                    </a:cxn>
                    <a:cxn ang="0">
                      <a:pos x="T6" y="T7"/>
                    </a:cxn>
                  </a:cxnLst>
                  <a:rect l="0" t="0" r="r" b="b"/>
                  <a:pathLst>
                    <a:path w="8" h="3">
                      <a:moveTo>
                        <a:pt x="0" y="3"/>
                      </a:moveTo>
                      <a:cubicBezTo>
                        <a:pt x="3" y="2"/>
                        <a:pt x="5" y="2"/>
                        <a:pt x="8" y="1"/>
                      </a:cubicBezTo>
                      <a:cubicBezTo>
                        <a:pt x="7" y="0"/>
                        <a:pt x="6" y="0"/>
                        <a:pt x="5" y="0"/>
                      </a:cubicBezTo>
                      <a:cubicBezTo>
                        <a:pt x="3" y="0"/>
                        <a:pt x="1"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78" name="Oval 1394"/>
                <p:cNvSpPr>
                  <a:spLocks noChangeArrowheads="1"/>
                </p:cNvSpPr>
                <p:nvPr/>
              </p:nvSpPr>
              <p:spPr bwMode="auto">
                <a:xfrm>
                  <a:off x="14339"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79" name="Oval 1395"/>
                <p:cNvSpPr>
                  <a:spLocks noChangeArrowheads="1"/>
                </p:cNvSpPr>
                <p:nvPr/>
              </p:nvSpPr>
              <p:spPr bwMode="auto">
                <a:xfrm>
                  <a:off x="14472"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80" name="Freeform 1396"/>
                <p:cNvSpPr>
                  <a:spLocks/>
                </p:cNvSpPr>
                <p:nvPr/>
              </p:nvSpPr>
              <p:spPr bwMode="auto">
                <a:xfrm>
                  <a:off x="14325" y="1443"/>
                  <a:ext cx="52" cy="109"/>
                </a:xfrm>
                <a:custGeom>
                  <a:avLst/>
                  <a:gdLst>
                    <a:gd name="T0" fmla="*/ 0 w 22"/>
                    <a:gd name="T1" fmla="*/ 6 h 46"/>
                    <a:gd name="T2" fmla="*/ 0 w 22"/>
                    <a:gd name="T3" fmla="*/ 20 h 46"/>
                    <a:gd name="T4" fmla="*/ 2 w 22"/>
                    <a:gd name="T5" fmla="*/ 23 h 46"/>
                    <a:gd name="T6" fmla="*/ 4 w 22"/>
                    <a:gd name="T7" fmla="*/ 20 h 46"/>
                    <a:gd name="T8" fmla="*/ 4 w 22"/>
                    <a:gd name="T9" fmla="*/ 7 h 46"/>
                    <a:gd name="T10" fmla="*/ 5 w 22"/>
                    <a:gd name="T11" fmla="*/ 7 h 46"/>
                    <a:gd name="T12" fmla="*/ 5 w 22"/>
                    <a:gd name="T13" fmla="*/ 44 h 46"/>
                    <a:gd name="T14" fmla="*/ 8 w 22"/>
                    <a:gd name="T15" fmla="*/ 46 h 46"/>
                    <a:gd name="T16" fmla="*/ 11 w 22"/>
                    <a:gd name="T17" fmla="*/ 44 h 46"/>
                    <a:gd name="T18" fmla="*/ 11 w 22"/>
                    <a:gd name="T19" fmla="*/ 23 h 46"/>
                    <a:gd name="T20" fmla="*/ 12 w 22"/>
                    <a:gd name="T21" fmla="*/ 23 h 46"/>
                    <a:gd name="T22" fmla="*/ 12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3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2" y="23"/>
                        <a:pt x="22" y="22"/>
                        <a:pt x="22" y="20"/>
                      </a:cubicBezTo>
                      <a:cubicBezTo>
                        <a:pt x="22" y="19"/>
                        <a:pt x="22" y="8"/>
                        <a:pt x="22" y="6"/>
                      </a:cubicBezTo>
                      <a:cubicBezTo>
                        <a:pt x="22" y="2"/>
                        <a:pt x="20" y="0"/>
                        <a:pt x="16" y="0"/>
                      </a:cubicBezTo>
                      <a:cubicBezTo>
                        <a:pt x="15" y="0"/>
                        <a:pt x="7" y="0"/>
                        <a:pt x="6"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81" name="Freeform 1397"/>
                <p:cNvSpPr>
                  <a:spLocks/>
                </p:cNvSpPr>
                <p:nvPr/>
              </p:nvSpPr>
              <p:spPr bwMode="auto">
                <a:xfrm>
                  <a:off x="14192" y="1443"/>
                  <a:ext cx="55" cy="109"/>
                </a:xfrm>
                <a:custGeom>
                  <a:avLst/>
                  <a:gdLst>
                    <a:gd name="T0" fmla="*/ 0 w 23"/>
                    <a:gd name="T1" fmla="*/ 6 h 46"/>
                    <a:gd name="T2" fmla="*/ 0 w 23"/>
                    <a:gd name="T3" fmla="*/ 20 h 46"/>
                    <a:gd name="T4" fmla="*/ 3 w 23"/>
                    <a:gd name="T5" fmla="*/ 23 h 46"/>
                    <a:gd name="T6" fmla="*/ 5 w 23"/>
                    <a:gd name="T7" fmla="*/ 20 h 46"/>
                    <a:gd name="T8" fmla="*/ 5 w 23"/>
                    <a:gd name="T9" fmla="*/ 7 h 46"/>
                    <a:gd name="T10" fmla="*/ 6 w 23"/>
                    <a:gd name="T11" fmla="*/ 7 h 46"/>
                    <a:gd name="T12" fmla="*/ 6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7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3" y="23"/>
                      </a:cubicBezTo>
                      <a:cubicBezTo>
                        <a:pt x="4" y="23"/>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4"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7"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82" name="Oval 1398"/>
                <p:cNvSpPr>
                  <a:spLocks noChangeArrowheads="1"/>
                </p:cNvSpPr>
                <p:nvPr/>
              </p:nvSpPr>
              <p:spPr bwMode="auto">
                <a:xfrm>
                  <a:off x="14209"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83" name="Freeform 1399"/>
                <p:cNvSpPr>
                  <a:spLocks/>
                </p:cNvSpPr>
                <p:nvPr/>
              </p:nvSpPr>
              <p:spPr bwMode="auto">
                <a:xfrm>
                  <a:off x="14188" y="1296"/>
                  <a:ext cx="64" cy="111"/>
                </a:xfrm>
                <a:custGeom>
                  <a:avLst/>
                  <a:gdLst>
                    <a:gd name="T0" fmla="*/ 27 w 27"/>
                    <a:gd name="T1" fmla="*/ 18 h 47"/>
                    <a:gd name="T2" fmla="*/ 23 w 27"/>
                    <a:gd name="T3" fmla="*/ 4 h 47"/>
                    <a:gd name="T4" fmla="*/ 18 w 27"/>
                    <a:gd name="T5" fmla="*/ 0 h 47"/>
                    <a:gd name="T6" fmla="*/ 10 w 27"/>
                    <a:gd name="T7" fmla="*/ 0 h 47"/>
                    <a:gd name="T8" fmla="*/ 5 w 27"/>
                    <a:gd name="T9" fmla="*/ 4 h 47"/>
                    <a:gd name="T10" fmla="*/ 1 w 27"/>
                    <a:gd name="T11" fmla="*/ 18 h 47"/>
                    <a:gd name="T12" fmla="*/ 2 w 27"/>
                    <a:gd name="T13" fmla="*/ 21 h 47"/>
                    <a:gd name="T14" fmla="*/ 4 w 27"/>
                    <a:gd name="T15" fmla="*/ 19 h 47"/>
                    <a:gd name="T16" fmla="*/ 8 w 27"/>
                    <a:gd name="T17" fmla="*/ 6 h 47"/>
                    <a:gd name="T18" fmla="*/ 9 w 27"/>
                    <a:gd name="T19" fmla="*/ 6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7 w 27"/>
                    <a:gd name="T37" fmla="*/ 47 h 47"/>
                    <a:gd name="T38" fmla="*/ 19 w 27"/>
                    <a:gd name="T39" fmla="*/ 45 h 47"/>
                    <a:gd name="T40" fmla="*/ 19 w 27"/>
                    <a:gd name="T41" fmla="*/ 28 h 47"/>
                    <a:gd name="T42" fmla="*/ 25 w 27"/>
                    <a:gd name="T43" fmla="*/ 28 h 47"/>
                    <a:gd name="T44" fmla="*/ 19 w 27"/>
                    <a:gd name="T45" fmla="*/ 6 h 47"/>
                    <a:gd name="T46" fmla="*/ 20 w 27"/>
                    <a:gd name="T47" fmla="*/ 6 h 47"/>
                    <a:gd name="T48" fmla="*/ 24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5" y="10"/>
                        <a:pt x="23" y="4"/>
                      </a:cubicBezTo>
                      <a:cubicBezTo>
                        <a:pt x="22" y="2"/>
                        <a:pt x="20" y="0"/>
                        <a:pt x="18" y="0"/>
                      </a:cubicBezTo>
                      <a:cubicBezTo>
                        <a:pt x="16" y="0"/>
                        <a:pt x="11" y="0"/>
                        <a:pt x="10" y="0"/>
                      </a:cubicBezTo>
                      <a:cubicBezTo>
                        <a:pt x="8" y="0"/>
                        <a:pt x="5" y="2"/>
                        <a:pt x="5" y="4"/>
                      </a:cubicBezTo>
                      <a:cubicBezTo>
                        <a:pt x="3" y="10"/>
                        <a:pt x="1" y="18"/>
                        <a:pt x="1" y="18"/>
                      </a:cubicBezTo>
                      <a:cubicBezTo>
                        <a:pt x="0" y="19"/>
                        <a:pt x="1" y="20"/>
                        <a:pt x="2" y="21"/>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84" name="Oval 1400"/>
                <p:cNvSpPr>
                  <a:spLocks noChangeArrowheads="1"/>
                </p:cNvSpPr>
                <p:nvPr/>
              </p:nvSpPr>
              <p:spPr bwMode="auto">
                <a:xfrm>
                  <a:off x="14339"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85" name="Freeform 1401"/>
                <p:cNvSpPr>
                  <a:spLocks/>
                </p:cNvSpPr>
                <p:nvPr/>
              </p:nvSpPr>
              <p:spPr bwMode="auto">
                <a:xfrm>
                  <a:off x="14325" y="1147"/>
                  <a:ext cx="52" cy="111"/>
                </a:xfrm>
                <a:custGeom>
                  <a:avLst/>
                  <a:gdLst>
                    <a:gd name="T0" fmla="*/ 20 w 22"/>
                    <a:gd name="T1" fmla="*/ 23 h 47"/>
                    <a:gd name="T2" fmla="*/ 22 w 22"/>
                    <a:gd name="T3" fmla="*/ 21 h 47"/>
                    <a:gd name="T4" fmla="*/ 22 w 22"/>
                    <a:gd name="T5" fmla="*/ 7 h 47"/>
                    <a:gd name="T6" fmla="*/ 16 w 22"/>
                    <a:gd name="T7" fmla="*/ 0 h 47"/>
                    <a:gd name="T8" fmla="*/ 6 w 22"/>
                    <a:gd name="T9" fmla="*/ 0 h 47"/>
                    <a:gd name="T10" fmla="*/ 0 w 22"/>
                    <a:gd name="T11" fmla="*/ 7 h 47"/>
                    <a:gd name="T12" fmla="*/ 0 w 22"/>
                    <a:gd name="T13" fmla="*/ 21 h 47"/>
                    <a:gd name="T14" fmla="*/ 2 w 22"/>
                    <a:gd name="T15" fmla="*/ 23 h 47"/>
                    <a:gd name="T16" fmla="*/ 4 w 22"/>
                    <a:gd name="T17" fmla="*/ 21 h 47"/>
                    <a:gd name="T18" fmla="*/ 4 w 22"/>
                    <a:gd name="T19" fmla="*/ 8 h 47"/>
                    <a:gd name="T20" fmla="*/ 5 w 22"/>
                    <a:gd name="T21" fmla="*/ 8 h 47"/>
                    <a:gd name="T22" fmla="*/ 5 w 22"/>
                    <a:gd name="T23" fmla="*/ 44 h 47"/>
                    <a:gd name="T24" fmla="*/ 8 w 22"/>
                    <a:gd name="T25" fmla="*/ 47 h 47"/>
                    <a:gd name="T26" fmla="*/ 11 w 22"/>
                    <a:gd name="T27" fmla="*/ 44 h 47"/>
                    <a:gd name="T28" fmla="*/ 11 w 22"/>
                    <a:gd name="T29" fmla="*/ 23 h 47"/>
                    <a:gd name="T30" fmla="*/ 12 w 22"/>
                    <a:gd name="T31" fmla="*/ 23 h 47"/>
                    <a:gd name="T32" fmla="*/ 12 w 22"/>
                    <a:gd name="T33" fmla="*/ 44 h 47"/>
                    <a:gd name="T34" fmla="*/ 14 w 22"/>
                    <a:gd name="T35" fmla="*/ 47 h 47"/>
                    <a:gd name="T36" fmla="*/ 17 w 22"/>
                    <a:gd name="T37" fmla="*/ 44 h 47"/>
                    <a:gd name="T38" fmla="*/ 17 w 22"/>
                    <a:gd name="T39" fmla="*/ 8 h 47"/>
                    <a:gd name="T40" fmla="*/ 18 w 22"/>
                    <a:gd name="T41" fmla="*/ 8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2" y="23"/>
                        <a:pt x="22" y="22"/>
                        <a:pt x="22" y="21"/>
                      </a:cubicBezTo>
                      <a:cubicBezTo>
                        <a:pt x="22" y="20"/>
                        <a:pt x="22" y="8"/>
                        <a:pt x="22" y="7"/>
                      </a:cubicBezTo>
                      <a:cubicBezTo>
                        <a:pt x="22" y="3"/>
                        <a:pt x="20" y="0"/>
                        <a:pt x="16" y="0"/>
                      </a:cubicBezTo>
                      <a:cubicBezTo>
                        <a:pt x="15" y="0"/>
                        <a:pt x="7"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86" name="Oval 1402"/>
                <p:cNvSpPr>
                  <a:spLocks noChangeArrowheads="1"/>
                </p:cNvSpPr>
                <p:nvPr/>
              </p:nvSpPr>
              <p:spPr bwMode="auto">
                <a:xfrm>
                  <a:off x="14405"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1087" name="Freeform 1403"/>
                <p:cNvSpPr>
                  <a:spLocks/>
                </p:cNvSpPr>
                <p:nvPr/>
              </p:nvSpPr>
              <p:spPr bwMode="auto">
                <a:xfrm>
                  <a:off x="14384" y="1147"/>
                  <a:ext cx="64" cy="111"/>
                </a:xfrm>
                <a:custGeom>
                  <a:avLst/>
                  <a:gdLst>
                    <a:gd name="T0" fmla="*/ 18 w 27"/>
                    <a:gd name="T1" fmla="*/ 0 h 47"/>
                    <a:gd name="T2" fmla="*/ 10 w 27"/>
                    <a:gd name="T3" fmla="*/ 0 h 47"/>
                    <a:gd name="T4" fmla="*/ 5 w 27"/>
                    <a:gd name="T5" fmla="*/ 5 h 47"/>
                    <a:gd name="T6" fmla="*/ 1 w 27"/>
                    <a:gd name="T7" fmla="*/ 19 h 47"/>
                    <a:gd name="T8" fmla="*/ 2 w 27"/>
                    <a:gd name="T9" fmla="*/ 21 h 47"/>
                    <a:gd name="T10" fmla="*/ 4 w 27"/>
                    <a:gd name="T11" fmla="*/ 20 h 47"/>
                    <a:gd name="T12" fmla="*/ 8 w 27"/>
                    <a:gd name="T13" fmla="*/ 7 h 47"/>
                    <a:gd name="T14" fmla="*/ 9 w 27"/>
                    <a:gd name="T15" fmla="*/ 7 h 47"/>
                    <a:gd name="T16" fmla="*/ 3 w 27"/>
                    <a:gd name="T17" fmla="*/ 29 h 47"/>
                    <a:gd name="T18" fmla="*/ 9 w 27"/>
                    <a:gd name="T19" fmla="*/ 29 h 47"/>
                    <a:gd name="T20" fmla="*/ 9 w 27"/>
                    <a:gd name="T21" fmla="*/ 45 h 47"/>
                    <a:gd name="T22" fmla="*/ 11 w 27"/>
                    <a:gd name="T23" fmla="*/ 47 h 47"/>
                    <a:gd name="T24" fmla="*/ 13 w 27"/>
                    <a:gd name="T25" fmla="*/ 45 h 47"/>
                    <a:gd name="T26" fmla="*/ 13 w 27"/>
                    <a:gd name="T27" fmla="*/ 29 h 47"/>
                    <a:gd name="T28" fmla="*/ 14 w 27"/>
                    <a:gd name="T29" fmla="*/ 29 h 47"/>
                    <a:gd name="T30" fmla="*/ 14 w 27"/>
                    <a:gd name="T31" fmla="*/ 45 h 47"/>
                    <a:gd name="T32" fmla="*/ 17 w 27"/>
                    <a:gd name="T33" fmla="*/ 47 h 47"/>
                    <a:gd name="T34" fmla="*/ 19 w 27"/>
                    <a:gd name="T35" fmla="*/ 45 h 47"/>
                    <a:gd name="T36" fmla="*/ 19 w 27"/>
                    <a:gd name="T37" fmla="*/ 29 h 47"/>
                    <a:gd name="T38" fmla="*/ 25 w 27"/>
                    <a:gd name="T39" fmla="*/ 29 h 47"/>
                    <a:gd name="T40" fmla="*/ 19 w 27"/>
                    <a:gd name="T41" fmla="*/ 7 h 47"/>
                    <a:gd name="T42" fmla="*/ 20 w 27"/>
                    <a:gd name="T43" fmla="*/ 7 h 47"/>
                    <a:gd name="T44" fmla="*/ 24 w 27"/>
                    <a:gd name="T45" fmla="*/ 20 h 47"/>
                    <a:gd name="T46" fmla="*/ 26 w 27"/>
                    <a:gd name="T47" fmla="*/ 21 h 47"/>
                    <a:gd name="T48" fmla="*/ 27 w 27"/>
                    <a:gd name="T49" fmla="*/ 19 h 47"/>
                    <a:gd name="T50" fmla="*/ 23 w 27"/>
                    <a:gd name="T51" fmla="*/ 5 h 47"/>
                    <a:gd name="T52" fmla="*/ 18 w 27"/>
                    <a:gd name="T5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8" y="0"/>
                      </a:move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grpSp>
            <p:nvGrpSpPr>
              <p:cNvPr id="330" name="Group 1605"/>
              <p:cNvGrpSpPr>
                <a:grpSpLocks/>
              </p:cNvGrpSpPr>
              <p:nvPr/>
            </p:nvGrpSpPr>
            <p:grpSpPr bwMode="auto">
              <a:xfrm>
                <a:off x="19464338" y="1782763"/>
                <a:ext cx="3881438" cy="684213"/>
                <a:chOff x="12261" y="1123"/>
                <a:chExt cx="2445" cy="431"/>
              </a:xfrm>
              <a:grpFill/>
            </p:grpSpPr>
            <p:sp>
              <p:nvSpPr>
                <p:cNvPr id="688" name="Oval 1405"/>
                <p:cNvSpPr>
                  <a:spLocks noChangeArrowheads="1"/>
                </p:cNvSpPr>
                <p:nvPr/>
              </p:nvSpPr>
              <p:spPr bwMode="auto">
                <a:xfrm>
                  <a:off x="14538"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89" name="Freeform 1406"/>
                <p:cNvSpPr>
                  <a:spLocks/>
                </p:cNvSpPr>
                <p:nvPr/>
              </p:nvSpPr>
              <p:spPr bwMode="auto">
                <a:xfrm>
                  <a:off x="14455" y="1147"/>
                  <a:ext cx="55" cy="76"/>
                </a:xfrm>
                <a:custGeom>
                  <a:avLst/>
                  <a:gdLst>
                    <a:gd name="T0" fmla="*/ 17 w 23"/>
                    <a:gd name="T1" fmla="*/ 0 h 32"/>
                    <a:gd name="T2" fmla="*/ 6 w 23"/>
                    <a:gd name="T3" fmla="*/ 0 h 32"/>
                    <a:gd name="T4" fmla="*/ 0 w 23"/>
                    <a:gd name="T5" fmla="*/ 7 h 32"/>
                    <a:gd name="T6" fmla="*/ 0 w 23"/>
                    <a:gd name="T7" fmla="*/ 21 h 32"/>
                    <a:gd name="T8" fmla="*/ 2 w 23"/>
                    <a:gd name="T9" fmla="*/ 23 h 32"/>
                    <a:gd name="T10" fmla="*/ 4 w 23"/>
                    <a:gd name="T11" fmla="*/ 21 h 32"/>
                    <a:gd name="T12" fmla="*/ 4 w 23"/>
                    <a:gd name="T13" fmla="*/ 8 h 32"/>
                    <a:gd name="T14" fmla="*/ 5 w 23"/>
                    <a:gd name="T15" fmla="*/ 8 h 32"/>
                    <a:gd name="T16" fmla="*/ 5 w 23"/>
                    <a:gd name="T17" fmla="*/ 32 h 32"/>
                    <a:gd name="T18" fmla="*/ 11 w 23"/>
                    <a:gd name="T19" fmla="*/ 25 h 32"/>
                    <a:gd name="T20" fmla="*/ 11 w 23"/>
                    <a:gd name="T21" fmla="*/ 23 h 32"/>
                    <a:gd name="T22" fmla="*/ 12 w 23"/>
                    <a:gd name="T23" fmla="*/ 23 h 32"/>
                    <a:gd name="T24" fmla="*/ 12 w 23"/>
                    <a:gd name="T25" fmla="*/ 24 h 32"/>
                    <a:gd name="T26" fmla="*/ 18 w 23"/>
                    <a:gd name="T27" fmla="*/ 19 h 32"/>
                    <a:gd name="T28" fmla="*/ 18 w 23"/>
                    <a:gd name="T29" fmla="*/ 8 h 32"/>
                    <a:gd name="T30" fmla="*/ 19 w 23"/>
                    <a:gd name="T31" fmla="*/ 8 h 32"/>
                    <a:gd name="T32" fmla="*/ 19 w 23"/>
                    <a:gd name="T33" fmla="*/ 18 h 32"/>
                    <a:gd name="T34" fmla="*/ 23 w 23"/>
                    <a:gd name="T35" fmla="*/ 15 h 32"/>
                    <a:gd name="T36" fmla="*/ 23 w 23"/>
                    <a:gd name="T37" fmla="*/ 7 h 32"/>
                    <a:gd name="T38" fmla="*/ 17 w 23"/>
                    <a:gd name="T3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 h="32">
                      <a:moveTo>
                        <a:pt x="17" y="0"/>
                      </a:moveTo>
                      <a:cubicBezTo>
                        <a:pt x="15" y="0"/>
                        <a:pt x="8"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21"/>
                        <a:pt x="5" y="32"/>
                      </a:cubicBezTo>
                      <a:cubicBezTo>
                        <a:pt x="7" y="30"/>
                        <a:pt x="9" y="27"/>
                        <a:pt x="11" y="25"/>
                      </a:cubicBezTo>
                      <a:cubicBezTo>
                        <a:pt x="11" y="24"/>
                        <a:pt x="11" y="23"/>
                        <a:pt x="11" y="23"/>
                      </a:cubicBezTo>
                      <a:cubicBezTo>
                        <a:pt x="11" y="23"/>
                        <a:pt x="11" y="23"/>
                        <a:pt x="12" y="23"/>
                      </a:cubicBezTo>
                      <a:cubicBezTo>
                        <a:pt x="12" y="23"/>
                        <a:pt x="12" y="24"/>
                        <a:pt x="12" y="24"/>
                      </a:cubicBezTo>
                      <a:cubicBezTo>
                        <a:pt x="14" y="22"/>
                        <a:pt x="16" y="21"/>
                        <a:pt x="18" y="19"/>
                      </a:cubicBezTo>
                      <a:cubicBezTo>
                        <a:pt x="18" y="13"/>
                        <a:pt x="18" y="8"/>
                        <a:pt x="18" y="8"/>
                      </a:cubicBezTo>
                      <a:cubicBezTo>
                        <a:pt x="18" y="8"/>
                        <a:pt x="18" y="8"/>
                        <a:pt x="19" y="8"/>
                      </a:cubicBezTo>
                      <a:cubicBezTo>
                        <a:pt x="19" y="8"/>
                        <a:pt x="19" y="14"/>
                        <a:pt x="19" y="18"/>
                      </a:cubicBezTo>
                      <a:cubicBezTo>
                        <a:pt x="20" y="17"/>
                        <a:pt x="21" y="16"/>
                        <a:pt x="23" y="15"/>
                      </a:cubicBezTo>
                      <a:cubicBezTo>
                        <a:pt x="23" y="12"/>
                        <a:pt x="23" y="7"/>
                        <a:pt x="23" y="7"/>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90" name="Freeform 1407"/>
                <p:cNvSpPr>
                  <a:spLocks/>
                </p:cNvSpPr>
                <p:nvPr/>
              </p:nvSpPr>
              <p:spPr bwMode="auto">
                <a:xfrm>
                  <a:off x="14320" y="1296"/>
                  <a:ext cx="64" cy="111"/>
                </a:xfrm>
                <a:custGeom>
                  <a:avLst/>
                  <a:gdLst>
                    <a:gd name="T0" fmla="*/ 26 w 27"/>
                    <a:gd name="T1" fmla="*/ 18 h 47"/>
                    <a:gd name="T2" fmla="*/ 22 w 27"/>
                    <a:gd name="T3" fmla="*/ 4 h 47"/>
                    <a:gd name="T4" fmla="*/ 17 w 27"/>
                    <a:gd name="T5" fmla="*/ 0 h 47"/>
                    <a:gd name="T6" fmla="*/ 9 w 27"/>
                    <a:gd name="T7" fmla="*/ 0 h 47"/>
                    <a:gd name="T8" fmla="*/ 4 w 27"/>
                    <a:gd name="T9" fmla="*/ 4 h 47"/>
                    <a:gd name="T10" fmla="*/ 0 w 27"/>
                    <a:gd name="T11" fmla="*/ 18 h 47"/>
                    <a:gd name="T12" fmla="*/ 1 w 27"/>
                    <a:gd name="T13" fmla="*/ 21 h 47"/>
                    <a:gd name="T14" fmla="*/ 4 w 27"/>
                    <a:gd name="T15" fmla="*/ 19 h 47"/>
                    <a:gd name="T16" fmla="*/ 7 w 27"/>
                    <a:gd name="T17" fmla="*/ 6 h 47"/>
                    <a:gd name="T18" fmla="*/ 8 w 27"/>
                    <a:gd name="T19" fmla="*/ 6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4 w 27"/>
                    <a:gd name="T43" fmla="*/ 28 h 47"/>
                    <a:gd name="T44" fmla="*/ 18 w 27"/>
                    <a:gd name="T45" fmla="*/ 6 h 47"/>
                    <a:gd name="T46" fmla="*/ 19 w 27"/>
                    <a:gd name="T47" fmla="*/ 6 h 47"/>
                    <a:gd name="T48" fmla="*/ 23 w 27"/>
                    <a:gd name="T49" fmla="*/ 19 h 47"/>
                    <a:gd name="T50" fmla="*/ 25 w 27"/>
                    <a:gd name="T51" fmla="*/ 21 h 47"/>
                    <a:gd name="T52" fmla="*/ 26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6" y="18"/>
                      </a:moveTo>
                      <a:cubicBezTo>
                        <a:pt x="26" y="18"/>
                        <a:pt x="24" y="10"/>
                        <a:pt x="22" y="4"/>
                      </a:cubicBezTo>
                      <a:cubicBezTo>
                        <a:pt x="22" y="2"/>
                        <a:pt x="19" y="0"/>
                        <a:pt x="17" y="0"/>
                      </a:cubicBezTo>
                      <a:cubicBezTo>
                        <a:pt x="16" y="0"/>
                        <a:pt x="11" y="0"/>
                        <a:pt x="9" y="0"/>
                      </a:cubicBezTo>
                      <a:cubicBezTo>
                        <a:pt x="7" y="0"/>
                        <a:pt x="5" y="2"/>
                        <a:pt x="4" y="4"/>
                      </a:cubicBezTo>
                      <a:cubicBezTo>
                        <a:pt x="2" y="10"/>
                        <a:pt x="0" y="18"/>
                        <a:pt x="0" y="18"/>
                      </a:cubicBezTo>
                      <a:cubicBezTo>
                        <a:pt x="0" y="19"/>
                        <a:pt x="0" y="20"/>
                        <a:pt x="1" y="21"/>
                      </a:cubicBezTo>
                      <a:cubicBezTo>
                        <a:pt x="2" y="21"/>
                        <a:pt x="3" y="20"/>
                        <a:pt x="4" y="19"/>
                      </a:cubicBezTo>
                      <a:cubicBezTo>
                        <a:pt x="4" y="18"/>
                        <a:pt x="7" y="6"/>
                        <a:pt x="7" y="6"/>
                      </a:cubicBezTo>
                      <a:cubicBezTo>
                        <a:pt x="8" y="6"/>
                        <a:pt x="8" y="6"/>
                        <a:pt x="8"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6"/>
                        <a:pt x="18" y="6"/>
                        <a:pt x="18" y="6"/>
                      </a:cubicBezTo>
                      <a:cubicBezTo>
                        <a:pt x="19" y="6"/>
                        <a:pt x="19" y="6"/>
                        <a:pt x="19" y="6"/>
                      </a:cubicBezTo>
                      <a:cubicBezTo>
                        <a:pt x="19" y="6"/>
                        <a:pt x="23" y="18"/>
                        <a:pt x="23" y="19"/>
                      </a:cubicBezTo>
                      <a:cubicBezTo>
                        <a:pt x="23" y="20"/>
                        <a:pt x="24" y="21"/>
                        <a:pt x="25" y="21"/>
                      </a:cubicBezTo>
                      <a:cubicBezTo>
                        <a:pt x="26" y="20"/>
                        <a:pt x="27" y="19"/>
                        <a:pt x="2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91" name="Freeform 1408"/>
                <p:cNvSpPr>
                  <a:spLocks/>
                </p:cNvSpPr>
                <p:nvPr/>
              </p:nvSpPr>
              <p:spPr bwMode="auto">
                <a:xfrm>
                  <a:off x="14538" y="1270"/>
                  <a:ext cx="21" cy="9"/>
                </a:xfrm>
                <a:custGeom>
                  <a:avLst/>
                  <a:gdLst>
                    <a:gd name="T0" fmla="*/ 4 w 9"/>
                    <a:gd name="T1" fmla="*/ 0 h 4"/>
                    <a:gd name="T2" fmla="*/ 0 w 9"/>
                    <a:gd name="T3" fmla="*/ 4 h 4"/>
                    <a:gd name="T4" fmla="*/ 9 w 9"/>
                    <a:gd name="T5" fmla="*/ 3 h 4"/>
                    <a:gd name="T6" fmla="*/ 4 w 9"/>
                    <a:gd name="T7" fmla="*/ 0 h 4"/>
                  </a:gdLst>
                  <a:ahLst/>
                  <a:cxnLst>
                    <a:cxn ang="0">
                      <a:pos x="T0" y="T1"/>
                    </a:cxn>
                    <a:cxn ang="0">
                      <a:pos x="T2" y="T3"/>
                    </a:cxn>
                    <a:cxn ang="0">
                      <a:pos x="T4" y="T5"/>
                    </a:cxn>
                    <a:cxn ang="0">
                      <a:pos x="T6" y="T7"/>
                    </a:cxn>
                  </a:cxnLst>
                  <a:rect l="0" t="0" r="r" b="b"/>
                  <a:pathLst>
                    <a:path w="9" h="4">
                      <a:moveTo>
                        <a:pt x="4" y="0"/>
                      </a:moveTo>
                      <a:cubicBezTo>
                        <a:pt x="2" y="0"/>
                        <a:pt x="0" y="2"/>
                        <a:pt x="0" y="4"/>
                      </a:cubicBezTo>
                      <a:cubicBezTo>
                        <a:pt x="3" y="4"/>
                        <a:pt x="6" y="4"/>
                        <a:pt x="9" y="3"/>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92" name="Freeform 1409"/>
                <p:cNvSpPr>
                  <a:spLocks/>
                </p:cNvSpPr>
                <p:nvPr/>
              </p:nvSpPr>
              <p:spPr bwMode="auto">
                <a:xfrm>
                  <a:off x="14472" y="1365"/>
                  <a:ext cx="9" cy="42"/>
                </a:xfrm>
                <a:custGeom>
                  <a:avLst/>
                  <a:gdLst>
                    <a:gd name="T0" fmla="*/ 2 w 4"/>
                    <a:gd name="T1" fmla="*/ 18 h 18"/>
                    <a:gd name="T2" fmla="*/ 4 w 4"/>
                    <a:gd name="T3" fmla="*/ 16 h 18"/>
                    <a:gd name="T4" fmla="*/ 4 w 4"/>
                    <a:gd name="T5" fmla="*/ 0 h 18"/>
                    <a:gd name="T6" fmla="*/ 0 w 4"/>
                    <a:gd name="T7" fmla="*/ 3 h 18"/>
                    <a:gd name="T8" fmla="*/ 0 w 4"/>
                    <a:gd name="T9" fmla="*/ 16 h 18"/>
                    <a:gd name="T10" fmla="*/ 2 w 4"/>
                    <a:gd name="T11" fmla="*/ 18 h 18"/>
                  </a:gdLst>
                  <a:ahLst/>
                  <a:cxnLst>
                    <a:cxn ang="0">
                      <a:pos x="T0" y="T1"/>
                    </a:cxn>
                    <a:cxn ang="0">
                      <a:pos x="T2" y="T3"/>
                    </a:cxn>
                    <a:cxn ang="0">
                      <a:pos x="T4" y="T5"/>
                    </a:cxn>
                    <a:cxn ang="0">
                      <a:pos x="T6" y="T7"/>
                    </a:cxn>
                    <a:cxn ang="0">
                      <a:pos x="T8" y="T9"/>
                    </a:cxn>
                    <a:cxn ang="0">
                      <a:pos x="T10" y="T11"/>
                    </a:cxn>
                  </a:cxnLst>
                  <a:rect l="0" t="0" r="r" b="b"/>
                  <a:pathLst>
                    <a:path w="4" h="18">
                      <a:moveTo>
                        <a:pt x="2" y="18"/>
                      </a:moveTo>
                      <a:cubicBezTo>
                        <a:pt x="3" y="18"/>
                        <a:pt x="4" y="17"/>
                        <a:pt x="4" y="16"/>
                      </a:cubicBezTo>
                      <a:cubicBezTo>
                        <a:pt x="4" y="14"/>
                        <a:pt x="4" y="3"/>
                        <a:pt x="4" y="0"/>
                      </a:cubicBezTo>
                      <a:cubicBezTo>
                        <a:pt x="3" y="1"/>
                        <a:pt x="1" y="2"/>
                        <a:pt x="0" y="3"/>
                      </a:cubicBezTo>
                      <a:cubicBezTo>
                        <a:pt x="0" y="9"/>
                        <a:pt x="0" y="15"/>
                        <a:pt x="0" y="16"/>
                      </a:cubicBezTo>
                      <a:cubicBezTo>
                        <a:pt x="0" y="17"/>
                        <a:pt x="1" y="18"/>
                        <a:pt x="2"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93" name="Freeform 1410"/>
                <p:cNvSpPr>
                  <a:spLocks/>
                </p:cNvSpPr>
                <p:nvPr/>
              </p:nvSpPr>
              <p:spPr bwMode="auto">
                <a:xfrm>
                  <a:off x="14533" y="1350"/>
                  <a:ext cx="14" cy="57"/>
                </a:xfrm>
                <a:custGeom>
                  <a:avLst/>
                  <a:gdLst>
                    <a:gd name="T0" fmla="*/ 3 w 6"/>
                    <a:gd name="T1" fmla="*/ 24 h 24"/>
                    <a:gd name="T2" fmla="*/ 6 w 6"/>
                    <a:gd name="T3" fmla="*/ 21 h 24"/>
                    <a:gd name="T4" fmla="*/ 6 w 6"/>
                    <a:gd name="T5" fmla="*/ 2 h 24"/>
                    <a:gd name="T6" fmla="*/ 0 w 6"/>
                    <a:gd name="T7" fmla="*/ 0 h 24"/>
                    <a:gd name="T8" fmla="*/ 0 w 6"/>
                    <a:gd name="T9" fmla="*/ 21 h 24"/>
                    <a:gd name="T10" fmla="*/ 3 w 6"/>
                    <a:gd name="T11" fmla="*/ 24 h 24"/>
                  </a:gdLst>
                  <a:ahLst/>
                  <a:cxnLst>
                    <a:cxn ang="0">
                      <a:pos x="T0" y="T1"/>
                    </a:cxn>
                    <a:cxn ang="0">
                      <a:pos x="T2" y="T3"/>
                    </a:cxn>
                    <a:cxn ang="0">
                      <a:pos x="T4" y="T5"/>
                    </a:cxn>
                    <a:cxn ang="0">
                      <a:pos x="T6" y="T7"/>
                    </a:cxn>
                    <a:cxn ang="0">
                      <a:pos x="T8" y="T9"/>
                    </a:cxn>
                    <a:cxn ang="0">
                      <a:pos x="T10" y="T11"/>
                    </a:cxn>
                  </a:cxnLst>
                  <a:rect l="0" t="0" r="r" b="b"/>
                  <a:pathLst>
                    <a:path w="6" h="24">
                      <a:moveTo>
                        <a:pt x="3" y="24"/>
                      </a:moveTo>
                      <a:cubicBezTo>
                        <a:pt x="4" y="24"/>
                        <a:pt x="6" y="22"/>
                        <a:pt x="6" y="21"/>
                      </a:cubicBezTo>
                      <a:cubicBezTo>
                        <a:pt x="6" y="19"/>
                        <a:pt x="6" y="7"/>
                        <a:pt x="6" y="2"/>
                      </a:cubicBezTo>
                      <a:cubicBezTo>
                        <a:pt x="4" y="1"/>
                        <a:pt x="2" y="1"/>
                        <a:pt x="0" y="0"/>
                      </a:cubicBezTo>
                      <a:cubicBezTo>
                        <a:pt x="0" y="10"/>
                        <a:pt x="0" y="20"/>
                        <a:pt x="0" y="21"/>
                      </a:cubicBezTo>
                      <a:cubicBezTo>
                        <a:pt x="0" y="22"/>
                        <a:pt x="1" y="24"/>
                        <a:pt x="3"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94" name="Freeform 1411"/>
                <p:cNvSpPr>
                  <a:spLocks/>
                </p:cNvSpPr>
                <p:nvPr/>
              </p:nvSpPr>
              <p:spPr bwMode="auto">
                <a:xfrm>
                  <a:off x="14484" y="1353"/>
                  <a:ext cx="26" cy="54"/>
                </a:xfrm>
                <a:custGeom>
                  <a:avLst/>
                  <a:gdLst>
                    <a:gd name="T0" fmla="*/ 0 w 11"/>
                    <a:gd name="T1" fmla="*/ 21 h 23"/>
                    <a:gd name="T2" fmla="*/ 2 w 11"/>
                    <a:gd name="T3" fmla="*/ 23 h 23"/>
                    <a:gd name="T4" fmla="*/ 5 w 11"/>
                    <a:gd name="T5" fmla="*/ 21 h 23"/>
                    <a:gd name="T6" fmla="*/ 5 w 11"/>
                    <a:gd name="T7" fmla="*/ 4 h 23"/>
                    <a:gd name="T8" fmla="*/ 11 w 11"/>
                    <a:gd name="T9" fmla="*/ 4 h 23"/>
                    <a:gd name="T10" fmla="*/ 10 w 11"/>
                    <a:gd name="T11" fmla="*/ 0 h 23"/>
                    <a:gd name="T12" fmla="*/ 0 w 11"/>
                    <a:gd name="T13" fmla="*/ 4 h 23"/>
                    <a:gd name="T14" fmla="*/ 0 w 11"/>
                    <a:gd name="T15" fmla="*/ 2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23">
                      <a:moveTo>
                        <a:pt x="0" y="21"/>
                      </a:moveTo>
                      <a:cubicBezTo>
                        <a:pt x="0" y="22"/>
                        <a:pt x="1" y="23"/>
                        <a:pt x="2" y="23"/>
                      </a:cubicBezTo>
                      <a:cubicBezTo>
                        <a:pt x="4" y="23"/>
                        <a:pt x="5" y="22"/>
                        <a:pt x="5" y="21"/>
                      </a:cubicBezTo>
                      <a:cubicBezTo>
                        <a:pt x="5" y="20"/>
                        <a:pt x="5" y="12"/>
                        <a:pt x="5" y="4"/>
                      </a:cubicBezTo>
                      <a:cubicBezTo>
                        <a:pt x="11" y="4"/>
                        <a:pt x="11" y="4"/>
                        <a:pt x="11" y="4"/>
                      </a:cubicBezTo>
                      <a:cubicBezTo>
                        <a:pt x="10" y="3"/>
                        <a:pt x="10" y="1"/>
                        <a:pt x="10" y="0"/>
                      </a:cubicBezTo>
                      <a:cubicBezTo>
                        <a:pt x="6" y="1"/>
                        <a:pt x="3" y="2"/>
                        <a:pt x="0" y="4"/>
                      </a:cubicBezTo>
                      <a:cubicBezTo>
                        <a:pt x="0" y="6"/>
                        <a:pt x="0" y="19"/>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95" name="Freeform 1412"/>
                <p:cNvSpPr>
                  <a:spLocks/>
                </p:cNvSpPr>
                <p:nvPr/>
              </p:nvSpPr>
              <p:spPr bwMode="auto">
                <a:xfrm>
                  <a:off x="14550" y="1358"/>
                  <a:ext cx="12" cy="49"/>
                </a:xfrm>
                <a:custGeom>
                  <a:avLst/>
                  <a:gdLst>
                    <a:gd name="T0" fmla="*/ 0 w 5"/>
                    <a:gd name="T1" fmla="*/ 0 h 21"/>
                    <a:gd name="T2" fmla="*/ 0 w 5"/>
                    <a:gd name="T3" fmla="*/ 18 h 21"/>
                    <a:gd name="T4" fmla="*/ 3 w 5"/>
                    <a:gd name="T5" fmla="*/ 21 h 21"/>
                    <a:gd name="T6" fmla="*/ 5 w 5"/>
                    <a:gd name="T7" fmla="*/ 18 h 21"/>
                    <a:gd name="T8" fmla="*/ 5 w 5"/>
                    <a:gd name="T9" fmla="*/ 3 h 21"/>
                    <a:gd name="T10" fmla="*/ 3 w 5"/>
                    <a:gd name="T11" fmla="*/ 2 h 21"/>
                    <a:gd name="T12" fmla="*/ 0 w 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5" h="21">
                      <a:moveTo>
                        <a:pt x="0" y="0"/>
                      </a:moveTo>
                      <a:cubicBezTo>
                        <a:pt x="0" y="5"/>
                        <a:pt x="0" y="16"/>
                        <a:pt x="0" y="18"/>
                      </a:cubicBezTo>
                      <a:cubicBezTo>
                        <a:pt x="0" y="19"/>
                        <a:pt x="1" y="21"/>
                        <a:pt x="3" y="21"/>
                      </a:cubicBezTo>
                      <a:cubicBezTo>
                        <a:pt x="4" y="21"/>
                        <a:pt x="5" y="19"/>
                        <a:pt x="5" y="18"/>
                      </a:cubicBezTo>
                      <a:cubicBezTo>
                        <a:pt x="5" y="17"/>
                        <a:pt x="5" y="11"/>
                        <a:pt x="5" y="3"/>
                      </a:cubicBezTo>
                      <a:cubicBezTo>
                        <a:pt x="5" y="3"/>
                        <a:pt x="4" y="2"/>
                        <a:pt x="3" y="2"/>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96" name="Freeform 1413"/>
                <p:cNvSpPr>
                  <a:spLocks/>
                </p:cNvSpPr>
                <p:nvPr/>
              </p:nvSpPr>
              <p:spPr bwMode="auto">
                <a:xfrm>
                  <a:off x="14538" y="1417"/>
                  <a:ext cx="21" cy="21"/>
                </a:xfrm>
                <a:custGeom>
                  <a:avLst/>
                  <a:gdLst>
                    <a:gd name="T0" fmla="*/ 4 w 9"/>
                    <a:gd name="T1" fmla="*/ 0 h 9"/>
                    <a:gd name="T2" fmla="*/ 0 w 9"/>
                    <a:gd name="T3" fmla="*/ 5 h 9"/>
                    <a:gd name="T4" fmla="*/ 2 w 9"/>
                    <a:gd name="T5" fmla="*/ 9 h 9"/>
                    <a:gd name="T6" fmla="*/ 9 w 9"/>
                    <a:gd name="T7" fmla="*/ 4 h 9"/>
                    <a:gd name="T8" fmla="*/ 4 w 9"/>
                    <a:gd name="T9" fmla="*/ 0 h 9"/>
                  </a:gdLst>
                  <a:ahLst/>
                  <a:cxnLst>
                    <a:cxn ang="0">
                      <a:pos x="T0" y="T1"/>
                    </a:cxn>
                    <a:cxn ang="0">
                      <a:pos x="T2" y="T3"/>
                    </a:cxn>
                    <a:cxn ang="0">
                      <a:pos x="T4" y="T5"/>
                    </a:cxn>
                    <a:cxn ang="0">
                      <a:pos x="T6" y="T7"/>
                    </a:cxn>
                    <a:cxn ang="0">
                      <a:pos x="T8" y="T9"/>
                    </a:cxn>
                  </a:cxnLst>
                  <a:rect l="0" t="0" r="r" b="b"/>
                  <a:pathLst>
                    <a:path w="9" h="9">
                      <a:moveTo>
                        <a:pt x="4" y="0"/>
                      </a:moveTo>
                      <a:cubicBezTo>
                        <a:pt x="2" y="0"/>
                        <a:pt x="0" y="2"/>
                        <a:pt x="0" y="5"/>
                      </a:cubicBezTo>
                      <a:cubicBezTo>
                        <a:pt x="0" y="6"/>
                        <a:pt x="0" y="8"/>
                        <a:pt x="2" y="9"/>
                      </a:cubicBezTo>
                      <a:cubicBezTo>
                        <a:pt x="4" y="7"/>
                        <a:pt x="7" y="5"/>
                        <a:pt x="9" y="4"/>
                      </a:cubicBezTo>
                      <a:cubicBezTo>
                        <a:pt x="8" y="2"/>
                        <a:pt x="7"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97" name="Freeform 1414"/>
                <p:cNvSpPr>
                  <a:spLocks/>
                </p:cNvSpPr>
                <p:nvPr/>
              </p:nvSpPr>
              <p:spPr bwMode="auto">
                <a:xfrm>
                  <a:off x="14391" y="1296"/>
                  <a:ext cx="43" cy="111"/>
                </a:xfrm>
                <a:custGeom>
                  <a:avLst/>
                  <a:gdLst>
                    <a:gd name="T0" fmla="*/ 0 w 18"/>
                    <a:gd name="T1" fmla="*/ 6 h 47"/>
                    <a:gd name="T2" fmla="*/ 0 w 18"/>
                    <a:gd name="T3" fmla="*/ 21 h 47"/>
                    <a:gd name="T4" fmla="*/ 2 w 18"/>
                    <a:gd name="T5" fmla="*/ 23 h 47"/>
                    <a:gd name="T6" fmla="*/ 4 w 18"/>
                    <a:gd name="T7" fmla="*/ 21 h 47"/>
                    <a:gd name="T8" fmla="*/ 4 w 18"/>
                    <a:gd name="T9" fmla="*/ 7 h 47"/>
                    <a:gd name="T10" fmla="*/ 5 w 18"/>
                    <a:gd name="T11" fmla="*/ 7 h 47"/>
                    <a:gd name="T12" fmla="*/ 5 w 18"/>
                    <a:gd name="T13" fmla="*/ 44 h 47"/>
                    <a:gd name="T14" fmla="*/ 8 w 18"/>
                    <a:gd name="T15" fmla="*/ 47 h 47"/>
                    <a:gd name="T16" fmla="*/ 10 w 18"/>
                    <a:gd name="T17" fmla="*/ 44 h 47"/>
                    <a:gd name="T18" fmla="*/ 10 w 18"/>
                    <a:gd name="T19" fmla="*/ 39 h 47"/>
                    <a:gd name="T20" fmla="*/ 9 w 18"/>
                    <a:gd name="T21" fmla="*/ 39 h 47"/>
                    <a:gd name="T22" fmla="*/ 10 w 18"/>
                    <a:gd name="T23" fmla="*/ 37 h 47"/>
                    <a:gd name="T24" fmla="*/ 10 w 18"/>
                    <a:gd name="T25" fmla="*/ 23 h 47"/>
                    <a:gd name="T26" fmla="*/ 11 w 18"/>
                    <a:gd name="T27" fmla="*/ 23 h 47"/>
                    <a:gd name="T28" fmla="*/ 11 w 18"/>
                    <a:gd name="T29" fmla="*/ 36 h 47"/>
                    <a:gd name="T30" fmla="*/ 12 w 18"/>
                    <a:gd name="T31" fmla="*/ 11 h 47"/>
                    <a:gd name="T32" fmla="*/ 4 w 18"/>
                    <a:gd name="T33" fmla="*/ 0 h 47"/>
                    <a:gd name="T34" fmla="*/ 0 w 18"/>
                    <a:gd name="T3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3"/>
                        <a:pt x="10" y="42"/>
                        <a:pt x="10" y="39"/>
                      </a:cubicBezTo>
                      <a:cubicBezTo>
                        <a:pt x="10" y="39"/>
                        <a:pt x="9" y="39"/>
                        <a:pt x="9" y="39"/>
                      </a:cubicBezTo>
                      <a:cubicBezTo>
                        <a:pt x="9" y="38"/>
                        <a:pt x="10" y="38"/>
                        <a:pt x="10" y="37"/>
                      </a:cubicBezTo>
                      <a:cubicBezTo>
                        <a:pt x="10" y="31"/>
                        <a:pt x="10" y="23"/>
                        <a:pt x="10" y="23"/>
                      </a:cubicBezTo>
                      <a:cubicBezTo>
                        <a:pt x="10" y="23"/>
                        <a:pt x="10" y="23"/>
                        <a:pt x="11" y="23"/>
                      </a:cubicBezTo>
                      <a:cubicBezTo>
                        <a:pt x="11" y="23"/>
                        <a:pt x="11" y="30"/>
                        <a:pt x="11" y="36"/>
                      </a:cubicBezTo>
                      <a:cubicBezTo>
                        <a:pt x="18" y="26"/>
                        <a:pt x="11" y="19"/>
                        <a:pt x="12" y="11"/>
                      </a:cubicBezTo>
                      <a:cubicBezTo>
                        <a:pt x="12" y="7"/>
                        <a:pt x="6" y="5"/>
                        <a:pt x="4" y="0"/>
                      </a:cubicBezTo>
                      <a:cubicBezTo>
                        <a:pt x="2" y="1"/>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98" name="Oval 1415"/>
                <p:cNvSpPr>
                  <a:spLocks noChangeArrowheads="1"/>
                </p:cNvSpPr>
                <p:nvPr/>
              </p:nvSpPr>
              <p:spPr bwMode="auto">
                <a:xfrm>
                  <a:off x="14339"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99" name="Freeform 1416"/>
                <p:cNvSpPr>
                  <a:spLocks/>
                </p:cNvSpPr>
                <p:nvPr/>
              </p:nvSpPr>
              <p:spPr bwMode="auto">
                <a:xfrm>
                  <a:off x="14455" y="1443"/>
                  <a:ext cx="55" cy="45"/>
                </a:xfrm>
                <a:custGeom>
                  <a:avLst/>
                  <a:gdLst>
                    <a:gd name="T0" fmla="*/ 17 w 23"/>
                    <a:gd name="T1" fmla="*/ 0 h 19"/>
                    <a:gd name="T2" fmla="*/ 6 w 23"/>
                    <a:gd name="T3" fmla="*/ 0 h 19"/>
                    <a:gd name="T4" fmla="*/ 0 w 23"/>
                    <a:gd name="T5" fmla="*/ 6 h 19"/>
                    <a:gd name="T6" fmla="*/ 0 w 23"/>
                    <a:gd name="T7" fmla="*/ 19 h 19"/>
                    <a:gd name="T8" fmla="*/ 4 w 23"/>
                    <a:gd name="T9" fmla="*/ 16 h 19"/>
                    <a:gd name="T10" fmla="*/ 4 w 23"/>
                    <a:gd name="T11" fmla="*/ 7 h 19"/>
                    <a:gd name="T12" fmla="*/ 5 w 23"/>
                    <a:gd name="T13" fmla="*/ 7 h 19"/>
                    <a:gd name="T14" fmla="*/ 5 w 23"/>
                    <a:gd name="T15" fmla="*/ 16 h 19"/>
                    <a:gd name="T16" fmla="*/ 18 w 23"/>
                    <a:gd name="T17" fmla="*/ 9 h 19"/>
                    <a:gd name="T18" fmla="*/ 18 w 23"/>
                    <a:gd name="T19" fmla="*/ 7 h 19"/>
                    <a:gd name="T20" fmla="*/ 19 w 23"/>
                    <a:gd name="T21" fmla="*/ 7 h 19"/>
                    <a:gd name="T22" fmla="*/ 19 w 23"/>
                    <a:gd name="T23" fmla="*/ 8 h 19"/>
                    <a:gd name="T24" fmla="*/ 23 w 23"/>
                    <a:gd name="T25" fmla="*/ 6 h 19"/>
                    <a:gd name="T26" fmla="*/ 17 w 23"/>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19">
                      <a:moveTo>
                        <a:pt x="17" y="0"/>
                      </a:moveTo>
                      <a:cubicBezTo>
                        <a:pt x="15" y="0"/>
                        <a:pt x="8" y="0"/>
                        <a:pt x="6" y="0"/>
                      </a:cubicBezTo>
                      <a:cubicBezTo>
                        <a:pt x="3" y="0"/>
                        <a:pt x="0" y="2"/>
                        <a:pt x="0" y="6"/>
                      </a:cubicBezTo>
                      <a:cubicBezTo>
                        <a:pt x="0" y="7"/>
                        <a:pt x="0" y="15"/>
                        <a:pt x="0" y="19"/>
                      </a:cubicBezTo>
                      <a:cubicBezTo>
                        <a:pt x="1" y="18"/>
                        <a:pt x="3" y="17"/>
                        <a:pt x="4" y="16"/>
                      </a:cubicBezTo>
                      <a:cubicBezTo>
                        <a:pt x="4" y="12"/>
                        <a:pt x="4" y="7"/>
                        <a:pt x="4" y="7"/>
                      </a:cubicBezTo>
                      <a:cubicBezTo>
                        <a:pt x="4" y="7"/>
                        <a:pt x="4" y="7"/>
                        <a:pt x="5" y="7"/>
                      </a:cubicBezTo>
                      <a:cubicBezTo>
                        <a:pt x="5" y="7"/>
                        <a:pt x="5" y="11"/>
                        <a:pt x="5" y="16"/>
                      </a:cubicBezTo>
                      <a:cubicBezTo>
                        <a:pt x="9" y="14"/>
                        <a:pt x="13" y="11"/>
                        <a:pt x="18" y="9"/>
                      </a:cubicBezTo>
                      <a:cubicBezTo>
                        <a:pt x="18" y="8"/>
                        <a:pt x="18" y="7"/>
                        <a:pt x="18" y="7"/>
                      </a:cubicBezTo>
                      <a:cubicBezTo>
                        <a:pt x="18" y="7"/>
                        <a:pt x="18" y="7"/>
                        <a:pt x="19" y="7"/>
                      </a:cubicBezTo>
                      <a:cubicBezTo>
                        <a:pt x="19" y="7"/>
                        <a:pt x="19" y="7"/>
                        <a:pt x="19" y="8"/>
                      </a:cubicBezTo>
                      <a:cubicBezTo>
                        <a:pt x="20" y="7"/>
                        <a:pt x="21" y="6"/>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00" name="Freeform 1417"/>
                <p:cNvSpPr>
                  <a:spLocks/>
                </p:cNvSpPr>
                <p:nvPr/>
              </p:nvSpPr>
              <p:spPr bwMode="auto">
                <a:xfrm>
                  <a:off x="14417" y="1388"/>
                  <a:ext cx="14" cy="19"/>
                </a:xfrm>
                <a:custGeom>
                  <a:avLst/>
                  <a:gdLst>
                    <a:gd name="T0" fmla="*/ 0 w 6"/>
                    <a:gd name="T1" fmla="*/ 0 h 8"/>
                    <a:gd name="T2" fmla="*/ 0 w 6"/>
                    <a:gd name="T3" fmla="*/ 5 h 8"/>
                    <a:gd name="T4" fmla="*/ 3 w 6"/>
                    <a:gd name="T5" fmla="*/ 8 h 8"/>
                    <a:gd name="T6" fmla="*/ 6 w 6"/>
                    <a:gd name="T7" fmla="*/ 5 h 8"/>
                    <a:gd name="T8" fmla="*/ 6 w 6"/>
                    <a:gd name="T9" fmla="*/ 0 h 8"/>
                    <a:gd name="T10" fmla="*/ 0 w 6"/>
                    <a:gd name="T11" fmla="*/ 0 h 8"/>
                  </a:gdLst>
                  <a:ahLst/>
                  <a:cxnLst>
                    <a:cxn ang="0">
                      <a:pos x="T0" y="T1"/>
                    </a:cxn>
                    <a:cxn ang="0">
                      <a:pos x="T2" y="T3"/>
                    </a:cxn>
                    <a:cxn ang="0">
                      <a:pos x="T4" y="T5"/>
                    </a:cxn>
                    <a:cxn ang="0">
                      <a:pos x="T6" y="T7"/>
                    </a:cxn>
                    <a:cxn ang="0">
                      <a:pos x="T8" y="T9"/>
                    </a:cxn>
                    <a:cxn ang="0">
                      <a:pos x="T10" y="T11"/>
                    </a:cxn>
                  </a:cxnLst>
                  <a:rect l="0" t="0" r="r" b="b"/>
                  <a:pathLst>
                    <a:path w="6" h="8">
                      <a:moveTo>
                        <a:pt x="0" y="0"/>
                      </a:moveTo>
                      <a:cubicBezTo>
                        <a:pt x="0" y="3"/>
                        <a:pt x="0" y="4"/>
                        <a:pt x="0" y="5"/>
                      </a:cubicBezTo>
                      <a:cubicBezTo>
                        <a:pt x="0" y="6"/>
                        <a:pt x="2" y="8"/>
                        <a:pt x="3" y="8"/>
                      </a:cubicBezTo>
                      <a:cubicBezTo>
                        <a:pt x="5" y="8"/>
                        <a:pt x="6" y="6"/>
                        <a:pt x="6" y="5"/>
                      </a:cubicBezTo>
                      <a:cubicBezTo>
                        <a:pt x="6" y="4"/>
                        <a:pt x="6" y="3"/>
                        <a:pt x="6" y="0"/>
                      </a:cubicBezTo>
                      <a:cubicBezTo>
                        <a:pt x="4"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01" name="Freeform 1418"/>
                <p:cNvSpPr>
                  <a:spLocks/>
                </p:cNvSpPr>
                <p:nvPr/>
              </p:nvSpPr>
              <p:spPr bwMode="auto">
                <a:xfrm>
                  <a:off x="14573" y="1185"/>
                  <a:ext cx="8" cy="12"/>
                </a:xfrm>
                <a:custGeom>
                  <a:avLst/>
                  <a:gdLst>
                    <a:gd name="T0" fmla="*/ 1 w 3"/>
                    <a:gd name="T1" fmla="*/ 5 h 5"/>
                    <a:gd name="T2" fmla="*/ 2 w 3"/>
                    <a:gd name="T3" fmla="*/ 3 h 5"/>
                    <a:gd name="T4" fmla="*/ 1 w 3"/>
                    <a:gd name="T5" fmla="*/ 0 h 5"/>
                    <a:gd name="T6" fmla="*/ 0 w 3"/>
                    <a:gd name="T7" fmla="*/ 5 h 5"/>
                    <a:gd name="T8" fmla="*/ 1 w 3"/>
                    <a:gd name="T9" fmla="*/ 5 h 5"/>
                  </a:gdLst>
                  <a:ahLst/>
                  <a:cxnLst>
                    <a:cxn ang="0">
                      <a:pos x="T0" y="T1"/>
                    </a:cxn>
                    <a:cxn ang="0">
                      <a:pos x="T2" y="T3"/>
                    </a:cxn>
                    <a:cxn ang="0">
                      <a:pos x="T4" y="T5"/>
                    </a:cxn>
                    <a:cxn ang="0">
                      <a:pos x="T6" y="T7"/>
                    </a:cxn>
                    <a:cxn ang="0">
                      <a:pos x="T8" y="T9"/>
                    </a:cxn>
                  </a:cxnLst>
                  <a:rect l="0" t="0" r="r" b="b"/>
                  <a:pathLst>
                    <a:path w="3" h="5">
                      <a:moveTo>
                        <a:pt x="1" y="5"/>
                      </a:moveTo>
                      <a:cubicBezTo>
                        <a:pt x="2" y="5"/>
                        <a:pt x="3" y="4"/>
                        <a:pt x="2" y="3"/>
                      </a:cubicBezTo>
                      <a:cubicBezTo>
                        <a:pt x="2" y="3"/>
                        <a:pt x="2" y="1"/>
                        <a:pt x="1" y="0"/>
                      </a:cubicBezTo>
                      <a:cubicBezTo>
                        <a:pt x="1" y="1"/>
                        <a:pt x="0" y="3"/>
                        <a:pt x="0" y="5"/>
                      </a:cubicBezTo>
                      <a:cubicBezTo>
                        <a:pt x="0"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02" name="Oval 1419"/>
                <p:cNvSpPr>
                  <a:spLocks noChangeArrowheads="1"/>
                </p:cNvSpPr>
                <p:nvPr/>
              </p:nvSpPr>
              <p:spPr bwMode="auto">
                <a:xfrm>
                  <a:off x="14472"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03" name="Oval 1420"/>
                <p:cNvSpPr>
                  <a:spLocks noChangeArrowheads="1"/>
                </p:cNvSpPr>
                <p:nvPr/>
              </p:nvSpPr>
              <p:spPr bwMode="auto">
                <a:xfrm>
                  <a:off x="14668"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04" name="Freeform 1421"/>
                <p:cNvSpPr>
                  <a:spLocks/>
                </p:cNvSpPr>
                <p:nvPr/>
              </p:nvSpPr>
              <p:spPr bwMode="auto">
                <a:xfrm>
                  <a:off x="14521" y="1147"/>
                  <a:ext cx="52" cy="31"/>
                </a:xfrm>
                <a:custGeom>
                  <a:avLst/>
                  <a:gdLst>
                    <a:gd name="T0" fmla="*/ 17 w 22"/>
                    <a:gd name="T1" fmla="*/ 9 h 13"/>
                    <a:gd name="T2" fmla="*/ 16 w 22"/>
                    <a:gd name="T3" fmla="*/ 7 h 13"/>
                    <a:gd name="T4" fmla="*/ 17 w 22"/>
                    <a:gd name="T5" fmla="*/ 7 h 13"/>
                    <a:gd name="T6" fmla="*/ 18 w 22"/>
                    <a:gd name="T7" fmla="*/ 9 h 13"/>
                    <a:gd name="T8" fmla="*/ 22 w 22"/>
                    <a:gd name="T9" fmla="*/ 9 h 13"/>
                    <a:gd name="T10" fmla="*/ 20 w 22"/>
                    <a:gd name="T11" fmla="*/ 5 h 13"/>
                    <a:gd name="T12" fmla="*/ 15 w 22"/>
                    <a:gd name="T13" fmla="*/ 0 h 13"/>
                    <a:gd name="T14" fmla="*/ 7 w 22"/>
                    <a:gd name="T15" fmla="*/ 0 h 13"/>
                    <a:gd name="T16" fmla="*/ 2 w 22"/>
                    <a:gd name="T17" fmla="*/ 5 h 13"/>
                    <a:gd name="T18" fmla="*/ 0 w 22"/>
                    <a:gd name="T19" fmla="*/ 13 h 13"/>
                    <a:gd name="T20" fmla="*/ 4 w 22"/>
                    <a:gd name="T21" fmla="*/ 11 h 13"/>
                    <a:gd name="T22" fmla="*/ 5 w 22"/>
                    <a:gd name="T23" fmla="*/ 7 h 13"/>
                    <a:gd name="T24" fmla="*/ 7 w 22"/>
                    <a:gd name="T25" fmla="*/ 7 h 13"/>
                    <a:gd name="T26" fmla="*/ 6 w 22"/>
                    <a:gd name="T27" fmla="*/ 10 h 13"/>
                    <a:gd name="T28" fmla="*/ 17 w 22"/>
                    <a:gd name="T29"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13">
                      <a:moveTo>
                        <a:pt x="17" y="9"/>
                      </a:moveTo>
                      <a:cubicBezTo>
                        <a:pt x="16" y="7"/>
                        <a:pt x="16" y="7"/>
                        <a:pt x="16" y="7"/>
                      </a:cubicBezTo>
                      <a:cubicBezTo>
                        <a:pt x="17" y="7"/>
                        <a:pt x="17" y="7"/>
                        <a:pt x="17" y="7"/>
                      </a:cubicBezTo>
                      <a:cubicBezTo>
                        <a:pt x="17" y="7"/>
                        <a:pt x="17" y="8"/>
                        <a:pt x="18" y="9"/>
                      </a:cubicBezTo>
                      <a:cubicBezTo>
                        <a:pt x="19" y="9"/>
                        <a:pt x="20" y="9"/>
                        <a:pt x="22" y="9"/>
                      </a:cubicBezTo>
                      <a:cubicBezTo>
                        <a:pt x="21" y="8"/>
                        <a:pt x="21" y="6"/>
                        <a:pt x="20" y="5"/>
                      </a:cubicBezTo>
                      <a:cubicBezTo>
                        <a:pt x="20" y="3"/>
                        <a:pt x="17" y="0"/>
                        <a:pt x="15" y="0"/>
                      </a:cubicBezTo>
                      <a:cubicBezTo>
                        <a:pt x="14" y="0"/>
                        <a:pt x="8" y="0"/>
                        <a:pt x="7" y="0"/>
                      </a:cubicBezTo>
                      <a:cubicBezTo>
                        <a:pt x="5" y="0"/>
                        <a:pt x="3" y="3"/>
                        <a:pt x="2" y="5"/>
                      </a:cubicBezTo>
                      <a:cubicBezTo>
                        <a:pt x="1" y="7"/>
                        <a:pt x="1" y="10"/>
                        <a:pt x="0" y="13"/>
                      </a:cubicBezTo>
                      <a:cubicBezTo>
                        <a:pt x="1" y="12"/>
                        <a:pt x="3" y="11"/>
                        <a:pt x="4" y="11"/>
                      </a:cubicBezTo>
                      <a:cubicBezTo>
                        <a:pt x="5" y="8"/>
                        <a:pt x="5" y="7"/>
                        <a:pt x="5" y="7"/>
                      </a:cubicBezTo>
                      <a:cubicBezTo>
                        <a:pt x="7" y="7"/>
                        <a:pt x="7" y="7"/>
                        <a:pt x="7" y="7"/>
                      </a:cubicBezTo>
                      <a:cubicBezTo>
                        <a:pt x="6" y="8"/>
                        <a:pt x="6" y="9"/>
                        <a:pt x="6" y="10"/>
                      </a:cubicBezTo>
                      <a:cubicBezTo>
                        <a:pt x="9" y="9"/>
                        <a:pt x="13" y="9"/>
                        <a:pt x="17"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05" name="Freeform 1422"/>
                <p:cNvSpPr>
                  <a:spLocks/>
                </p:cNvSpPr>
                <p:nvPr/>
              </p:nvSpPr>
              <p:spPr bwMode="auto">
                <a:xfrm>
                  <a:off x="14405" y="1270"/>
                  <a:ext cx="22" cy="9"/>
                </a:xfrm>
                <a:custGeom>
                  <a:avLst/>
                  <a:gdLst>
                    <a:gd name="T0" fmla="*/ 5 w 9"/>
                    <a:gd name="T1" fmla="*/ 0 h 4"/>
                    <a:gd name="T2" fmla="*/ 0 w 9"/>
                    <a:gd name="T3" fmla="*/ 4 h 4"/>
                    <a:gd name="T4" fmla="*/ 9 w 9"/>
                    <a:gd name="T5" fmla="*/ 3 h 4"/>
                    <a:gd name="T6" fmla="*/ 5 w 9"/>
                    <a:gd name="T7" fmla="*/ 0 h 4"/>
                  </a:gdLst>
                  <a:ahLst/>
                  <a:cxnLst>
                    <a:cxn ang="0">
                      <a:pos x="T0" y="T1"/>
                    </a:cxn>
                    <a:cxn ang="0">
                      <a:pos x="T2" y="T3"/>
                    </a:cxn>
                    <a:cxn ang="0">
                      <a:pos x="T4" y="T5"/>
                    </a:cxn>
                    <a:cxn ang="0">
                      <a:pos x="T6" y="T7"/>
                    </a:cxn>
                  </a:cxnLst>
                  <a:rect l="0" t="0" r="r" b="b"/>
                  <a:pathLst>
                    <a:path w="9" h="4">
                      <a:moveTo>
                        <a:pt x="5" y="0"/>
                      </a:moveTo>
                      <a:cubicBezTo>
                        <a:pt x="3" y="0"/>
                        <a:pt x="1" y="2"/>
                        <a:pt x="0" y="4"/>
                      </a:cubicBezTo>
                      <a:cubicBezTo>
                        <a:pt x="3" y="3"/>
                        <a:pt x="6" y="4"/>
                        <a:pt x="9" y="3"/>
                      </a:cubicBezTo>
                      <a:cubicBezTo>
                        <a:pt x="8" y="1"/>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06" name="Oval 1423"/>
                <p:cNvSpPr>
                  <a:spLocks noChangeArrowheads="1"/>
                </p:cNvSpPr>
                <p:nvPr/>
              </p:nvSpPr>
              <p:spPr bwMode="auto">
                <a:xfrm>
                  <a:off x="14602"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07" name="Freeform 1424"/>
                <p:cNvSpPr>
                  <a:spLocks/>
                </p:cNvSpPr>
                <p:nvPr/>
              </p:nvSpPr>
              <p:spPr bwMode="auto">
                <a:xfrm>
                  <a:off x="14254" y="1147"/>
                  <a:ext cx="64" cy="111"/>
                </a:xfrm>
                <a:custGeom>
                  <a:avLst/>
                  <a:gdLst>
                    <a:gd name="T0" fmla="*/ 17 w 27"/>
                    <a:gd name="T1" fmla="*/ 0 h 47"/>
                    <a:gd name="T2" fmla="*/ 10 w 27"/>
                    <a:gd name="T3" fmla="*/ 0 h 47"/>
                    <a:gd name="T4" fmla="*/ 4 w 27"/>
                    <a:gd name="T5" fmla="*/ 5 h 47"/>
                    <a:gd name="T6" fmla="*/ 0 w 27"/>
                    <a:gd name="T7" fmla="*/ 19 h 47"/>
                    <a:gd name="T8" fmla="*/ 1 w 27"/>
                    <a:gd name="T9" fmla="*/ 21 h 47"/>
                    <a:gd name="T10" fmla="*/ 4 w 27"/>
                    <a:gd name="T11" fmla="*/ 20 h 47"/>
                    <a:gd name="T12" fmla="*/ 8 w 27"/>
                    <a:gd name="T13" fmla="*/ 7 h 47"/>
                    <a:gd name="T14" fmla="*/ 9 w 27"/>
                    <a:gd name="T15" fmla="*/ 7 h 47"/>
                    <a:gd name="T16" fmla="*/ 2 w 27"/>
                    <a:gd name="T17" fmla="*/ 29 h 47"/>
                    <a:gd name="T18" fmla="*/ 8 w 27"/>
                    <a:gd name="T19" fmla="*/ 29 h 47"/>
                    <a:gd name="T20" fmla="*/ 8 w 27"/>
                    <a:gd name="T21" fmla="*/ 45 h 47"/>
                    <a:gd name="T22" fmla="*/ 11 w 27"/>
                    <a:gd name="T23" fmla="*/ 47 h 47"/>
                    <a:gd name="T24" fmla="*/ 13 w 27"/>
                    <a:gd name="T25" fmla="*/ 45 h 47"/>
                    <a:gd name="T26" fmla="*/ 13 w 27"/>
                    <a:gd name="T27" fmla="*/ 29 h 47"/>
                    <a:gd name="T28" fmla="*/ 14 w 27"/>
                    <a:gd name="T29" fmla="*/ 29 h 47"/>
                    <a:gd name="T30" fmla="*/ 14 w 27"/>
                    <a:gd name="T31" fmla="*/ 45 h 47"/>
                    <a:gd name="T32" fmla="*/ 16 w 27"/>
                    <a:gd name="T33" fmla="*/ 47 h 47"/>
                    <a:gd name="T34" fmla="*/ 18 w 27"/>
                    <a:gd name="T35" fmla="*/ 45 h 47"/>
                    <a:gd name="T36" fmla="*/ 18 w 27"/>
                    <a:gd name="T37" fmla="*/ 29 h 47"/>
                    <a:gd name="T38" fmla="*/ 25 w 27"/>
                    <a:gd name="T39" fmla="*/ 29 h 47"/>
                    <a:gd name="T40" fmla="*/ 18 w 27"/>
                    <a:gd name="T41" fmla="*/ 7 h 47"/>
                    <a:gd name="T42" fmla="*/ 19 w 27"/>
                    <a:gd name="T43" fmla="*/ 7 h 47"/>
                    <a:gd name="T44" fmla="*/ 23 w 27"/>
                    <a:gd name="T45" fmla="*/ 20 h 47"/>
                    <a:gd name="T46" fmla="*/ 25 w 27"/>
                    <a:gd name="T47" fmla="*/ 21 h 47"/>
                    <a:gd name="T48" fmla="*/ 27 w 27"/>
                    <a:gd name="T49" fmla="*/ 19 h 47"/>
                    <a:gd name="T50" fmla="*/ 23 w 27"/>
                    <a:gd name="T51" fmla="*/ 5 h 47"/>
                    <a:gd name="T52" fmla="*/ 17 w 27"/>
                    <a:gd name="T5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7" y="0"/>
                      </a:moveTo>
                      <a:cubicBezTo>
                        <a:pt x="16" y="0"/>
                        <a:pt x="11" y="0"/>
                        <a:pt x="10" y="0"/>
                      </a:cubicBezTo>
                      <a:cubicBezTo>
                        <a:pt x="7" y="0"/>
                        <a:pt x="5" y="3"/>
                        <a:pt x="4" y="5"/>
                      </a:cubicBezTo>
                      <a:cubicBezTo>
                        <a:pt x="3" y="11"/>
                        <a:pt x="0" y="18"/>
                        <a:pt x="0" y="19"/>
                      </a:cubicBezTo>
                      <a:cubicBezTo>
                        <a:pt x="0" y="20"/>
                        <a:pt x="1" y="21"/>
                        <a:pt x="1" y="21"/>
                      </a:cubicBezTo>
                      <a:cubicBezTo>
                        <a:pt x="2" y="21"/>
                        <a:pt x="3" y="21"/>
                        <a:pt x="4" y="20"/>
                      </a:cubicBezTo>
                      <a:cubicBezTo>
                        <a:pt x="4" y="18"/>
                        <a:pt x="8" y="7"/>
                        <a:pt x="8" y="7"/>
                      </a:cubicBezTo>
                      <a:cubicBezTo>
                        <a:pt x="9" y="7"/>
                        <a:pt x="9" y="7"/>
                        <a:pt x="9" y="7"/>
                      </a:cubicBezTo>
                      <a:cubicBezTo>
                        <a:pt x="2" y="29"/>
                        <a:pt x="2" y="29"/>
                        <a:pt x="2" y="29"/>
                      </a:cubicBezTo>
                      <a:cubicBezTo>
                        <a:pt x="8" y="29"/>
                        <a:pt x="8" y="29"/>
                        <a:pt x="8" y="29"/>
                      </a:cubicBezTo>
                      <a:cubicBezTo>
                        <a:pt x="8" y="36"/>
                        <a:pt x="8" y="44"/>
                        <a:pt x="8" y="45"/>
                      </a:cubicBezTo>
                      <a:cubicBezTo>
                        <a:pt x="8"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8" y="46"/>
                        <a:pt x="18" y="45"/>
                      </a:cubicBezTo>
                      <a:cubicBezTo>
                        <a:pt x="18" y="44"/>
                        <a:pt x="18" y="36"/>
                        <a:pt x="18" y="29"/>
                      </a:cubicBezTo>
                      <a:cubicBezTo>
                        <a:pt x="25" y="29"/>
                        <a:pt x="25" y="29"/>
                        <a:pt x="25" y="29"/>
                      </a:cubicBezTo>
                      <a:cubicBezTo>
                        <a:pt x="18" y="7"/>
                        <a:pt x="18" y="7"/>
                        <a:pt x="18" y="7"/>
                      </a:cubicBezTo>
                      <a:cubicBezTo>
                        <a:pt x="19" y="7"/>
                        <a:pt x="19" y="7"/>
                        <a:pt x="19" y="7"/>
                      </a:cubicBezTo>
                      <a:cubicBezTo>
                        <a:pt x="19" y="7"/>
                        <a:pt x="23" y="18"/>
                        <a:pt x="23" y="20"/>
                      </a:cubicBezTo>
                      <a:cubicBezTo>
                        <a:pt x="23" y="21"/>
                        <a:pt x="25" y="21"/>
                        <a:pt x="25" y="21"/>
                      </a:cubicBezTo>
                      <a:cubicBezTo>
                        <a:pt x="26" y="21"/>
                        <a:pt x="27" y="20"/>
                        <a:pt x="27" y="19"/>
                      </a:cubicBezTo>
                      <a:cubicBezTo>
                        <a:pt x="26" y="18"/>
                        <a:pt x="24" y="11"/>
                        <a:pt x="23" y="5"/>
                      </a:cubicBezTo>
                      <a:cubicBezTo>
                        <a:pt x="22"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08" name="Freeform 1425"/>
                <p:cNvSpPr>
                  <a:spLocks/>
                </p:cNvSpPr>
                <p:nvPr/>
              </p:nvSpPr>
              <p:spPr bwMode="auto">
                <a:xfrm>
                  <a:off x="14550" y="1216"/>
                  <a:ext cx="9" cy="42"/>
                </a:xfrm>
                <a:custGeom>
                  <a:avLst/>
                  <a:gdLst>
                    <a:gd name="T0" fmla="*/ 0 w 4"/>
                    <a:gd name="T1" fmla="*/ 16 h 18"/>
                    <a:gd name="T2" fmla="*/ 2 w 4"/>
                    <a:gd name="T3" fmla="*/ 18 h 18"/>
                    <a:gd name="T4" fmla="*/ 4 w 4"/>
                    <a:gd name="T5" fmla="*/ 16 h 18"/>
                    <a:gd name="T6" fmla="*/ 4 w 4"/>
                    <a:gd name="T7" fmla="*/ 0 h 18"/>
                    <a:gd name="T8" fmla="*/ 0 w 4"/>
                    <a:gd name="T9" fmla="*/ 7 h 18"/>
                    <a:gd name="T10" fmla="*/ 0 w 4"/>
                    <a:gd name="T11" fmla="*/ 16 h 18"/>
                  </a:gdLst>
                  <a:ahLst/>
                  <a:cxnLst>
                    <a:cxn ang="0">
                      <a:pos x="T0" y="T1"/>
                    </a:cxn>
                    <a:cxn ang="0">
                      <a:pos x="T2" y="T3"/>
                    </a:cxn>
                    <a:cxn ang="0">
                      <a:pos x="T4" y="T5"/>
                    </a:cxn>
                    <a:cxn ang="0">
                      <a:pos x="T6" y="T7"/>
                    </a:cxn>
                    <a:cxn ang="0">
                      <a:pos x="T8" y="T9"/>
                    </a:cxn>
                    <a:cxn ang="0">
                      <a:pos x="T10" y="T11"/>
                    </a:cxn>
                  </a:cxnLst>
                  <a:rect l="0" t="0" r="r" b="b"/>
                  <a:pathLst>
                    <a:path w="4" h="18">
                      <a:moveTo>
                        <a:pt x="0" y="16"/>
                      </a:moveTo>
                      <a:cubicBezTo>
                        <a:pt x="0" y="17"/>
                        <a:pt x="1" y="18"/>
                        <a:pt x="2" y="18"/>
                      </a:cubicBezTo>
                      <a:cubicBezTo>
                        <a:pt x="3" y="18"/>
                        <a:pt x="4" y="17"/>
                        <a:pt x="4" y="16"/>
                      </a:cubicBezTo>
                      <a:cubicBezTo>
                        <a:pt x="4" y="15"/>
                        <a:pt x="4" y="8"/>
                        <a:pt x="4" y="0"/>
                      </a:cubicBezTo>
                      <a:cubicBezTo>
                        <a:pt x="3" y="3"/>
                        <a:pt x="1" y="5"/>
                        <a:pt x="0" y="7"/>
                      </a:cubicBezTo>
                      <a:cubicBezTo>
                        <a:pt x="0" y="11"/>
                        <a:pt x="0" y="15"/>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09" name="Freeform 1426"/>
                <p:cNvSpPr>
                  <a:spLocks/>
                </p:cNvSpPr>
                <p:nvPr/>
              </p:nvSpPr>
              <p:spPr bwMode="auto">
                <a:xfrm>
                  <a:off x="14588" y="1147"/>
                  <a:ext cx="52" cy="111"/>
                </a:xfrm>
                <a:custGeom>
                  <a:avLst/>
                  <a:gdLst>
                    <a:gd name="T0" fmla="*/ 18 w 22"/>
                    <a:gd name="T1" fmla="*/ 8 h 47"/>
                    <a:gd name="T2" fmla="*/ 18 w 22"/>
                    <a:gd name="T3" fmla="*/ 21 h 47"/>
                    <a:gd name="T4" fmla="*/ 20 w 22"/>
                    <a:gd name="T5" fmla="*/ 23 h 47"/>
                    <a:gd name="T6" fmla="*/ 22 w 22"/>
                    <a:gd name="T7" fmla="*/ 21 h 47"/>
                    <a:gd name="T8" fmla="*/ 22 w 22"/>
                    <a:gd name="T9" fmla="*/ 7 h 47"/>
                    <a:gd name="T10" fmla="*/ 16 w 22"/>
                    <a:gd name="T11" fmla="*/ 0 h 47"/>
                    <a:gd name="T12" fmla="*/ 6 w 22"/>
                    <a:gd name="T13" fmla="*/ 0 h 47"/>
                    <a:gd name="T14" fmla="*/ 0 w 22"/>
                    <a:gd name="T15" fmla="*/ 7 h 47"/>
                    <a:gd name="T16" fmla="*/ 0 w 22"/>
                    <a:gd name="T17" fmla="*/ 21 h 47"/>
                    <a:gd name="T18" fmla="*/ 2 w 22"/>
                    <a:gd name="T19" fmla="*/ 23 h 47"/>
                    <a:gd name="T20" fmla="*/ 4 w 22"/>
                    <a:gd name="T21" fmla="*/ 21 h 47"/>
                    <a:gd name="T22" fmla="*/ 4 w 22"/>
                    <a:gd name="T23" fmla="*/ 8 h 47"/>
                    <a:gd name="T24" fmla="*/ 5 w 22"/>
                    <a:gd name="T25" fmla="*/ 8 h 47"/>
                    <a:gd name="T26" fmla="*/ 5 w 22"/>
                    <a:gd name="T27" fmla="*/ 44 h 47"/>
                    <a:gd name="T28" fmla="*/ 6 w 22"/>
                    <a:gd name="T29" fmla="*/ 47 h 47"/>
                    <a:gd name="T30" fmla="*/ 10 w 22"/>
                    <a:gd name="T31" fmla="*/ 44 h 47"/>
                    <a:gd name="T32" fmla="*/ 10 w 22"/>
                    <a:gd name="T33" fmla="*/ 23 h 47"/>
                    <a:gd name="T34" fmla="*/ 11 w 22"/>
                    <a:gd name="T35" fmla="*/ 23 h 47"/>
                    <a:gd name="T36" fmla="*/ 11 w 22"/>
                    <a:gd name="T37" fmla="*/ 43 h 47"/>
                    <a:gd name="T38" fmla="*/ 17 w 22"/>
                    <a:gd name="T39" fmla="*/ 39 h 47"/>
                    <a:gd name="T40" fmla="*/ 17 w 22"/>
                    <a:gd name="T41" fmla="*/ 8 h 47"/>
                    <a:gd name="T42" fmla="*/ 18 w 22"/>
                    <a:gd name="T43" fmla="*/ 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47">
                      <a:moveTo>
                        <a:pt x="18" y="8"/>
                      </a:moveTo>
                      <a:cubicBezTo>
                        <a:pt x="18" y="8"/>
                        <a:pt x="18" y="20"/>
                        <a:pt x="18" y="21"/>
                      </a:cubicBezTo>
                      <a:cubicBezTo>
                        <a:pt x="18" y="22"/>
                        <a:pt x="19" y="23"/>
                        <a:pt x="20" y="23"/>
                      </a:cubicBezTo>
                      <a:cubicBezTo>
                        <a:pt x="21" y="23"/>
                        <a:pt x="22" y="22"/>
                        <a:pt x="22" y="21"/>
                      </a:cubicBezTo>
                      <a:cubicBezTo>
                        <a:pt x="22" y="20"/>
                        <a:pt x="22" y="8"/>
                        <a:pt x="22" y="7"/>
                      </a:cubicBezTo>
                      <a:cubicBezTo>
                        <a:pt x="22" y="3"/>
                        <a:pt x="19" y="0"/>
                        <a:pt x="16" y="0"/>
                      </a:cubicBezTo>
                      <a:cubicBezTo>
                        <a:pt x="14" y="0"/>
                        <a:pt x="7" y="0"/>
                        <a:pt x="6" y="0"/>
                      </a:cubicBezTo>
                      <a:cubicBezTo>
                        <a:pt x="2"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5" y="46"/>
                        <a:pt x="6" y="47"/>
                      </a:cubicBezTo>
                      <a:cubicBezTo>
                        <a:pt x="8" y="46"/>
                        <a:pt x="9" y="45"/>
                        <a:pt x="10" y="44"/>
                      </a:cubicBezTo>
                      <a:cubicBezTo>
                        <a:pt x="10" y="40"/>
                        <a:pt x="10" y="23"/>
                        <a:pt x="10" y="23"/>
                      </a:cubicBezTo>
                      <a:cubicBezTo>
                        <a:pt x="10" y="23"/>
                        <a:pt x="10" y="23"/>
                        <a:pt x="11" y="23"/>
                      </a:cubicBezTo>
                      <a:cubicBezTo>
                        <a:pt x="11" y="23"/>
                        <a:pt x="11" y="38"/>
                        <a:pt x="11" y="43"/>
                      </a:cubicBezTo>
                      <a:cubicBezTo>
                        <a:pt x="13" y="42"/>
                        <a:pt x="15" y="40"/>
                        <a:pt x="17" y="39"/>
                      </a:cubicBezTo>
                      <a:cubicBezTo>
                        <a:pt x="17" y="28"/>
                        <a:pt x="17" y="8"/>
                        <a:pt x="17" y="8"/>
                      </a:cubicBezTo>
                      <a:cubicBezTo>
                        <a:pt x="17" y="8"/>
                        <a:pt x="17"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10" name="Oval 1427"/>
                <p:cNvSpPr>
                  <a:spLocks noChangeArrowheads="1"/>
                </p:cNvSpPr>
                <p:nvPr/>
              </p:nvSpPr>
              <p:spPr bwMode="auto">
                <a:xfrm>
                  <a:off x="14405"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11" name="Freeform 1428"/>
                <p:cNvSpPr>
                  <a:spLocks/>
                </p:cNvSpPr>
                <p:nvPr/>
              </p:nvSpPr>
              <p:spPr bwMode="auto">
                <a:xfrm>
                  <a:off x="14538" y="1234"/>
                  <a:ext cx="9" cy="24"/>
                </a:xfrm>
                <a:custGeom>
                  <a:avLst/>
                  <a:gdLst>
                    <a:gd name="T0" fmla="*/ 1 w 4"/>
                    <a:gd name="T1" fmla="*/ 10 h 10"/>
                    <a:gd name="T2" fmla="*/ 4 w 4"/>
                    <a:gd name="T3" fmla="*/ 8 h 10"/>
                    <a:gd name="T4" fmla="*/ 4 w 4"/>
                    <a:gd name="T5" fmla="*/ 0 h 10"/>
                    <a:gd name="T6" fmla="*/ 0 w 4"/>
                    <a:gd name="T7" fmla="*/ 10 h 10"/>
                    <a:gd name="T8" fmla="*/ 1 w 4"/>
                    <a:gd name="T9" fmla="*/ 10 h 10"/>
                  </a:gdLst>
                  <a:ahLst/>
                  <a:cxnLst>
                    <a:cxn ang="0">
                      <a:pos x="T0" y="T1"/>
                    </a:cxn>
                    <a:cxn ang="0">
                      <a:pos x="T2" y="T3"/>
                    </a:cxn>
                    <a:cxn ang="0">
                      <a:pos x="T4" y="T5"/>
                    </a:cxn>
                    <a:cxn ang="0">
                      <a:pos x="T6" y="T7"/>
                    </a:cxn>
                    <a:cxn ang="0">
                      <a:pos x="T8" y="T9"/>
                    </a:cxn>
                  </a:cxnLst>
                  <a:rect l="0" t="0" r="r" b="b"/>
                  <a:pathLst>
                    <a:path w="4" h="10">
                      <a:moveTo>
                        <a:pt x="1" y="10"/>
                      </a:moveTo>
                      <a:cubicBezTo>
                        <a:pt x="3" y="10"/>
                        <a:pt x="4" y="9"/>
                        <a:pt x="4" y="8"/>
                      </a:cubicBezTo>
                      <a:cubicBezTo>
                        <a:pt x="4" y="7"/>
                        <a:pt x="4" y="4"/>
                        <a:pt x="4" y="0"/>
                      </a:cubicBezTo>
                      <a:cubicBezTo>
                        <a:pt x="2" y="3"/>
                        <a:pt x="1" y="6"/>
                        <a:pt x="0" y="10"/>
                      </a:cubicBezTo>
                      <a:cubicBezTo>
                        <a:pt x="0" y="10"/>
                        <a:pt x="1" y="10"/>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12" name="Freeform 1429"/>
                <p:cNvSpPr>
                  <a:spLocks/>
                </p:cNvSpPr>
                <p:nvPr/>
              </p:nvSpPr>
              <p:spPr bwMode="auto">
                <a:xfrm>
                  <a:off x="14647" y="1147"/>
                  <a:ext cx="59" cy="69"/>
                </a:xfrm>
                <a:custGeom>
                  <a:avLst/>
                  <a:gdLst>
                    <a:gd name="T0" fmla="*/ 17 w 25"/>
                    <a:gd name="T1" fmla="*/ 0 h 29"/>
                    <a:gd name="T2" fmla="*/ 10 w 25"/>
                    <a:gd name="T3" fmla="*/ 0 h 29"/>
                    <a:gd name="T4" fmla="*/ 4 w 25"/>
                    <a:gd name="T5" fmla="*/ 5 h 29"/>
                    <a:gd name="T6" fmla="*/ 0 w 25"/>
                    <a:gd name="T7" fmla="*/ 19 h 29"/>
                    <a:gd name="T8" fmla="*/ 2 w 25"/>
                    <a:gd name="T9" fmla="*/ 21 h 29"/>
                    <a:gd name="T10" fmla="*/ 4 w 25"/>
                    <a:gd name="T11" fmla="*/ 20 h 29"/>
                    <a:gd name="T12" fmla="*/ 8 w 25"/>
                    <a:gd name="T13" fmla="*/ 7 h 29"/>
                    <a:gd name="T14" fmla="*/ 9 w 25"/>
                    <a:gd name="T15" fmla="*/ 7 h 29"/>
                    <a:gd name="T16" fmla="*/ 2 w 25"/>
                    <a:gd name="T17" fmla="*/ 29 h 29"/>
                    <a:gd name="T18" fmla="*/ 3 w 25"/>
                    <a:gd name="T19" fmla="*/ 29 h 29"/>
                    <a:gd name="T20" fmla="*/ 15 w 25"/>
                    <a:gd name="T21" fmla="*/ 19 h 29"/>
                    <a:gd name="T22" fmla="*/ 21 w 25"/>
                    <a:gd name="T23" fmla="*/ 15 h 29"/>
                    <a:gd name="T24" fmla="*/ 18 w 25"/>
                    <a:gd name="T25" fmla="*/ 7 h 29"/>
                    <a:gd name="T26" fmla="*/ 20 w 25"/>
                    <a:gd name="T27" fmla="*/ 7 h 29"/>
                    <a:gd name="T28" fmla="*/ 22 w 25"/>
                    <a:gd name="T29" fmla="*/ 14 h 29"/>
                    <a:gd name="T30" fmla="*/ 25 w 25"/>
                    <a:gd name="T31" fmla="*/ 12 h 29"/>
                    <a:gd name="T32" fmla="*/ 23 w 25"/>
                    <a:gd name="T33" fmla="*/ 5 h 29"/>
                    <a:gd name="T34" fmla="*/ 17 w 25"/>
                    <a:gd name="T3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9">
                      <a:moveTo>
                        <a:pt x="17" y="0"/>
                      </a:moveTo>
                      <a:cubicBezTo>
                        <a:pt x="16" y="0"/>
                        <a:pt x="11" y="0"/>
                        <a:pt x="10" y="0"/>
                      </a:cubicBezTo>
                      <a:cubicBezTo>
                        <a:pt x="7" y="0"/>
                        <a:pt x="5" y="3"/>
                        <a:pt x="4"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2" y="29"/>
                        <a:pt x="2" y="29"/>
                        <a:pt x="2" y="29"/>
                      </a:cubicBezTo>
                      <a:cubicBezTo>
                        <a:pt x="3" y="29"/>
                        <a:pt x="3" y="29"/>
                        <a:pt x="3" y="29"/>
                      </a:cubicBezTo>
                      <a:cubicBezTo>
                        <a:pt x="8" y="25"/>
                        <a:pt x="11" y="22"/>
                        <a:pt x="15" y="19"/>
                      </a:cubicBezTo>
                      <a:cubicBezTo>
                        <a:pt x="17" y="17"/>
                        <a:pt x="19" y="16"/>
                        <a:pt x="21" y="15"/>
                      </a:cubicBezTo>
                      <a:cubicBezTo>
                        <a:pt x="18" y="7"/>
                        <a:pt x="18" y="7"/>
                        <a:pt x="18" y="7"/>
                      </a:cubicBezTo>
                      <a:cubicBezTo>
                        <a:pt x="20" y="7"/>
                        <a:pt x="20" y="7"/>
                        <a:pt x="20" y="7"/>
                      </a:cubicBezTo>
                      <a:cubicBezTo>
                        <a:pt x="20" y="7"/>
                        <a:pt x="21" y="11"/>
                        <a:pt x="22" y="14"/>
                      </a:cubicBezTo>
                      <a:cubicBezTo>
                        <a:pt x="23" y="13"/>
                        <a:pt x="24" y="13"/>
                        <a:pt x="25" y="12"/>
                      </a:cubicBezTo>
                      <a:cubicBezTo>
                        <a:pt x="24" y="10"/>
                        <a:pt x="24" y="7"/>
                        <a:pt x="23" y="5"/>
                      </a:cubicBezTo>
                      <a:cubicBezTo>
                        <a:pt x="22"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13" name="Oval 1430"/>
                <p:cNvSpPr>
                  <a:spLocks noChangeArrowheads="1"/>
                </p:cNvSpPr>
                <p:nvPr/>
              </p:nvSpPr>
              <p:spPr bwMode="auto">
                <a:xfrm>
                  <a:off x="14275"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14" name="Oval 1431"/>
                <p:cNvSpPr>
                  <a:spLocks noChangeArrowheads="1"/>
                </p:cNvSpPr>
                <p:nvPr/>
              </p:nvSpPr>
              <p:spPr bwMode="auto">
                <a:xfrm>
                  <a:off x="14275"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15" name="Oval 1432"/>
                <p:cNvSpPr>
                  <a:spLocks noChangeArrowheads="1"/>
                </p:cNvSpPr>
                <p:nvPr/>
              </p:nvSpPr>
              <p:spPr bwMode="auto">
                <a:xfrm>
                  <a:off x="14275"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16" name="Freeform 1433"/>
                <p:cNvSpPr>
                  <a:spLocks/>
                </p:cNvSpPr>
                <p:nvPr/>
              </p:nvSpPr>
              <p:spPr bwMode="auto">
                <a:xfrm>
                  <a:off x="14259" y="1296"/>
                  <a:ext cx="54"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5 w 23"/>
                    <a:gd name="T11" fmla="*/ 7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7 h 47"/>
                    <a:gd name="T30" fmla="*/ 19 w 23"/>
                    <a:gd name="T31" fmla="*/ 7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8" y="45"/>
                        <a:pt x="18" y="44"/>
                      </a:cubicBezTo>
                      <a:cubicBezTo>
                        <a:pt x="18" y="42"/>
                        <a:pt x="18" y="7"/>
                        <a:pt x="18" y="7"/>
                      </a:cubicBezTo>
                      <a:cubicBezTo>
                        <a:pt x="18" y="7"/>
                        <a:pt x="18" y="7"/>
                        <a:pt x="19" y="7"/>
                      </a:cubicBezTo>
                      <a:cubicBezTo>
                        <a:pt x="19" y="7"/>
                        <a:pt x="19" y="19"/>
                        <a:pt x="19" y="21"/>
                      </a:cubicBezTo>
                      <a:cubicBezTo>
                        <a:pt x="19" y="22"/>
                        <a:pt x="20"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17" name="Freeform 1434"/>
                <p:cNvSpPr>
                  <a:spLocks/>
                </p:cNvSpPr>
                <p:nvPr/>
              </p:nvSpPr>
              <p:spPr bwMode="auto">
                <a:xfrm>
                  <a:off x="14254" y="1443"/>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1 w 27"/>
                    <a:gd name="T13" fmla="*/ 20 h 47"/>
                    <a:gd name="T14" fmla="*/ 4 w 27"/>
                    <a:gd name="T15" fmla="*/ 19 h 47"/>
                    <a:gd name="T16" fmla="*/ 8 w 27"/>
                    <a:gd name="T17" fmla="*/ 6 h 47"/>
                    <a:gd name="T18" fmla="*/ 9 w 27"/>
                    <a:gd name="T19" fmla="*/ 6 h 47"/>
                    <a:gd name="T20" fmla="*/ 2 w 27"/>
                    <a:gd name="T21" fmla="*/ 28 h 47"/>
                    <a:gd name="T22" fmla="*/ 8 w 27"/>
                    <a:gd name="T23" fmla="*/ 28 h 47"/>
                    <a:gd name="T24" fmla="*/ 8 w 27"/>
                    <a:gd name="T25" fmla="*/ 44 h 47"/>
                    <a:gd name="T26" fmla="*/ 11 w 27"/>
                    <a:gd name="T27" fmla="*/ 47 h 47"/>
                    <a:gd name="T28" fmla="*/ 13 w 27"/>
                    <a:gd name="T29" fmla="*/ 44 h 47"/>
                    <a:gd name="T30" fmla="*/ 13 w 27"/>
                    <a:gd name="T31" fmla="*/ 28 h 47"/>
                    <a:gd name="T32" fmla="*/ 14 w 27"/>
                    <a:gd name="T33" fmla="*/ 28 h 47"/>
                    <a:gd name="T34" fmla="*/ 14 w 27"/>
                    <a:gd name="T35" fmla="*/ 44 h 47"/>
                    <a:gd name="T36" fmla="*/ 16 w 27"/>
                    <a:gd name="T37" fmla="*/ 47 h 47"/>
                    <a:gd name="T38" fmla="*/ 18 w 27"/>
                    <a:gd name="T39" fmla="*/ 44 h 47"/>
                    <a:gd name="T40" fmla="*/ 18 w 27"/>
                    <a:gd name="T41" fmla="*/ 28 h 47"/>
                    <a:gd name="T42" fmla="*/ 25 w 27"/>
                    <a:gd name="T43" fmla="*/ 28 h 47"/>
                    <a:gd name="T44" fmla="*/ 18 w 27"/>
                    <a:gd name="T45" fmla="*/ 6 h 47"/>
                    <a:gd name="T46" fmla="*/ 19 w 27"/>
                    <a:gd name="T47" fmla="*/ 6 h 47"/>
                    <a:gd name="T48" fmla="*/ 23 w 27"/>
                    <a:gd name="T49" fmla="*/ 19 h 47"/>
                    <a:gd name="T50" fmla="*/ 25 w 27"/>
                    <a:gd name="T51" fmla="*/ 20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6" y="17"/>
                        <a:pt x="24" y="10"/>
                        <a:pt x="23" y="4"/>
                      </a:cubicBezTo>
                      <a:cubicBezTo>
                        <a:pt x="22" y="2"/>
                        <a:pt x="20" y="0"/>
                        <a:pt x="17" y="0"/>
                      </a:cubicBezTo>
                      <a:cubicBezTo>
                        <a:pt x="16" y="0"/>
                        <a:pt x="11" y="0"/>
                        <a:pt x="10" y="0"/>
                      </a:cubicBezTo>
                      <a:cubicBezTo>
                        <a:pt x="7" y="0"/>
                        <a:pt x="5" y="2"/>
                        <a:pt x="4" y="4"/>
                      </a:cubicBezTo>
                      <a:cubicBezTo>
                        <a:pt x="3" y="10"/>
                        <a:pt x="0" y="17"/>
                        <a:pt x="0" y="18"/>
                      </a:cubicBezTo>
                      <a:cubicBezTo>
                        <a:pt x="0" y="19"/>
                        <a:pt x="1" y="20"/>
                        <a:pt x="1" y="20"/>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8" y="46"/>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5" y="21"/>
                        <a:pt x="25" y="20"/>
                      </a:cubicBezTo>
                      <a:cubicBezTo>
                        <a:pt x="26"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18" name="Freeform 1435"/>
                <p:cNvSpPr>
                  <a:spLocks/>
                </p:cNvSpPr>
                <p:nvPr/>
              </p:nvSpPr>
              <p:spPr bwMode="auto">
                <a:xfrm>
                  <a:off x="14384" y="1443"/>
                  <a:ext cx="64" cy="111"/>
                </a:xfrm>
                <a:custGeom>
                  <a:avLst/>
                  <a:gdLst>
                    <a:gd name="T0" fmla="*/ 20 w 27"/>
                    <a:gd name="T1" fmla="*/ 6 h 47"/>
                    <a:gd name="T2" fmla="*/ 24 w 27"/>
                    <a:gd name="T3" fmla="*/ 19 h 47"/>
                    <a:gd name="T4" fmla="*/ 26 w 27"/>
                    <a:gd name="T5" fmla="*/ 20 h 47"/>
                    <a:gd name="T6" fmla="*/ 27 w 27"/>
                    <a:gd name="T7" fmla="*/ 18 h 47"/>
                    <a:gd name="T8" fmla="*/ 23 w 27"/>
                    <a:gd name="T9" fmla="*/ 4 h 47"/>
                    <a:gd name="T10" fmla="*/ 18 w 27"/>
                    <a:gd name="T11" fmla="*/ 0 h 47"/>
                    <a:gd name="T12" fmla="*/ 10 w 27"/>
                    <a:gd name="T13" fmla="*/ 0 h 47"/>
                    <a:gd name="T14" fmla="*/ 5 w 27"/>
                    <a:gd name="T15" fmla="*/ 4 h 47"/>
                    <a:gd name="T16" fmla="*/ 1 w 27"/>
                    <a:gd name="T17" fmla="*/ 18 h 47"/>
                    <a:gd name="T18" fmla="*/ 2 w 27"/>
                    <a:gd name="T19" fmla="*/ 20 h 47"/>
                    <a:gd name="T20" fmla="*/ 4 w 27"/>
                    <a:gd name="T21" fmla="*/ 19 h 47"/>
                    <a:gd name="T22" fmla="*/ 8 w 27"/>
                    <a:gd name="T23" fmla="*/ 6 h 47"/>
                    <a:gd name="T24" fmla="*/ 9 w 27"/>
                    <a:gd name="T25" fmla="*/ 6 h 47"/>
                    <a:gd name="T26" fmla="*/ 3 w 27"/>
                    <a:gd name="T27" fmla="*/ 28 h 47"/>
                    <a:gd name="T28" fmla="*/ 9 w 27"/>
                    <a:gd name="T29" fmla="*/ 28 h 47"/>
                    <a:gd name="T30" fmla="*/ 9 w 27"/>
                    <a:gd name="T31" fmla="*/ 44 h 47"/>
                    <a:gd name="T32" fmla="*/ 11 w 27"/>
                    <a:gd name="T33" fmla="*/ 47 h 47"/>
                    <a:gd name="T34" fmla="*/ 13 w 27"/>
                    <a:gd name="T35" fmla="*/ 44 h 47"/>
                    <a:gd name="T36" fmla="*/ 13 w 27"/>
                    <a:gd name="T37" fmla="*/ 28 h 47"/>
                    <a:gd name="T38" fmla="*/ 14 w 27"/>
                    <a:gd name="T39" fmla="*/ 28 h 47"/>
                    <a:gd name="T40" fmla="*/ 14 w 27"/>
                    <a:gd name="T41" fmla="*/ 44 h 47"/>
                    <a:gd name="T42" fmla="*/ 17 w 27"/>
                    <a:gd name="T43" fmla="*/ 47 h 47"/>
                    <a:gd name="T44" fmla="*/ 19 w 27"/>
                    <a:gd name="T45" fmla="*/ 44 h 47"/>
                    <a:gd name="T46" fmla="*/ 19 w 27"/>
                    <a:gd name="T47" fmla="*/ 28 h 47"/>
                    <a:gd name="T48" fmla="*/ 24 w 27"/>
                    <a:gd name="T49" fmla="*/ 28 h 47"/>
                    <a:gd name="T50" fmla="*/ 24 w 27"/>
                    <a:gd name="T51" fmla="*/ 25 h 47"/>
                    <a:gd name="T52" fmla="*/ 19 w 27"/>
                    <a:gd name="T53" fmla="*/ 6 h 47"/>
                    <a:gd name="T54" fmla="*/ 20 w 27"/>
                    <a:gd name="T5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 h="47">
                      <a:moveTo>
                        <a:pt x="20" y="6"/>
                      </a:moveTo>
                      <a:cubicBezTo>
                        <a:pt x="20" y="6"/>
                        <a:pt x="23" y="18"/>
                        <a:pt x="24" y="19"/>
                      </a:cubicBezTo>
                      <a:cubicBezTo>
                        <a:pt x="24" y="20"/>
                        <a:pt x="25" y="21"/>
                        <a:pt x="26" y="20"/>
                      </a:cubicBezTo>
                      <a:cubicBezTo>
                        <a:pt x="27" y="20"/>
                        <a:pt x="27" y="19"/>
                        <a:pt x="27" y="18"/>
                      </a:cubicBezTo>
                      <a:cubicBezTo>
                        <a:pt x="27" y="17"/>
                        <a:pt x="25" y="10"/>
                        <a:pt x="23" y="4"/>
                      </a:cubicBezTo>
                      <a:cubicBezTo>
                        <a:pt x="22"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1" y="28"/>
                        <a:pt x="23" y="28"/>
                        <a:pt x="24" y="28"/>
                      </a:cubicBezTo>
                      <a:cubicBezTo>
                        <a:pt x="24" y="27"/>
                        <a:pt x="24" y="26"/>
                        <a:pt x="24" y="25"/>
                      </a:cubicBezTo>
                      <a:cubicBezTo>
                        <a:pt x="19" y="6"/>
                        <a:pt x="19" y="6"/>
                        <a:pt x="19" y="6"/>
                      </a:cubicBezTo>
                      <a:cubicBezTo>
                        <a:pt x="20" y="6"/>
                        <a:pt x="20" y="6"/>
                        <a:pt x="2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19" name="Oval 1436"/>
                <p:cNvSpPr>
                  <a:spLocks noChangeArrowheads="1"/>
                </p:cNvSpPr>
                <p:nvPr/>
              </p:nvSpPr>
              <p:spPr bwMode="auto">
                <a:xfrm>
                  <a:off x="14209"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20" name="Freeform 1437"/>
                <p:cNvSpPr>
                  <a:spLocks/>
                </p:cNvSpPr>
                <p:nvPr/>
              </p:nvSpPr>
              <p:spPr bwMode="auto">
                <a:xfrm>
                  <a:off x="14192" y="1147"/>
                  <a:ext cx="55" cy="111"/>
                </a:xfrm>
                <a:custGeom>
                  <a:avLst/>
                  <a:gdLst>
                    <a:gd name="T0" fmla="*/ 17 w 23"/>
                    <a:gd name="T1" fmla="*/ 0 h 47"/>
                    <a:gd name="T2" fmla="*/ 7 w 23"/>
                    <a:gd name="T3" fmla="*/ 0 h 47"/>
                    <a:gd name="T4" fmla="*/ 0 w 23"/>
                    <a:gd name="T5" fmla="*/ 7 h 47"/>
                    <a:gd name="T6" fmla="*/ 0 w 23"/>
                    <a:gd name="T7" fmla="*/ 21 h 47"/>
                    <a:gd name="T8" fmla="*/ 3 w 23"/>
                    <a:gd name="T9" fmla="*/ 23 h 47"/>
                    <a:gd name="T10" fmla="*/ 5 w 23"/>
                    <a:gd name="T11" fmla="*/ 21 h 47"/>
                    <a:gd name="T12" fmla="*/ 5 w 23"/>
                    <a:gd name="T13" fmla="*/ 8 h 47"/>
                    <a:gd name="T14" fmla="*/ 6 w 23"/>
                    <a:gd name="T15" fmla="*/ 8 h 47"/>
                    <a:gd name="T16" fmla="*/ 6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7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7" y="0"/>
                      </a:cubicBezTo>
                      <a:cubicBezTo>
                        <a:pt x="3" y="0"/>
                        <a:pt x="0" y="3"/>
                        <a:pt x="0" y="7"/>
                      </a:cubicBezTo>
                      <a:cubicBezTo>
                        <a:pt x="0" y="8"/>
                        <a:pt x="0" y="20"/>
                        <a:pt x="0" y="21"/>
                      </a:cubicBezTo>
                      <a:cubicBezTo>
                        <a:pt x="0" y="22"/>
                        <a:pt x="1" y="23"/>
                        <a:pt x="3" y="23"/>
                      </a:cubicBez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21" name="Oval 1438"/>
                <p:cNvSpPr>
                  <a:spLocks noChangeArrowheads="1"/>
                </p:cNvSpPr>
                <p:nvPr/>
              </p:nvSpPr>
              <p:spPr bwMode="auto">
                <a:xfrm>
                  <a:off x="14209"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22" name="Freeform 1439"/>
                <p:cNvSpPr>
                  <a:spLocks/>
                </p:cNvSpPr>
                <p:nvPr/>
              </p:nvSpPr>
              <p:spPr bwMode="auto">
                <a:xfrm>
                  <a:off x="14562" y="1201"/>
                  <a:ext cx="14" cy="15"/>
                </a:xfrm>
                <a:custGeom>
                  <a:avLst/>
                  <a:gdLst>
                    <a:gd name="T0" fmla="*/ 6 w 6"/>
                    <a:gd name="T1" fmla="*/ 6 h 6"/>
                    <a:gd name="T2" fmla="*/ 4 w 6"/>
                    <a:gd name="T3" fmla="*/ 0 h 6"/>
                    <a:gd name="T4" fmla="*/ 0 w 6"/>
                    <a:gd name="T5" fmla="*/ 6 h 6"/>
                    <a:gd name="T6" fmla="*/ 6 w 6"/>
                    <a:gd name="T7" fmla="*/ 6 h 6"/>
                  </a:gdLst>
                  <a:ahLst/>
                  <a:cxnLst>
                    <a:cxn ang="0">
                      <a:pos x="T0" y="T1"/>
                    </a:cxn>
                    <a:cxn ang="0">
                      <a:pos x="T2" y="T3"/>
                    </a:cxn>
                    <a:cxn ang="0">
                      <a:pos x="T4" y="T5"/>
                    </a:cxn>
                    <a:cxn ang="0">
                      <a:pos x="T6" y="T7"/>
                    </a:cxn>
                  </a:cxnLst>
                  <a:rect l="0" t="0" r="r" b="b"/>
                  <a:pathLst>
                    <a:path w="6" h="6">
                      <a:moveTo>
                        <a:pt x="6" y="6"/>
                      </a:moveTo>
                      <a:cubicBezTo>
                        <a:pt x="5" y="3"/>
                        <a:pt x="4" y="1"/>
                        <a:pt x="4" y="0"/>
                      </a:cubicBezTo>
                      <a:cubicBezTo>
                        <a:pt x="3" y="2"/>
                        <a:pt x="1" y="4"/>
                        <a:pt x="0" y="6"/>
                      </a:cubicBezTo>
                      <a:cubicBezTo>
                        <a:pt x="5" y="6"/>
                        <a:pt x="6" y="6"/>
                        <a:pt x="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23" name="Oval 1440"/>
                <p:cNvSpPr>
                  <a:spLocks noChangeArrowheads="1"/>
                </p:cNvSpPr>
                <p:nvPr/>
              </p:nvSpPr>
              <p:spPr bwMode="auto">
                <a:xfrm>
                  <a:off x="13688"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24" name="Freeform 1441"/>
                <p:cNvSpPr>
                  <a:spLocks/>
                </p:cNvSpPr>
                <p:nvPr/>
              </p:nvSpPr>
              <p:spPr bwMode="auto">
                <a:xfrm>
                  <a:off x="13672" y="1443"/>
                  <a:ext cx="54" cy="109"/>
                </a:xfrm>
                <a:custGeom>
                  <a:avLst/>
                  <a:gdLst>
                    <a:gd name="T0" fmla="*/ 0 w 23"/>
                    <a:gd name="T1" fmla="*/ 6 h 46"/>
                    <a:gd name="T2" fmla="*/ 0 w 23"/>
                    <a:gd name="T3" fmla="*/ 20 h 46"/>
                    <a:gd name="T4" fmla="*/ 2 w 23"/>
                    <a:gd name="T5" fmla="*/ 23 h 46"/>
                    <a:gd name="T6" fmla="*/ 4 w 23"/>
                    <a:gd name="T7" fmla="*/ 20 h 46"/>
                    <a:gd name="T8" fmla="*/ 4 w 23"/>
                    <a:gd name="T9" fmla="*/ 7 h 46"/>
                    <a:gd name="T10" fmla="*/ 5 w 23"/>
                    <a:gd name="T11" fmla="*/ 7 h 46"/>
                    <a:gd name="T12" fmla="*/ 5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6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6"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25" name="Freeform 1442"/>
                <p:cNvSpPr>
                  <a:spLocks/>
                </p:cNvSpPr>
                <p:nvPr/>
              </p:nvSpPr>
              <p:spPr bwMode="auto">
                <a:xfrm>
                  <a:off x="14065" y="1147"/>
                  <a:ext cx="54" cy="111"/>
                </a:xfrm>
                <a:custGeom>
                  <a:avLst/>
                  <a:gdLst>
                    <a:gd name="T0" fmla="*/ 17 w 23"/>
                    <a:gd name="T1" fmla="*/ 0 h 47"/>
                    <a:gd name="T2" fmla="*/ 6 w 23"/>
                    <a:gd name="T3" fmla="*/ 0 h 47"/>
                    <a:gd name="T4" fmla="*/ 0 w 23"/>
                    <a:gd name="T5" fmla="*/ 7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7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26" name="Oval 1443"/>
                <p:cNvSpPr>
                  <a:spLocks noChangeArrowheads="1"/>
                </p:cNvSpPr>
                <p:nvPr/>
              </p:nvSpPr>
              <p:spPr bwMode="auto">
                <a:xfrm>
                  <a:off x="14145"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27" name="Freeform 1444"/>
                <p:cNvSpPr>
                  <a:spLocks/>
                </p:cNvSpPr>
                <p:nvPr/>
              </p:nvSpPr>
              <p:spPr bwMode="auto">
                <a:xfrm>
                  <a:off x="14126" y="1443"/>
                  <a:ext cx="64" cy="111"/>
                </a:xfrm>
                <a:custGeom>
                  <a:avLst/>
                  <a:gdLst>
                    <a:gd name="T0" fmla="*/ 26 w 27"/>
                    <a:gd name="T1" fmla="*/ 18 h 47"/>
                    <a:gd name="T2" fmla="*/ 22 w 27"/>
                    <a:gd name="T3" fmla="*/ 4 h 47"/>
                    <a:gd name="T4" fmla="*/ 17 w 27"/>
                    <a:gd name="T5" fmla="*/ 0 h 47"/>
                    <a:gd name="T6" fmla="*/ 9 w 27"/>
                    <a:gd name="T7" fmla="*/ 0 h 47"/>
                    <a:gd name="T8" fmla="*/ 4 w 27"/>
                    <a:gd name="T9" fmla="*/ 4 h 47"/>
                    <a:gd name="T10" fmla="*/ 0 w 27"/>
                    <a:gd name="T11" fmla="*/ 18 h 47"/>
                    <a:gd name="T12" fmla="*/ 1 w 27"/>
                    <a:gd name="T13" fmla="*/ 20 h 47"/>
                    <a:gd name="T14" fmla="*/ 3 w 27"/>
                    <a:gd name="T15" fmla="*/ 19 h 47"/>
                    <a:gd name="T16" fmla="*/ 7 w 27"/>
                    <a:gd name="T17" fmla="*/ 6 h 47"/>
                    <a:gd name="T18" fmla="*/ 8 w 27"/>
                    <a:gd name="T19" fmla="*/ 6 h 47"/>
                    <a:gd name="T20" fmla="*/ 2 w 27"/>
                    <a:gd name="T21" fmla="*/ 28 h 47"/>
                    <a:gd name="T22" fmla="*/ 8 w 27"/>
                    <a:gd name="T23" fmla="*/ 28 h 47"/>
                    <a:gd name="T24" fmla="*/ 8 w 27"/>
                    <a:gd name="T25" fmla="*/ 44 h 47"/>
                    <a:gd name="T26" fmla="*/ 11 w 27"/>
                    <a:gd name="T27" fmla="*/ 47 h 47"/>
                    <a:gd name="T28" fmla="*/ 13 w 27"/>
                    <a:gd name="T29" fmla="*/ 44 h 47"/>
                    <a:gd name="T30" fmla="*/ 13 w 27"/>
                    <a:gd name="T31" fmla="*/ 28 h 47"/>
                    <a:gd name="T32" fmla="*/ 14 w 27"/>
                    <a:gd name="T33" fmla="*/ 28 h 47"/>
                    <a:gd name="T34" fmla="*/ 14 w 27"/>
                    <a:gd name="T35" fmla="*/ 44 h 47"/>
                    <a:gd name="T36" fmla="*/ 16 w 27"/>
                    <a:gd name="T37" fmla="*/ 47 h 47"/>
                    <a:gd name="T38" fmla="*/ 18 w 27"/>
                    <a:gd name="T39" fmla="*/ 44 h 47"/>
                    <a:gd name="T40" fmla="*/ 18 w 27"/>
                    <a:gd name="T41" fmla="*/ 28 h 47"/>
                    <a:gd name="T42" fmla="*/ 24 w 27"/>
                    <a:gd name="T43" fmla="*/ 28 h 47"/>
                    <a:gd name="T44" fmla="*/ 18 w 27"/>
                    <a:gd name="T45" fmla="*/ 6 h 47"/>
                    <a:gd name="T46" fmla="*/ 19 w 27"/>
                    <a:gd name="T47" fmla="*/ 6 h 47"/>
                    <a:gd name="T48" fmla="*/ 23 w 27"/>
                    <a:gd name="T49" fmla="*/ 19 h 47"/>
                    <a:gd name="T50" fmla="*/ 25 w 27"/>
                    <a:gd name="T51" fmla="*/ 20 h 47"/>
                    <a:gd name="T52" fmla="*/ 26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6" y="18"/>
                      </a:moveTo>
                      <a:cubicBezTo>
                        <a:pt x="26" y="17"/>
                        <a:pt x="24" y="10"/>
                        <a:pt x="22" y="4"/>
                      </a:cubicBezTo>
                      <a:cubicBezTo>
                        <a:pt x="22" y="2"/>
                        <a:pt x="19" y="0"/>
                        <a:pt x="17" y="0"/>
                      </a:cubicBezTo>
                      <a:cubicBezTo>
                        <a:pt x="16" y="0"/>
                        <a:pt x="11" y="0"/>
                        <a:pt x="9" y="0"/>
                      </a:cubicBezTo>
                      <a:cubicBezTo>
                        <a:pt x="7" y="0"/>
                        <a:pt x="5" y="2"/>
                        <a:pt x="4" y="4"/>
                      </a:cubicBezTo>
                      <a:cubicBezTo>
                        <a:pt x="2" y="10"/>
                        <a:pt x="0" y="17"/>
                        <a:pt x="0" y="18"/>
                      </a:cubicBezTo>
                      <a:cubicBezTo>
                        <a:pt x="0" y="19"/>
                        <a:pt x="0" y="20"/>
                        <a:pt x="1" y="20"/>
                      </a:cubicBez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28" name="Oval 1445"/>
                <p:cNvSpPr>
                  <a:spLocks noChangeArrowheads="1"/>
                </p:cNvSpPr>
                <p:nvPr/>
              </p:nvSpPr>
              <p:spPr bwMode="auto">
                <a:xfrm>
                  <a:off x="14145"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29" name="Freeform 1446"/>
                <p:cNvSpPr>
                  <a:spLocks/>
                </p:cNvSpPr>
                <p:nvPr/>
              </p:nvSpPr>
              <p:spPr bwMode="auto">
                <a:xfrm>
                  <a:off x="13667"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1 w 27"/>
                    <a:gd name="T13" fmla="*/ 21 h 47"/>
                    <a:gd name="T14" fmla="*/ 4 w 27"/>
                    <a:gd name="T15" fmla="*/ 19 h 47"/>
                    <a:gd name="T16" fmla="*/ 8 w 27"/>
                    <a:gd name="T17" fmla="*/ 6 h 47"/>
                    <a:gd name="T18" fmla="*/ 9 w 27"/>
                    <a:gd name="T19" fmla="*/ 6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9 w 27"/>
                    <a:gd name="T39" fmla="*/ 45 h 47"/>
                    <a:gd name="T40" fmla="*/ 19 w 27"/>
                    <a:gd name="T41" fmla="*/ 28 h 47"/>
                    <a:gd name="T42" fmla="*/ 25 w 27"/>
                    <a:gd name="T43" fmla="*/ 28 h 47"/>
                    <a:gd name="T44" fmla="*/ 18 w 27"/>
                    <a:gd name="T45" fmla="*/ 6 h 47"/>
                    <a:gd name="T46" fmla="*/ 19 w 27"/>
                    <a:gd name="T47" fmla="*/ 6 h 47"/>
                    <a:gd name="T48" fmla="*/ 23 w 27"/>
                    <a:gd name="T49" fmla="*/ 19 h 47"/>
                    <a:gd name="T50" fmla="*/ 25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6" y="18"/>
                        <a:pt x="24" y="10"/>
                        <a:pt x="23" y="4"/>
                      </a:cubicBezTo>
                      <a:cubicBezTo>
                        <a:pt x="22" y="2"/>
                        <a:pt x="20" y="0"/>
                        <a:pt x="17" y="0"/>
                      </a:cubicBezTo>
                      <a:cubicBezTo>
                        <a:pt x="16" y="0"/>
                        <a:pt x="11" y="0"/>
                        <a:pt x="10" y="0"/>
                      </a:cubicBezTo>
                      <a:cubicBezTo>
                        <a:pt x="7" y="0"/>
                        <a:pt x="5" y="2"/>
                        <a:pt x="4" y="4"/>
                      </a:cubicBezTo>
                      <a:cubicBezTo>
                        <a:pt x="3" y="10"/>
                        <a:pt x="0" y="18"/>
                        <a:pt x="0" y="18"/>
                      </a:cubicBezTo>
                      <a:cubicBezTo>
                        <a:pt x="0" y="19"/>
                        <a:pt x="0" y="20"/>
                        <a:pt x="1" y="21"/>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9" y="46"/>
                        <a:pt x="19" y="45"/>
                      </a:cubicBezTo>
                      <a:cubicBezTo>
                        <a:pt x="19" y="44"/>
                        <a:pt x="19" y="36"/>
                        <a:pt x="19"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1"/>
                      </a:cubicBezTo>
                      <a:cubicBezTo>
                        <a:pt x="26"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30" name="Oval 1447"/>
                <p:cNvSpPr>
                  <a:spLocks noChangeArrowheads="1"/>
                </p:cNvSpPr>
                <p:nvPr/>
              </p:nvSpPr>
              <p:spPr bwMode="auto">
                <a:xfrm>
                  <a:off x="14145"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31" name="Oval 1448"/>
                <p:cNvSpPr>
                  <a:spLocks noChangeArrowheads="1"/>
                </p:cNvSpPr>
                <p:nvPr/>
              </p:nvSpPr>
              <p:spPr bwMode="auto">
                <a:xfrm>
                  <a:off x="14081"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32" name="Oval 1449"/>
                <p:cNvSpPr>
                  <a:spLocks noChangeArrowheads="1"/>
                </p:cNvSpPr>
                <p:nvPr/>
              </p:nvSpPr>
              <p:spPr bwMode="auto">
                <a:xfrm>
                  <a:off x="14081"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33" name="Freeform 1450"/>
                <p:cNvSpPr>
                  <a:spLocks/>
                </p:cNvSpPr>
                <p:nvPr/>
              </p:nvSpPr>
              <p:spPr bwMode="auto">
                <a:xfrm>
                  <a:off x="14131" y="1296"/>
                  <a:ext cx="54"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5 w 23"/>
                    <a:gd name="T11" fmla="*/ 7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7 w 23"/>
                    <a:gd name="T27" fmla="*/ 44 h 47"/>
                    <a:gd name="T28" fmla="*/ 17 w 23"/>
                    <a:gd name="T29" fmla="*/ 7 h 47"/>
                    <a:gd name="T30" fmla="*/ 18 w 23"/>
                    <a:gd name="T31" fmla="*/ 7 h 47"/>
                    <a:gd name="T32" fmla="*/ 18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34" name="Oval 1451"/>
                <p:cNvSpPr>
                  <a:spLocks noChangeArrowheads="1"/>
                </p:cNvSpPr>
                <p:nvPr/>
              </p:nvSpPr>
              <p:spPr bwMode="auto">
                <a:xfrm>
                  <a:off x="13819"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35" name="Freeform 1452"/>
                <p:cNvSpPr>
                  <a:spLocks/>
                </p:cNvSpPr>
                <p:nvPr/>
              </p:nvSpPr>
              <p:spPr bwMode="auto">
                <a:xfrm>
                  <a:off x="13802" y="1443"/>
                  <a:ext cx="54" cy="109"/>
                </a:xfrm>
                <a:custGeom>
                  <a:avLst/>
                  <a:gdLst>
                    <a:gd name="T0" fmla="*/ 0 w 23"/>
                    <a:gd name="T1" fmla="*/ 6 h 46"/>
                    <a:gd name="T2" fmla="*/ 0 w 23"/>
                    <a:gd name="T3" fmla="*/ 20 h 46"/>
                    <a:gd name="T4" fmla="*/ 3 w 23"/>
                    <a:gd name="T5" fmla="*/ 23 h 46"/>
                    <a:gd name="T6" fmla="*/ 5 w 23"/>
                    <a:gd name="T7" fmla="*/ 20 h 46"/>
                    <a:gd name="T8" fmla="*/ 5 w 23"/>
                    <a:gd name="T9" fmla="*/ 7 h 46"/>
                    <a:gd name="T10" fmla="*/ 6 w 23"/>
                    <a:gd name="T11" fmla="*/ 7 h 46"/>
                    <a:gd name="T12" fmla="*/ 6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7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3" y="23"/>
                      </a:cubicBezTo>
                      <a:cubicBezTo>
                        <a:pt x="4" y="23"/>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4"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7"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36" name="Freeform 1453"/>
                <p:cNvSpPr>
                  <a:spLocks/>
                </p:cNvSpPr>
                <p:nvPr/>
              </p:nvSpPr>
              <p:spPr bwMode="auto">
                <a:xfrm>
                  <a:off x="13797" y="1296"/>
                  <a:ext cx="64" cy="111"/>
                </a:xfrm>
                <a:custGeom>
                  <a:avLst/>
                  <a:gdLst>
                    <a:gd name="T0" fmla="*/ 27 w 27"/>
                    <a:gd name="T1" fmla="*/ 18 h 47"/>
                    <a:gd name="T2" fmla="*/ 23 w 27"/>
                    <a:gd name="T3" fmla="*/ 4 h 47"/>
                    <a:gd name="T4" fmla="*/ 18 w 27"/>
                    <a:gd name="T5" fmla="*/ 0 h 47"/>
                    <a:gd name="T6" fmla="*/ 10 w 27"/>
                    <a:gd name="T7" fmla="*/ 0 h 47"/>
                    <a:gd name="T8" fmla="*/ 5 w 27"/>
                    <a:gd name="T9" fmla="*/ 4 h 47"/>
                    <a:gd name="T10" fmla="*/ 0 w 27"/>
                    <a:gd name="T11" fmla="*/ 18 h 47"/>
                    <a:gd name="T12" fmla="*/ 2 w 27"/>
                    <a:gd name="T13" fmla="*/ 21 h 47"/>
                    <a:gd name="T14" fmla="*/ 4 w 27"/>
                    <a:gd name="T15" fmla="*/ 19 h 47"/>
                    <a:gd name="T16" fmla="*/ 8 w 27"/>
                    <a:gd name="T17" fmla="*/ 6 h 47"/>
                    <a:gd name="T18" fmla="*/ 9 w 27"/>
                    <a:gd name="T19" fmla="*/ 6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7 w 27"/>
                    <a:gd name="T37" fmla="*/ 47 h 47"/>
                    <a:gd name="T38" fmla="*/ 19 w 27"/>
                    <a:gd name="T39" fmla="*/ 45 h 47"/>
                    <a:gd name="T40" fmla="*/ 19 w 27"/>
                    <a:gd name="T41" fmla="*/ 28 h 47"/>
                    <a:gd name="T42" fmla="*/ 25 w 27"/>
                    <a:gd name="T43" fmla="*/ 28 h 47"/>
                    <a:gd name="T44" fmla="*/ 19 w 27"/>
                    <a:gd name="T45" fmla="*/ 6 h 47"/>
                    <a:gd name="T46" fmla="*/ 20 w 27"/>
                    <a:gd name="T47" fmla="*/ 6 h 47"/>
                    <a:gd name="T48" fmla="*/ 24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5" y="10"/>
                        <a:pt x="23" y="4"/>
                      </a:cubicBezTo>
                      <a:cubicBezTo>
                        <a:pt x="22" y="2"/>
                        <a:pt x="20" y="0"/>
                        <a:pt x="18" y="0"/>
                      </a:cubicBezTo>
                      <a:cubicBezTo>
                        <a:pt x="16" y="0"/>
                        <a:pt x="11" y="0"/>
                        <a:pt x="10" y="0"/>
                      </a:cubicBezTo>
                      <a:cubicBezTo>
                        <a:pt x="8" y="0"/>
                        <a:pt x="5" y="2"/>
                        <a:pt x="5" y="4"/>
                      </a:cubicBezTo>
                      <a:cubicBezTo>
                        <a:pt x="3" y="10"/>
                        <a:pt x="1" y="18"/>
                        <a:pt x="0" y="18"/>
                      </a:cubicBezTo>
                      <a:cubicBezTo>
                        <a:pt x="0" y="19"/>
                        <a:pt x="1" y="20"/>
                        <a:pt x="2" y="21"/>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37" name="Freeform 1454"/>
                <p:cNvSpPr>
                  <a:spLocks/>
                </p:cNvSpPr>
                <p:nvPr/>
              </p:nvSpPr>
              <p:spPr bwMode="auto">
                <a:xfrm>
                  <a:off x="14065" y="1443"/>
                  <a:ext cx="54" cy="109"/>
                </a:xfrm>
                <a:custGeom>
                  <a:avLst/>
                  <a:gdLst>
                    <a:gd name="T0" fmla="*/ 0 w 23"/>
                    <a:gd name="T1" fmla="*/ 6 h 46"/>
                    <a:gd name="T2" fmla="*/ 0 w 23"/>
                    <a:gd name="T3" fmla="*/ 20 h 46"/>
                    <a:gd name="T4" fmla="*/ 2 w 23"/>
                    <a:gd name="T5" fmla="*/ 23 h 46"/>
                    <a:gd name="T6" fmla="*/ 4 w 23"/>
                    <a:gd name="T7" fmla="*/ 20 h 46"/>
                    <a:gd name="T8" fmla="*/ 4 w 23"/>
                    <a:gd name="T9" fmla="*/ 7 h 46"/>
                    <a:gd name="T10" fmla="*/ 5 w 23"/>
                    <a:gd name="T11" fmla="*/ 7 h 46"/>
                    <a:gd name="T12" fmla="*/ 5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6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6"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38" name="Freeform 1455"/>
                <p:cNvSpPr>
                  <a:spLocks/>
                </p:cNvSpPr>
                <p:nvPr/>
              </p:nvSpPr>
              <p:spPr bwMode="auto">
                <a:xfrm>
                  <a:off x="14060"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2 w 27"/>
                    <a:gd name="T13" fmla="*/ 21 h 47"/>
                    <a:gd name="T14" fmla="*/ 4 w 27"/>
                    <a:gd name="T15" fmla="*/ 19 h 47"/>
                    <a:gd name="T16" fmla="*/ 8 w 27"/>
                    <a:gd name="T17" fmla="*/ 6 h 47"/>
                    <a:gd name="T18" fmla="*/ 9 w 27"/>
                    <a:gd name="T19" fmla="*/ 6 h 47"/>
                    <a:gd name="T20" fmla="*/ 2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9 w 27"/>
                    <a:gd name="T39" fmla="*/ 45 h 47"/>
                    <a:gd name="T40" fmla="*/ 19 w 27"/>
                    <a:gd name="T41" fmla="*/ 28 h 47"/>
                    <a:gd name="T42" fmla="*/ 25 w 27"/>
                    <a:gd name="T43" fmla="*/ 28 h 47"/>
                    <a:gd name="T44" fmla="*/ 18 w 27"/>
                    <a:gd name="T45" fmla="*/ 6 h 47"/>
                    <a:gd name="T46" fmla="*/ 19 w 27"/>
                    <a:gd name="T47" fmla="*/ 6 h 47"/>
                    <a:gd name="T48" fmla="*/ 23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4" y="10"/>
                        <a:pt x="23" y="4"/>
                      </a:cubicBezTo>
                      <a:cubicBezTo>
                        <a:pt x="22" y="2"/>
                        <a:pt x="20" y="0"/>
                        <a:pt x="17" y="0"/>
                      </a:cubicBezTo>
                      <a:cubicBezTo>
                        <a:pt x="16" y="0"/>
                        <a:pt x="11" y="0"/>
                        <a:pt x="10" y="0"/>
                      </a:cubicBezTo>
                      <a:cubicBezTo>
                        <a:pt x="7" y="0"/>
                        <a:pt x="5" y="2"/>
                        <a:pt x="4" y="4"/>
                      </a:cubicBezTo>
                      <a:cubicBezTo>
                        <a:pt x="3" y="10"/>
                        <a:pt x="1" y="18"/>
                        <a:pt x="0" y="18"/>
                      </a:cubicBezTo>
                      <a:cubicBezTo>
                        <a:pt x="0" y="19"/>
                        <a:pt x="1" y="20"/>
                        <a:pt x="2" y="21"/>
                      </a:cubicBezTo>
                      <a:cubicBezTo>
                        <a:pt x="3" y="21"/>
                        <a:pt x="4" y="20"/>
                        <a:pt x="4" y="19"/>
                      </a:cubicBezTo>
                      <a:cubicBezTo>
                        <a:pt x="4" y="18"/>
                        <a:pt x="8" y="6"/>
                        <a:pt x="8" y="6"/>
                      </a:cubicBezTo>
                      <a:cubicBezTo>
                        <a:pt x="9" y="6"/>
                        <a:pt x="9" y="6"/>
                        <a:pt x="9" y="6"/>
                      </a:cubicBezTo>
                      <a:cubicBezTo>
                        <a:pt x="2" y="28"/>
                        <a:pt x="2" y="28"/>
                        <a:pt x="2"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6"/>
                        <a:pt x="18" y="6"/>
                        <a:pt x="18" y="6"/>
                      </a:cubicBezTo>
                      <a:cubicBezTo>
                        <a:pt x="19" y="6"/>
                        <a:pt x="19" y="6"/>
                        <a:pt x="19" y="6"/>
                      </a:cubicBezTo>
                      <a:cubicBezTo>
                        <a:pt x="19" y="6"/>
                        <a:pt x="23" y="18"/>
                        <a:pt x="23"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39" name="Oval 1456"/>
                <p:cNvSpPr>
                  <a:spLocks noChangeArrowheads="1"/>
                </p:cNvSpPr>
                <p:nvPr/>
              </p:nvSpPr>
              <p:spPr bwMode="auto">
                <a:xfrm>
                  <a:off x="14081"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40" name="Freeform 1457"/>
                <p:cNvSpPr>
                  <a:spLocks/>
                </p:cNvSpPr>
                <p:nvPr/>
              </p:nvSpPr>
              <p:spPr bwMode="auto">
                <a:xfrm>
                  <a:off x="14126" y="1147"/>
                  <a:ext cx="64" cy="111"/>
                </a:xfrm>
                <a:custGeom>
                  <a:avLst/>
                  <a:gdLst>
                    <a:gd name="T0" fmla="*/ 17 w 27"/>
                    <a:gd name="T1" fmla="*/ 0 h 47"/>
                    <a:gd name="T2" fmla="*/ 9 w 27"/>
                    <a:gd name="T3" fmla="*/ 0 h 47"/>
                    <a:gd name="T4" fmla="*/ 4 w 27"/>
                    <a:gd name="T5" fmla="*/ 5 h 47"/>
                    <a:gd name="T6" fmla="*/ 0 w 27"/>
                    <a:gd name="T7" fmla="*/ 19 h 47"/>
                    <a:gd name="T8" fmla="*/ 1 w 27"/>
                    <a:gd name="T9" fmla="*/ 21 h 47"/>
                    <a:gd name="T10" fmla="*/ 3 w 27"/>
                    <a:gd name="T11" fmla="*/ 20 h 47"/>
                    <a:gd name="T12" fmla="*/ 7 w 27"/>
                    <a:gd name="T13" fmla="*/ 7 h 47"/>
                    <a:gd name="T14" fmla="*/ 8 w 27"/>
                    <a:gd name="T15" fmla="*/ 7 h 47"/>
                    <a:gd name="T16" fmla="*/ 2 w 27"/>
                    <a:gd name="T17" fmla="*/ 29 h 47"/>
                    <a:gd name="T18" fmla="*/ 8 w 27"/>
                    <a:gd name="T19" fmla="*/ 29 h 47"/>
                    <a:gd name="T20" fmla="*/ 8 w 27"/>
                    <a:gd name="T21" fmla="*/ 45 h 47"/>
                    <a:gd name="T22" fmla="*/ 11 w 27"/>
                    <a:gd name="T23" fmla="*/ 47 h 47"/>
                    <a:gd name="T24" fmla="*/ 13 w 27"/>
                    <a:gd name="T25" fmla="*/ 45 h 47"/>
                    <a:gd name="T26" fmla="*/ 13 w 27"/>
                    <a:gd name="T27" fmla="*/ 29 h 47"/>
                    <a:gd name="T28" fmla="*/ 14 w 27"/>
                    <a:gd name="T29" fmla="*/ 29 h 47"/>
                    <a:gd name="T30" fmla="*/ 14 w 27"/>
                    <a:gd name="T31" fmla="*/ 45 h 47"/>
                    <a:gd name="T32" fmla="*/ 16 w 27"/>
                    <a:gd name="T33" fmla="*/ 47 h 47"/>
                    <a:gd name="T34" fmla="*/ 18 w 27"/>
                    <a:gd name="T35" fmla="*/ 45 h 47"/>
                    <a:gd name="T36" fmla="*/ 18 w 27"/>
                    <a:gd name="T37" fmla="*/ 29 h 47"/>
                    <a:gd name="T38" fmla="*/ 24 w 27"/>
                    <a:gd name="T39" fmla="*/ 29 h 47"/>
                    <a:gd name="T40" fmla="*/ 18 w 27"/>
                    <a:gd name="T41" fmla="*/ 7 h 47"/>
                    <a:gd name="T42" fmla="*/ 19 w 27"/>
                    <a:gd name="T43" fmla="*/ 7 h 47"/>
                    <a:gd name="T44" fmla="*/ 23 w 27"/>
                    <a:gd name="T45" fmla="*/ 20 h 47"/>
                    <a:gd name="T46" fmla="*/ 25 w 27"/>
                    <a:gd name="T47" fmla="*/ 21 h 47"/>
                    <a:gd name="T48" fmla="*/ 26 w 27"/>
                    <a:gd name="T49" fmla="*/ 19 h 47"/>
                    <a:gd name="T50" fmla="*/ 22 w 27"/>
                    <a:gd name="T51" fmla="*/ 5 h 47"/>
                    <a:gd name="T52" fmla="*/ 17 w 27"/>
                    <a:gd name="T5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7" y="0"/>
                      </a:moveTo>
                      <a:cubicBezTo>
                        <a:pt x="16" y="0"/>
                        <a:pt x="11" y="0"/>
                        <a:pt x="9" y="0"/>
                      </a:cubicBezTo>
                      <a:cubicBezTo>
                        <a:pt x="7" y="0"/>
                        <a:pt x="5" y="3"/>
                        <a:pt x="4" y="5"/>
                      </a:cubicBezTo>
                      <a:cubicBezTo>
                        <a:pt x="2" y="11"/>
                        <a:pt x="0" y="18"/>
                        <a:pt x="0" y="19"/>
                      </a:cubicBezTo>
                      <a:cubicBezTo>
                        <a:pt x="0" y="20"/>
                        <a:pt x="0" y="21"/>
                        <a:pt x="1" y="21"/>
                      </a:cubicBezTo>
                      <a:cubicBezTo>
                        <a:pt x="2" y="21"/>
                        <a:pt x="3" y="21"/>
                        <a:pt x="3" y="20"/>
                      </a:cubicBezTo>
                      <a:cubicBezTo>
                        <a:pt x="4" y="18"/>
                        <a:pt x="7" y="7"/>
                        <a:pt x="7" y="7"/>
                      </a:cubicBezTo>
                      <a:cubicBezTo>
                        <a:pt x="8" y="7"/>
                        <a:pt x="8" y="7"/>
                        <a:pt x="8" y="7"/>
                      </a:cubicBezTo>
                      <a:cubicBezTo>
                        <a:pt x="2" y="29"/>
                        <a:pt x="2" y="29"/>
                        <a:pt x="2" y="29"/>
                      </a:cubicBezTo>
                      <a:cubicBezTo>
                        <a:pt x="8" y="29"/>
                        <a:pt x="8" y="29"/>
                        <a:pt x="8" y="29"/>
                      </a:cubicBezTo>
                      <a:cubicBezTo>
                        <a:pt x="8" y="36"/>
                        <a:pt x="8" y="44"/>
                        <a:pt x="8" y="45"/>
                      </a:cubicBezTo>
                      <a:cubicBezTo>
                        <a:pt x="8" y="46"/>
                        <a:pt x="9"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7" y="47"/>
                        <a:pt x="18" y="46"/>
                        <a:pt x="18" y="45"/>
                      </a:cubicBezTo>
                      <a:cubicBezTo>
                        <a:pt x="18" y="44"/>
                        <a:pt x="18" y="36"/>
                        <a:pt x="18" y="29"/>
                      </a:cubicBezTo>
                      <a:cubicBezTo>
                        <a:pt x="24" y="29"/>
                        <a:pt x="24" y="29"/>
                        <a:pt x="24" y="29"/>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6" y="19"/>
                      </a:cubicBezTo>
                      <a:cubicBezTo>
                        <a:pt x="26" y="18"/>
                        <a:pt x="24" y="11"/>
                        <a:pt x="22" y="5"/>
                      </a:cubicBezTo>
                      <a:cubicBezTo>
                        <a:pt x="22" y="3"/>
                        <a:pt x="19"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41" name="Oval 1458"/>
                <p:cNvSpPr>
                  <a:spLocks noChangeArrowheads="1"/>
                </p:cNvSpPr>
                <p:nvPr/>
              </p:nvSpPr>
              <p:spPr bwMode="auto">
                <a:xfrm>
                  <a:off x="14015"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42" name="Oval 1459"/>
                <p:cNvSpPr>
                  <a:spLocks noChangeArrowheads="1"/>
                </p:cNvSpPr>
                <p:nvPr/>
              </p:nvSpPr>
              <p:spPr bwMode="auto">
                <a:xfrm>
                  <a:off x="13885"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43" name="Freeform 1460"/>
                <p:cNvSpPr>
                  <a:spLocks/>
                </p:cNvSpPr>
                <p:nvPr/>
              </p:nvSpPr>
              <p:spPr bwMode="auto">
                <a:xfrm>
                  <a:off x="13802" y="1147"/>
                  <a:ext cx="54" cy="111"/>
                </a:xfrm>
                <a:custGeom>
                  <a:avLst/>
                  <a:gdLst>
                    <a:gd name="T0" fmla="*/ 3 w 23"/>
                    <a:gd name="T1" fmla="*/ 23 h 47"/>
                    <a:gd name="T2" fmla="*/ 5 w 23"/>
                    <a:gd name="T3" fmla="*/ 21 h 47"/>
                    <a:gd name="T4" fmla="*/ 5 w 23"/>
                    <a:gd name="T5" fmla="*/ 8 h 47"/>
                    <a:gd name="T6" fmla="*/ 6 w 23"/>
                    <a:gd name="T7" fmla="*/ 8 h 47"/>
                    <a:gd name="T8" fmla="*/ 6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8 h 47"/>
                    <a:gd name="T26" fmla="*/ 19 w 23"/>
                    <a:gd name="T27" fmla="*/ 8 h 47"/>
                    <a:gd name="T28" fmla="*/ 19 w 23"/>
                    <a:gd name="T29" fmla="*/ 21 h 47"/>
                    <a:gd name="T30" fmla="*/ 21 w 23"/>
                    <a:gd name="T31" fmla="*/ 23 h 47"/>
                    <a:gd name="T32" fmla="*/ 23 w 23"/>
                    <a:gd name="T33" fmla="*/ 21 h 47"/>
                    <a:gd name="T34" fmla="*/ 23 w 23"/>
                    <a:gd name="T35" fmla="*/ 7 h 47"/>
                    <a:gd name="T36" fmla="*/ 17 w 23"/>
                    <a:gd name="T37" fmla="*/ 0 h 47"/>
                    <a:gd name="T38" fmla="*/ 7 w 23"/>
                    <a:gd name="T39" fmla="*/ 0 h 47"/>
                    <a:gd name="T40" fmla="*/ 0 w 23"/>
                    <a:gd name="T41" fmla="*/ 7 h 47"/>
                    <a:gd name="T42" fmla="*/ 0 w 23"/>
                    <a:gd name="T43" fmla="*/ 21 h 47"/>
                    <a:gd name="T44" fmla="*/ 3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3" y="23"/>
                      </a:move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ubicBezTo>
                        <a:pt x="15" y="0"/>
                        <a:pt x="8" y="0"/>
                        <a:pt x="7" y="0"/>
                      </a:cubicBezTo>
                      <a:cubicBezTo>
                        <a:pt x="3" y="0"/>
                        <a:pt x="0" y="3"/>
                        <a:pt x="0" y="7"/>
                      </a:cubicBezTo>
                      <a:cubicBezTo>
                        <a:pt x="0" y="8"/>
                        <a:pt x="0" y="20"/>
                        <a:pt x="0" y="21"/>
                      </a:cubicBezTo>
                      <a:cubicBezTo>
                        <a:pt x="0" y="22"/>
                        <a:pt x="1" y="23"/>
                        <a:pt x="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44" name="Freeform 1461"/>
                <p:cNvSpPr>
                  <a:spLocks/>
                </p:cNvSpPr>
                <p:nvPr/>
              </p:nvSpPr>
              <p:spPr bwMode="auto">
                <a:xfrm>
                  <a:off x="13868" y="1296"/>
                  <a:ext cx="55" cy="111"/>
                </a:xfrm>
                <a:custGeom>
                  <a:avLst/>
                  <a:gdLst>
                    <a:gd name="T0" fmla="*/ 21 w 23"/>
                    <a:gd name="T1" fmla="*/ 23 h 47"/>
                    <a:gd name="T2" fmla="*/ 23 w 23"/>
                    <a:gd name="T3" fmla="*/ 21 h 47"/>
                    <a:gd name="T4" fmla="*/ 23 w 23"/>
                    <a:gd name="T5" fmla="*/ 6 h 47"/>
                    <a:gd name="T6" fmla="*/ 17 w 23"/>
                    <a:gd name="T7" fmla="*/ 0 h 47"/>
                    <a:gd name="T8" fmla="*/ 6 w 23"/>
                    <a:gd name="T9" fmla="*/ 0 h 47"/>
                    <a:gd name="T10" fmla="*/ 0 w 23"/>
                    <a:gd name="T11" fmla="*/ 6 h 47"/>
                    <a:gd name="T12" fmla="*/ 0 w 23"/>
                    <a:gd name="T13" fmla="*/ 21 h 47"/>
                    <a:gd name="T14" fmla="*/ 2 w 23"/>
                    <a:gd name="T15" fmla="*/ 23 h 47"/>
                    <a:gd name="T16" fmla="*/ 4 w 23"/>
                    <a:gd name="T17" fmla="*/ 21 h 47"/>
                    <a:gd name="T18" fmla="*/ 4 w 23"/>
                    <a:gd name="T19" fmla="*/ 7 h 47"/>
                    <a:gd name="T20" fmla="*/ 5 w 23"/>
                    <a:gd name="T21" fmla="*/ 7 h 47"/>
                    <a:gd name="T22" fmla="*/ 5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8 w 23"/>
                    <a:gd name="T37" fmla="*/ 44 h 47"/>
                    <a:gd name="T38" fmla="*/ 18 w 23"/>
                    <a:gd name="T39" fmla="*/ 7 h 47"/>
                    <a:gd name="T40" fmla="*/ 19 w 23"/>
                    <a:gd name="T41" fmla="*/ 7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8" y="45"/>
                        <a:pt x="18" y="44"/>
                      </a:cubicBezTo>
                      <a:cubicBezTo>
                        <a:pt x="18" y="42"/>
                        <a:pt x="18" y="7"/>
                        <a:pt x="18" y="7"/>
                      </a:cubicBezTo>
                      <a:cubicBezTo>
                        <a:pt x="18" y="7"/>
                        <a:pt x="18" y="7"/>
                        <a:pt x="19" y="7"/>
                      </a:cubicBezTo>
                      <a:cubicBezTo>
                        <a:pt x="19" y="7"/>
                        <a:pt x="19" y="19"/>
                        <a:pt x="19" y="21"/>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45" name="Oval 1462"/>
                <p:cNvSpPr>
                  <a:spLocks noChangeArrowheads="1"/>
                </p:cNvSpPr>
                <p:nvPr/>
              </p:nvSpPr>
              <p:spPr bwMode="auto">
                <a:xfrm>
                  <a:off x="13819"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46" name="Freeform 1463"/>
                <p:cNvSpPr>
                  <a:spLocks/>
                </p:cNvSpPr>
                <p:nvPr/>
              </p:nvSpPr>
              <p:spPr bwMode="auto">
                <a:xfrm>
                  <a:off x="13864" y="1443"/>
                  <a:ext cx="63" cy="111"/>
                </a:xfrm>
                <a:custGeom>
                  <a:avLst/>
                  <a:gdLst>
                    <a:gd name="T0" fmla="*/ 1 w 27"/>
                    <a:gd name="T1" fmla="*/ 20 h 47"/>
                    <a:gd name="T2" fmla="*/ 4 w 27"/>
                    <a:gd name="T3" fmla="*/ 19 h 47"/>
                    <a:gd name="T4" fmla="*/ 8 w 27"/>
                    <a:gd name="T5" fmla="*/ 6 h 47"/>
                    <a:gd name="T6" fmla="*/ 9 w 27"/>
                    <a:gd name="T7" fmla="*/ 6 h 47"/>
                    <a:gd name="T8" fmla="*/ 2 w 27"/>
                    <a:gd name="T9" fmla="*/ 28 h 47"/>
                    <a:gd name="T10" fmla="*/ 8 w 27"/>
                    <a:gd name="T11" fmla="*/ 28 h 47"/>
                    <a:gd name="T12" fmla="*/ 8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6 w 27"/>
                    <a:gd name="T25" fmla="*/ 47 h 47"/>
                    <a:gd name="T26" fmla="*/ 19 w 27"/>
                    <a:gd name="T27" fmla="*/ 44 h 47"/>
                    <a:gd name="T28" fmla="*/ 19 w 27"/>
                    <a:gd name="T29" fmla="*/ 28 h 47"/>
                    <a:gd name="T30" fmla="*/ 25 w 27"/>
                    <a:gd name="T31" fmla="*/ 28 h 47"/>
                    <a:gd name="T32" fmla="*/ 18 w 27"/>
                    <a:gd name="T33" fmla="*/ 6 h 47"/>
                    <a:gd name="T34" fmla="*/ 19 w 27"/>
                    <a:gd name="T35" fmla="*/ 6 h 47"/>
                    <a:gd name="T36" fmla="*/ 23 w 27"/>
                    <a:gd name="T37" fmla="*/ 19 h 47"/>
                    <a:gd name="T38" fmla="*/ 26 w 27"/>
                    <a:gd name="T39" fmla="*/ 20 h 47"/>
                    <a:gd name="T40" fmla="*/ 27 w 27"/>
                    <a:gd name="T41" fmla="*/ 18 h 47"/>
                    <a:gd name="T42" fmla="*/ 23 w 27"/>
                    <a:gd name="T43" fmla="*/ 4 h 47"/>
                    <a:gd name="T44" fmla="*/ 17 w 27"/>
                    <a:gd name="T45" fmla="*/ 0 h 47"/>
                    <a:gd name="T46" fmla="*/ 10 w 27"/>
                    <a:gd name="T47" fmla="*/ 0 h 47"/>
                    <a:gd name="T48" fmla="*/ 4 w 27"/>
                    <a:gd name="T49" fmla="*/ 4 h 47"/>
                    <a:gd name="T50" fmla="*/ 0 w 27"/>
                    <a:gd name="T51" fmla="*/ 18 h 47"/>
                    <a:gd name="T52" fmla="*/ 1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0"/>
                      </a:moveTo>
                      <a:cubicBezTo>
                        <a:pt x="2" y="21"/>
                        <a:pt x="4" y="20"/>
                        <a:pt x="4" y="19"/>
                      </a:cubicBez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5" y="21"/>
                        <a:pt x="26" y="20"/>
                      </a:cubicBezTo>
                      <a:cubicBezTo>
                        <a:pt x="26" y="20"/>
                        <a:pt x="27" y="19"/>
                        <a:pt x="27" y="18"/>
                      </a:cubicBezTo>
                      <a:cubicBezTo>
                        <a:pt x="26" y="17"/>
                        <a:pt x="24" y="10"/>
                        <a:pt x="23" y="4"/>
                      </a:cubicBezTo>
                      <a:cubicBezTo>
                        <a:pt x="22" y="2"/>
                        <a:pt x="20" y="0"/>
                        <a:pt x="17" y="0"/>
                      </a:cubicBezTo>
                      <a:cubicBezTo>
                        <a:pt x="16" y="0"/>
                        <a:pt x="11" y="0"/>
                        <a:pt x="10" y="0"/>
                      </a:cubicBezTo>
                      <a:cubicBezTo>
                        <a:pt x="7" y="0"/>
                        <a:pt x="5" y="2"/>
                        <a:pt x="4" y="4"/>
                      </a:cubicBezTo>
                      <a:cubicBezTo>
                        <a:pt x="2" y="10"/>
                        <a:pt x="0" y="17"/>
                        <a:pt x="0" y="18"/>
                      </a:cubicBezTo>
                      <a:cubicBezTo>
                        <a:pt x="0" y="19"/>
                        <a:pt x="0"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47" name="Oval 1464"/>
                <p:cNvSpPr>
                  <a:spLocks noChangeArrowheads="1"/>
                </p:cNvSpPr>
                <p:nvPr/>
              </p:nvSpPr>
              <p:spPr bwMode="auto">
                <a:xfrm>
                  <a:off x="13885"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48" name="Freeform 1465"/>
                <p:cNvSpPr>
                  <a:spLocks/>
                </p:cNvSpPr>
                <p:nvPr/>
              </p:nvSpPr>
              <p:spPr bwMode="auto">
                <a:xfrm>
                  <a:off x="13935" y="1443"/>
                  <a:ext cx="52" cy="109"/>
                </a:xfrm>
                <a:custGeom>
                  <a:avLst/>
                  <a:gdLst>
                    <a:gd name="T0" fmla="*/ 22 w 22"/>
                    <a:gd name="T1" fmla="*/ 20 h 46"/>
                    <a:gd name="T2" fmla="*/ 22 w 22"/>
                    <a:gd name="T3" fmla="*/ 6 h 46"/>
                    <a:gd name="T4" fmla="*/ 16 w 22"/>
                    <a:gd name="T5" fmla="*/ 0 h 46"/>
                    <a:gd name="T6" fmla="*/ 6 w 22"/>
                    <a:gd name="T7" fmla="*/ 0 h 46"/>
                    <a:gd name="T8" fmla="*/ 0 w 22"/>
                    <a:gd name="T9" fmla="*/ 6 h 46"/>
                    <a:gd name="T10" fmla="*/ 0 w 22"/>
                    <a:gd name="T11" fmla="*/ 20 h 46"/>
                    <a:gd name="T12" fmla="*/ 2 w 22"/>
                    <a:gd name="T13" fmla="*/ 23 h 46"/>
                    <a:gd name="T14" fmla="*/ 4 w 22"/>
                    <a:gd name="T15" fmla="*/ 20 h 46"/>
                    <a:gd name="T16" fmla="*/ 4 w 22"/>
                    <a:gd name="T17" fmla="*/ 7 h 46"/>
                    <a:gd name="T18" fmla="*/ 5 w 22"/>
                    <a:gd name="T19" fmla="*/ 7 h 46"/>
                    <a:gd name="T20" fmla="*/ 5 w 22"/>
                    <a:gd name="T21" fmla="*/ 44 h 46"/>
                    <a:gd name="T22" fmla="*/ 8 w 22"/>
                    <a:gd name="T23" fmla="*/ 46 h 46"/>
                    <a:gd name="T24" fmla="*/ 11 w 22"/>
                    <a:gd name="T25" fmla="*/ 44 h 46"/>
                    <a:gd name="T26" fmla="*/ 11 w 22"/>
                    <a:gd name="T27" fmla="*/ 23 h 46"/>
                    <a:gd name="T28" fmla="*/ 12 w 22"/>
                    <a:gd name="T29" fmla="*/ 23 h 46"/>
                    <a:gd name="T30" fmla="*/ 12 w 22"/>
                    <a:gd name="T31" fmla="*/ 44 h 46"/>
                    <a:gd name="T32" fmla="*/ 14 w 22"/>
                    <a:gd name="T33" fmla="*/ 46 h 46"/>
                    <a:gd name="T34" fmla="*/ 17 w 22"/>
                    <a:gd name="T35" fmla="*/ 44 h 46"/>
                    <a:gd name="T36" fmla="*/ 17 w 22"/>
                    <a:gd name="T37" fmla="*/ 7 h 46"/>
                    <a:gd name="T38" fmla="*/ 18 w 22"/>
                    <a:gd name="T39" fmla="*/ 7 h 46"/>
                    <a:gd name="T40" fmla="*/ 18 w 22"/>
                    <a:gd name="T41" fmla="*/ 20 h 46"/>
                    <a:gd name="T42" fmla="*/ 20 w 22"/>
                    <a:gd name="T43" fmla="*/ 23 h 46"/>
                    <a:gd name="T44" fmla="*/ 22 w 22"/>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2" y="20"/>
                      </a:moveTo>
                      <a:cubicBezTo>
                        <a:pt x="22" y="19"/>
                        <a:pt x="22" y="8"/>
                        <a:pt x="22" y="6"/>
                      </a:cubicBezTo>
                      <a:cubicBezTo>
                        <a:pt x="22" y="2"/>
                        <a:pt x="20" y="0"/>
                        <a:pt x="16" y="0"/>
                      </a:cubicBezTo>
                      <a:cubicBezTo>
                        <a:pt x="15" y="0"/>
                        <a:pt x="8" y="0"/>
                        <a:pt x="6" y="0"/>
                      </a:cubicBezTo>
                      <a:cubicBezTo>
                        <a:pt x="3" y="0"/>
                        <a:pt x="0" y="2"/>
                        <a:pt x="0" y="6"/>
                      </a:cubicBez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49" name="Freeform 1466"/>
                <p:cNvSpPr>
                  <a:spLocks/>
                </p:cNvSpPr>
                <p:nvPr/>
              </p:nvSpPr>
              <p:spPr bwMode="auto">
                <a:xfrm>
                  <a:off x="13864" y="1147"/>
                  <a:ext cx="63" cy="111"/>
                </a:xfrm>
                <a:custGeom>
                  <a:avLst/>
                  <a:gdLst>
                    <a:gd name="T0" fmla="*/ 1 w 27"/>
                    <a:gd name="T1" fmla="*/ 21 h 47"/>
                    <a:gd name="T2" fmla="*/ 4 w 27"/>
                    <a:gd name="T3" fmla="*/ 20 h 47"/>
                    <a:gd name="T4" fmla="*/ 8 w 27"/>
                    <a:gd name="T5" fmla="*/ 7 h 47"/>
                    <a:gd name="T6" fmla="*/ 9 w 27"/>
                    <a:gd name="T7" fmla="*/ 7 h 47"/>
                    <a:gd name="T8" fmla="*/ 2 w 27"/>
                    <a:gd name="T9" fmla="*/ 29 h 47"/>
                    <a:gd name="T10" fmla="*/ 8 w 27"/>
                    <a:gd name="T11" fmla="*/ 29 h 47"/>
                    <a:gd name="T12" fmla="*/ 8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6 w 27"/>
                    <a:gd name="T25" fmla="*/ 47 h 47"/>
                    <a:gd name="T26" fmla="*/ 19 w 27"/>
                    <a:gd name="T27" fmla="*/ 45 h 47"/>
                    <a:gd name="T28" fmla="*/ 19 w 27"/>
                    <a:gd name="T29" fmla="*/ 29 h 47"/>
                    <a:gd name="T30" fmla="*/ 25 w 27"/>
                    <a:gd name="T31" fmla="*/ 29 h 47"/>
                    <a:gd name="T32" fmla="*/ 18 w 27"/>
                    <a:gd name="T33" fmla="*/ 7 h 47"/>
                    <a:gd name="T34" fmla="*/ 19 w 27"/>
                    <a:gd name="T35" fmla="*/ 7 h 47"/>
                    <a:gd name="T36" fmla="*/ 23 w 27"/>
                    <a:gd name="T37" fmla="*/ 20 h 47"/>
                    <a:gd name="T38" fmla="*/ 26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4" y="21"/>
                        <a:pt x="4" y="20"/>
                      </a:cubicBezTo>
                      <a:cubicBezTo>
                        <a:pt x="4" y="18"/>
                        <a:pt x="8" y="7"/>
                        <a:pt x="8" y="7"/>
                      </a:cubicBezTo>
                      <a:cubicBezTo>
                        <a:pt x="9" y="7"/>
                        <a:pt x="9" y="7"/>
                        <a:pt x="9" y="7"/>
                      </a:cubicBezTo>
                      <a:cubicBezTo>
                        <a:pt x="2" y="29"/>
                        <a:pt x="2" y="29"/>
                        <a:pt x="2" y="29"/>
                      </a:cubicBezTo>
                      <a:cubicBezTo>
                        <a:pt x="8" y="29"/>
                        <a:pt x="8" y="29"/>
                        <a:pt x="8" y="29"/>
                      </a:cubicBezTo>
                      <a:cubicBezTo>
                        <a:pt x="8" y="36"/>
                        <a:pt x="8" y="44"/>
                        <a:pt x="8" y="45"/>
                      </a:cubicBezTo>
                      <a:cubicBezTo>
                        <a:pt x="8" y="46"/>
                        <a:pt x="9"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19" y="7"/>
                        <a:pt x="19" y="7"/>
                        <a:pt x="19" y="7"/>
                      </a:cubicBezTo>
                      <a:cubicBezTo>
                        <a:pt x="19" y="7"/>
                        <a:pt x="23" y="18"/>
                        <a:pt x="23" y="20"/>
                      </a:cubicBezTo>
                      <a:cubicBezTo>
                        <a:pt x="23" y="21"/>
                        <a:pt x="25" y="21"/>
                        <a:pt x="26"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50" name="Freeform 1467"/>
                <p:cNvSpPr>
                  <a:spLocks/>
                </p:cNvSpPr>
                <p:nvPr/>
              </p:nvSpPr>
              <p:spPr bwMode="auto">
                <a:xfrm>
                  <a:off x="13930" y="1296"/>
                  <a:ext cx="64" cy="111"/>
                </a:xfrm>
                <a:custGeom>
                  <a:avLst/>
                  <a:gdLst>
                    <a:gd name="T0" fmla="*/ 1 w 27"/>
                    <a:gd name="T1" fmla="*/ 21 h 47"/>
                    <a:gd name="T2" fmla="*/ 3 w 27"/>
                    <a:gd name="T3" fmla="*/ 19 h 47"/>
                    <a:gd name="T4" fmla="*/ 7 w 27"/>
                    <a:gd name="T5" fmla="*/ 6 h 47"/>
                    <a:gd name="T6" fmla="*/ 8 w 27"/>
                    <a:gd name="T7" fmla="*/ 6 h 47"/>
                    <a:gd name="T8" fmla="*/ 2 w 27"/>
                    <a:gd name="T9" fmla="*/ 28 h 47"/>
                    <a:gd name="T10" fmla="*/ 8 w 27"/>
                    <a:gd name="T11" fmla="*/ 28 h 47"/>
                    <a:gd name="T12" fmla="*/ 8 w 27"/>
                    <a:gd name="T13" fmla="*/ 45 h 47"/>
                    <a:gd name="T14" fmla="*/ 10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4 w 27"/>
                    <a:gd name="T31" fmla="*/ 28 h 47"/>
                    <a:gd name="T32" fmla="*/ 18 w 27"/>
                    <a:gd name="T33" fmla="*/ 6 h 47"/>
                    <a:gd name="T34" fmla="*/ 19 w 27"/>
                    <a:gd name="T35" fmla="*/ 6 h 47"/>
                    <a:gd name="T36" fmla="*/ 23 w 27"/>
                    <a:gd name="T37" fmla="*/ 19 h 47"/>
                    <a:gd name="T38" fmla="*/ 25 w 27"/>
                    <a:gd name="T39" fmla="*/ 21 h 47"/>
                    <a:gd name="T40" fmla="*/ 26 w 27"/>
                    <a:gd name="T41" fmla="*/ 18 h 47"/>
                    <a:gd name="T42" fmla="*/ 22 w 27"/>
                    <a:gd name="T43" fmla="*/ 4 h 47"/>
                    <a:gd name="T44" fmla="*/ 17 w 27"/>
                    <a:gd name="T45" fmla="*/ 0 h 47"/>
                    <a:gd name="T46" fmla="*/ 9 w 27"/>
                    <a:gd name="T47" fmla="*/ 0 h 47"/>
                    <a:gd name="T48" fmla="*/ 4 w 27"/>
                    <a:gd name="T49" fmla="*/ 4 h 47"/>
                    <a:gd name="T50" fmla="*/ 0 w 27"/>
                    <a:gd name="T51" fmla="*/ 18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1"/>
                      </a:cubicBezTo>
                      <a:cubicBezTo>
                        <a:pt x="26" y="20"/>
                        <a:pt x="27" y="19"/>
                        <a:pt x="26" y="18"/>
                      </a:cubicBezTo>
                      <a:cubicBezTo>
                        <a:pt x="26" y="18"/>
                        <a:pt x="24" y="10"/>
                        <a:pt x="22" y="4"/>
                      </a:cubicBezTo>
                      <a:cubicBezTo>
                        <a:pt x="22" y="2"/>
                        <a:pt x="19" y="0"/>
                        <a:pt x="17" y="0"/>
                      </a:cubicBezTo>
                      <a:cubicBezTo>
                        <a:pt x="16" y="0"/>
                        <a:pt x="10" y="0"/>
                        <a:pt x="9" y="0"/>
                      </a:cubicBezTo>
                      <a:cubicBezTo>
                        <a:pt x="7" y="0"/>
                        <a:pt x="5" y="2"/>
                        <a:pt x="4" y="4"/>
                      </a:cubicBezTo>
                      <a:cubicBezTo>
                        <a:pt x="2" y="10"/>
                        <a:pt x="0" y="18"/>
                        <a:pt x="0" y="18"/>
                      </a:cubicBezTo>
                      <a:cubicBezTo>
                        <a:pt x="0" y="19"/>
                        <a:pt x="0" y="20"/>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51" name="Oval 1468"/>
                <p:cNvSpPr>
                  <a:spLocks noChangeArrowheads="1"/>
                </p:cNvSpPr>
                <p:nvPr/>
              </p:nvSpPr>
              <p:spPr bwMode="auto">
                <a:xfrm>
                  <a:off x="13949" y="1417"/>
                  <a:ext cx="23"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52" name="Oval 1469"/>
                <p:cNvSpPr>
                  <a:spLocks noChangeArrowheads="1"/>
                </p:cNvSpPr>
                <p:nvPr/>
              </p:nvSpPr>
              <p:spPr bwMode="auto">
                <a:xfrm>
                  <a:off x="13885"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53" name="Oval 1470"/>
                <p:cNvSpPr>
                  <a:spLocks noChangeArrowheads="1"/>
                </p:cNvSpPr>
                <p:nvPr/>
              </p:nvSpPr>
              <p:spPr bwMode="auto">
                <a:xfrm>
                  <a:off x="14015"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54" name="Freeform 1471"/>
                <p:cNvSpPr>
                  <a:spLocks/>
                </p:cNvSpPr>
                <p:nvPr/>
              </p:nvSpPr>
              <p:spPr bwMode="auto">
                <a:xfrm>
                  <a:off x="13731" y="1443"/>
                  <a:ext cx="66" cy="111"/>
                </a:xfrm>
                <a:custGeom>
                  <a:avLst/>
                  <a:gdLst>
                    <a:gd name="T0" fmla="*/ 2 w 28"/>
                    <a:gd name="T1" fmla="*/ 20 h 47"/>
                    <a:gd name="T2" fmla="*/ 4 w 28"/>
                    <a:gd name="T3" fmla="*/ 19 h 47"/>
                    <a:gd name="T4" fmla="*/ 8 w 28"/>
                    <a:gd name="T5" fmla="*/ 6 h 47"/>
                    <a:gd name="T6" fmla="*/ 9 w 28"/>
                    <a:gd name="T7" fmla="*/ 6 h 47"/>
                    <a:gd name="T8" fmla="*/ 3 w 28"/>
                    <a:gd name="T9" fmla="*/ 28 h 47"/>
                    <a:gd name="T10" fmla="*/ 9 w 28"/>
                    <a:gd name="T11" fmla="*/ 28 h 47"/>
                    <a:gd name="T12" fmla="*/ 9 w 28"/>
                    <a:gd name="T13" fmla="*/ 44 h 47"/>
                    <a:gd name="T14" fmla="*/ 11 w 28"/>
                    <a:gd name="T15" fmla="*/ 47 h 47"/>
                    <a:gd name="T16" fmla="*/ 14 w 28"/>
                    <a:gd name="T17" fmla="*/ 44 h 47"/>
                    <a:gd name="T18" fmla="*/ 14 w 28"/>
                    <a:gd name="T19" fmla="*/ 28 h 47"/>
                    <a:gd name="T20" fmla="*/ 15 w 28"/>
                    <a:gd name="T21" fmla="*/ 28 h 47"/>
                    <a:gd name="T22" fmla="*/ 15 w 28"/>
                    <a:gd name="T23" fmla="*/ 44 h 47"/>
                    <a:gd name="T24" fmla="*/ 17 w 28"/>
                    <a:gd name="T25" fmla="*/ 47 h 47"/>
                    <a:gd name="T26" fmla="*/ 19 w 28"/>
                    <a:gd name="T27" fmla="*/ 44 h 47"/>
                    <a:gd name="T28" fmla="*/ 19 w 28"/>
                    <a:gd name="T29" fmla="*/ 28 h 47"/>
                    <a:gd name="T30" fmla="*/ 25 w 28"/>
                    <a:gd name="T31" fmla="*/ 28 h 47"/>
                    <a:gd name="T32" fmla="*/ 19 w 28"/>
                    <a:gd name="T33" fmla="*/ 6 h 47"/>
                    <a:gd name="T34" fmla="*/ 20 w 28"/>
                    <a:gd name="T35" fmla="*/ 6 h 47"/>
                    <a:gd name="T36" fmla="*/ 24 w 28"/>
                    <a:gd name="T37" fmla="*/ 19 h 47"/>
                    <a:gd name="T38" fmla="*/ 26 w 28"/>
                    <a:gd name="T39" fmla="*/ 20 h 47"/>
                    <a:gd name="T40" fmla="*/ 27 w 28"/>
                    <a:gd name="T41" fmla="*/ 18 h 47"/>
                    <a:gd name="T42" fmla="*/ 23 w 28"/>
                    <a:gd name="T43" fmla="*/ 4 h 47"/>
                    <a:gd name="T44" fmla="*/ 18 w 28"/>
                    <a:gd name="T45" fmla="*/ 0 h 47"/>
                    <a:gd name="T46" fmla="*/ 10 w 28"/>
                    <a:gd name="T47" fmla="*/ 0 h 47"/>
                    <a:gd name="T48" fmla="*/ 5 w 28"/>
                    <a:gd name="T49" fmla="*/ 4 h 47"/>
                    <a:gd name="T50" fmla="*/ 1 w 28"/>
                    <a:gd name="T51" fmla="*/ 18 h 47"/>
                    <a:gd name="T52" fmla="*/ 2 w 28"/>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 y="20"/>
                      </a:move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3" y="47"/>
                        <a:pt x="14" y="46"/>
                        <a:pt x="14" y="44"/>
                      </a:cubicBezTo>
                      <a:cubicBezTo>
                        <a:pt x="14" y="43"/>
                        <a:pt x="14" y="28"/>
                        <a:pt x="14" y="28"/>
                      </a:cubicBezTo>
                      <a:cubicBezTo>
                        <a:pt x="15" y="28"/>
                        <a:pt x="15" y="28"/>
                        <a:pt x="15" y="28"/>
                      </a:cubicBezTo>
                      <a:cubicBezTo>
                        <a:pt x="15" y="28"/>
                        <a:pt x="15" y="43"/>
                        <a:pt x="15" y="44"/>
                      </a:cubicBezTo>
                      <a:cubicBezTo>
                        <a:pt x="15"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8" y="19"/>
                        <a:pt x="27" y="18"/>
                      </a:cubicBezTo>
                      <a:cubicBezTo>
                        <a:pt x="27" y="17"/>
                        <a:pt x="25" y="10"/>
                        <a:pt x="23" y="4"/>
                      </a:cubicBezTo>
                      <a:cubicBezTo>
                        <a:pt x="23" y="2"/>
                        <a:pt x="20" y="0"/>
                        <a:pt x="18" y="0"/>
                      </a:cubicBezTo>
                      <a:cubicBezTo>
                        <a:pt x="17" y="0"/>
                        <a:pt x="11" y="0"/>
                        <a:pt x="10" y="0"/>
                      </a:cubicBezTo>
                      <a:cubicBezTo>
                        <a:pt x="8" y="0"/>
                        <a:pt x="6" y="2"/>
                        <a:pt x="5" y="4"/>
                      </a:cubicBezTo>
                      <a:cubicBezTo>
                        <a:pt x="3" y="10"/>
                        <a:pt x="1" y="17"/>
                        <a:pt x="1" y="18"/>
                      </a:cubicBezTo>
                      <a:cubicBezTo>
                        <a:pt x="0" y="19"/>
                        <a:pt x="1"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55" name="Oval 1472"/>
                <p:cNvSpPr>
                  <a:spLocks noChangeArrowheads="1"/>
                </p:cNvSpPr>
                <p:nvPr/>
              </p:nvSpPr>
              <p:spPr bwMode="auto">
                <a:xfrm>
                  <a:off x="13819" y="127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56" name="Freeform 1473"/>
                <p:cNvSpPr>
                  <a:spLocks/>
                </p:cNvSpPr>
                <p:nvPr/>
              </p:nvSpPr>
              <p:spPr bwMode="auto">
                <a:xfrm>
                  <a:off x="13672" y="1147"/>
                  <a:ext cx="54" cy="111"/>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8 h 47"/>
                    <a:gd name="T26" fmla="*/ 19 w 23"/>
                    <a:gd name="T27" fmla="*/ 8 h 47"/>
                    <a:gd name="T28" fmla="*/ 19 w 23"/>
                    <a:gd name="T29" fmla="*/ 21 h 47"/>
                    <a:gd name="T30" fmla="*/ 21 w 23"/>
                    <a:gd name="T31" fmla="*/ 23 h 47"/>
                    <a:gd name="T32" fmla="*/ 23 w 23"/>
                    <a:gd name="T33" fmla="*/ 21 h 47"/>
                    <a:gd name="T34" fmla="*/ 23 w 23"/>
                    <a:gd name="T35" fmla="*/ 7 h 47"/>
                    <a:gd name="T36" fmla="*/ 17 w 23"/>
                    <a:gd name="T37" fmla="*/ 0 h 47"/>
                    <a:gd name="T38" fmla="*/ 6 w 23"/>
                    <a:gd name="T39" fmla="*/ 0 h 47"/>
                    <a:gd name="T40" fmla="*/ 0 w 23"/>
                    <a:gd name="T41" fmla="*/ 7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ubicBezTo>
                        <a:pt x="15" y="0"/>
                        <a:pt x="8" y="0"/>
                        <a:pt x="6" y="0"/>
                      </a:cubicBezTo>
                      <a:cubicBezTo>
                        <a:pt x="3"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57" name="Oval 1474"/>
                <p:cNvSpPr>
                  <a:spLocks noChangeArrowheads="1"/>
                </p:cNvSpPr>
                <p:nvPr/>
              </p:nvSpPr>
              <p:spPr bwMode="auto">
                <a:xfrm>
                  <a:off x="13752"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58" name="Oval 1475"/>
                <p:cNvSpPr>
                  <a:spLocks noChangeArrowheads="1"/>
                </p:cNvSpPr>
                <p:nvPr/>
              </p:nvSpPr>
              <p:spPr bwMode="auto">
                <a:xfrm>
                  <a:off x="13949" y="127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59" name="Oval 1476"/>
                <p:cNvSpPr>
                  <a:spLocks noChangeArrowheads="1"/>
                </p:cNvSpPr>
                <p:nvPr/>
              </p:nvSpPr>
              <p:spPr bwMode="auto">
                <a:xfrm>
                  <a:off x="13688"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60" name="Oval 1477"/>
                <p:cNvSpPr>
                  <a:spLocks noChangeArrowheads="1"/>
                </p:cNvSpPr>
                <p:nvPr/>
              </p:nvSpPr>
              <p:spPr bwMode="auto">
                <a:xfrm>
                  <a:off x="13752"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61" name="Oval 1478"/>
                <p:cNvSpPr>
                  <a:spLocks noChangeArrowheads="1"/>
                </p:cNvSpPr>
                <p:nvPr/>
              </p:nvSpPr>
              <p:spPr bwMode="auto">
                <a:xfrm>
                  <a:off x="13752"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62" name="Freeform 1479"/>
                <p:cNvSpPr>
                  <a:spLocks/>
                </p:cNvSpPr>
                <p:nvPr/>
              </p:nvSpPr>
              <p:spPr bwMode="auto">
                <a:xfrm>
                  <a:off x="13731" y="1147"/>
                  <a:ext cx="66" cy="111"/>
                </a:xfrm>
                <a:custGeom>
                  <a:avLst/>
                  <a:gdLst>
                    <a:gd name="T0" fmla="*/ 2 w 28"/>
                    <a:gd name="T1" fmla="*/ 21 h 47"/>
                    <a:gd name="T2" fmla="*/ 4 w 28"/>
                    <a:gd name="T3" fmla="*/ 20 h 47"/>
                    <a:gd name="T4" fmla="*/ 8 w 28"/>
                    <a:gd name="T5" fmla="*/ 7 h 47"/>
                    <a:gd name="T6" fmla="*/ 9 w 28"/>
                    <a:gd name="T7" fmla="*/ 7 h 47"/>
                    <a:gd name="T8" fmla="*/ 3 w 28"/>
                    <a:gd name="T9" fmla="*/ 29 h 47"/>
                    <a:gd name="T10" fmla="*/ 9 w 28"/>
                    <a:gd name="T11" fmla="*/ 29 h 47"/>
                    <a:gd name="T12" fmla="*/ 9 w 28"/>
                    <a:gd name="T13" fmla="*/ 45 h 47"/>
                    <a:gd name="T14" fmla="*/ 11 w 28"/>
                    <a:gd name="T15" fmla="*/ 47 h 47"/>
                    <a:gd name="T16" fmla="*/ 14 w 28"/>
                    <a:gd name="T17" fmla="*/ 45 h 47"/>
                    <a:gd name="T18" fmla="*/ 14 w 28"/>
                    <a:gd name="T19" fmla="*/ 29 h 47"/>
                    <a:gd name="T20" fmla="*/ 15 w 28"/>
                    <a:gd name="T21" fmla="*/ 29 h 47"/>
                    <a:gd name="T22" fmla="*/ 15 w 28"/>
                    <a:gd name="T23" fmla="*/ 45 h 47"/>
                    <a:gd name="T24" fmla="*/ 17 w 28"/>
                    <a:gd name="T25" fmla="*/ 47 h 47"/>
                    <a:gd name="T26" fmla="*/ 19 w 28"/>
                    <a:gd name="T27" fmla="*/ 45 h 47"/>
                    <a:gd name="T28" fmla="*/ 19 w 28"/>
                    <a:gd name="T29" fmla="*/ 29 h 47"/>
                    <a:gd name="T30" fmla="*/ 25 w 28"/>
                    <a:gd name="T31" fmla="*/ 29 h 47"/>
                    <a:gd name="T32" fmla="*/ 19 w 28"/>
                    <a:gd name="T33" fmla="*/ 7 h 47"/>
                    <a:gd name="T34" fmla="*/ 20 w 28"/>
                    <a:gd name="T35" fmla="*/ 7 h 47"/>
                    <a:gd name="T36" fmla="*/ 24 w 28"/>
                    <a:gd name="T37" fmla="*/ 20 h 47"/>
                    <a:gd name="T38" fmla="*/ 26 w 28"/>
                    <a:gd name="T39" fmla="*/ 21 h 47"/>
                    <a:gd name="T40" fmla="*/ 27 w 28"/>
                    <a:gd name="T41" fmla="*/ 19 h 47"/>
                    <a:gd name="T42" fmla="*/ 23 w 28"/>
                    <a:gd name="T43" fmla="*/ 5 h 47"/>
                    <a:gd name="T44" fmla="*/ 18 w 28"/>
                    <a:gd name="T45" fmla="*/ 0 h 47"/>
                    <a:gd name="T46" fmla="*/ 10 w 28"/>
                    <a:gd name="T47" fmla="*/ 0 h 47"/>
                    <a:gd name="T48" fmla="*/ 5 w 28"/>
                    <a:gd name="T49" fmla="*/ 5 h 47"/>
                    <a:gd name="T50" fmla="*/ 1 w 28"/>
                    <a:gd name="T51" fmla="*/ 19 h 47"/>
                    <a:gd name="T52" fmla="*/ 2 w 28"/>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 y="21"/>
                      </a:move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3" y="47"/>
                        <a:pt x="14" y="46"/>
                        <a:pt x="14" y="45"/>
                      </a:cubicBezTo>
                      <a:cubicBezTo>
                        <a:pt x="14" y="43"/>
                        <a:pt x="14" y="29"/>
                        <a:pt x="14" y="29"/>
                      </a:cubicBezTo>
                      <a:cubicBezTo>
                        <a:pt x="15" y="29"/>
                        <a:pt x="15" y="29"/>
                        <a:pt x="15" y="29"/>
                      </a:cubicBezTo>
                      <a:cubicBezTo>
                        <a:pt x="15" y="29"/>
                        <a:pt x="15" y="43"/>
                        <a:pt x="15" y="45"/>
                      </a:cubicBezTo>
                      <a:cubicBezTo>
                        <a:pt x="15" y="46"/>
                        <a:pt x="16"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8" y="20"/>
                        <a:pt x="27" y="19"/>
                      </a:cubicBezTo>
                      <a:cubicBezTo>
                        <a:pt x="27" y="18"/>
                        <a:pt x="25" y="11"/>
                        <a:pt x="23" y="5"/>
                      </a:cubicBezTo>
                      <a:cubicBezTo>
                        <a:pt x="23" y="3"/>
                        <a:pt x="20" y="0"/>
                        <a:pt x="18" y="0"/>
                      </a:cubicBezTo>
                      <a:cubicBezTo>
                        <a:pt x="17" y="0"/>
                        <a:pt x="11" y="0"/>
                        <a:pt x="10" y="0"/>
                      </a:cubicBezTo>
                      <a:cubicBezTo>
                        <a:pt x="8" y="0"/>
                        <a:pt x="6" y="3"/>
                        <a:pt x="5" y="5"/>
                      </a:cubicBezTo>
                      <a:cubicBezTo>
                        <a:pt x="3" y="11"/>
                        <a:pt x="1" y="18"/>
                        <a:pt x="1"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63" name="Freeform 1480"/>
                <p:cNvSpPr>
                  <a:spLocks/>
                </p:cNvSpPr>
                <p:nvPr/>
              </p:nvSpPr>
              <p:spPr bwMode="auto">
                <a:xfrm>
                  <a:off x="13738" y="1296"/>
                  <a:ext cx="52" cy="111"/>
                </a:xfrm>
                <a:custGeom>
                  <a:avLst/>
                  <a:gdLst>
                    <a:gd name="T0" fmla="*/ 20 w 22"/>
                    <a:gd name="T1" fmla="*/ 23 h 47"/>
                    <a:gd name="T2" fmla="*/ 22 w 22"/>
                    <a:gd name="T3" fmla="*/ 21 h 47"/>
                    <a:gd name="T4" fmla="*/ 22 w 22"/>
                    <a:gd name="T5" fmla="*/ 6 h 47"/>
                    <a:gd name="T6" fmla="*/ 16 w 22"/>
                    <a:gd name="T7" fmla="*/ 0 h 47"/>
                    <a:gd name="T8" fmla="*/ 6 w 22"/>
                    <a:gd name="T9" fmla="*/ 0 h 47"/>
                    <a:gd name="T10" fmla="*/ 0 w 22"/>
                    <a:gd name="T11" fmla="*/ 6 h 47"/>
                    <a:gd name="T12" fmla="*/ 0 w 22"/>
                    <a:gd name="T13" fmla="*/ 21 h 47"/>
                    <a:gd name="T14" fmla="*/ 2 w 22"/>
                    <a:gd name="T15" fmla="*/ 23 h 47"/>
                    <a:gd name="T16" fmla="*/ 4 w 22"/>
                    <a:gd name="T17" fmla="*/ 21 h 47"/>
                    <a:gd name="T18" fmla="*/ 4 w 22"/>
                    <a:gd name="T19" fmla="*/ 7 h 47"/>
                    <a:gd name="T20" fmla="*/ 5 w 22"/>
                    <a:gd name="T21" fmla="*/ 7 h 47"/>
                    <a:gd name="T22" fmla="*/ 5 w 22"/>
                    <a:gd name="T23" fmla="*/ 44 h 47"/>
                    <a:gd name="T24" fmla="*/ 8 w 22"/>
                    <a:gd name="T25" fmla="*/ 47 h 47"/>
                    <a:gd name="T26" fmla="*/ 11 w 22"/>
                    <a:gd name="T27" fmla="*/ 44 h 47"/>
                    <a:gd name="T28" fmla="*/ 11 w 22"/>
                    <a:gd name="T29" fmla="*/ 23 h 47"/>
                    <a:gd name="T30" fmla="*/ 12 w 22"/>
                    <a:gd name="T31" fmla="*/ 23 h 47"/>
                    <a:gd name="T32" fmla="*/ 12 w 22"/>
                    <a:gd name="T33" fmla="*/ 44 h 47"/>
                    <a:gd name="T34" fmla="*/ 14 w 22"/>
                    <a:gd name="T35" fmla="*/ 47 h 47"/>
                    <a:gd name="T36" fmla="*/ 17 w 22"/>
                    <a:gd name="T37" fmla="*/ 44 h 47"/>
                    <a:gd name="T38" fmla="*/ 17 w 22"/>
                    <a:gd name="T39" fmla="*/ 7 h 47"/>
                    <a:gd name="T40" fmla="*/ 18 w 22"/>
                    <a:gd name="T41" fmla="*/ 7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19"/>
                        <a:pt x="22" y="8"/>
                        <a:pt x="22" y="6"/>
                      </a:cubicBezTo>
                      <a:cubicBezTo>
                        <a:pt x="22" y="3"/>
                        <a:pt x="20" y="0"/>
                        <a:pt x="16" y="0"/>
                      </a:cubicBezTo>
                      <a:cubicBezTo>
                        <a:pt x="15" y="0"/>
                        <a:pt x="7" y="0"/>
                        <a:pt x="6" y="0"/>
                      </a:cubicBezTo>
                      <a:cubicBezTo>
                        <a:pt x="3" y="0"/>
                        <a:pt x="0" y="3"/>
                        <a:pt x="0" y="6"/>
                      </a:cubicBez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1" y="45"/>
                        <a:pt x="11" y="44"/>
                      </a:cubicBezTo>
                      <a:cubicBezTo>
                        <a:pt x="11" y="42"/>
                        <a:pt x="11" y="23"/>
                        <a:pt x="11" y="23"/>
                      </a:cubicBezTo>
                      <a:cubicBezTo>
                        <a:pt x="11" y="23"/>
                        <a:pt x="11" y="23"/>
                        <a:pt x="12" y="23"/>
                      </a:cubicBezTo>
                      <a:cubicBezTo>
                        <a:pt x="12" y="23"/>
                        <a:pt x="12" y="42"/>
                        <a:pt x="12" y="44"/>
                      </a:cubicBezTo>
                      <a:cubicBezTo>
                        <a:pt x="12"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64" name="Oval 1481"/>
                <p:cNvSpPr>
                  <a:spLocks noChangeArrowheads="1"/>
                </p:cNvSpPr>
                <p:nvPr/>
              </p:nvSpPr>
              <p:spPr bwMode="auto">
                <a:xfrm>
                  <a:off x="13688"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65" name="Oval 1482"/>
                <p:cNvSpPr>
                  <a:spLocks noChangeArrowheads="1"/>
                </p:cNvSpPr>
                <p:nvPr/>
              </p:nvSpPr>
              <p:spPr bwMode="auto">
                <a:xfrm>
                  <a:off x="14015"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66" name="Freeform 1483"/>
                <p:cNvSpPr>
                  <a:spLocks/>
                </p:cNvSpPr>
                <p:nvPr/>
              </p:nvSpPr>
              <p:spPr bwMode="auto">
                <a:xfrm>
                  <a:off x="13994" y="1443"/>
                  <a:ext cx="64" cy="111"/>
                </a:xfrm>
                <a:custGeom>
                  <a:avLst/>
                  <a:gdLst>
                    <a:gd name="T0" fmla="*/ 2 w 27"/>
                    <a:gd name="T1" fmla="*/ 20 h 47"/>
                    <a:gd name="T2" fmla="*/ 4 w 27"/>
                    <a:gd name="T3" fmla="*/ 19 h 47"/>
                    <a:gd name="T4" fmla="*/ 8 w 27"/>
                    <a:gd name="T5" fmla="*/ 6 h 47"/>
                    <a:gd name="T6" fmla="*/ 9 w 27"/>
                    <a:gd name="T7" fmla="*/ 6 h 47"/>
                    <a:gd name="T8" fmla="*/ 3 w 27"/>
                    <a:gd name="T9" fmla="*/ 28 h 47"/>
                    <a:gd name="T10" fmla="*/ 9 w 27"/>
                    <a:gd name="T11" fmla="*/ 28 h 47"/>
                    <a:gd name="T12" fmla="*/ 9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7 w 27"/>
                    <a:gd name="T25" fmla="*/ 47 h 47"/>
                    <a:gd name="T26" fmla="*/ 19 w 27"/>
                    <a:gd name="T27" fmla="*/ 44 h 47"/>
                    <a:gd name="T28" fmla="*/ 19 w 27"/>
                    <a:gd name="T29" fmla="*/ 28 h 47"/>
                    <a:gd name="T30" fmla="*/ 25 w 27"/>
                    <a:gd name="T31" fmla="*/ 28 h 47"/>
                    <a:gd name="T32" fmla="*/ 19 w 27"/>
                    <a:gd name="T33" fmla="*/ 6 h 47"/>
                    <a:gd name="T34" fmla="*/ 20 w 27"/>
                    <a:gd name="T35" fmla="*/ 6 h 47"/>
                    <a:gd name="T36" fmla="*/ 24 w 27"/>
                    <a:gd name="T37" fmla="*/ 19 h 47"/>
                    <a:gd name="T38" fmla="*/ 26 w 27"/>
                    <a:gd name="T39" fmla="*/ 20 h 47"/>
                    <a:gd name="T40" fmla="*/ 27 w 27"/>
                    <a:gd name="T41" fmla="*/ 18 h 47"/>
                    <a:gd name="T42" fmla="*/ 23 w 27"/>
                    <a:gd name="T43" fmla="*/ 4 h 47"/>
                    <a:gd name="T44" fmla="*/ 18 w 27"/>
                    <a:gd name="T45" fmla="*/ 0 h 47"/>
                    <a:gd name="T46" fmla="*/ 10 w 27"/>
                    <a:gd name="T47" fmla="*/ 0 h 47"/>
                    <a:gd name="T48" fmla="*/ 5 w 27"/>
                    <a:gd name="T49" fmla="*/ 4 h 47"/>
                    <a:gd name="T50" fmla="*/ 1 w 27"/>
                    <a:gd name="T51" fmla="*/ 18 h 47"/>
                    <a:gd name="T52" fmla="*/ 2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0"/>
                      </a:move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ubicBezTo>
                        <a:pt x="22" y="2"/>
                        <a:pt x="20" y="0"/>
                        <a:pt x="18" y="0"/>
                      </a:cubicBezTo>
                      <a:cubicBezTo>
                        <a:pt x="17" y="0"/>
                        <a:pt x="11" y="0"/>
                        <a:pt x="10" y="0"/>
                      </a:cubicBezTo>
                      <a:cubicBezTo>
                        <a:pt x="8" y="0"/>
                        <a:pt x="5" y="2"/>
                        <a:pt x="5" y="4"/>
                      </a:cubicBezTo>
                      <a:cubicBezTo>
                        <a:pt x="3" y="10"/>
                        <a:pt x="1" y="17"/>
                        <a:pt x="1" y="18"/>
                      </a:cubicBezTo>
                      <a:cubicBezTo>
                        <a:pt x="0" y="19"/>
                        <a:pt x="1"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67" name="Freeform 1484"/>
                <p:cNvSpPr>
                  <a:spLocks/>
                </p:cNvSpPr>
                <p:nvPr/>
              </p:nvSpPr>
              <p:spPr bwMode="auto">
                <a:xfrm>
                  <a:off x="14001" y="1296"/>
                  <a:ext cx="52" cy="111"/>
                </a:xfrm>
                <a:custGeom>
                  <a:avLst/>
                  <a:gdLst>
                    <a:gd name="T0" fmla="*/ 20 w 22"/>
                    <a:gd name="T1" fmla="*/ 23 h 47"/>
                    <a:gd name="T2" fmla="*/ 22 w 22"/>
                    <a:gd name="T3" fmla="*/ 21 h 47"/>
                    <a:gd name="T4" fmla="*/ 22 w 22"/>
                    <a:gd name="T5" fmla="*/ 6 h 47"/>
                    <a:gd name="T6" fmla="*/ 16 w 22"/>
                    <a:gd name="T7" fmla="*/ 0 h 47"/>
                    <a:gd name="T8" fmla="*/ 6 w 22"/>
                    <a:gd name="T9" fmla="*/ 0 h 47"/>
                    <a:gd name="T10" fmla="*/ 0 w 22"/>
                    <a:gd name="T11" fmla="*/ 6 h 47"/>
                    <a:gd name="T12" fmla="*/ 0 w 22"/>
                    <a:gd name="T13" fmla="*/ 21 h 47"/>
                    <a:gd name="T14" fmla="*/ 2 w 22"/>
                    <a:gd name="T15" fmla="*/ 23 h 47"/>
                    <a:gd name="T16" fmla="*/ 4 w 22"/>
                    <a:gd name="T17" fmla="*/ 21 h 47"/>
                    <a:gd name="T18" fmla="*/ 4 w 22"/>
                    <a:gd name="T19" fmla="*/ 7 h 47"/>
                    <a:gd name="T20" fmla="*/ 5 w 22"/>
                    <a:gd name="T21" fmla="*/ 7 h 47"/>
                    <a:gd name="T22" fmla="*/ 5 w 22"/>
                    <a:gd name="T23" fmla="*/ 44 h 47"/>
                    <a:gd name="T24" fmla="*/ 8 w 22"/>
                    <a:gd name="T25" fmla="*/ 47 h 47"/>
                    <a:gd name="T26" fmla="*/ 10 w 22"/>
                    <a:gd name="T27" fmla="*/ 44 h 47"/>
                    <a:gd name="T28" fmla="*/ 10 w 22"/>
                    <a:gd name="T29" fmla="*/ 23 h 47"/>
                    <a:gd name="T30" fmla="*/ 11 w 22"/>
                    <a:gd name="T31" fmla="*/ 23 h 47"/>
                    <a:gd name="T32" fmla="*/ 11 w 22"/>
                    <a:gd name="T33" fmla="*/ 44 h 47"/>
                    <a:gd name="T34" fmla="*/ 14 w 22"/>
                    <a:gd name="T35" fmla="*/ 47 h 47"/>
                    <a:gd name="T36" fmla="*/ 17 w 22"/>
                    <a:gd name="T37" fmla="*/ 44 h 47"/>
                    <a:gd name="T38" fmla="*/ 17 w 22"/>
                    <a:gd name="T39" fmla="*/ 7 h 47"/>
                    <a:gd name="T40" fmla="*/ 18 w 22"/>
                    <a:gd name="T41" fmla="*/ 7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19"/>
                        <a:pt x="22" y="8"/>
                        <a:pt x="22" y="6"/>
                      </a:cubicBezTo>
                      <a:cubicBezTo>
                        <a:pt x="22" y="3"/>
                        <a:pt x="19" y="0"/>
                        <a:pt x="16" y="0"/>
                      </a:cubicBezTo>
                      <a:cubicBezTo>
                        <a:pt x="14" y="0"/>
                        <a:pt x="7" y="0"/>
                        <a:pt x="6" y="0"/>
                      </a:cubicBezTo>
                      <a:cubicBezTo>
                        <a:pt x="2" y="0"/>
                        <a:pt x="0" y="3"/>
                        <a:pt x="0" y="6"/>
                      </a:cubicBezTo>
                      <a:cubicBezTo>
                        <a:pt x="0" y="8"/>
                        <a:pt x="0" y="19"/>
                        <a:pt x="0" y="21"/>
                      </a:cubicBezTo>
                      <a:cubicBezTo>
                        <a:pt x="0" y="22"/>
                        <a:pt x="0"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2"/>
                        <a:pt x="10" y="23"/>
                        <a:pt x="10" y="23"/>
                      </a:cubicBezTo>
                      <a:cubicBezTo>
                        <a:pt x="10" y="23"/>
                        <a:pt x="10" y="23"/>
                        <a:pt x="11" y="23"/>
                      </a:cubicBezTo>
                      <a:cubicBezTo>
                        <a:pt x="11" y="23"/>
                        <a:pt x="11" y="42"/>
                        <a:pt x="11" y="44"/>
                      </a:cubicBezTo>
                      <a:cubicBezTo>
                        <a:pt x="11"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68" name="Freeform 1485"/>
                <p:cNvSpPr>
                  <a:spLocks/>
                </p:cNvSpPr>
                <p:nvPr/>
              </p:nvSpPr>
              <p:spPr bwMode="auto">
                <a:xfrm>
                  <a:off x="13994" y="1147"/>
                  <a:ext cx="64" cy="111"/>
                </a:xfrm>
                <a:custGeom>
                  <a:avLst/>
                  <a:gdLst>
                    <a:gd name="T0" fmla="*/ 2 w 27"/>
                    <a:gd name="T1" fmla="*/ 21 h 47"/>
                    <a:gd name="T2" fmla="*/ 4 w 27"/>
                    <a:gd name="T3" fmla="*/ 20 h 47"/>
                    <a:gd name="T4" fmla="*/ 8 w 27"/>
                    <a:gd name="T5" fmla="*/ 7 h 47"/>
                    <a:gd name="T6" fmla="*/ 9 w 27"/>
                    <a:gd name="T7" fmla="*/ 7 h 47"/>
                    <a:gd name="T8" fmla="*/ 3 w 27"/>
                    <a:gd name="T9" fmla="*/ 29 h 47"/>
                    <a:gd name="T10" fmla="*/ 9 w 27"/>
                    <a:gd name="T11" fmla="*/ 29 h 47"/>
                    <a:gd name="T12" fmla="*/ 9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7 w 27"/>
                    <a:gd name="T25" fmla="*/ 47 h 47"/>
                    <a:gd name="T26" fmla="*/ 19 w 27"/>
                    <a:gd name="T27" fmla="*/ 45 h 47"/>
                    <a:gd name="T28" fmla="*/ 19 w 27"/>
                    <a:gd name="T29" fmla="*/ 29 h 47"/>
                    <a:gd name="T30" fmla="*/ 25 w 27"/>
                    <a:gd name="T31" fmla="*/ 29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1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ubicBezTo>
                        <a:pt x="17" y="0"/>
                        <a:pt x="11" y="0"/>
                        <a:pt x="10" y="0"/>
                      </a:cubicBezTo>
                      <a:cubicBezTo>
                        <a:pt x="8" y="0"/>
                        <a:pt x="5" y="3"/>
                        <a:pt x="5" y="5"/>
                      </a:cubicBezTo>
                      <a:cubicBezTo>
                        <a:pt x="3" y="11"/>
                        <a:pt x="1" y="18"/>
                        <a:pt x="1"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69" name="Oval 1486"/>
                <p:cNvSpPr>
                  <a:spLocks noChangeArrowheads="1"/>
                </p:cNvSpPr>
                <p:nvPr/>
              </p:nvSpPr>
              <p:spPr bwMode="auto">
                <a:xfrm>
                  <a:off x="13949" y="1123"/>
                  <a:ext cx="23"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70" name="Freeform 1487"/>
                <p:cNvSpPr>
                  <a:spLocks/>
                </p:cNvSpPr>
                <p:nvPr/>
              </p:nvSpPr>
              <p:spPr bwMode="auto">
                <a:xfrm>
                  <a:off x="13935" y="1147"/>
                  <a:ext cx="52" cy="111"/>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8 w 22"/>
                    <a:gd name="T11" fmla="*/ 47 h 47"/>
                    <a:gd name="T12" fmla="*/ 11 w 22"/>
                    <a:gd name="T13" fmla="*/ 44 h 47"/>
                    <a:gd name="T14" fmla="*/ 11 w 22"/>
                    <a:gd name="T15" fmla="*/ 23 h 47"/>
                    <a:gd name="T16" fmla="*/ 12 w 22"/>
                    <a:gd name="T17" fmla="*/ 23 h 47"/>
                    <a:gd name="T18" fmla="*/ 12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7 h 47"/>
                    <a:gd name="T36" fmla="*/ 16 w 22"/>
                    <a:gd name="T37" fmla="*/ 0 h 47"/>
                    <a:gd name="T38" fmla="*/ 6 w 22"/>
                    <a:gd name="T39" fmla="*/ 0 h 47"/>
                    <a:gd name="T40" fmla="*/ 0 w 22"/>
                    <a:gd name="T41" fmla="*/ 7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7"/>
                      </a:cubicBezTo>
                      <a:cubicBezTo>
                        <a:pt x="22" y="3"/>
                        <a:pt x="20" y="0"/>
                        <a:pt x="16" y="0"/>
                      </a:cubicBezTo>
                      <a:cubicBezTo>
                        <a:pt x="15" y="0"/>
                        <a:pt x="8" y="0"/>
                        <a:pt x="6" y="0"/>
                      </a:cubicBezTo>
                      <a:cubicBezTo>
                        <a:pt x="3"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71" name="Oval 1488"/>
                <p:cNvSpPr>
                  <a:spLocks noChangeArrowheads="1"/>
                </p:cNvSpPr>
                <p:nvPr/>
              </p:nvSpPr>
              <p:spPr bwMode="auto">
                <a:xfrm>
                  <a:off x="13625" y="1123"/>
                  <a:ext cx="23"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72" name="Oval 1489"/>
                <p:cNvSpPr>
                  <a:spLocks noChangeArrowheads="1"/>
                </p:cNvSpPr>
                <p:nvPr/>
              </p:nvSpPr>
              <p:spPr bwMode="auto">
                <a:xfrm>
                  <a:off x="13232"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73" name="Oval 1490"/>
                <p:cNvSpPr>
                  <a:spLocks noChangeArrowheads="1"/>
                </p:cNvSpPr>
                <p:nvPr/>
              </p:nvSpPr>
              <p:spPr bwMode="auto">
                <a:xfrm>
                  <a:off x="13165"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74" name="Freeform 1491"/>
                <p:cNvSpPr>
                  <a:spLocks/>
                </p:cNvSpPr>
                <p:nvPr/>
              </p:nvSpPr>
              <p:spPr bwMode="auto">
                <a:xfrm>
                  <a:off x="13603" y="1147"/>
                  <a:ext cx="64" cy="111"/>
                </a:xfrm>
                <a:custGeom>
                  <a:avLst/>
                  <a:gdLst>
                    <a:gd name="T0" fmla="*/ 2 w 27"/>
                    <a:gd name="T1" fmla="*/ 21 h 47"/>
                    <a:gd name="T2" fmla="*/ 4 w 27"/>
                    <a:gd name="T3" fmla="*/ 20 h 47"/>
                    <a:gd name="T4" fmla="*/ 8 w 27"/>
                    <a:gd name="T5" fmla="*/ 7 h 47"/>
                    <a:gd name="T6" fmla="*/ 9 w 27"/>
                    <a:gd name="T7" fmla="*/ 7 h 47"/>
                    <a:gd name="T8" fmla="*/ 3 w 27"/>
                    <a:gd name="T9" fmla="*/ 29 h 47"/>
                    <a:gd name="T10" fmla="*/ 9 w 27"/>
                    <a:gd name="T11" fmla="*/ 29 h 47"/>
                    <a:gd name="T12" fmla="*/ 9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7 w 27"/>
                    <a:gd name="T25" fmla="*/ 47 h 47"/>
                    <a:gd name="T26" fmla="*/ 19 w 27"/>
                    <a:gd name="T27" fmla="*/ 45 h 47"/>
                    <a:gd name="T28" fmla="*/ 19 w 27"/>
                    <a:gd name="T29" fmla="*/ 29 h 47"/>
                    <a:gd name="T30" fmla="*/ 25 w 27"/>
                    <a:gd name="T31" fmla="*/ 29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0" y="19"/>
                      </a:cubicBezTo>
                      <a:cubicBezTo>
                        <a:pt x="0" y="20"/>
                        <a:pt x="1" y="21"/>
                        <a:pt x="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75" name="Freeform 1492"/>
                <p:cNvSpPr>
                  <a:spLocks/>
                </p:cNvSpPr>
                <p:nvPr/>
              </p:nvSpPr>
              <p:spPr bwMode="auto">
                <a:xfrm>
                  <a:off x="13210" y="1147"/>
                  <a:ext cx="64" cy="111"/>
                </a:xfrm>
                <a:custGeom>
                  <a:avLst/>
                  <a:gdLst>
                    <a:gd name="T0" fmla="*/ 23 w 27"/>
                    <a:gd name="T1" fmla="*/ 5 h 47"/>
                    <a:gd name="T2" fmla="*/ 17 w 27"/>
                    <a:gd name="T3" fmla="*/ 0 h 47"/>
                    <a:gd name="T4" fmla="*/ 10 w 27"/>
                    <a:gd name="T5" fmla="*/ 0 h 47"/>
                    <a:gd name="T6" fmla="*/ 5 w 27"/>
                    <a:gd name="T7" fmla="*/ 5 h 47"/>
                    <a:gd name="T8" fmla="*/ 0 w 27"/>
                    <a:gd name="T9" fmla="*/ 19 h 47"/>
                    <a:gd name="T10" fmla="*/ 2 w 27"/>
                    <a:gd name="T11" fmla="*/ 21 h 47"/>
                    <a:gd name="T12" fmla="*/ 4 w 27"/>
                    <a:gd name="T13" fmla="*/ 20 h 47"/>
                    <a:gd name="T14" fmla="*/ 8 w 27"/>
                    <a:gd name="T15" fmla="*/ 7 h 47"/>
                    <a:gd name="T16" fmla="*/ 9 w 27"/>
                    <a:gd name="T17" fmla="*/ 7 h 47"/>
                    <a:gd name="T18" fmla="*/ 3 w 27"/>
                    <a:gd name="T19" fmla="*/ 29 h 47"/>
                    <a:gd name="T20" fmla="*/ 9 w 27"/>
                    <a:gd name="T21" fmla="*/ 29 h 47"/>
                    <a:gd name="T22" fmla="*/ 9 w 27"/>
                    <a:gd name="T23" fmla="*/ 45 h 47"/>
                    <a:gd name="T24" fmla="*/ 11 w 27"/>
                    <a:gd name="T25" fmla="*/ 47 h 47"/>
                    <a:gd name="T26" fmla="*/ 13 w 27"/>
                    <a:gd name="T27" fmla="*/ 45 h 47"/>
                    <a:gd name="T28" fmla="*/ 13 w 27"/>
                    <a:gd name="T29" fmla="*/ 29 h 47"/>
                    <a:gd name="T30" fmla="*/ 14 w 27"/>
                    <a:gd name="T31" fmla="*/ 29 h 47"/>
                    <a:gd name="T32" fmla="*/ 14 w 27"/>
                    <a:gd name="T33" fmla="*/ 45 h 47"/>
                    <a:gd name="T34" fmla="*/ 16 w 27"/>
                    <a:gd name="T35" fmla="*/ 47 h 47"/>
                    <a:gd name="T36" fmla="*/ 19 w 27"/>
                    <a:gd name="T37" fmla="*/ 45 h 47"/>
                    <a:gd name="T38" fmla="*/ 19 w 27"/>
                    <a:gd name="T39" fmla="*/ 29 h 47"/>
                    <a:gd name="T40" fmla="*/ 25 w 27"/>
                    <a:gd name="T41" fmla="*/ 29 h 47"/>
                    <a:gd name="T42" fmla="*/ 18 w 27"/>
                    <a:gd name="T43" fmla="*/ 7 h 47"/>
                    <a:gd name="T44" fmla="*/ 20 w 27"/>
                    <a:gd name="T45" fmla="*/ 7 h 47"/>
                    <a:gd name="T46" fmla="*/ 23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8" y="0"/>
                        <a:pt x="5" y="3"/>
                        <a:pt x="5"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76" name="Oval 1493"/>
                <p:cNvSpPr>
                  <a:spLocks noChangeArrowheads="1"/>
                </p:cNvSpPr>
                <p:nvPr/>
              </p:nvSpPr>
              <p:spPr bwMode="auto">
                <a:xfrm>
                  <a:off x="13165"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77" name="Freeform 1494"/>
                <p:cNvSpPr>
                  <a:spLocks/>
                </p:cNvSpPr>
                <p:nvPr/>
              </p:nvSpPr>
              <p:spPr bwMode="auto">
                <a:xfrm>
                  <a:off x="13151" y="1147"/>
                  <a:ext cx="52" cy="111"/>
                </a:xfrm>
                <a:custGeom>
                  <a:avLst/>
                  <a:gdLst>
                    <a:gd name="T0" fmla="*/ 16 w 22"/>
                    <a:gd name="T1" fmla="*/ 0 h 47"/>
                    <a:gd name="T2" fmla="*/ 6 w 22"/>
                    <a:gd name="T3" fmla="*/ 0 h 47"/>
                    <a:gd name="T4" fmla="*/ 0 w 22"/>
                    <a:gd name="T5" fmla="*/ 7 h 47"/>
                    <a:gd name="T6" fmla="*/ 0 w 22"/>
                    <a:gd name="T7" fmla="*/ 21 h 47"/>
                    <a:gd name="T8" fmla="*/ 2 w 22"/>
                    <a:gd name="T9" fmla="*/ 23 h 47"/>
                    <a:gd name="T10" fmla="*/ 4 w 22"/>
                    <a:gd name="T11" fmla="*/ 21 h 47"/>
                    <a:gd name="T12" fmla="*/ 4 w 22"/>
                    <a:gd name="T13" fmla="*/ 8 h 47"/>
                    <a:gd name="T14" fmla="*/ 5 w 22"/>
                    <a:gd name="T15" fmla="*/ 8 h 47"/>
                    <a:gd name="T16" fmla="*/ 5 w 22"/>
                    <a:gd name="T17" fmla="*/ 44 h 47"/>
                    <a:gd name="T18" fmla="*/ 8 w 22"/>
                    <a:gd name="T19" fmla="*/ 47 h 47"/>
                    <a:gd name="T20" fmla="*/ 10 w 22"/>
                    <a:gd name="T21" fmla="*/ 44 h 47"/>
                    <a:gd name="T22" fmla="*/ 10 w 22"/>
                    <a:gd name="T23" fmla="*/ 23 h 47"/>
                    <a:gd name="T24" fmla="*/ 11 w 22"/>
                    <a:gd name="T25" fmla="*/ 23 h 47"/>
                    <a:gd name="T26" fmla="*/ 11 w 22"/>
                    <a:gd name="T27" fmla="*/ 44 h 47"/>
                    <a:gd name="T28" fmla="*/ 14 w 22"/>
                    <a:gd name="T29" fmla="*/ 47 h 47"/>
                    <a:gd name="T30" fmla="*/ 17 w 22"/>
                    <a:gd name="T31" fmla="*/ 44 h 47"/>
                    <a:gd name="T32" fmla="*/ 17 w 22"/>
                    <a:gd name="T33" fmla="*/ 8 h 47"/>
                    <a:gd name="T34" fmla="*/ 18 w 22"/>
                    <a:gd name="T35" fmla="*/ 8 h 47"/>
                    <a:gd name="T36" fmla="*/ 18 w 22"/>
                    <a:gd name="T37" fmla="*/ 21 h 47"/>
                    <a:gd name="T38" fmla="*/ 20 w 22"/>
                    <a:gd name="T39" fmla="*/ 23 h 47"/>
                    <a:gd name="T40" fmla="*/ 22 w 22"/>
                    <a:gd name="T41" fmla="*/ 21 h 47"/>
                    <a:gd name="T42" fmla="*/ 22 w 22"/>
                    <a:gd name="T43" fmla="*/ 7 h 47"/>
                    <a:gd name="T44" fmla="*/ 16 w 22"/>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16" y="0"/>
                      </a:moveTo>
                      <a:cubicBezTo>
                        <a:pt x="14" y="0"/>
                        <a:pt x="7" y="0"/>
                        <a:pt x="6" y="0"/>
                      </a:cubicBezTo>
                      <a:cubicBezTo>
                        <a:pt x="2"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7"/>
                      </a:cubicBezTo>
                      <a:cubicBezTo>
                        <a:pt x="22" y="3"/>
                        <a:pt x="20"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78" name="Oval 1495"/>
                <p:cNvSpPr>
                  <a:spLocks noChangeArrowheads="1"/>
                </p:cNvSpPr>
                <p:nvPr/>
              </p:nvSpPr>
              <p:spPr bwMode="auto">
                <a:xfrm>
                  <a:off x="13558"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79" name="Freeform 1496"/>
                <p:cNvSpPr>
                  <a:spLocks/>
                </p:cNvSpPr>
                <p:nvPr/>
              </p:nvSpPr>
              <p:spPr bwMode="auto">
                <a:xfrm>
                  <a:off x="13478" y="1296"/>
                  <a:ext cx="54" cy="111"/>
                </a:xfrm>
                <a:custGeom>
                  <a:avLst/>
                  <a:gdLst>
                    <a:gd name="T0" fmla="*/ 21 w 23"/>
                    <a:gd name="T1" fmla="*/ 23 h 47"/>
                    <a:gd name="T2" fmla="*/ 23 w 23"/>
                    <a:gd name="T3" fmla="*/ 21 h 47"/>
                    <a:gd name="T4" fmla="*/ 23 w 23"/>
                    <a:gd name="T5" fmla="*/ 6 h 47"/>
                    <a:gd name="T6" fmla="*/ 17 w 23"/>
                    <a:gd name="T7" fmla="*/ 0 h 47"/>
                    <a:gd name="T8" fmla="*/ 6 w 23"/>
                    <a:gd name="T9" fmla="*/ 0 h 47"/>
                    <a:gd name="T10" fmla="*/ 0 w 23"/>
                    <a:gd name="T11" fmla="*/ 6 h 47"/>
                    <a:gd name="T12" fmla="*/ 0 w 23"/>
                    <a:gd name="T13" fmla="*/ 21 h 47"/>
                    <a:gd name="T14" fmla="*/ 2 w 23"/>
                    <a:gd name="T15" fmla="*/ 23 h 47"/>
                    <a:gd name="T16" fmla="*/ 4 w 23"/>
                    <a:gd name="T17" fmla="*/ 21 h 47"/>
                    <a:gd name="T18" fmla="*/ 4 w 23"/>
                    <a:gd name="T19" fmla="*/ 7 h 47"/>
                    <a:gd name="T20" fmla="*/ 5 w 23"/>
                    <a:gd name="T21" fmla="*/ 7 h 47"/>
                    <a:gd name="T22" fmla="*/ 5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8 w 23"/>
                    <a:gd name="T37" fmla="*/ 44 h 47"/>
                    <a:gd name="T38" fmla="*/ 18 w 23"/>
                    <a:gd name="T39" fmla="*/ 7 h 47"/>
                    <a:gd name="T40" fmla="*/ 19 w 23"/>
                    <a:gd name="T41" fmla="*/ 7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8" y="45"/>
                        <a:pt x="18" y="44"/>
                      </a:cubicBezTo>
                      <a:cubicBezTo>
                        <a:pt x="18" y="42"/>
                        <a:pt x="18" y="7"/>
                        <a:pt x="18" y="7"/>
                      </a:cubicBezTo>
                      <a:cubicBezTo>
                        <a:pt x="18" y="7"/>
                        <a:pt x="18" y="7"/>
                        <a:pt x="19" y="7"/>
                      </a:cubicBezTo>
                      <a:cubicBezTo>
                        <a:pt x="19" y="7"/>
                        <a:pt x="19" y="19"/>
                        <a:pt x="19" y="21"/>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80" name="Oval 1497"/>
                <p:cNvSpPr>
                  <a:spLocks noChangeArrowheads="1"/>
                </p:cNvSpPr>
                <p:nvPr/>
              </p:nvSpPr>
              <p:spPr bwMode="auto">
                <a:xfrm>
                  <a:off x="13494"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81" name="Oval 1498"/>
                <p:cNvSpPr>
                  <a:spLocks noChangeArrowheads="1"/>
                </p:cNvSpPr>
                <p:nvPr/>
              </p:nvSpPr>
              <p:spPr bwMode="auto">
                <a:xfrm>
                  <a:off x="13494"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82" name="Freeform 1499"/>
                <p:cNvSpPr>
                  <a:spLocks/>
                </p:cNvSpPr>
                <p:nvPr/>
              </p:nvSpPr>
              <p:spPr bwMode="auto">
                <a:xfrm>
                  <a:off x="13473" y="1147"/>
                  <a:ext cx="64" cy="111"/>
                </a:xfrm>
                <a:custGeom>
                  <a:avLst/>
                  <a:gdLst>
                    <a:gd name="T0" fmla="*/ 1 w 27"/>
                    <a:gd name="T1" fmla="*/ 21 h 47"/>
                    <a:gd name="T2" fmla="*/ 4 w 27"/>
                    <a:gd name="T3" fmla="*/ 20 h 47"/>
                    <a:gd name="T4" fmla="*/ 8 w 27"/>
                    <a:gd name="T5" fmla="*/ 7 h 47"/>
                    <a:gd name="T6" fmla="*/ 9 w 27"/>
                    <a:gd name="T7" fmla="*/ 7 h 47"/>
                    <a:gd name="T8" fmla="*/ 2 w 27"/>
                    <a:gd name="T9" fmla="*/ 29 h 47"/>
                    <a:gd name="T10" fmla="*/ 8 w 27"/>
                    <a:gd name="T11" fmla="*/ 29 h 47"/>
                    <a:gd name="T12" fmla="*/ 8 w 27"/>
                    <a:gd name="T13" fmla="*/ 45 h 47"/>
                    <a:gd name="T14" fmla="*/ 11 w 27"/>
                    <a:gd name="T15" fmla="*/ 47 h 47"/>
                    <a:gd name="T16" fmla="*/ 13 w 27"/>
                    <a:gd name="T17" fmla="*/ 45 h 47"/>
                    <a:gd name="T18" fmla="*/ 13 w 27"/>
                    <a:gd name="T19" fmla="*/ 29 h 47"/>
                    <a:gd name="T20" fmla="*/ 14 w 27"/>
                    <a:gd name="T21" fmla="*/ 29 h 47"/>
                    <a:gd name="T22" fmla="*/ 14 w 27"/>
                    <a:gd name="T23" fmla="*/ 45 h 47"/>
                    <a:gd name="T24" fmla="*/ 16 w 27"/>
                    <a:gd name="T25" fmla="*/ 47 h 47"/>
                    <a:gd name="T26" fmla="*/ 19 w 27"/>
                    <a:gd name="T27" fmla="*/ 45 h 47"/>
                    <a:gd name="T28" fmla="*/ 19 w 27"/>
                    <a:gd name="T29" fmla="*/ 29 h 47"/>
                    <a:gd name="T30" fmla="*/ 25 w 27"/>
                    <a:gd name="T31" fmla="*/ 29 h 47"/>
                    <a:gd name="T32" fmla="*/ 18 w 27"/>
                    <a:gd name="T33" fmla="*/ 7 h 47"/>
                    <a:gd name="T34" fmla="*/ 19 w 27"/>
                    <a:gd name="T35" fmla="*/ 7 h 47"/>
                    <a:gd name="T36" fmla="*/ 23 w 27"/>
                    <a:gd name="T37" fmla="*/ 20 h 47"/>
                    <a:gd name="T38" fmla="*/ 25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8" y="7"/>
                        <a:pt x="8" y="7"/>
                      </a:cubicBezTo>
                      <a:cubicBezTo>
                        <a:pt x="9" y="7"/>
                        <a:pt x="9" y="7"/>
                        <a:pt x="9" y="7"/>
                      </a:cubicBezTo>
                      <a:cubicBezTo>
                        <a:pt x="2" y="29"/>
                        <a:pt x="2" y="29"/>
                        <a:pt x="2" y="29"/>
                      </a:cubicBezTo>
                      <a:cubicBezTo>
                        <a:pt x="8" y="29"/>
                        <a:pt x="8" y="29"/>
                        <a:pt x="8" y="29"/>
                      </a:cubicBezTo>
                      <a:cubicBezTo>
                        <a:pt x="8" y="36"/>
                        <a:pt x="8" y="44"/>
                        <a:pt x="8" y="45"/>
                      </a:cubicBezTo>
                      <a:cubicBezTo>
                        <a:pt x="8" y="46"/>
                        <a:pt x="9"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2"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83" name="Oval 1500"/>
                <p:cNvSpPr>
                  <a:spLocks noChangeArrowheads="1"/>
                </p:cNvSpPr>
                <p:nvPr/>
              </p:nvSpPr>
              <p:spPr bwMode="auto">
                <a:xfrm>
                  <a:off x="13494"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84" name="Freeform 1501"/>
                <p:cNvSpPr>
                  <a:spLocks/>
                </p:cNvSpPr>
                <p:nvPr/>
              </p:nvSpPr>
              <p:spPr bwMode="auto">
                <a:xfrm>
                  <a:off x="13473" y="1443"/>
                  <a:ext cx="64" cy="111"/>
                </a:xfrm>
                <a:custGeom>
                  <a:avLst/>
                  <a:gdLst>
                    <a:gd name="T0" fmla="*/ 1 w 27"/>
                    <a:gd name="T1" fmla="*/ 20 h 47"/>
                    <a:gd name="T2" fmla="*/ 4 w 27"/>
                    <a:gd name="T3" fmla="*/ 19 h 47"/>
                    <a:gd name="T4" fmla="*/ 8 w 27"/>
                    <a:gd name="T5" fmla="*/ 6 h 47"/>
                    <a:gd name="T6" fmla="*/ 9 w 27"/>
                    <a:gd name="T7" fmla="*/ 6 h 47"/>
                    <a:gd name="T8" fmla="*/ 2 w 27"/>
                    <a:gd name="T9" fmla="*/ 28 h 47"/>
                    <a:gd name="T10" fmla="*/ 8 w 27"/>
                    <a:gd name="T11" fmla="*/ 28 h 47"/>
                    <a:gd name="T12" fmla="*/ 8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6 w 27"/>
                    <a:gd name="T25" fmla="*/ 47 h 47"/>
                    <a:gd name="T26" fmla="*/ 19 w 27"/>
                    <a:gd name="T27" fmla="*/ 44 h 47"/>
                    <a:gd name="T28" fmla="*/ 19 w 27"/>
                    <a:gd name="T29" fmla="*/ 28 h 47"/>
                    <a:gd name="T30" fmla="*/ 25 w 27"/>
                    <a:gd name="T31" fmla="*/ 28 h 47"/>
                    <a:gd name="T32" fmla="*/ 18 w 27"/>
                    <a:gd name="T33" fmla="*/ 6 h 47"/>
                    <a:gd name="T34" fmla="*/ 19 w 27"/>
                    <a:gd name="T35" fmla="*/ 6 h 47"/>
                    <a:gd name="T36" fmla="*/ 23 w 27"/>
                    <a:gd name="T37" fmla="*/ 19 h 47"/>
                    <a:gd name="T38" fmla="*/ 25 w 27"/>
                    <a:gd name="T39" fmla="*/ 20 h 47"/>
                    <a:gd name="T40" fmla="*/ 27 w 27"/>
                    <a:gd name="T41" fmla="*/ 18 h 47"/>
                    <a:gd name="T42" fmla="*/ 23 w 27"/>
                    <a:gd name="T43" fmla="*/ 4 h 47"/>
                    <a:gd name="T44" fmla="*/ 17 w 27"/>
                    <a:gd name="T45" fmla="*/ 0 h 47"/>
                    <a:gd name="T46" fmla="*/ 10 w 27"/>
                    <a:gd name="T47" fmla="*/ 0 h 47"/>
                    <a:gd name="T48" fmla="*/ 4 w 27"/>
                    <a:gd name="T49" fmla="*/ 4 h 47"/>
                    <a:gd name="T50" fmla="*/ 0 w 27"/>
                    <a:gd name="T51" fmla="*/ 18 h 47"/>
                    <a:gd name="T52" fmla="*/ 1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0"/>
                      </a:move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3" y="4"/>
                      </a:cubicBezTo>
                      <a:cubicBezTo>
                        <a:pt x="22" y="2"/>
                        <a:pt x="20" y="0"/>
                        <a:pt x="17" y="0"/>
                      </a:cubicBezTo>
                      <a:cubicBezTo>
                        <a:pt x="16" y="0"/>
                        <a:pt x="11" y="0"/>
                        <a:pt x="10" y="0"/>
                      </a:cubicBezTo>
                      <a:cubicBezTo>
                        <a:pt x="7" y="0"/>
                        <a:pt x="5" y="2"/>
                        <a:pt x="4" y="4"/>
                      </a:cubicBezTo>
                      <a:cubicBezTo>
                        <a:pt x="2" y="10"/>
                        <a:pt x="0" y="17"/>
                        <a:pt x="0" y="18"/>
                      </a:cubicBezTo>
                      <a:cubicBezTo>
                        <a:pt x="0" y="19"/>
                        <a:pt x="0" y="20"/>
                        <a:pt x="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85" name="Oval 1502"/>
                <p:cNvSpPr>
                  <a:spLocks noChangeArrowheads="1"/>
                </p:cNvSpPr>
                <p:nvPr/>
              </p:nvSpPr>
              <p:spPr bwMode="auto">
                <a:xfrm>
                  <a:off x="13232"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86" name="Oval 1503"/>
                <p:cNvSpPr>
                  <a:spLocks noChangeArrowheads="1"/>
                </p:cNvSpPr>
                <p:nvPr/>
              </p:nvSpPr>
              <p:spPr bwMode="auto">
                <a:xfrm>
                  <a:off x="13558"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87" name="Oval 1504"/>
                <p:cNvSpPr>
                  <a:spLocks noChangeArrowheads="1"/>
                </p:cNvSpPr>
                <p:nvPr/>
              </p:nvSpPr>
              <p:spPr bwMode="auto">
                <a:xfrm>
                  <a:off x="13625" y="1270"/>
                  <a:ext cx="23"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88" name="Oval 1505"/>
                <p:cNvSpPr>
                  <a:spLocks noChangeArrowheads="1"/>
                </p:cNvSpPr>
                <p:nvPr/>
              </p:nvSpPr>
              <p:spPr bwMode="auto">
                <a:xfrm>
                  <a:off x="13625" y="1417"/>
                  <a:ext cx="23"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89" name="Freeform 1506"/>
                <p:cNvSpPr>
                  <a:spLocks/>
                </p:cNvSpPr>
                <p:nvPr/>
              </p:nvSpPr>
              <p:spPr bwMode="auto">
                <a:xfrm>
                  <a:off x="13603" y="1443"/>
                  <a:ext cx="64" cy="111"/>
                </a:xfrm>
                <a:custGeom>
                  <a:avLst/>
                  <a:gdLst>
                    <a:gd name="T0" fmla="*/ 2 w 27"/>
                    <a:gd name="T1" fmla="*/ 20 h 47"/>
                    <a:gd name="T2" fmla="*/ 4 w 27"/>
                    <a:gd name="T3" fmla="*/ 19 h 47"/>
                    <a:gd name="T4" fmla="*/ 8 w 27"/>
                    <a:gd name="T5" fmla="*/ 6 h 47"/>
                    <a:gd name="T6" fmla="*/ 9 w 27"/>
                    <a:gd name="T7" fmla="*/ 6 h 47"/>
                    <a:gd name="T8" fmla="*/ 3 w 27"/>
                    <a:gd name="T9" fmla="*/ 28 h 47"/>
                    <a:gd name="T10" fmla="*/ 9 w 27"/>
                    <a:gd name="T11" fmla="*/ 28 h 47"/>
                    <a:gd name="T12" fmla="*/ 9 w 27"/>
                    <a:gd name="T13" fmla="*/ 44 h 47"/>
                    <a:gd name="T14" fmla="*/ 11 w 27"/>
                    <a:gd name="T15" fmla="*/ 47 h 47"/>
                    <a:gd name="T16" fmla="*/ 13 w 27"/>
                    <a:gd name="T17" fmla="*/ 44 h 47"/>
                    <a:gd name="T18" fmla="*/ 13 w 27"/>
                    <a:gd name="T19" fmla="*/ 28 h 47"/>
                    <a:gd name="T20" fmla="*/ 14 w 27"/>
                    <a:gd name="T21" fmla="*/ 28 h 47"/>
                    <a:gd name="T22" fmla="*/ 14 w 27"/>
                    <a:gd name="T23" fmla="*/ 44 h 47"/>
                    <a:gd name="T24" fmla="*/ 17 w 27"/>
                    <a:gd name="T25" fmla="*/ 47 h 47"/>
                    <a:gd name="T26" fmla="*/ 19 w 27"/>
                    <a:gd name="T27" fmla="*/ 44 h 47"/>
                    <a:gd name="T28" fmla="*/ 19 w 27"/>
                    <a:gd name="T29" fmla="*/ 28 h 47"/>
                    <a:gd name="T30" fmla="*/ 25 w 27"/>
                    <a:gd name="T31" fmla="*/ 28 h 47"/>
                    <a:gd name="T32" fmla="*/ 19 w 27"/>
                    <a:gd name="T33" fmla="*/ 6 h 47"/>
                    <a:gd name="T34" fmla="*/ 20 w 27"/>
                    <a:gd name="T35" fmla="*/ 6 h 47"/>
                    <a:gd name="T36" fmla="*/ 24 w 27"/>
                    <a:gd name="T37" fmla="*/ 19 h 47"/>
                    <a:gd name="T38" fmla="*/ 26 w 27"/>
                    <a:gd name="T39" fmla="*/ 20 h 47"/>
                    <a:gd name="T40" fmla="*/ 27 w 27"/>
                    <a:gd name="T41" fmla="*/ 18 h 47"/>
                    <a:gd name="T42" fmla="*/ 23 w 27"/>
                    <a:gd name="T43" fmla="*/ 4 h 47"/>
                    <a:gd name="T44" fmla="*/ 18 w 27"/>
                    <a:gd name="T45" fmla="*/ 0 h 47"/>
                    <a:gd name="T46" fmla="*/ 10 w 27"/>
                    <a:gd name="T47" fmla="*/ 0 h 47"/>
                    <a:gd name="T48" fmla="*/ 5 w 27"/>
                    <a:gd name="T49" fmla="*/ 4 h 47"/>
                    <a:gd name="T50" fmla="*/ 0 w 27"/>
                    <a:gd name="T51" fmla="*/ 18 h 47"/>
                    <a:gd name="T52" fmla="*/ 2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0"/>
                      </a:move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90" name="Freeform 1507"/>
                <p:cNvSpPr>
                  <a:spLocks/>
                </p:cNvSpPr>
                <p:nvPr/>
              </p:nvSpPr>
              <p:spPr bwMode="auto">
                <a:xfrm>
                  <a:off x="13610" y="1296"/>
                  <a:ext cx="52" cy="111"/>
                </a:xfrm>
                <a:custGeom>
                  <a:avLst/>
                  <a:gdLst>
                    <a:gd name="T0" fmla="*/ 20 w 22"/>
                    <a:gd name="T1" fmla="*/ 23 h 47"/>
                    <a:gd name="T2" fmla="*/ 22 w 22"/>
                    <a:gd name="T3" fmla="*/ 21 h 47"/>
                    <a:gd name="T4" fmla="*/ 22 w 22"/>
                    <a:gd name="T5" fmla="*/ 6 h 47"/>
                    <a:gd name="T6" fmla="*/ 16 w 22"/>
                    <a:gd name="T7" fmla="*/ 0 h 47"/>
                    <a:gd name="T8" fmla="*/ 6 w 22"/>
                    <a:gd name="T9" fmla="*/ 0 h 47"/>
                    <a:gd name="T10" fmla="*/ 0 w 22"/>
                    <a:gd name="T11" fmla="*/ 6 h 47"/>
                    <a:gd name="T12" fmla="*/ 0 w 22"/>
                    <a:gd name="T13" fmla="*/ 21 h 47"/>
                    <a:gd name="T14" fmla="*/ 2 w 22"/>
                    <a:gd name="T15" fmla="*/ 23 h 47"/>
                    <a:gd name="T16" fmla="*/ 4 w 22"/>
                    <a:gd name="T17" fmla="*/ 21 h 47"/>
                    <a:gd name="T18" fmla="*/ 4 w 22"/>
                    <a:gd name="T19" fmla="*/ 7 h 47"/>
                    <a:gd name="T20" fmla="*/ 5 w 22"/>
                    <a:gd name="T21" fmla="*/ 7 h 47"/>
                    <a:gd name="T22" fmla="*/ 5 w 22"/>
                    <a:gd name="T23" fmla="*/ 44 h 47"/>
                    <a:gd name="T24" fmla="*/ 8 w 22"/>
                    <a:gd name="T25" fmla="*/ 47 h 47"/>
                    <a:gd name="T26" fmla="*/ 10 w 22"/>
                    <a:gd name="T27" fmla="*/ 44 h 47"/>
                    <a:gd name="T28" fmla="*/ 10 w 22"/>
                    <a:gd name="T29" fmla="*/ 23 h 47"/>
                    <a:gd name="T30" fmla="*/ 11 w 22"/>
                    <a:gd name="T31" fmla="*/ 23 h 47"/>
                    <a:gd name="T32" fmla="*/ 11 w 22"/>
                    <a:gd name="T33" fmla="*/ 44 h 47"/>
                    <a:gd name="T34" fmla="*/ 14 w 22"/>
                    <a:gd name="T35" fmla="*/ 47 h 47"/>
                    <a:gd name="T36" fmla="*/ 17 w 22"/>
                    <a:gd name="T37" fmla="*/ 44 h 47"/>
                    <a:gd name="T38" fmla="*/ 17 w 22"/>
                    <a:gd name="T39" fmla="*/ 7 h 47"/>
                    <a:gd name="T40" fmla="*/ 18 w 22"/>
                    <a:gd name="T41" fmla="*/ 7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19"/>
                        <a:pt x="22" y="8"/>
                        <a:pt x="22" y="6"/>
                      </a:cubicBezTo>
                      <a:cubicBezTo>
                        <a:pt x="22" y="3"/>
                        <a:pt x="19" y="0"/>
                        <a:pt x="16" y="0"/>
                      </a:cubicBezTo>
                      <a:cubicBezTo>
                        <a:pt x="14" y="0"/>
                        <a:pt x="7" y="0"/>
                        <a:pt x="6" y="0"/>
                      </a:cubicBezTo>
                      <a:cubicBezTo>
                        <a:pt x="2" y="0"/>
                        <a:pt x="0" y="3"/>
                        <a:pt x="0" y="6"/>
                      </a:cubicBezTo>
                      <a:cubicBezTo>
                        <a:pt x="0" y="8"/>
                        <a:pt x="0" y="19"/>
                        <a:pt x="0" y="21"/>
                      </a:cubicBezTo>
                      <a:cubicBezTo>
                        <a:pt x="0" y="22"/>
                        <a:pt x="0"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2"/>
                        <a:pt x="10" y="23"/>
                        <a:pt x="10" y="23"/>
                      </a:cubicBezTo>
                      <a:cubicBezTo>
                        <a:pt x="10" y="23"/>
                        <a:pt x="10" y="23"/>
                        <a:pt x="11" y="23"/>
                      </a:cubicBezTo>
                      <a:cubicBezTo>
                        <a:pt x="11" y="23"/>
                        <a:pt x="11" y="42"/>
                        <a:pt x="11" y="44"/>
                      </a:cubicBezTo>
                      <a:cubicBezTo>
                        <a:pt x="11"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91" name="Freeform 1508"/>
                <p:cNvSpPr>
                  <a:spLocks/>
                </p:cNvSpPr>
                <p:nvPr/>
              </p:nvSpPr>
              <p:spPr bwMode="auto">
                <a:xfrm>
                  <a:off x="13544" y="1147"/>
                  <a:ext cx="52" cy="111"/>
                </a:xfrm>
                <a:custGeom>
                  <a:avLst/>
                  <a:gdLst>
                    <a:gd name="T0" fmla="*/ 2 w 22"/>
                    <a:gd name="T1" fmla="*/ 23 h 47"/>
                    <a:gd name="T2" fmla="*/ 4 w 22"/>
                    <a:gd name="T3" fmla="*/ 21 h 47"/>
                    <a:gd name="T4" fmla="*/ 4 w 22"/>
                    <a:gd name="T5" fmla="*/ 8 h 47"/>
                    <a:gd name="T6" fmla="*/ 5 w 22"/>
                    <a:gd name="T7" fmla="*/ 8 h 47"/>
                    <a:gd name="T8" fmla="*/ 5 w 22"/>
                    <a:gd name="T9" fmla="*/ 44 h 47"/>
                    <a:gd name="T10" fmla="*/ 8 w 22"/>
                    <a:gd name="T11" fmla="*/ 47 h 47"/>
                    <a:gd name="T12" fmla="*/ 11 w 22"/>
                    <a:gd name="T13" fmla="*/ 44 h 47"/>
                    <a:gd name="T14" fmla="*/ 11 w 22"/>
                    <a:gd name="T15" fmla="*/ 23 h 47"/>
                    <a:gd name="T16" fmla="*/ 12 w 22"/>
                    <a:gd name="T17" fmla="*/ 23 h 47"/>
                    <a:gd name="T18" fmla="*/ 12 w 22"/>
                    <a:gd name="T19" fmla="*/ 44 h 47"/>
                    <a:gd name="T20" fmla="*/ 14 w 22"/>
                    <a:gd name="T21" fmla="*/ 47 h 47"/>
                    <a:gd name="T22" fmla="*/ 17 w 22"/>
                    <a:gd name="T23" fmla="*/ 44 h 47"/>
                    <a:gd name="T24" fmla="*/ 17 w 22"/>
                    <a:gd name="T25" fmla="*/ 8 h 47"/>
                    <a:gd name="T26" fmla="*/ 18 w 22"/>
                    <a:gd name="T27" fmla="*/ 8 h 47"/>
                    <a:gd name="T28" fmla="*/ 18 w 22"/>
                    <a:gd name="T29" fmla="*/ 21 h 47"/>
                    <a:gd name="T30" fmla="*/ 20 w 22"/>
                    <a:gd name="T31" fmla="*/ 23 h 47"/>
                    <a:gd name="T32" fmla="*/ 22 w 22"/>
                    <a:gd name="T33" fmla="*/ 21 h 47"/>
                    <a:gd name="T34" fmla="*/ 22 w 22"/>
                    <a:gd name="T35" fmla="*/ 7 h 47"/>
                    <a:gd name="T36" fmla="*/ 16 w 22"/>
                    <a:gd name="T37" fmla="*/ 0 h 47"/>
                    <a:gd name="T38" fmla="*/ 6 w 22"/>
                    <a:gd name="T39" fmla="*/ 0 h 47"/>
                    <a:gd name="T40" fmla="*/ 0 w 22"/>
                    <a:gd name="T41" fmla="*/ 7 h 47"/>
                    <a:gd name="T42" fmla="*/ 0 w 22"/>
                    <a:gd name="T43" fmla="*/ 21 h 47"/>
                    <a:gd name="T44" fmla="*/ 2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7"/>
                      </a:cubicBezTo>
                      <a:cubicBezTo>
                        <a:pt x="22" y="3"/>
                        <a:pt x="20" y="0"/>
                        <a:pt x="16" y="0"/>
                      </a:cubicBezTo>
                      <a:cubicBezTo>
                        <a:pt x="15" y="0"/>
                        <a:pt x="8" y="0"/>
                        <a:pt x="6" y="0"/>
                      </a:cubicBezTo>
                      <a:cubicBezTo>
                        <a:pt x="2"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92" name="Freeform 1509"/>
                <p:cNvSpPr>
                  <a:spLocks/>
                </p:cNvSpPr>
                <p:nvPr/>
              </p:nvSpPr>
              <p:spPr bwMode="auto">
                <a:xfrm>
                  <a:off x="13215" y="1296"/>
                  <a:ext cx="55"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6 w 23"/>
                    <a:gd name="T11" fmla="*/ 7 h 47"/>
                    <a:gd name="T12" fmla="*/ 6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7 h 47"/>
                    <a:gd name="T30" fmla="*/ 19 w 23"/>
                    <a:gd name="T31" fmla="*/ 7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4" y="23"/>
                        <a:pt x="4" y="22"/>
                        <a:pt x="4" y="21"/>
                      </a:cubicBezTo>
                      <a:cubicBezTo>
                        <a:pt x="4" y="19"/>
                        <a:pt x="4" y="7"/>
                        <a:pt x="4" y="7"/>
                      </a:cubicBezTo>
                      <a:cubicBezTo>
                        <a:pt x="4" y="7"/>
                        <a:pt x="4" y="7"/>
                        <a:pt x="6" y="7"/>
                      </a:cubicBezTo>
                      <a:cubicBezTo>
                        <a:pt x="6" y="7"/>
                        <a:pt x="6" y="42"/>
                        <a:pt x="6" y="44"/>
                      </a:cubicBezTo>
                      <a:cubicBezTo>
                        <a:pt x="6"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7" y="47"/>
                        <a:pt x="18" y="45"/>
                        <a:pt x="18" y="44"/>
                      </a:cubicBezTo>
                      <a:cubicBezTo>
                        <a:pt x="18" y="42"/>
                        <a:pt x="18" y="7"/>
                        <a:pt x="18" y="7"/>
                      </a:cubicBezTo>
                      <a:cubicBezTo>
                        <a:pt x="18" y="7"/>
                        <a:pt x="18" y="7"/>
                        <a:pt x="19" y="7"/>
                      </a:cubicBezTo>
                      <a:cubicBezTo>
                        <a:pt x="19" y="7"/>
                        <a:pt x="19" y="19"/>
                        <a:pt x="19" y="21"/>
                      </a:cubicBezTo>
                      <a:cubicBezTo>
                        <a:pt x="19" y="22"/>
                        <a:pt x="20"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93" name="Oval 1510"/>
                <p:cNvSpPr>
                  <a:spLocks noChangeArrowheads="1"/>
                </p:cNvSpPr>
                <p:nvPr/>
              </p:nvSpPr>
              <p:spPr bwMode="auto">
                <a:xfrm>
                  <a:off x="13362"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94" name="Oval 1511"/>
                <p:cNvSpPr>
                  <a:spLocks noChangeArrowheads="1"/>
                </p:cNvSpPr>
                <p:nvPr/>
              </p:nvSpPr>
              <p:spPr bwMode="auto">
                <a:xfrm>
                  <a:off x="13362"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95" name="Freeform 1512"/>
                <p:cNvSpPr>
                  <a:spLocks/>
                </p:cNvSpPr>
                <p:nvPr/>
              </p:nvSpPr>
              <p:spPr bwMode="auto">
                <a:xfrm>
                  <a:off x="13412" y="1147"/>
                  <a:ext cx="54" cy="111"/>
                </a:xfrm>
                <a:custGeom>
                  <a:avLst/>
                  <a:gdLst>
                    <a:gd name="T0" fmla="*/ 2 w 23"/>
                    <a:gd name="T1" fmla="*/ 23 h 47"/>
                    <a:gd name="T2" fmla="*/ 5 w 23"/>
                    <a:gd name="T3" fmla="*/ 21 h 47"/>
                    <a:gd name="T4" fmla="*/ 5 w 23"/>
                    <a:gd name="T5" fmla="*/ 8 h 47"/>
                    <a:gd name="T6" fmla="*/ 6 w 23"/>
                    <a:gd name="T7" fmla="*/ 8 h 47"/>
                    <a:gd name="T8" fmla="*/ 6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8 w 23"/>
                    <a:gd name="T23" fmla="*/ 44 h 47"/>
                    <a:gd name="T24" fmla="*/ 18 w 23"/>
                    <a:gd name="T25" fmla="*/ 8 h 47"/>
                    <a:gd name="T26" fmla="*/ 19 w 23"/>
                    <a:gd name="T27" fmla="*/ 8 h 47"/>
                    <a:gd name="T28" fmla="*/ 19 w 23"/>
                    <a:gd name="T29" fmla="*/ 21 h 47"/>
                    <a:gd name="T30" fmla="*/ 21 w 23"/>
                    <a:gd name="T31" fmla="*/ 23 h 47"/>
                    <a:gd name="T32" fmla="*/ 23 w 23"/>
                    <a:gd name="T33" fmla="*/ 21 h 47"/>
                    <a:gd name="T34" fmla="*/ 23 w 23"/>
                    <a:gd name="T35" fmla="*/ 7 h 47"/>
                    <a:gd name="T36" fmla="*/ 17 w 23"/>
                    <a:gd name="T37" fmla="*/ 0 h 47"/>
                    <a:gd name="T38" fmla="*/ 7 w 23"/>
                    <a:gd name="T39" fmla="*/ 0 h 47"/>
                    <a:gd name="T40" fmla="*/ 0 w 23"/>
                    <a:gd name="T41" fmla="*/ 7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ubicBezTo>
                        <a:pt x="15" y="0"/>
                        <a:pt x="8" y="0"/>
                        <a:pt x="7" y="0"/>
                      </a:cubicBezTo>
                      <a:cubicBezTo>
                        <a:pt x="3"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96" name="Oval 1513"/>
                <p:cNvSpPr>
                  <a:spLocks noChangeArrowheads="1"/>
                </p:cNvSpPr>
                <p:nvPr/>
              </p:nvSpPr>
              <p:spPr bwMode="auto">
                <a:xfrm>
                  <a:off x="13428"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97" name="Freeform 1514"/>
                <p:cNvSpPr>
                  <a:spLocks/>
                </p:cNvSpPr>
                <p:nvPr/>
              </p:nvSpPr>
              <p:spPr bwMode="auto">
                <a:xfrm>
                  <a:off x="13348" y="1296"/>
                  <a:ext cx="52" cy="111"/>
                </a:xfrm>
                <a:custGeom>
                  <a:avLst/>
                  <a:gdLst>
                    <a:gd name="T0" fmla="*/ 0 w 22"/>
                    <a:gd name="T1" fmla="*/ 6 h 47"/>
                    <a:gd name="T2" fmla="*/ 0 w 22"/>
                    <a:gd name="T3" fmla="*/ 21 h 47"/>
                    <a:gd name="T4" fmla="*/ 2 w 22"/>
                    <a:gd name="T5" fmla="*/ 23 h 47"/>
                    <a:gd name="T6" fmla="*/ 4 w 22"/>
                    <a:gd name="T7" fmla="*/ 21 h 47"/>
                    <a:gd name="T8" fmla="*/ 4 w 22"/>
                    <a:gd name="T9" fmla="*/ 7 h 47"/>
                    <a:gd name="T10" fmla="*/ 5 w 22"/>
                    <a:gd name="T11" fmla="*/ 7 h 47"/>
                    <a:gd name="T12" fmla="*/ 5 w 22"/>
                    <a:gd name="T13" fmla="*/ 44 h 47"/>
                    <a:gd name="T14" fmla="*/ 8 w 22"/>
                    <a:gd name="T15" fmla="*/ 47 h 47"/>
                    <a:gd name="T16" fmla="*/ 10 w 22"/>
                    <a:gd name="T17" fmla="*/ 44 h 47"/>
                    <a:gd name="T18" fmla="*/ 10 w 22"/>
                    <a:gd name="T19" fmla="*/ 23 h 47"/>
                    <a:gd name="T20" fmla="*/ 12 w 22"/>
                    <a:gd name="T21" fmla="*/ 23 h 47"/>
                    <a:gd name="T22" fmla="*/ 12 w 22"/>
                    <a:gd name="T23" fmla="*/ 44 h 47"/>
                    <a:gd name="T24" fmla="*/ 14 w 22"/>
                    <a:gd name="T25" fmla="*/ 47 h 47"/>
                    <a:gd name="T26" fmla="*/ 17 w 22"/>
                    <a:gd name="T27" fmla="*/ 44 h 47"/>
                    <a:gd name="T28" fmla="*/ 17 w 22"/>
                    <a:gd name="T29" fmla="*/ 7 h 47"/>
                    <a:gd name="T30" fmla="*/ 18 w 22"/>
                    <a:gd name="T31" fmla="*/ 7 h 47"/>
                    <a:gd name="T32" fmla="*/ 18 w 22"/>
                    <a:gd name="T33" fmla="*/ 21 h 47"/>
                    <a:gd name="T34" fmla="*/ 20 w 22"/>
                    <a:gd name="T35" fmla="*/ 23 h 47"/>
                    <a:gd name="T36" fmla="*/ 22 w 22"/>
                    <a:gd name="T37" fmla="*/ 21 h 47"/>
                    <a:gd name="T38" fmla="*/ 22 w 22"/>
                    <a:gd name="T39" fmla="*/ 6 h 47"/>
                    <a:gd name="T40" fmla="*/ 16 w 22"/>
                    <a:gd name="T41" fmla="*/ 0 h 47"/>
                    <a:gd name="T42" fmla="*/ 6 w 22"/>
                    <a:gd name="T43" fmla="*/ 0 h 47"/>
                    <a:gd name="T44" fmla="*/ 0 w 22"/>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2"/>
                        <a:pt x="10" y="23"/>
                        <a:pt x="10" y="23"/>
                      </a:cubicBezTo>
                      <a:cubicBezTo>
                        <a:pt x="10" y="23"/>
                        <a:pt x="10" y="23"/>
                        <a:pt x="12" y="23"/>
                      </a:cubicBezTo>
                      <a:cubicBezTo>
                        <a:pt x="12" y="23"/>
                        <a:pt x="12" y="42"/>
                        <a:pt x="12" y="44"/>
                      </a:cubicBezTo>
                      <a:cubicBezTo>
                        <a:pt x="12"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ubicBezTo>
                        <a:pt x="21" y="23"/>
                        <a:pt x="22" y="22"/>
                        <a:pt x="22" y="21"/>
                      </a:cubicBezTo>
                      <a:cubicBezTo>
                        <a:pt x="22" y="19"/>
                        <a:pt x="22" y="8"/>
                        <a:pt x="22" y="6"/>
                      </a:cubicBezTo>
                      <a:cubicBezTo>
                        <a:pt x="22" y="3"/>
                        <a:pt x="20" y="0"/>
                        <a:pt x="16" y="0"/>
                      </a:cubicBezTo>
                      <a:cubicBezTo>
                        <a:pt x="15" y="0"/>
                        <a:pt x="7"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98" name="Freeform 1515"/>
                <p:cNvSpPr>
                  <a:spLocks/>
                </p:cNvSpPr>
                <p:nvPr/>
              </p:nvSpPr>
              <p:spPr bwMode="auto">
                <a:xfrm>
                  <a:off x="13341" y="1147"/>
                  <a:ext cx="66" cy="111"/>
                </a:xfrm>
                <a:custGeom>
                  <a:avLst/>
                  <a:gdLst>
                    <a:gd name="T0" fmla="*/ 23 w 28"/>
                    <a:gd name="T1" fmla="*/ 5 h 47"/>
                    <a:gd name="T2" fmla="*/ 18 w 28"/>
                    <a:gd name="T3" fmla="*/ 0 h 47"/>
                    <a:gd name="T4" fmla="*/ 10 w 28"/>
                    <a:gd name="T5" fmla="*/ 0 h 47"/>
                    <a:gd name="T6" fmla="*/ 5 w 28"/>
                    <a:gd name="T7" fmla="*/ 5 h 47"/>
                    <a:gd name="T8" fmla="*/ 1 w 28"/>
                    <a:gd name="T9" fmla="*/ 19 h 47"/>
                    <a:gd name="T10" fmla="*/ 2 w 28"/>
                    <a:gd name="T11" fmla="*/ 21 h 47"/>
                    <a:gd name="T12" fmla="*/ 4 w 28"/>
                    <a:gd name="T13" fmla="*/ 20 h 47"/>
                    <a:gd name="T14" fmla="*/ 8 w 28"/>
                    <a:gd name="T15" fmla="*/ 7 h 47"/>
                    <a:gd name="T16" fmla="*/ 9 w 28"/>
                    <a:gd name="T17" fmla="*/ 7 h 47"/>
                    <a:gd name="T18" fmla="*/ 3 w 28"/>
                    <a:gd name="T19" fmla="*/ 29 h 47"/>
                    <a:gd name="T20" fmla="*/ 9 w 28"/>
                    <a:gd name="T21" fmla="*/ 29 h 47"/>
                    <a:gd name="T22" fmla="*/ 9 w 28"/>
                    <a:gd name="T23" fmla="*/ 45 h 47"/>
                    <a:gd name="T24" fmla="*/ 11 w 28"/>
                    <a:gd name="T25" fmla="*/ 47 h 47"/>
                    <a:gd name="T26" fmla="*/ 14 w 28"/>
                    <a:gd name="T27" fmla="*/ 45 h 47"/>
                    <a:gd name="T28" fmla="*/ 14 w 28"/>
                    <a:gd name="T29" fmla="*/ 29 h 47"/>
                    <a:gd name="T30" fmla="*/ 15 w 28"/>
                    <a:gd name="T31" fmla="*/ 29 h 47"/>
                    <a:gd name="T32" fmla="*/ 15 w 28"/>
                    <a:gd name="T33" fmla="*/ 45 h 47"/>
                    <a:gd name="T34" fmla="*/ 17 w 28"/>
                    <a:gd name="T35" fmla="*/ 47 h 47"/>
                    <a:gd name="T36" fmla="*/ 19 w 28"/>
                    <a:gd name="T37" fmla="*/ 45 h 47"/>
                    <a:gd name="T38" fmla="*/ 19 w 28"/>
                    <a:gd name="T39" fmla="*/ 29 h 47"/>
                    <a:gd name="T40" fmla="*/ 25 w 28"/>
                    <a:gd name="T41" fmla="*/ 29 h 47"/>
                    <a:gd name="T42" fmla="*/ 19 w 28"/>
                    <a:gd name="T43" fmla="*/ 7 h 47"/>
                    <a:gd name="T44" fmla="*/ 20 w 28"/>
                    <a:gd name="T45" fmla="*/ 7 h 47"/>
                    <a:gd name="T46" fmla="*/ 24 w 28"/>
                    <a:gd name="T47" fmla="*/ 20 h 47"/>
                    <a:gd name="T48" fmla="*/ 26 w 28"/>
                    <a:gd name="T49" fmla="*/ 21 h 47"/>
                    <a:gd name="T50" fmla="*/ 27 w 28"/>
                    <a:gd name="T51" fmla="*/ 19 h 47"/>
                    <a:gd name="T52" fmla="*/ 23 w 28"/>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5"/>
                      </a:moveTo>
                      <a:cubicBezTo>
                        <a:pt x="23" y="3"/>
                        <a:pt x="20" y="0"/>
                        <a:pt x="18" y="0"/>
                      </a:cubicBezTo>
                      <a:cubicBezTo>
                        <a:pt x="17" y="0"/>
                        <a:pt x="11" y="0"/>
                        <a:pt x="10" y="0"/>
                      </a:cubicBezTo>
                      <a:cubicBezTo>
                        <a:pt x="8" y="0"/>
                        <a:pt x="6"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4" y="46"/>
                        <a:pt x="14" y="45"/>
                      </a:cubicBezTo>
                      <a:cubicBezTo>
                        <a:pt x="14" y="43"/>
                        <a:pt x="14" y="29"/>
                        <a:pt x="14" y="29"/>
                      </a:cubicBezTo>
                      <a:cubicBezTo>
                        <a:pt x="15" y="29"/>
                        <a:pt x="15" y="29"/>
                        <a:pt x="15" y="29"/>
                      </a:cubicBezTo>
                      <a:cubicBezTo>
                        <a:pt x="15" y="29"/>
                        <a:pt x="15" y="43"/>
                        <a:pt x="15" y="45"/>
                      </a:cubicBezTo>
                      <a:cubicBezTo>
                        <a:pt x="15" y="46"/>
                        <a:pt x="16"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8"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799" name="Freeform 1516"/>
                <p:cNvSpPr>
                  <a:spLocks/>
                </p:cNvSpPr>
                <p:nvPr/>
              </p:nvSpPr>
              <p:spPr bwMode="auto">
                <a:xfrm>
                  <a:off x="13544" y="1443"/>
                  <a:ext cx="52" cy="109"/>
                </a:xfrm>
                <a:custGeom>
                  <a:avLst/>
                  <a:gdLst>
                    <a:gd name="T0" fmla="*/ 0 w 22"/>
                    <a:gd name="T1" fmla="*/ 6 h 46"/>
                    <a:gd name="T2" fmla="*/ 0 w 22"/>
                    <a:gd name="T3" fmla="*/ 20 h 46"/>
                    <a:gd name="T4" fmla="*/ 2 w 22"/>
                    <a:gd name="T5" fmla="*/ 23 h 46"/>
                    <a:gd name="T6" fmla="*/ 4 w 22"/>
                    <a:gd name="T7" fmla="*/ 20 h 46"/>
                    <a:gd name="T8" fmla="*/ 4 w 22"/>
                    <a:gd name="T9" fmla="*/ 7 h 46"/>
                    <a:gd name="T10" fmla="*/ 5 w 22"/>
                    <a:gd name="T11" fmla="*/ 7 h 46"/>
                    <a:gd name="T12" fmla="*/ 5 w 22"/>
                    <a:gd name="T13" fmla="*/ 44 h 46"/>
                    <a:gd name="T14" fmla="*/ 8 w 22"/>
                    <a:gd name="T15" fmla="*/ 46 h 46"/>
                    <a:gd name="T16" fmla="*/ 11 w 22"/>
                    <a:gd name="T17" fmla="*/ 44 h 46"/>
                    <a:gd name="T18" fmla="*/ 11 w 22"/>
                    <a:gd name="T19" fmla="*/ 23 h 46"/>
                    <a:gd name="T20" fmla="*/ 12 w 22"/>
                    <a:gd name="T21" fmla="*/ 23 h 46"/>
                    <a:gd name="T22" fmla="*/ 12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3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8"/>
                        <a:pt x="22" y="6"/>
                      </a:cubicBezTo>
                      <a:cubicBezTo>
                        <a:pt x="22" y="2"/>
                        <a:pt x="20" y="0"/>
                        <a:pt x="16" y="0"/>
                      </a:cubicBezTo>
                      <a:cubicBezTo>
                        <a:pt x="15" y="0"/>
                        <a:pt x="8" y="0"/>
                        <a:pt x="6" y="0"/>
                      </a:cubicBezTo>
                      <a:cubicBezTo>
                        <a:pt x="2"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00" name="Freeform 1517"/>
                <p:cNvSpPr>
                  <a:spLocks/>
                </p:cNvSpPr>
                <p:nvPr/>
              </p:nvSpPr>
              <p:spPr bwMode="auto">
                <a:xfrm>
                  <a:off x="13407" y="1296"/>
                  <a:ext cx="64" cy="111"/>
                </a:xfrm>
                <a:custGeom>
                  <a:avLst/>
                  <a:gdLst>
                    <a:gd name="T0" fmla="*/ 27 w 27"/>
                    <a:gd name="T1" fmla="*/ 18 h 47"/>
                    <a:gd name="T2" fmla="*/ 23 w 27"/>
                    <a:gd name="T3" fmla="*/ 4 h 47"/>
                    <a:gd name="T4" fmla="*/ 18 w 27"/>
                    <a:gd name="T5" fmla="*/ 0 h 47"/>
                    <a:gd name="T6" fmla="*/ 10 w 27"/>
                    <a:gd name="T7" fmla="*/ 0 h 47"/>
                    <a:gd name="T8" fmla="*/ 5 w 27"/>
                    <a:gd name="T9" fmla="*/ 4 h 47"/>
                    <a:gd name="T10" fmla="*/ 1 w 27"/>
                    <a:gd name="T11" fmla="*/ 18 h 47"/>
                    <a:gd name="T12" fmla="*/ 2 w 27"/>
                    <a:gd name="T13" fmla="*/ 21 h 47"/>
                    <a:gd name="T14" fmla="*/ 4 w 27"/>
                    <a:gd name="T15" fmla="*/ 19 h 47"/>
                    <a:gd name="T16" fmla="*/ 8 w 27"/>
                    <a:gd name="T17" fmla="*/ 6 h 47"/>
                    <a:gd name="T18" fmla="*/ 9 w 27"/>
                    <a:gd name="T19" fmla="*/ 6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7 w 27"/>
                    <a:gd name="T37" fmla="*/ 47 h 47"/>
                    <a:gd name="T38" fmla="*/ 19 w 27"/>
                    <a:gd name="T39" fmla="*/ 45 h 47"/>
                    <a:gd name="T40" fmla="*/ 19 w 27"/>
                    <a:gd name="T41" fmla="*/ 28 h 47"/>
                    <a:gd name="T42" fmla="*/ 25 w 27"/>
                    <a:gd name="T43" fmla="*/ 28 h 47"/>
                    <a:gd name="T44" fmla="*/ 19 w 27"/>
                    <a:gd name="T45" fmla="*/ 6 h 47"/>
                    <a:gd name="T46" fmla="*/ 20 w 27"/>
                    <a:gd name="T47" fmla="*/ 6 h 47"/>
                    <a:gd name="T48" fmla="*/ 23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5" y="10"/>
                        <a:pt x="23" y="4"/>
                      </a:cubicBezTo>
                      <a:cubicBezTo>
                        <a:pt x="22" y="2"/>
                        <a:pt x="20" y="0"/>
                        <a:pt x="18" y="0"/>
                      </a:cubicBezTo>
                      <a:cubicBezTo>
                        <a:pt x="16" y="0"/>
                        <a:pt x="11" y="0"/>
                        <a:pt x="10" y="0"/>
                      </a:cubicBezTo>
                      <a:cubicBezTo>
                        <a:pt x="8" y="0"/>
                        <a:pt x="5" y="2"/>
                        <a:pt x="5" y="4"/>
                      </a:cubicBezTo>
                      <a:cubicBezTo>
                        <a:pt x="3" y="10"/>
                        <a:pt x="1" y="18"/>
                        <a:pt x="1" y="18"/>
                      </a:cubicBezTo>
                      <a:cubicBezTo>
                        <a:pt x="0" y="19"/>
                        <a:pt x="1" y="20"/>
                        <a:pt x="2" y="21"/>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01" name="Freeform 1518"/>
                <p:cNvSpPr>
                  <a:spLocks/>
                </p:cNvSpPr>
                <p:nvPr/>
              </p:nvSpPr>
              <p:spPr bwMode="auto">
                <a:xfrm>
                  <a:off x="13341" y="1443"/>
                  <a:ext cx="66" cy="111"/>
                </a:xfrm>
                <a:custGeom>
                  <a:avLst/>
                  <a:gdLst>
                    <a:gd name="T0" fmla="*/ 23 w 28"/>
                    <a:gd name="T1" fmla="*/ 4 h 47"/>
                    <a:gd name="T2" fmla="*/ 18 w 28"/>
                    <a:gd name="T3" fmla="*/ 0 h 47"/>
                    <a:gd name="T4" fmla="*/ 10 w 28"/>
                    <a:gd name="T5" fmla="*/ 0 h 47"/>
                    <a:gd name="T6" fmla="*/ 5 w 28"/>
                    <a:gd name="T7" fmla="*/ 4 h 47"/>
                    <a:gd name="T8" fmla="*/ 1 w 28"/>
                    <a:gd name="T9" fmla="*/ 18 h 47"/>
                    <a:gd name="T10" fmla="*/ 2 w 28"/>
                    <a:gd name="T11" fmla="*/ 20 h 47"/>
                    <a:gd name="T12" fmla="*/ 4 w 28"/>
                    <a:gd name="T13" fmla="*/ 19 h 47"/>
                    <a:gd name="T14" fmla="*/ 8 w 28"/>
                    <a:gd name="T15" fmla="*/ 6 h 47"/>
                    <a:gd name="T16" fmla="*/ 9 w 28"/>
                    <a:gd name="T17" fmla="*/ 6 h 47"/>
                    <a:gd name="T18" fmla="*/ 3 w 28"/>
                    <a:gd name="T19" fmla="*/ 28 h 47"/>
                    <a:gd name="T20" fmla="*/ 9 w 28"/>
                    <a:gd name="T21" fmla="*/ 28 h 47"/>
                    <a:gd name="T22" fmla="*/ 9 w 28"/>
                    <a:gd name="T23" fmla="*/ 44 h 47"/>
                    <a:gd name="T24" fmla="*/ 11 w 28"/>
                    <a:gd name="T25" fmla="*/ 47 h 47"/>
                    <a:gd name="T26" fmla="*/ 14 w 28"/>
                    <a:gd name="T27" fmla="*/ 44 h 47"/>
                    <a:gd name="T28" fmla="*/ 14 w 28"/>
                    <a:gd name="T29" fmla="*/ 28 h 47"/>
                    <a:gd name="T30" fmla="*/ 15 w 28"/>
                    <a:gd name="T31" fmla="*/ 28 h 47"/>
                    <a:gd name="T32" fmla="*/ 15 w 28"/>
                    <a:gd name="T33" fmla="*/ 44 h 47"/>
                    <a:gd name="T34" fmla="*/ 17 w 28"/>
                    <a:gd name="T35" fmla="*/ 47 h 47"/>
                    <a:gd name="T36" fmla="*/ 19 w 28"/>
                    <a:gd name="T37" fmla="*/ 44 h 47"/>
                    <a:gd name="T38" fmla="*/ 19 w 28"/>
                    <a:gd name="T39" fmla="*/ 28 h 47"/>
                    <a:gd name="T40" fmla="*/ 25 w 28"/>
                    <a:gd name="T41" fmla="*/ 28 h 47"/>
                    <a:gd name="T42" fmla="*/ 19 w 28"/>
                    <a:gd name="T43" fmla="*/ 6 h 47"/>
                    <a:gd name="T44" fmla="*/ 20 w 28"/>
                    <a:gd name="T45" fmla="*/ 6 h 47"/>
                    <a:gd name="T46" fmla="*/ 24 w 28"/>
                    <a:gd name="T47" fmla="*/ 19 h 47"/>
                    <a:gd name="T48" fmla="*/ 26 w 28"/>
                    <a:gd name="T49" fmla="*/ 20 h 47"/>
                    <a:gd name="T50" fmla="*/ 27 w 28"/>
                    <a:gd name="T51" fmla="*/ 18 h 47"/>
                    <a:gd name="T52" fmla="*/ 23 w 28"/>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4"/>
                      </a:moveTo>
                      <a:cubicBezTo>
                        <a:pt x="23" y="2"/>
                        <a:pt x="20" y="0"/>
                        <a:pt x="18" y="0"/>
                      </a:cubicBezTo>
                      <a:cubicBezTo>
                        <a:pt x="17" y="0"/>
                        <a:pt x="11" y="0"/>
                        <a:pt x="10" y="0"/>
                      </a:cubicBezTo>
                      <a:cubicBezTo>
                        <a:pt x="8" y="0"/>
                        <a:pt x="6"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4" y="46"/>
                        <a:pt x="14" y="44"/>
                      </a:cubicBezTo>
                      <a:cubicBezTo>
                        <a:pt x="14" y="43"/>
                        <a:pt x="14" y="28"/>
                        <a:pt x="14" y="28"/>
                      </a:cubicBezTo>
                      <a:cubicBezTo>
                        <a:pt x="15" y="28"/>
                        <a:pt x="15" y="28"/>
                        <a:pt x="15" y="28"/>
                      </a:cubicBezTo>
                      <a:cubicBezTo>
                        <a:pt x="15" y="28"/>
                        <a:pt x="15" y="43"/>
                        <a:pt x="15" y="44"/>
                      </a:cubicBezTo>
                      <a:cubicBezTo>
                        <a:pt x="15"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8"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02" name="Oval 1519"/>
                <p:cNvSpPr>
                  <a:spLocks noChangeArrowheads="1"/>
                </p:cNvSpPr>
                <p:nvPr/>
              </p:nvSpPr>
              <p:spPr bwMode="auto">
                <a:xfrm>
                  <a:off x="13428"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03" name="Oval 1520"/>
                <p:cNvSpPr>
                  <a:spLocks noChangeArrowheads="1"/>
                </p:cNvSpPr>
                <p:nvPr/>
              </p:nvSpPr>
              <p:spPr bwMode="auto">
                <a:xfrm>
                  <a:off x="13428"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04" name="Oval 1521"/>
                <p:cNvSpPr>
                  <a:spLocks noChangeArrowheads="1"/>
                </p:cNvSpPr>
                <p:nvPr/>
              </p:nvSpPr>
              <p:spPr bwMode="auto">
                <a:xfrm>
                  <a:off x="13558"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05" name="Freeform 1522"/>
                <p:cNvSpPr>
                  <a:spLocks/>
                </p:cNvSpPr>
                <p:nvPr/>
              </p:nvSpPr>
              <p:spPr bwMode="auto">
                <a:xfrm>
                  <a:off x="13539" y="1296"/>
                  <a:ext cx="64" cy="111"/>
                </a:xfrm>
                <a:custGeom>
                  <a:avLst/>
                  <a:gdLst>
                    <a:gd name="T0" fmla="*/ 26 w 27"/>
                    <a:gd name="T1" fmla="*/ 18 h 47"/>
                    <a:gd name="T2" fmla="*/ 22 w 27"/>
                    <a:gd name="T3" fmla="*/ 4 h 47"/>
                    <a:gd name="T4" fmla="*/ 17 w 27"/>
                    <a:gd name="T5" fmla="*/ 0 h 47"/>
                    <a:gd name="T6" fmla="*/ 9 w 27"/>
                    <a:gd name="T7" fmla="*/ 0 h 47"/>
                    <a:gd name="T8" fmla="*/ 4 w 27"/>
                    <a:gd name="T9" fmla="*/ 4 h 47"/>
                    <a:gd name="T10" fmla="*/ 0 w 27"/>
                    <a:gd name="T11" fmla="*/ 18 h 47"/>
                    <a:gd name="T12" fmla="*/ 1 w 27"/>
                    <a:gd name="T13" fmla="*/ 21 h 47"/>
                    <a:gd name="T14" fmla="*/ 3 w 27"/>
                    <a:gd name="T15" fmla="*/ 19 h 47"/>
                    <a:gd name="T16" fmla="*/ 7 w 27"/>
                    <a:gd name="T17" fmla="*/ 6 h 47"/>
                    <a:gd name="T18" fmla="*/ 8 w 27"/>
                    <a:gd name="T19" fmla="*/ 6 h 47"/>
                    <a:gd name="T20" fmla="*/ 2 w 27"/>
                    <a:gd name="T21" fmla="*/ 28 h 47"/>
                    <a:gd name="T22" fmla="*/ 8 w 27"/>
                    <a:gd name="T23" fmla="*/ 28 h 47"/>
                    <a:gd name="T24" fmla="*/ 8 w 27"/>
                    <a:gd name="T25" fmla="*/ 45 h 47"/>
                    <a:gd name="T26" fmla="*/ 10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4 w 27"/>
                    <a:gd name="T43" fmla="*/ 28 h 47"/>
                    <a:gd name="T44" fmla="*/ 18 w 27"/>
                    <a:gd name="T45" fmla="*/ 6 h 47"/>
                    <a:gd name="T46" fmla="*/ 19 w 27"/>
                    <a:gd name="T47" fmla="*/ 6 h 47"/>
                    <a:gd name="T48" fmla="*/ 23 w 27"/>
                    <a:gd name="T49" fmla="*/ 19 h 47"/>
                    <a:gd name="T50" fmla="*/ 25 w 27"/>
                    <a:gd name="T51" fmla="*/ 21 h 47"/>
                    <a:gd name="T52" fmla="*/ 26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6" y="18"/>
                      </a:moveTo>
                      <a:cubicBezTo>
                        <a:pt x="26" y="18"/>
                        <a:pt x="24" y="10"/>
                        <a:pt x="22" y="4"/>
                      </a:cubicBezTo>
                      <a:cubicBezTo>
                        <a:pt x="22" y="2"/>
                        <a:pt x="19" y="0"/>
                        <a:pt x="17" y="0"/>
                      </a:cubicBezTo>
                      <a:cubicBezTo>
                        <a:pt x="16" y="0"/>
                        <a:pt x="10" y="0"/>
                        <a:pt x="9" y="0"/>
                      </a:cubicBezTo>
                      <a:cubicBezTo>
                        <a:pt x="7" y="0"/>
                        <a:pt x="5" y="2"/>
                        <a:pt x="4" y="4"/>
                      </a:cubicBezTo>
                      <a:cubicBezTo>
                        <a:pt x="2" y="10"/>
                        <a:pt x="0" y="18"/>
                        <a:pt x="0" y="18"/>
                      </a:cubicBezTo>
                      <a:cubicBezTo>
                        <a:pt x="0" y="19"/>
                        <a:pt x="0" y="20"/>
                        <a:pt x="1" y="21"/>
                      </a:cubicBez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1"/>
                      </a:cubicBezTo>
                      <a:cubicBezTo>
                        <a:pt x="26" y="20"/>
                        <a:pt x="27" y="19"/>
                        <a:pt x="2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06" name="Freeform 1523"/>
                <p:cNvSpPr>
                  <a:spLocks/>
                </p:cNvSpPr>
                <p:nvPr/>
              </p:nvSpPr>
              <p:spPr bwMode="auto">
                <a:xfrm>
                  <a:off x="13210" y="1443"/>
                  <a:ext cx="64" cy="111"/>
                </a:xfrm>
                <a:custGeom>
                  <a:avLst/>
                  <a:gdLst>
                    <a:gd name="T0" fmla="*/ 23 w 27"/>
                    <a:gd name="T1" fmla="*/ 4 h 47"/>
                    <a:gd name="T2" fmla="*/ 17 w 27"/>
                    <a:gd name="T3" fmla="*/ 0 h 47"/>
                    <a:gd name="T4" fmla="*/ 10 w 27"/>
                    <a:gd name="T5" fmla="*/ 0 h 47"/>
                    <a:gd name="T6" fmla="*/ 5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9 w 27"/>
                    <a:gd name="T37" fmla="*/ 44 h 47"/>
                    <a:gd name="T38" fmla="*/ 19 w 27"/>
                    <a:gd name="T39" fmla="*/ 28 h 47"/>
                    <a:gd name="T40" fmla="*/ 25 w 27"/>
                    <a:gd name="T41" fmla="*/ 28 h 47"/>
                    <a:gd name="T42" fmla="*/ 18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7"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07" name="Oval 1524"/>
                <p:cNvSpPr>
                  <a:spLocks noChangeArrowheads="1"/>
                </p:cNvSpPr>
                <p:nvPr/>
              </p:nvSpPr>
              <p:spPr bwMode="auto">
                <a:xfrm>
                  <a:off x="13165"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08" name="Oval 1525"/>
                <p:cNvSpPr>
                  <a:spLocks noChangeArrowheads="1"/>
                </p:cNvSpPr>
                <p:nvPr/>
              </p:nvSpPr>
              <p:spPr bwMode="auto">
                <a:xfrm>
                  <a:off x="13362"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09" name="Freeform 1526"/>
                <p:cNvSpPr>
                  <a:spLocks/>
                </p:cNvSpPr>
                <p:nvPr/>
              </p:nvSpPr>
              <p:spPr bwMode="auto">
                <a:xfrm>
                  <a:off x="13151" y="1443"/>
                  <a:ext cx="52" cy="109"/>
                </a:xfrm>
                <a:custGeom>
                  <a:avLst/>
                  <a:gdLst>
                    <a:gd name="T0" fmla="*/ 0 w 22"/>
                    <a:gd name="T1" fmla="*/ 6 h 46"/>
                    <a:gd name="T2" fmla="*/ 0 w 22"/>
                    <a:gd name="T3" fmla="*/ 20 h 46"/>
                    <a:gd name="T4" fmla="*/ 2 w 22"/>
                    <a:gd name="T5" fmla="*/ 23 h 46"/>
                    <a:gd name="T6" fmla="*/ 4 w 22"/>
                    <a:gd name="T7" fmla="*/ 20 h 46"/>
                    <a:gd name="T8" fmla="*/ 4 w 22"/>
                    <a:gd name="T9" fmla="*/ 7 h 46"/>
                    <a:gd name="T10" fmla="*/ 5 w 22"/>
                    <a:gd name="T11" fmla="*/ 7 h 46"/>
                    <a:gd name="T12" fmla="*/ 5 w 22"/>
                    <a:gd name="T13" fmla="*/ 44 h 46"/>
                    <a:gd name="T14" fmla="*/ 8 w 22"/>
                    <a:gd name="T15" fmla="*/ 46 h 46"/>
                    <a:gd name="T16" fmla="*/ 10 w 22"/>
                    <a:gd name="T17" fmla="*/ 44 h 46"/>
                    <a:gd name="T18" fmla="*/ 10 w 22"/>
                    <a:gd name="T19" fmla="*/ 23 h 46"/>
                    <a:gd name="T20" fmla="*/ 11 w 22"/>
                    <a:gd name="T21" fmla="*/ 23 h 46"/>
                    <a:gd name="T22" fmla="*/ 11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3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1" y="23"/>
                      </a:cubicBezTo>
                      <a:cubicBezTo>
                        <a:pt x="11" y="23"/>
                        <a:pt x="11" y="41"/>
                        <a:pt x="11" y="44"/>
                      </a:cubicBezTo>
                      <a:cubicBezTo>
                        <a:pt x="11"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8"/>
                        <a:pt x="22" y="6"/>
                      </a:cubicBezTo>
                      <a:cubicBezTo>
                        <a:pt x="22" y="2"/>
                        <a:pt x="20" y="0"/>
                        <a:pt x="16" y="0"/>
                      </a:cubicBezTo>
                      <a:cubicBezTo>
                        <a:pt x="14" y="0"/>
                        <a:pt x="7" y="0"/>
                        <a:pt x="6" y="0"/>
                      </a:cubicBezTo>
                      <a:cubicBezTo>
                        <a:pt x="2"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10" name="Freeform 1527"/>
                <p:cNvSpPr>
                  <a:spLocks/>
                </p:cNvSpPr>
                <p:nvPr/>
              </p:nvSpPr>
              <p:spPr bwMode="auto">
                <a:xfrm>
                  <a:off x="13146" y="1296"/>
                  <a:ext cx="64" cy="111"/>
                </a:xfrm>
                <a:custGeom>
                  <a:avLst/>
                  <a:gdLst>
                    <a:gd name="T0" fmla="*/ 26 w 27"/>
                    <a:gd name="T1" fmla="*/ 18 h 47"/>
                    <a:gd name="T2" fmla="*/ 22 w 27"/>
                    <a:gd name="T3" fmla="*/ 4 h 47"/>
                    <a:gd name="T4" fmla="*/ 17 w 27"/>
                    <a:gd name="T5" fmla="*/ 0 h 47"/>
                    <a:gd name="T6" fmla="*/ 9 w 27"/>
                    <a:gd name="T7" fmla="*/ 0 h 47"/>
                    <a:gd name="T8" fmla="*/ 4 w 27"/>
                    <a:gd name="T9" fmla="*/ 4 h 47"/>
                    <a:gd name="T10" fmla="*/ 0 w 27"/>
                    <a:gd name="T11" fmla="*/ 18 h 47"/>
                    <a:gd name="T12" fmla="*/ 1 w 27"/>
                    <a:gd name="T13" fmla="*/ 21 h 47"/>
                    <a:gd name="T14" fmla="*/ 3 w 27"/>
                    <a:gd name="T15" fmla="*/ 19 h 47"/>
                    <a:gd name="T16" fmla="*/ 7 w 27"/>
                    <a:gd name="T17" fmla="*/ 6 h 47"/>
                    <a:gd name="T18" fmla="*/ 8 w 27"/>
                    <a:gd name="T19" fmla="*/ 6 h 47"/>
                    <a:gd name="T20" fmla="*/ 2 w 27"/>
                    <a:gd name="T21" fmla="*/ 28 h 47"/>
                    <a:gd name="T22" fmla="*/ 8 w 27"/>
                    <a:gd name="T23" fmla="*/ 28 h 47"/>
                    <a:gd name="T24" fmla="*/ 8 w 27"/>
                    <a:gd name="T25" fmla="*/ 45 h 47"/>
                    <a:gd name="T26" fmla="*/ 10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4 w 27"/>
                    <a:gd name="T43" fmla="*/ 28 h 47"/>
                    <a:gd name="T44" fmla="*/ 18 w 27"/>
                    <a:gd name="T45" fmla="*/ 6 h 47"/>
                    <a:gd name="T46" fmla="*/ 19 w 27"/>
                    <a:gd name="T47" fmla="*/ 6 h 47"/>
                    <a:gd name="T48" fmla="*/ 23 w 27"/>
                    <a:gd name="T49" fmla="*/ 19 h 47"/>
                    <a:gd name="T50" fmla="*/ 25 w 27"/>
                    <a:gd name="T51" fmla="*/ 21 h 47"/>
                    <a:gd name="T52" fmla="*/ 26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6" y="18"/>
                      </a:moveTo>
                      <a:cubicBezTo>
                        <a:pt x="26" y="18"/>
                        <a:pt x="24" y="10"/>
                        <a:pt x="22" y="4"/>
                      </a:cubicBezTo>
                      <a:cubicBezTo>
                        <a:pt x="22" y="2"/>
                        <a:pt x="19" y="0"/>
                        <a:pt x="17" y="0"/>
                      </a:cubicBezTo>
                      <a:cubicBezTo>
                        <a:pt x="16" y="0"/>
                        <a:pt x="10" y="0"/>
                        <a:pt x="9" y="0"/>
                      </a:cubicBezTo>
                      <a:cubicBezTo>
                        <a:pt x="7" y="0"/>
                        <a:pt x="5" y="2"/>
                        <a:pt x="4" y="4"/>
                      </a:cubicBezTo>
                      <a:cubicBezTo>
                        <a:pt x="2" y="10"/>
                        <a:pt x="0" y="18"/>
                        <a:pt x="0" y="18"/>
                      </a:cubicBezTo>
                      <a:cubicBezTo>
                        <a:pt x="0" y="19"/>
                        <a:pt x="0" y="20"/>
                        <a:pt x="1" y="21"/>
                      </a:cubicBez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1"/>
                      </a:cubicBezTo>
                      <a:cubicBezTo>
                        <a:pt x="26" y="20"/>
                        <a:pt x="27" y="19"/>
                        <a:pt x="2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11" name="Freeform 1528"/>
                <p:cNvSpPr>
                  <a:spLocks/>
                </p:cNvSpPr>
                <p:nvPr/>
              </p:nvSpPr>
              <p:spPr bwMode="auto">
                <a:xfrm>
                  <a:off x="13412" y="1443"/>
                  <a:ext cx="54" cy="109"/>
                </a:xfrm>
                <a:custGeom>
                  <a:avLst/>
                  <a:gdLst>
                    <a:gd name="T0" fmla="*/ 0 w 23"/>
                    <a:gd name="T1" fmla="*/ 6 h 46"/>
                    <a:gd name="T2" fmla="*/ 0 w 23"/>
                    <a:gd name="T3" fmla="*/ 20 h 46"/>
                    <a:gd name="T4" fmla="*/ 2 w 23"/>
                    <a:gd name="T5" fmla="*/ 23 h 46"/>
                    <a:gd name="T6" fmla="*/ 5 w 23"/>
                    <a:gd name="T7" fmla="*/ 20 h 46"/>
                    <a:gd name="T8" fmla="*/ 5 w 23"/>
                    <a:gd name="T9" fmla="*/ 7 h 46"/>
                    <a:gd name="T10" fmla="*/ 6 w 23"/>
                    <a:gd name="T11" fmla="*/ 7 h 46"/>
                    <a:gd name="T12" fmla="*/ 6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7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2" y="23"/>
                      </a:cubicBezTo>
                      <a:cubicBezTo>
                        <a:pt x="4" y="23"/>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7"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12" name="Oval 1529"/>
                <p:cNvSpPr>
                  <a:spLocks noChangeArrowheads="1"/>
                </p:cNvSpPr>
                <p:nvPr/>
              </p:nvSpPr>
              <p:spPr bwMode="auto">
                <a:xfrm>
                  <a:off x="13232"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13" name="Freeform 1530"/>
                <p:cNvSpPr>
                  <a:spLocks/>
                </p:cNvSpPr>
                <p:nvPr/>
              </p:nvSpPr>
              <p:spPr bwMode="auto">
                <a:xfrm>
                  <a:off x="13281" y="1443"/>
                  <a:ext cx="55" cy="109"/>
                </a:xfrm>
                <a:custGeom>
                  <a:avLst/>
                  <a:gdLst>
                    <a:gd name="T0" fmla="*/ 17 w 23"/>
                    <a:gd name="T1" fmla="*/ 0 h 46"/>
                    <a:gd name="T2" fmla="*/ 6 w 23"/>
                    <a:gd name="T3" fmla="*/ 0 h 46"/>
                    <a:gd name="T4" fmla="*/ 0 w 23"/>
                    <a:gd name="T5" fmla="*/ 6 h 46"/>
                    <a:gd name="T6" fmla="*/ 0 w 23"/>
                    <a:gd name="T7" fmla="*/ 20 h 46"/>
                    <a:gd name="T8" fmla="*/ 2 w 23"/>
                    <a:gd name="T9" fmla="*/ 23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7 w 23"/>
                    <a:gd name="T31" fmla="*/ 44 h 46"/>
                    <a:gd name="T32" fmla="*/ 17 w 23"/>
                    <a:gd name="T33" fmla="*/ 7 h 46"/>
                    <a:gd name="T34" fmla="*/ 18 w 23"/>
                    <a:gd name="T35" fmla="*/ 7 h 46"/>
                    <a:gd name="T36" fmla="*/ 18 w 23"/>
                    <a:gd name="T37" fmla="*/ 20 h 46"/>
                    <a:gd name="T38" fmla="*/ 21 w 23"/>
                    <a:gd name="T39" fmla="*/ 23 h 46"/>
                    <a:gd name="T40" fmla="*/ 23 w 23"/>
                    <a:gd name="T41" fmla="*/ 20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1" y="23"/>
                      </a:cubicBezTo>
                      <a:cubicBezTo>
                        <a:pt x="22" y="23"/>
                        <a:pt x="23" y="22"/>
                        <a:pt x="23" y="20"/>
                      </a:cubicBezTo>
                      <a:cubicBezTo>
                        <a:pt x="23" y="19"/>
                        <a:pt x="23" y="8"/>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14" name="Freeform 1531"/>
                <p:cNvSpPr>
                  <a:spLocks/>
                </p:cNvSpPr>
                <p:nvPr/>
              </p:nvSpPr>
              <p:spPr bwMode="auto">
                <a:xfrm>
                  <a:off x="13277"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1 w 27"/>
                    <a:gd name="T13" fmla="*/ 21 h 47"/>
                    <a:gd name="T14" fmla="*/ 4 w 27"/>
                    <a:gd name="T15" fmla="*/ 19 h 47"/>
                    <a:gd name="T16" fmla="*/ 8 w 27"/>
                    <a:gd name="T17" fmla="*/ 6 h 47"/>
                    <a:gd name="T18" fmla="*/ 9 w 27"/>
                    <a:gd name="T19" fmla="*/ 6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5 w 27"/>
                    <a:gd name="T43" fmla="*/ 28 h 47"/>
                    <a:gd name="T44" fmla="*/ 18 w 27"/>
                    <a:gd name="T45" fmla="*/ 6 h 47"/>
                    <a:gd name="T46" fmla="*/ 19 w 27"/>
                    <a:gd name="T47" fmla="*/ 6 h 47"/>
                    <a:gd name="T48" fmla="*/ 23 w 27"/>
                    <a:gd name="T49" fmla="*/ 19 h 47"/>
                    <a:gd name="T50" fmla="*/ 25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6" y="18"/>
                        <a:pt x="24" y="10"/>
                        <a:pt x="23" y="4"/>
                      </a:cubicBezTo>
                      <a:cubicBezTo>
                        <a:pt x="22" y="2"/>
                        <a:pt x="20" y="0"/>
                        <a:pt x="17" y="0"/>
                      </a:cubicBezTo>
                      <a:cubicBezTo>
                        <a:pt x="16" y="0"/>
                        <a:pt x="11" y="0"/>
                        <a:pt x="10" y="0"/>
                      </a:cubicBezTo>
                      <a:cubicBezTo>
                        <a:pt x="7" y="0"/>
                        <a:pt x="5" y="2"/>
                        <a:pt x="4" y="4"/>
                      </a:cubicBezTo>
                      <a:cubicBezTo>
                        <a:pt x="2" y="10"/>
                        <a:pt x="0" y="18"/>
                        <a:pt x="0" y="18"/>
                      </a:cubicBezTo>
                      <a:cubicBezTo>
                        <a:pt x="0" y="19"/>
                        <a:pt x="0" y="20"/>
                        <a:pt x="1" y="21"/>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1"/>
                      </a:cubicBezTo>
                      <a:cubicBezTo>
                        <a:pt x="26"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15" name="Oval 1532"/>
                <p:cNvSpPr>
                  <a:spLocks noChangeArrowheads="1"/>
                </p:cNvSpPr>
                <p:nvPr/>
              </p:nvSpPr>
              <p:spPr bwMode="auto">
                <a:xfrm>
                  <a:off x="13298"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16" name="Freeform 1533"/>
                <p:cNvSpPr>
                  <a:spLocks/>
                </p:cNvSpPr>
                <p:nvPr/>
              </p:nvSpPr>
              <p:spPr bwMode="auto">
                <a:xfrm>
                  <a:off x="13281" y="1147"/>
                  <a:ext cx="55" cy="111"/>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7 w 23"/>
                    <a:gd name="T23" fmla="*/ 44 h 47"/>
                    <a:gd name="T24" fmla="*/ 17 w 23"/>
                    <a:gd name="T25" fmla="*/ 8 h 47"/>
                    <a:gd name="T26" fmla="*/ 18 w 23"/>
                    <a:gd name="T27" fmla="*/ 8 h 47"/>
                    <a:gd name="T28" fmla="*/ 18 w 23"/>
                    <a:gd name="T29" fmla="*/ 21 h 47"/>
                    <a:gd name="T30" fmla="*/ 21 w 23"/>
                    <a:gd name="T31" fmla="*/ 23 h 47"/>
                    <a:gd name="T32" fmla="*/ 23 w 23"/>
                    <a:gd name="T33" fmla="*/ 21 h 47"/>
                    <a:gd name="T34" fmla="*/ 23 w 23"/>
                    <a:gd name="T35" fmla="*/ 7 h 47"/>
                    <a:gd name="T36" fmla="*/ 17 w 23"/>
                    <a:gd name="T37" fmla="*/ 0 h 47"/>
                    <a:gd name="T38" fmla="*/ 6 w 23"/>
                    <a:gd name="T39" fmla="*/ 0 h 47"/>
                    <a:gd name="T40" fmla="*/ 0 w 23"/>
                    <a:gd name="T41" fmla="*/ 7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1" y="23"/>
                      </a:cubicBezTo>
                      <a:cubicBezTo>
                        <a:pt x="22" y="23"/>
                        <a:pt x="23" y="22"/>
                        <a:pt x="23" y="21"/>
                      </a:cubicBezTo>
                      <a:cubicBezTo>
                        <a:pt x="23" y="20"/>
                        <a:pt x="23" y="8"/>
                        <a:pt x="23" y="7"/>
                      </a:cubicBezTo>
                      <a:cubicBezTo>
                        <a:pt x="23" y="3"/>
                        <a:pt x="20" y="0"/>
                        <a:pt x="17" y="0"/>
                      </a:cubicBezTo>
                      <a:cubicBezTo>
                        <a:pt x="15" y="0"/>
                        <a:pt x="8" y="0"/>
                        <a:pt x="6" y="0"/>
                      </a:cubicBezTo>
                      <a:cubicBezTo>
                        <a:pt x="3"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17" name="Oval 1534"/>
                <p:cNvSpPr>
                  <a:spLocks noChangeArrowheads="1"/>
                </p:cNvSpPr>
                <p:nvPr/>
              </p:nvSpPr>
              <p:spPr bwMode="auto">
                <a:xfrm>
                  <a:off x="13298"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18" name="Oval 1535"/>
                <p:cNvSpPr>
                  <a:spLocks noChangeArrowheads="1"/>
                </p:cNvSpPr>
                <p:nvPr/>
              </p:nvSpPr>
              <p:spPr bwMode="auto">
                <a:xfrm>
                  <a:off x="13298"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19" name="Freeform 1536"/>
                <p:cNvSpPr>
                  <a:spLocks/>
                </p:cNvSpPr>
                <p:nvPr/>
              </p:nvSpPr>
              <p:spPr bwMode="auto">
                <a:xfrm>
                  <a:off x="12820" y="1147"/>
                  <a:ext cx="64" cy="111"/>
                </a:xfrm>
                <a:custGeom>
                  <a:avLst/>
                  <a:gdLst>
                    <a:gd name="T0" fmla="*/ 23 w 27"/>
                    <a:gd name="T1" fmla="*/ 5 h 47"/>
                    <a:gd name="T2" fmla="*/ 17 w 27"/>
                    <a:gd name="T3" fmla="*/ 0 h 47"/>
                    <a:gd name="T4" fmla="*/ 10 w 27"/>
                    <a:gd name="T5" fmla="*/ 0 h 47"/>
                    <a:gd name="T6" fmla="*/ 4 w 27"/>
                    <a:gd name="T7" fmla="*/ 5 h 47"/>
                    <a:gd name="T8" fmla="*/ 0 w 27"/>
                    <a:gd name="T9" fmla="*/ 19 h 47"/>
                    <a:gd name="T10" fmla="*/ 2 w 27"/>
                    <a:gd name="T11" fmla="*/ 21 h 47"/>
                    <a:gd name="T12" fmla="*/ 4 w 27"/>
                    <a:gd name="T13" fmla="*/ 20 h 47"/>
                    <a:gd name="T14" fmla="*/ 8 w 27"/>
                    <a:gd name="T15" fmla="*/ 7 h 47"/>
                    <a:gd name="T16" fmla="*/ 9 w 27"/>
                    <a:gd name="T17" fmla="*/ 7 h 47"/>
                    <a:gd name="T18" fmla="*/ 2 w 27"/>
                    <a:gd name="T19" fmla="*/ 29 h 47"/>
                    <a:gd name="T20" fmla="*/ 9 w 27"/>
                    <a:gd name="T21" fmla="*/ 29 h 47"/>
                    <a:gd name="T22" fmla="*/ 9 w 27"/>
                    <a:gd name="T23" fmla="*/ 45 h 47"/>
                    <a:gd name="T24" fmla="*/ 11 w 27"/>
                    <a:gd name="T25" fmla="*/ 47 h 47"/>
                    <a:gd name="T26" fmla="*/ 13 w 27"/>
                    <a:gd name="T27" fmla="*/ 45 h 47"/>
                    <a:gd name="T28" fmla="*/ 13 w 27"/>
                    <a:gd name="T29" fmla="*/ 29 h 47"/>
                    <a:gd name="T30" fmla="*/ 14 w 27"/>
                    <a:gd name="T31" fmla="*/ 29 h 47"/>
                    <a:gd name="T32" fmla="*/ 14 w 27"/>
                    <a:gd name="T33" fmla="*/ 45 h 47"/>
                    <a:gd name="T34" fmla="*/ 16 w 27"/>
                    <a:gd name="T35" fmla="*/ 47 h 47"/>
                    <a:gd name="T36" fmla="*/ 19 w 27"/>
                    <a:gd name="T37" fmla="*/ 45 h 47"/>
                    <a:gd name="T38" fmla="*/ 19 w 27"/>
                    <a:gd name="T39" fmla="*/ 29 h 47"/>
                    <a:gd name="T40" fmla="*/ 25 w 27"/>
                    <a:gd name="T41" fmla="*/ 29 h 47"/>
                    <a:gd name="T42" fmla="*/ 18 w 27"/>
                    <a:gd name="T43" fmla="*/ 7 h 47"/>
                    <a:gd name="T44" fmla="*/ 20 w 27"/>
                    <a:gd name="T45" fmla="*/ 7 h 47"/>
                    <a:gd name="T46" fmla="*/ 23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8" y="0"/>
                        <a:pt x="5" y="3"/>
                        <a:pt x="4"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2" y="29"/>
                        <a:pt x="2" y="29"/>
                        <a:pt x="2"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20" name="Oval 1537"/>
                <p:cNvSpPr>
                  <a:spLocks noChangeArrowheads="1"/>
                </p:cNvSpPr>
                <p:nvPr/>
              </p:nvSpPr>
              <p:spPr bwMode="auto">
                <a:xfrm>
                  <a:off x="12711"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21" name="Oval 1538"/>
                <p:cNvSpPr>
                  <a:spLocks noChangeArrowheads="1"/>
                </p:cNvSpPr>
                <p:nvPr/>
              </p:nvSpPr>
              <p:spPr bwMode="auto">
                <a:xfrm>
                  <a:off x="12775"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22" name="Freeform 1539"/>
                <p:cNvSpPr>
                  <a:spLocks/>
                </p:cNvSpPr>
                <p:nvPr/>
              </p:nvSpPr>
              <p:spPr bwMode="auto">
                <a:xfrm>
                  <a:off x="12628" y="1147"/>
                  <a:ext cx="55" cy="111"/>
                </a:xfrm>
                <a:custGeom>
                  <a:avLst/>
                  <a:gdLst>
                    <a:gd name="T0" fmla="*/ 17 w 23"/>
                    <a:gd name="T1" fmla="*/ 0 h 47"/>
                    <a:gd name="T2" fmla="*/ 6 w 23"/>
                    <a:gd name="T3" fmla="*/ 0 h 47"/>
                    <a:gd name="T4" fmla="*/ 0 w 23"/>
                    <a:gd name="T5" fmla="*/ 7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7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7"/>
                      </a:cubicBezTo>
                      <a:cubicBezTo>
                        <a:pt x="23"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23" name="Oval 1540"/>
                <p:cNvSpPr>
                  <a:spLocks noChangeArrowheads="1"/>
                </p:cNvSpPr>
                <p:nvPr/>
              </p:nvSpPr>
              <p:spPr bwMode="auto">
                <a:xfrm>
                  <a:off x="12775"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24" name="Oval 1541"/>
                <p:cNvSpPr>
                  <a:spLocks noChangeArrowheads="1"/>
                </p:cNvSpPr>
                <p:nvPr/>
              </p:nvSpPr>
              <p:spPr bwMode="auto">
                <a:xfrm>
                  <a:off x="12841"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25" name="Freeform 1542"/>
                <p:cNvSpPr>
                  <a:spLocks/>
                </p:cNvSpPr>
                <p:nvPr/>
              </p:nvSpPr>
              <p:spPr bwMode="auto">
                <a:xfrm>
                  <a:off x="12761" y="1147"/>
                  <a:ext cx="52" cy="111"/>
                </a:xfrm>
                <a:custGeom>
                  <a:avLst/>
                  <a:gdLst>
                    <a:gd name="T0" fmla="*/ 20 w 22"/>
                    <a:gd name="T1" fmla="*/ 23 h 47"/>
                    <a:gd name="T2" fmla="*/ 22 w 22"/>
                    <a:gd name="T3" fmla="*/ 21 h 47"/>
                    <a:gd name="T4" fmla="*/ 22 w 22"/>
                    <a:gd name="T5" fmla="*/ 7 h 47"/>
                    <a:gd name="T6" fmla="*/ 16 w 22"/>
                    <a:gd name="T7" fmla="*/ 0 h 47"/>
                    <a:gd name="T8" fmla="*/ 6 w 22"/>
                    <a:gd name="T9" fmla="*/ 0 h 47"/>
                    <a:gd name="T10" fmla="*/ 0 w 22"/>
                    <a:gd name="T11" fmla="*/ 7 h 47"/>
                    <a:gd name="T12" fmla="*/ 0 w 22"/>
                    <a:gd name="T13" fmla="*/ 21 h 47"/>
                    <a:gd name="T14" fmla="*/ 2 w 22"/>
                    <a:gd name="T15" fmla="*/ 23 h 47"/>
                    <a:gd name="T16" fmla="*/ 4 w 22"/>
                    <a:gd name="T17" fmla="*/ 21 h 47"/>
                    <a:gd name="T18" fmla="*/ 4 w 22"/>
                    <a:gd name="T19" fmla="*/ 8 h 47"/>
                    <a:gd name="T20" fmla="*/ 5 w 22"/>
                    <a:gd name="T21" fmla="*/ 8 h 47"/>
                    <a:gd name="T22" fmla="*/ 5 w 22"/>
                    <a:gd name="T23" fmla="*/ 44 h 47"/>
                    <a:gd name="T24" fmla="*/ 8 w 22"/>
                    <a:gd name="T25" fmla="*/ 47 h 47"/>
                    <a:gd name="T26" fmla="*/ 10 w 22"/>
                    <a:gd name="T27" fmla="*/ 44 h 47"/>
                    <a:gd name="T28" fmla="*/ 10 w 22"/>
                    <a:gd name="T29" fmla="*/ 23 h 47"/>
                    <a:gd name="T30" fmla="*/ 11 w 22"/>
                    <a:gd name="T31" fmla="*/ 23 h 47"/>
                    <a:gd name="T32" fmla="*/ 11 w 22"/>
                    <a:gd name="T33" fmla="*/ 44 h 47"/>
                    <a:gd name="T34" fmla="*/ 14 w 22"/>
                    <a:gd name="T35" fmla="*/ 47 h 47"/>
                    <a:gd name="T36" fmla="*/ 17 w 22"/>
                    <a:gd name="T37" fmla="*/ 44 h 47"/>
                    <a:gd name="T38" fmla="*/ 17 w 22"/>
                    <a:gd name="T39" fmla="*/ 8 h 47"/>
                    <a:gd name="T40" fmla="*/ 18 w 22"/>
                    <a:gd name="T41" fmla="*/ 8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20"/>
                        <a:pt x="22" y="8"/>
                        <a:pt x="22" y="7"/>
                      </a:cubicBezTo>
                      <a:cubicBezTo>
                        <a:pt x="22" y="3"/>
                        <a:pt x="19" y="0"/>
                        <a:pt x="16" y="0"/>
                      </a:cubicBezTo>
                      <a:cubicBezTo>
                        <a:pt x="14" y="0"/>
                        <a:pt x="7" y="0"/>
                        <a:pt x="6" y="0"/>
                      </a:cubicBezTo>
                      <a:cubicBezTo>
                        <a:pt x="2" y="0"/>
                        <a:pt x="0" y="3"/>
                        <a:pt x="0" y="7"/>
                      </a:cubicBezTo>
                      <a:cubicBezTo>
                        <a:pt x="0" y="8"/>
                        <a:pt x="0" y="20"/>
                        <a:pt x="0" y="21"/>
                      </a:cubicBezTo>
                      <a:cubicBezTo>
                        <a:pt x="0" y="22"/>
                        <a:pt x="0"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26" name="Oval 1543"/>
                <p:cNvSpPr>
                  <a:spLocks noChangeArrowheads="1"/>
                </p:cNvSpPr>
                <p:nvPr/>
              </p:nvSpPr>
              <p:spPr bwMode="auto">
                <a:xfrm>
                  <a:off x="12645"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27" name="Freeform 1544"/>
                <p:cNvSpPr>
                  <a:spLocks/>
                </p:cNvSpPr>
                <p:nvPr/>
              </p:nvSpPr>
              <p:spPr bwMode="auto">
                <a:xfrm>
                  <a:off x="13083" y="1147"/>
                  <a:ext cx="63" cy="111"/>
                </a:xfrm>
                <a:custGeom>
                  <a:avLst/>
                  <a:gdLst>
                    <a:gd name="T0" fmla="*/ 17 w 27"/>
                    <a:gd name="T1" fmla="*/ 0 h 47"/>
                    <a:gd name="T2" fmla="*/ 10 w 27"/>
                    <a:gd name="T3" fmla="*/ 0 h 47"/>
                    <a:gd name="T4" fmla="*/ 4 w 27"/>
                    <a:gd name="T5" fmla="*/ 5 h 47"/>
                    <a:gd name="T6" fmla="*/ 0 w 27"/>
                    <a:gd name="T7" fmla="*/ 19 h 47"/>
                    <a:gd name="T8" fmla="*/ 1 w 27"/>
                    <a:gd name="T9" fmla="*/ 21 h 47"/>
                    <a:gd name="T10" fmla="*/ 4 w 27"/>
                    <a:gd name="T11" fmla="*/ 20 h 47"/>
                    <a:gd name="T12" fmla="*/ 8 w 27"/>
                    <a:gd name="T13" fmla="*/ 7 h 47"/>
                    <a:gd name="T14" fmla="*/ 9 w 27"/>
                    <a:gd name="T15" fmla="*/ 7 h 47"/>
                    <a:gd name="T16" fmla="*/ 2 w 27"/>
                    <a:gd name="T17" fmla="*/ 29 h 47"/>
                    <a:gd name="T18" fmla="*/ 8 w 27"/>
                    <a:gd name="T19" fmla="*/ 29 h 47"/>
                    <a:gd name="T20" fmla="*/ 8 w 27"/>
                    <a:gd name="T21" fmla="*/ 45 h 47"/>
                    <a:gd name="T22" fmla="*/ 11 w 27"/>
                    <a:gd name="T23" fmla="*/ 47 h 47"/>
                    <a:gd name="T24" fmla="*/ 13 w 27"/>
                    <a:gd name="T25" fmla="*/ 45 h 47"/>
                    <a:gd name="T26" fmla="*/ 13 w 27"/>
                    <a:gd name="T27" fmla="*/ 29 h 47"/>
                    <a:gd name="T28" fmla="*/ 14 w 27"/>
                    <a:gd name="T29" fmla="*/ 29 h 47"/>
                    <a:gd name="T30" fmla="*/ 14 w 27"/>
                    <a:gd name="T31" fmla="*/ 45 h 47"/>
                    <a:gd name="T32" fmla="*/ 16 w 27"/>
                    <a:gd name="T33" fmla="*/ 47 h 47"/>
                    <a:gd name="T34" fmla="*/ 18 w 27"/>
                    <a:gd name="T35" fmla="*/ 45 h 47"/>
                    <a:gd name="T36" fmla="*/ 18 w 27"/>
                    <a:gd name="T37" fmla="*/ 29 h 47"/>
                    <a:gd name="T38" fmla="*/ 25 w 27"/>
                    <a:gd name="T39" fmla="*/ 29 h 47"/>
                    <a:gd name="T40" fmla="*/ 18 w 27"/>
                    <a:gd name="T41" fmla="*/ 7 h 47"/>
                    <a:gd name="T42" fmla="*/ 19 w 27"/>
                    <a:gd name="T43" fmla="*/ 7 h 47"/>
                    <a:gd name="T44" fmla="*/ 23 w 27"/>
                    <a:gd name="T45" fmla="*/ 20 h 47"/>
                    <a:gd name="T46" fmla="*/ 25 w 27"/>
                    <a:gd name="T47" fmla="*/ 21 h 47"/>
                    <a:gd name="T48" fmla="*/ 27 w 27"/>
                    <a:gd name="T49" fmla="*/ 19 h 47"/>
                    <a:gd name="T50" fmla="*/ 23 w 27"/>
                    <a:gd name="T51" fmla="*/ 5 h 47"/>
                    <a:gd name="T52" fmla="*/ 17 w 27"/>
                    <a:gd name="T5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7" y="0"/>
                      </a:moveTo>
                      <a:cubicBezTo>
                        <a:pt x="16" y="0"/>
                        <a:pt x="11" y="0"/>
                        <a:pt x="10" y="0"/>
                      </a:cubicBezTo>
                      <a:cubicBezTo>
                        <a:pt x="7" y="0"/>
                        <a:pt x="5" y="3"/>
                        <a:pt x="4" y="5"/>
                      </a:cubicBezTo>
                      <a:cubicBezTo>
                        <a:pt x="3" y="11"/>
                        <a:pt x="0" y="18"/>
                        <a:pt x="0" y="19"/>
                      </a:cubicBezTo>
                      <a:cubicBezTo>
                        <a:pt x="0" y="20"/>
                        <a:pt x="0" y="21"/>
                        <a:pt x="1" y="21"/>
                      </a:cubicBezTo>
                      <a:cubicBezTo>
                        <a:pt x="2" y="21"/>
                        <a:pt x="3" y="21"/>
                        <a:pt x="4" y="20"/>
                      </a:cubicBezTo>
                      <a:cubicBezTo>
                        <a:pt x="4" y="18"/>
                        <a:pt x="8" y="7"/>
                        <a:pt x="8" y="7"/>
                      </a:cubicBezTo>
                      <a:cubicBezTo>
                        <a:pt x="9" y="7"/>
                        <a:pt x="9" y="7"/>
                        <a:pt x="9" y="7"/>
                      </a:cubicBezTo>
                      <a:cubicBezTo>
                        <a:pt x="2" y="29"/>
                        <a:pt x="2" y="29"/>
                        <a:pt x="2" y="29"/>
                      </a:cubicBezTo>
                      <a:cubicBezTo>
                        <a:pt x="8" y="29"/>
                        <a:pt x="8" y="29"/>
                        <a:pt x="8" y="29"/>
                      </a:cubicBezTo>
                      <a:cubicBezTo>
                        <a:pt x="8" y="36"/>
                        <a:pt x="8" y="44"/>
                        <a:pt x="8" y="45"/>
                      </a:cubicBezTo>
                      <a:cubicBezTo>
                        <a:pt x="8" y="46"/>
                        <a:pt x="9"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7" y="47"/>
                        <a:pt x="18" y="46"/>
                        <a:pt x="18" y="45"/>
                      </a:cubicBezTo>
                      <a:cubicBezTo>
                        <a:pt x="18" y="44"/>
                        <a:pt x="18" y="36"/>
                        <a:pt x="18" y="29"/>
                      </a:cubicBezTo>
                      <a:cubicBezTo>
                        <a:pt x="25" y="29"/>
                        <a:pt x="25" y="29"/>
                        <a:pt x="25" y="29"/>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3" y="5"/>
                      </a:cubicBezTo>
                      <a:cubicBezTo>
                        <a:pt x="22" y="3"/>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28" name="Oval 1545"/>
                <p:cNvSpPr>
                  <a:spLocks noChangeArrowheads="1"/>
                </p:cNvSpPr>
                <p:nvPr/>
              </p:nvSpPr>
              <p:spPr bwMode="auto">
                <a:xfrm>
                  <a:off x="12645"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29" name="Freeform 1546"/>
                <p:cNvSpPr>
                  <a:spLocks/>
                </p:cNvSpPr>
                <p:nvPr/>
              </p:nvSpPr>
              <p:spPr bwMode="auto">
                <a:xfrm>
                  <a:off x="12628" y="1443"/>
                  <a:ext cx="55" cy="109"/>
                </a:xfrm>
                <a:custGeom>
                  <a:avLst/>
                  <a:gdLst>
                    <a:gd name="T0" fmla="*/ 17 w 23"/>
                    <a:gd name="T1" fmla="*/ 0 h 46"/>
                    <a:gd name="T2" fmla="*/ 6 w 23"/>
                    <a:gd name="T3" fmla="*/ 0 h 46"/>
                    <a:gd name="T4" fmla="*/ 0 w 23"/>
                    <a:gd name="T5" fmla="*/ 6 h 46"/>
                    <a:gd name="T6" fmla="*/ 0 w 23"/>
                    <a:gd name="T7" fmla="*/ 20 h 46"/>
                    <a:gd name="T8" fmla="*/ 2 w 23"/>
                    <a:gd name="T9" fmla="*/ 23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8 w 23"/>
                    <a:gd name="T31" fmla="*/ 44 h 46"/>
                    <a:gd name="T32" fmla="*/ 18 w 23"/>
                    <a:gd name="T33" fmla="*/ 7 h 46"/>
                    <a:gd name="T34" fmla="*/ 19 w 23"/>
                    <a:gd name="T35" fmla="*/ 7 h 46"/>
                    <a:gd name="T36" fmla="*/ 19 w 23"/>
                    <a:gd name="T37" fmla="*/ 20 h 46"/>
                    <a:gd name="T38" fmla="*/ 21 w 23"/>
                    <a:gd name="T39" fmla="*/ 23 h 46"/>
                    <a:gd name="T40" fmla="*/ 23 w 23"/>
                    <a:gd name="T41" fmla="*/ 20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30" name="Oval 1547"/>
                <p:cNvSpPr>
                  <a:spLocks noChangeArrowheads="1"/>
                </p:cNvSpPr>
                <p:nvPr/>
              </p:nvSpPr>
              <p:spPr bwMode="auto">
                <a:xfrm>
                  <a:off x="12645"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31" name="Freeform 1548"/>
                <p:cNvSpPr>
                  <a:spLocks/>
                </p:cNvSpPr>
                <p:nvPr/>
              </p:nvSpPr>
              <p:spPr bwMode="auto">
                <a:xfrm>
                  <a:off x="13087" y="1296"/>
                  <a:ext cx="55"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5 w 23"/>
                    <a:gd name="T11" fmla="*/ 7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7 w 23"/>
                    <a:gd name="T27" fmla="*/ 44 h 47"/>
                    <a:gd name="T28" fmla="*/ 17 w 23"/>
                    <a:gd name="T29" fmla="*/ 7 h 47"/>
                    <a:gd name="T30" fmla="*/ 19 w 23"/>
                    <a:gd name="T31" fmla="*/ 7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7" y="45"/>
                        <a:pt x="17" y="44"/>
                      </a:cubicBezTo>
                      <a:cubicBezTo>
                        <a:pt x="17" y="42"/>
                        <a:pt x="17" y="7"/>
                        <a:pt x="17" y="7"/>
                      </a:cubicBezTo>
                      <a:cubicBezTo>
                        <a:pt x="17" y="7"/>
                        <a:pt x="17" y="7"/>
                        <a:pt x="19" y="7"/>
                      </a:cubicBezTo>
                      <a:cubicBezTo>
                        <a:pt x="19" y="7"/>
                        <a:pt x="19" y="19"/>
                        <a:pt x="19" y="21"/>
                      </a:cubicBezTo>
                      <a:cubicBezTo>
                        <a:pt x="19" y="22"/>
                        <a:pt x="20"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32" name="Oval 1549"/>
                <p:cNvSpPr>
                  <a:spLocks noChangeArrowheads="1"/>
                </p:cNvSpPr>
                <p:nvPr/>
              </p:nvSpPr>
              <p:spPr bwMode="auto">
                <a:xfrm>
                  <a:off x="13104"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33" name="Oval 1550"/>
                <p:cNvSpPr>
                  <a:spLocks noChangeArrowheads="1"/>
                </p:cNvSpPr>
                <p:nvPr/>
              </p:nvSpPr>
              <p:spPr bwMode="auto">
                <a:xfrm>
                  <a:off x="12907" y="112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34" name="Freeform 1551"/>
                <p:cNvSpPr>
                  <a:spLocks/>
                </p:cNvSpPr>
                <p:nvPr/>
              </p:nvSpPr>
              <p:spPr bwMode="auto">
                <a:xfrm>
                  <a:off x="12690" y="1443"/>
                  <a:ext cx="64" cy="111"/>
                </a:xfrm>
                <a:custGeom>
                  <a:avLst/>
                  <a:gdLst>
                    <a:gd name="T0" fmla="*/ 22 w 27"/>
                    <a:gd name="T1" fmla="*/ 4 h 47"/>
                    <a:gd name="T2" fmla="*/ 17 w 27"/>
                    <a:gd name="T3" fmla="*/ 0 h 47"/>
                    <a:gd name="T4" fmla="*/ 9 w 27"/>
                    <a:gd name="T5" fmla="*/ 0 h 47"/>
                    <a:gd name="T6" fmla="*/ 4 w 27"/>
                    <a:gd name="T7" fmla="*/ 4 h 47"/>
                    <a:gd name="T8" fmla="*/ 0 w 27"/>
                    <a:gd name="T9" fmla="*/ 18 h 47"/>
                    <a:gd name="T10" fmla="*/ 1 w 27"/>
                    <a:gd name="T11" fmla="*/ 20 h 47"/>
                    <a:gd name="T12" fmla="*/ 4 w 27"/>
                    <a:gd name="T13" fmla="*/ 19 h 47"/>
                    <a:gd name="T14" fmla="*/ 7 w 27"/>
                    <a:gd name="T15" fmla="*/ 6 h 47"/>
                    <a:gd name="T16" fmla="*/ 9 w 27"/>
                    <a:gd name="T17" fmla="*/ 6 h 47"/>
                    <a:gd name="T18" fmla="*/ 2 w 27"/>
                    <a:gd name="T19" fmla="*/ 28 h 47"/>
                    <a:gd name="T20" fmla="*/ 8 w 27"/>
                    <a:gd name="T21" fmla="*/ 28 h 47"/>
                    <a:gd name="T22" fmla="*/ 8 w 27"/>
                    <a:gd name="T23" fmla="*/ 44 h 47"/>
                    <a:gd name="T24" fmla="*/ 10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4 w 27"/>
                    <a:gd name="T41" fmla="*/ 28 h 47"/>
                    <a:gd name="T42" fmla="*/ 18 w 27"/>
                    <a:gd name="T43" fmla="*/ 6 h 47"/>
                    <a:gd name="T44" fmla="*/ 19 w 27"/>
                    <a:gd name="T45" fmla="*/ 6 h 47"/>
                    <a:gd name="T46" fmla="*/ 23 w 27"/>
                    <a:gd name="T47" fmla="*/ 19 h 47"/>
                    <a:gd name="T48" fmla="*/ 25 w 27"/>
                    <a:gd name="T49" fmla="*/ 20 h 47"/>
                    <a:gd name="T50" fmla="*/ 26 w 27"/>
                    <a:gd name="T51" fmla="*/ 18 h 47"/>
                    <a:gd name="T52" fmla="*/ 22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4"/>
                      </a:move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1"/>
                        <a:pt x="3" y="20"/>
                        <a:pt x="4" y="19"/>
                      </a:cubicBezTo>
                      <a:cubicBezTo>
                        <a:pt x="4" y="18"/>
                        <a:pt x="7" y="6"/>
                        <a:pt x="7"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6" y="18"/>
                      </a:cubicBezTo>
                      <a:cubicBezTo>
                        <a:pt x="26" y="17"/>
                        <a:pt x="24" y="10"/>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35" name="Oval 1552"/>
                <p:cNvSpPr>
                  <a:spLocks noChangeArrowheads="1"/>
                </p:cNvSpPr>
                <p:nvPr/>
              </p:nvSpPr>
              <p:spPr bwMode="auto">
                <a:xfrm>
                  <a:off x="13104"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36" name="Freeform 1553"/>
                <p:cNvSpPr>
                  <a:spLocks/>
                </p:cNvSpPr>
                <p:nvPr/>
              </p:nvSpPr>
              <p:spPr bwMode="auto">
                <a:xfrm>
                  <a:off x="13021" y="1147"/>
                  <a:ext cx="54" cy="111"/>
                </a:xfrm>
                <a:custGeom>
                  <a:avLst/>
                  <a:gdLst>
                    <a:gd name="T0" fmla="*/ 21 w 23"/>
                    <a:gd name="T1" fmla="*/ 23 h 47"/>
                    <a:gd name="T2" fmla="*/ 23 w 23"/>
                    <a:gd name="T3" fmla="*/ 21 h 47"/>
                    <a:gd name="T4" fmla="*/ 23 w 23"/>
                    <a:gd name="T5" fmla="*/ 7 h 47"/>
                    <a:gd name="T6" fmla="*/ 17 w 23"/>
                    <a:gd name="T7" fmla="*/ 0 h 47"/>
                    <a:gd name="T8" fmla="*/ 6 w 23"/>
                    <a:gd name="T9" fmla="*/ 0 h 47"/>
                    <a:gd name="T10" fmla="*/ 0 w 23"/>
                    <a:gd name="T11" fmla="*/ 7 h 47"/>
                    <a:gd name="T12" fmla="*/ 0 w 23"/>
                    <a:gd name="T13" fmla="*/ 21 h 47"/>
                    <a:gd name="T14" fmla="*/ 2 w 23"/>
                    <a:gd name="T15" fmla="*/ 23 h 47"/>
                    <a:gd name="T16" fmla="*/ 4 w 23"/>
                    <a:gd name="T17" fmla="*/ 21 h 47"/>
                    <a:gd name="T18" fmla="*/ 4 w 23"/>
                    <a:gd name="T19" fmla="*/ 8 h 47"/>
                    <a:gd name="T20" fmla="*/ 6 w 23"/>
                    <a:gd name="T21" fmla="*/ 8 h 47"/>
                    <a:gd name="T22" fmla="*/ 6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8 w 23"/>
                    <a:gd name="T37" fmla="*/ 44 h 47"/>
                    <a:gd name="T38" fmla="*/ 18 w 23"/>
                    <a:gd name="T39" fmla="*/ 8 h 47"/>
                    <a:gd name="T40" fmla="*/ 19 w 23"/>
                    <a:gd name="T41" fmla="*/ 8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20"/>
                        <a:pt x="23" y="8"/>
                        <a:pt x="23" y="7"/>
                      </a:cubicBezTo>
                      <a:cubicBezTo>
                        <a:pt x="23" y="3"/>
                        <a:pt x="20" y="0"/>
                        <a:pt x="17" y="0"/>
                      </a:cubicBezTo>
                      <a:cubicBezTo>
                        <a:pt x="15" y="0"/>
                        <a:pt x="8" y="0"/>
                        <a:pt x="6" y="0"/>
                      </a:cubicBezTo>
                      <a:cubicBezTo>
                        <a:pt x="3" y="0"/>
                        <a:pt x="0" y="3"/>
                        <a:pt x="0" y="7"/>
                      </a:cubicBezTo>
                      <a:cubicBezTo>
                        <a:pt x="0" y="8"/>
                        <a:pt x="0" y="20"/>
                        <a:pt x="0" y="21"/>
                      </a:cubicBezTo>
                      <a:cubicBezTo>
                        <a:pt x="0" y="22"/>
                        <a:pt x="1" y="23"/>
                        <a:pt x="2" y="23"/>
                      </a:cubicBezTo>
                      <a:cubicBezTo>
                        <a:pt x="4"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37" name="Oval 1554"/>
                <p:cNvSpPr>
                  <a:spLocks noChangeArrowheads="1"/>
                </p:cNvSpPr>
                <p:nvPr/>
              </p:nvSpPr>
              <p:spPr bwMode="auto">
                <a:xfrm>
                  <a:off x="13104"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38" name="Oval 1555"/>
                <p:cNvSpPr>
                  <a:spLocks noChangeArrowheads="1"/>
                </p:cNvSpPr>
                <p:nvPr/>
              </p:nvSpPr>
              <p:spPr bwMode="auto">
                <a:xfrm>
                  <a:off x="12907"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39" name="Freeform 1556"/>
                <p:cNvSpPr>
                  <a:spLocks/>
                </p:cNvSpPr>
                <p:nvPr/>
              </p:nvSpPr>
              <p:spPr bwMode="auto">
                <a:xfrm>
                  <a:off x="12891" y="1147"/>
                  <a:ext cx="54" cy="111"/>
                </a:xfrm>
                <a:custGeom>
                  <a:avLst/>
                  <a:gdLst>
                    <a:gd name="T0" fmla="*/ 21 w 23"/>
                    <a:gd name="T1" fmla="*/ 23 h 47"/>
                    <a:gd name="T2" fmla="*/ 23 w 23"/>
                    <a:gd name="T3" fmla="*/ 21 h 47"/>
                    <a:gd name="T4" fmla="*/ 23 w 23"/>
                    <a:gd name="T5" fmla="*/ 7 h 47"/>
                    <a:gd name="T6" fmla="*/ 17 w 23"/>
                    <a:gd name="T7" fmla="*/ 0 h 47"/>
                    <a:gd name="T8" fmla="*/ 6 w 23"/>
                    <a:gd name="T9" fmla="*/ 0 h 47"/>
                    <a:gd name="T10" fmla="*/ 0 w 23"/>
                    <a:gd name="T11" fmla="*/ 7 h 47"/>
                    <a:gd name="T12" fmla="*/ 0 w 23"/>
                    <a:gd name="T13" fmla="*/ 21 h 47"/>
                    <a:gd name="T14" fmla="*/ 2 w 23"/>
                    <a:gd name="T15" fmla="*/ 23 h 47"/>
                    <a:gd name="T16" fmla="*/ 4 w 23"/>
                    <a:gd name="T17" fmla="*/ 21 h 47"/>
                    <a:gd name="T18" fmla="*/ 4 w 23"/>
                    <a:gd name="T19" fmla="*/ 8 h 47"/>
                    <a:gd name="T20" fmla="*/ 5 w 23"/>
                    <a:gd name="T21" fmla="*/ 8 h 47"/>
                    <a:gd name="T22" fmla="*/ 5 w 23"/>
                    <a:gd name="T23" fmla="*/ 44 h 47"/>
                    <a:gd name="T24" fmla="*/ 8 w 23"/>
                    <a:gd name="T25" fmla="*/ 47 h 47"/>
                    <a:gd name="T26" fmla="*/ 11 w 23"/>
                    <a:gd name="T27" fmla="*/ 44 h 47"/>
                    <a:gd name="T28" fmla="*/ 11 w 23"/>
                    <a:gd name="T29" fmla="*/ 23 h 47"/>
                    <a:gd name="T30" fmla="*/ 12 w 23"/>
                    <a:gd name="T31" fmla="*/ 23 h 47"/>
                    <a:gd name="T32" fmla="*/ 12 w 23"/>
                    <a:gd name="T33" fmla="*/ 44 h 47"/>
                    <a:gd name="T34" fmla="*/ 15 w 23"/>
                    <a:gd name="T35" fmla="*/ 47 h 47"/>
                    <a:gd name="T36" fmla="*/ 17 w 23"/>
                    <a:gd name="T37" fmla="*/ 44 h 47"/>
                    <a:gd name="T38" fmla="*/ 17 w 23"/>
                    <a:gd name="T39" fmla="*/ 8 h 47"/>
                    <a:gd name="T40" fmla="*/ 19 w 23"/>
                    <a:gd name="T41" fmla="*/ 8 h 47"/>
                    <a:gd name="T42" fmla="*/ 19 w 23"/>
                    <a:gd name="T43" fmla="*/ 21 h 47"/>
                    <a:gd name="T44" fmla="*/ 21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1" y="23"/>
                      </a:moveTo>
                      <a:cubicBezTo>
                        <a:pt x="22" y="23"/>
                        <a:pt x="23" y="22"/>
                        <a:pt x="23" y="21"/>
                      </a:cubicBezTo>
                      <a:cubicBezTo>
                        <a:pt x="23" y="20"/>
                        <a:pt x="23" y="8"/>
                        <a:pt x="23" y="7"/>
                      </a:cubicBezTo>
                      <a:cubicBezTo>
                        <a:pt x="23" y="3"/>
                        <a:pt x="20" y="0"/>
                        <a:pt x="17" y="0"/>
                      </a:cubicBezTo>
                      <a:cubicBezTo>
                        <a:pt x="15" y="0"/>
                        <a:pt x="8" y="0"/>
                        <a:pt x="6" y="0"/>
                      </a:cubicBezTo>
                      <a:cubicBezTo>
                        <a:pt x="3" y="0"/>
                        <a:pt x="0" y="3"/>
                        <a:pt x="0" y="7"/>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9" y="8"/>
                      </a:cubicBezTo>
                      <a:cubicBezTo>
                        <a:pt x="19" y="8"/>
                        <a:pt x="19" y="20"/>
                        <a:pt x="19" y="21"/>
                      </a:cubicBezTo>
                      <a:cubicBezTo>
                        <a:pt x="19" y="22"/>
                        <a:pt x="19"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40" name="Oval 1557"/>
                <p:cNvSpPr>
                  <a:spLocks noChangeArrowheads="1"/>
                </p:cNvSpPr>
                <p:nvPr/>
              </p:nvSpPr>
              <p:spPr bwMode="auto">
                <a:xfrm>
                  <a:off x="12971"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41" name="Oval 1558"/>
                <p:cNvSpPr>
                  <a:spLocks noChangeArrowheads="1"/>
                </p:cNvSpPr>
                <p:nvPr/>
              </p:nvSpPr>
              <p:spPr bwMode="auto">
                <a:xfrm>
                  <a:off x="13038"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42" name="Oval 1559"/>
                <p:cNvSpPr>
                  <a:spLocks noChangeArrowheads="1"/>
                </p:cNvSpPr>
                <p:nvPr/>
              </p:nvSpPr>
              <p:spPr bwMode="auto">
                <a:xfrm>
                  <a:off x="13038"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43" name="Freeform 1560"/>
                <p:cNvSpPr>
                  <a:spLocks/>
                </p:cNvSpPr>
                <p:nvPr/>
              </p:nvSpPr>
              <p:spPr bwMode="auto">
                <a:xfrm>
                  <a:off x="12623"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2 w 27"/>
                    <a:gd name="T13" fmla="*/ 21 h 47"/>
                    <a:gd name="T14" fmla="*/ 4 w 27"/>
                    <a:gd name="T15" fmla="*/ 19 h 47"/>
                    <a:gd name="T16" fmla="*/ 8 w 27"/>
                    <a:gd name="T17" fmla="*/ 6 h 47"/>
                    <a:gd name="T18" fmla="*/ 9 w 27"/>
                    <a:gd name="T19" fmla="*/ 6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9 w 27"/>
                    <a:gd name="T39" fmla="*/ 45 h 47"/>
                    <a:gd name="T40" fmla="*/ 19 w 27"/>
                    <a:gd name="T41" fmla="*/ 28 h 47"/>
                    <a:gd name="T42" fmla="*/ 25 w 27"/>
                    <a:gd name="T43" fmla="*/ 28 h 47"/>
                    <a:gd name="T44" fmla="*/ 18 w 27"/>
                    <a:gd name="T45" fmla="*/ 6 h 47"/>
                    <a:gd name="T46" fmla="*/ 19 w 27"/>
                    <a:gd name="T47" fmla="*/ 6 h 47"/>
                    <a:gd name="T48" fmla="*/ 23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5" y="10"/>
                        <a:pt x="23" y="4"/>
                      </a:cubicBezTo>
                      <a:cubicBezTo>
                        <a:pt x="22" y="2"/>
                        <a:pt x="20" y="0"/>
                        <a:pt x="17" y="0"/>
                      </a:cubicBezTo>
                      <a:cubicBezTo>
                        <a:pt x="16" y="0"/>
                        <a:pt x="11" y="0"/>
                        <a:pt x="10" y="0"/>
                      </a:cubicBezTo>
                      <a:cubicBezTo>
                        <a:pt x="7" y="0"/>
                        <a:pt x="5" y="2"/>
                        <a:pt x="4" y="4"/>
                      </a:cubicBezTo>
                      <a:cubicBezTo>
                        <a:pt x="3" y="10"/>
                        <a:pt x="1" y="18"/>
                        <a:pt x="0" y="18"/>
                      </a:cubicBezTo>
                      <a:cubicBezTo>
                        <a:pt x="0" y="19"/>
                        <a:pt x="1" y="20"/>
                        <a:pt x="2" y="21"/>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6"/>
                        <a:pt x="18" y="6"/>
                        <a:pt x="18" y="6"/>
                      </a:cubicBezTo>
                      <a:cubicBezTo>
                        <a:pt x="19" y="6"/>
                        <a:pt x="19" y="6"/>
                        <a:pt x="19" y="6"/>
                      </a:cubicBezTo>
                      <a:cubicBezTo>
                        <a:pt x="19" y="6"/>
                        <a:pt x="23" y="18"/>
                        <a:pt x="23"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44" name="Freeform 1561"/>
                <p:cNvSpPr>
                  <a:spLocks/>
                </p:cNvSpPr>
                <p:nvPr/>
              </p:nvSpPr>
              <p:spPr bwMode="auto">
                <a:xfrm>
                  <a:off x="12950" y="1443"/>
                  <a:ext cx="64" cy="111"/>
                </a:xfrm>
                <a:custGeom>
                  <a:avLst/>
                  <a:gdLst>
                    <a:gd name="T0" fmla="*/ 23 w 27"/>
                    <a:gd name="T1" fmla="*/ 4 h 47"/>
                    <a:gd name="T2" fmla="*/ 18 w 27"/>
                    <a:gd name="T3" fmla="*/ 0 h 47"/>
                    <a:gd name="T4" fmla="*/ 10 w 27"/>
                    <a:gd name="T5" fmla="*/ 0 h 47"/>
                    <a:gd name="T6" fmla="*/ 5 w 27"/>
                    <a:gd name="T7" fmla="*/ 4 h 47"/>
                    <a:gd name="T8" fmla="*/ 1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4 w 27"/>
                    <a:gd name="T27" fmla="*/ 44 h 47"/>
                    <a:gd name="T28" fmla="*/ 14 w 27"/>
                    <a:gd name="T29" fmla="*/ 28 h 47"/>
                    <a:gd name="T30" fmla="*/ 15 w 27"/>
                    <a:gd name="T31" fmla="*/ 28 h 47"/>
                    <a:gd name="T32" fmla="*/ 15 w 27"/>
                    <a:gd name="T33" fmla="*/ 44 h 47"/>
                    <a:gd name="T34" fmla="*/ 17 w 27"/>
                    <a:gd name="T35" fmla="*/ 47 h 47"/>
                    <a:gd name="T36" fmla="*/ 19 w 27"/>
                    <a:gd name="T37" fmla="*/ 44 h 47"/>
                    <a:gd name="T38" fmla="*/ 19 w 27"/>
                    <a:gd name="T39" fmla="*/ 28 h 47"/>
                    <a:gd name="T40" fmla="*/ 25 w 27"/>
                    <a:gd name="T41" fmla="*/ 28 h 47"/>
                    <a:gd name="T42" fmla="*/ 19 w 27"/>
                    <a:gd name="T43" fmla="*/ 6 h 47"/>
                    <a:gd name="T44" fmla="*/ 20 w 27"/>
                    <a:gd name="T45" fmla="*/ 6 h 47"/>
                    <a:gd name="T46" fmla="*/ 24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3"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4" y="46"/>
                        <a:pt x="14" y="44"/>
                      </a:cubicBezTo>
                      <a:cubicBezTo>
                        <a:pt x="14" y="43"/>
                        <a:pt x="14" y="28"/>
                        <a:pt x="14" y="28"/>
                      </a:cubicBezTo>
                      <a:cubicBezTo>
                        <a:pt x="15" y="28"/>
                        <a:pt x="15" y="28"/>
                        <a:pt x="15" y="28"/>
                      </a:cubicBezTo>
                      <a:cubicBezTo>
                        <a:pt x="15" y="28"/>
                        <a:pt x="15" y="43"/>
                        <a:pt x="15" y="44"/>
                      </a:cubicBezTo>
                      <a:cubicBezTo>
                        <a:pt x="15"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45" name="Freeform 1562"/>
                <p:cNvSpPr>
                  <a:spLocks/>
                </p:cNvSpPr>
                <p:nvPr/>
              </p:nvSpPr>
              <p:spPr bwMode="auto">
                <a:xfrm>
                  <a:off x="12957" y="1296"/>
                  <a:ext cx="52" cy="111"/>
                </a:xfrm>
                <a:custGeom>
                  <a:avLst/>
                  <a:gdLst>
                    <a:gd name="T0" fmla="*/ 0 w 22"/>
                    <a:gd name="T1" fmla="*/ 6 h 47"/>
                    <a:gd name="T2" fmla="*/ 0 w 22"/>
                    <a:gd name="T3" fmla="*/ 21 h 47"/>
                    <a:gd name="T4" fmla="*/ 2 w 22"/>
                    <a:gd name="T5" fmla="*/ 23 h 47"/>
                    <a:gd name="T6" fmla="*/ 4 w 22"/>
                    <a:gd name="T7" fmla="*/ 21 h 47"/>
                    <a:gd name="T8" fmla="*/ 4 w 22"/>
                    <a:gd name="T9" fmla="*/ 7 h 47"/>
                    <a:gd name="T10" fmla="*/ 5 w 22"/>
                    <a:gd name="T11" fmla="*/ 7 h 47"/>
                    <a:gd name="T12" fmla="*/ 5 w 22"/>
                    <a:gd name="T13" fmla="*/ 44 h 47"/>
                    <a:gd name="T14" fmla="*/ 8 w 22"/>
                    <a:gd name="T15" fmla="*/ 47 h 47"/>
                    <a:gd name="T16" fmla="*/ 10 w 22"/>
                    <a:gd name="T17" fmla="*/ 44 h 47"/>
                    <a:gd name="T18" fmla="*/ 10 w 22"/>
                    <a:gd name="T19" fmla="*/ 23 h 47"/>
                    <a:gd name="T20" fmla="*/ 12 w 22"/>
                    <a:gd name="T21" fmla="*/ 23 h 47"/>
                    <a:gd name="T22" fmla="*/ 12 w 22"/>
                    <a:gd name="T23" fmla="*/ 44 h 47"/>
                    <a:gd name="T24" fmla="*/ 14 w 22"/>
                    <a:gd name="T25" fmla="*/ 47 h 47"/>
                    <a:gd name="T26" fmla="*/ 17 w 22"/>
                    <a:gd name="T27" fmla="*/ 44 h 47"/>
                    <a:gd name="T28" fmla="*/ 17 w 22"/>
                    <a:gd name="T29" fmla="*/ 7 h 47"/>
                    <a:gd name="T30" fmla="*/ 18 w 22"/>
                    <a:gd name="T31" fmla="*/ 7 h 47"/>
                    <a:gd name="T32" fmla="*/ 18 w 22"/>
                    <a:gd name="T33" fmla="*/ 21 h 47"/>
                    <a:gd name="T34" fmla="*/ 20 w 22"/>
                    <a:gd name="T35" fmla="*/ 23 h 47"/>
                    <a:gd name="T36" fmla="*/ 22 w 22"/>
                    <a:gd name="T37" fmla="*/ 21 h 47"/>
                    <a:gd name="T38" fmla="*/ 22 w 22"/>
                    <a:gd name="T39" fmla="*/ 6 h 47"/>
                    <a:gd name="T40" fmla="*/ 16 w 22"/>
                    <a:gd name="T41" fmla="*/ 0 h 47"/>
                    <a:gd name="T42" fmla="*/ 6 w 22"/>
                    <a:gd name="T43" fmla="*/ 0 h 47"/>
                    <a:gd name="T44" fmla="*/ 0 w 22"/>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2"/>
                        <a:pt x="10" y="23"/>
                        <a:pt x="10" y="23"/>
                      </a:cubicBezTo>
                      <a:cubicBezTo>
                        <a:pt x="10" y="23"/>
                        <a:pt x="10" y="23"/>
                        <a:pt x="12" y="23"/>
                      </a:cubicBezTo>
                      <a:cubicBezTo>
                        <a:pt x="12" y="23"/>
                        <a:pt x="12" y="42"/>
                        <a:pt x="12" y="44"/>
                      </a:cubicBezTo>
                      <a:cubicBezTo>
                        <a:pt x="12"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ubicBezTo>
                        <a:pt x="21" y="23"/>
                        <a:pt x="22" y="22"/>
                        <a:pt x="22" y="21"/>
                      </a:cubicBezTo>
                      <a:cubicBezTo>
                        <a:pt x="22" y="19"/>
                        <a:pt x="22" y="8"/>
                        <a:pt x="22" y="6"/>
                      </a:cubicBezTo>
                      <a:cubicBezTo>
                        <a:pt x="22" y="3"/>
                        <a:pt x="20" y="0"/>
                        <a:pt x="16" y="0"/>
                      </a:cubicBezTo>
                      <a:cubicBezTo>
                        <a:pt x="15" y="0"/>
                        <a:pt x="7" y="0"/>
                        <a:pt x="6" y="0"/>
                      </a:cubicBezTo>
                      <a:cubicBezTo>
                        <a:pt x="2"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46" name="Freeform 1563"/>
                <p:cNvSpPr>
                  <a:spLocks/>
                </p:cNvSpPr>
                <p:nvPr/>
              </p:nvSpPr>
              <p:spPr bwMode="auto">
                <a:xfrm>
                  <a:off x="12886"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1 w 27"/>
                    <a:gd name="T13" fmla="*/ 21 h 47"/>
                    <a:gd name="T14" fmla="*/ 4 w 27"/>
                    <a:gd name="T15" fmla="*/ 19 h 47"/>
                    <a:gd name="T16" fmla="*/ 8 w 27"/>
                    <a:gd name="T17" fmla="*/ 6 h 47"/>
                    <a:gd name="T18" fmla="*/ 9 w 27"/>
                    <a:gd name="T19" fmla="*/ 6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5 w 27"/>
                    <a:gd name="T43" fmla="*/ 28 h 47"/>
                    <a:gd name="T44" fmla="*/ 18 w 27"/>
                    <a:gd name="T45" fmla="*/ 6 h 47"/>
                    <a:gd name="T46" fmla="*/ 19 w 27"/>
                    <a:gd name="T47" fmla="*/ 6 h 47"/>
                    <a:gd name="T48" fmla="*/ 23 w 27"/>
                    <a:gd name="T49" fmla="*/ 19 h 47"/>
                    <a:gd name="T50" fmla="*/ 25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6" y="18"/>
                        <a:pt x="24" y="10"/>
                        <a:pt x="23" y="4"/>
                      </a:cubicBezTo>
                      <a:cubicBezTo>
                        <a:pt x="22" y="2"/>
                        <a:pt x="20" y="0"/>
                        <a:pt x="17" y="0"/>
                      </a:cubicBezTo>
                      <a:cubicBezTo>
                        <a:pt x="16" y="0"/>
                        <a:pt x="11" y="0"/>
                        <a:pt x="10" y="0"/>
                      </a:cubicBezTo>
                      <a:cubicBezTo>
                        <a:pt x="7" y="0"/>
                        <a:pt x="5" y="2"/>
                        <a:pt x="4" y="4"/>
                      </a:cubicBezTo>
                      <a:cubicBezTo>
                        <a:pt x="2" y="10"/>
                        <a:pt x="0" y="18"/>
                        <a:pt x="0" y="18"/>
                      </a:cubicBezTo>
                      <a:cubicBezTo>
                        <a:pt x="0" y="19"/>
                        <a:pt x="0" y="20"/>
                        <a:pt x="1" y="21"/>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1"/>
                      </a:cubicBezTo>
                      <a:cubicBezTo>
                        <a:pt x="26"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47" name="Freeform 1564"/>
                <p:cNvSpPr>
                  <a:spLocks/>
                </p:cNvSpPr>
                <p:nvPr/>
              </p:nvSpPr>
              <p:spPr bwMode="auto">
                <a:xfrm>
                  <a:off x="12694" y="1296"/>
                  <a:ext cx="55"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5 w 23"/>
                    <a:gd name="T11" fmla="*/ 7 h 47"/>
                    <a:gd name="T12" fmla="*/ 5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7 w 23"/>
                    <a:gd name="T27" fmla="*/ 44 h 47"/>
                    <a:gd name="T28" fmla="*/ 17 w 23"/>
                    <a:gd name="T29" fmla="*/ 7 h 47"/>
                    <a:gd name="T30" fmla="*/ 18 w 23"/>
                    <a:gd name="T31" fmla="*/ 7 h 47"/>
                    <a:gd name="T32" fmla="*/ 18 w 23"/>
                    <a:gd name="T33" fmla="*/ 21 h 47"/>
                    <a:gd name="T34" fmla="*/ 21 w 23"/>
                    <a:gd name="T35" fmla="*/ 23 h 47"/>
                    <a:gd name="T36" fmla="*/ 23 w 23"/>
                    <a:gd name="T37" fmla="*/ 21 h 47"/>
                    <a:gd name="T38" fmla="*/ 23 w 23"/>
                    <a:gd name="T39" fmla="*/ 6 h 47"/>
                    <a:gd name="T40" fmla="*/ 16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1" y="23"/>
                      </a:cubicBezTo>
                      <a:cubicBezTo>
                        <a:pt x="22" y="23"/>
                        <a:pt x="23" y="22"/>
                        <a:pt x="23" y="21"/>
                      </a:cubicBezTo>
                      <a:cubicBezTo>
                        <a:pt x="23" y="19"/>
                        <a:pt x="23" y="8"/>
                        <a:pt x="23" y="6"/>
                      </a:cubicBezTo>
                      <a:cubicBezTo>
                        <a:pt x="23" y="3"/>
                        <a:pt x="20" y="0"/>
                        <a:pt x="16"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48" name="Oval 1565"/>
                <p:cNvSpPr>
                  <a:spLocks noChangeArrowheads="1"/>
                </p:cNvSpPr>
                <p:nvPr/>
              </p:nvSpPr>
              <p:spPr bwMode="auto">
                <a:xfrm>
                  <a:off x="12971"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49" name="Freeform 1566"/>
                <p:cNvSpPr>
                  <a:spLocks/>
                </p:cNvSpPr>
                <p:nvPr/>
              </p:nvSpPr>
              <p:spPr bwMode="auto">
                <a:xfrm>
                  <a:off x="13021" y="1443"/>
                  <a:ext cx="54" cy="109"/>
                </a:xfrm>
                <a:custGeom>
                  <a:avLst/>
                  <a:gdLst>
                    <a:gd name="T0" fmla="*/ 0 w 23"/>
                    <a:gd name="T1" fmla="*/ 6 h 46"/>
                    <a:gd name="T2" fmla="*/ 0 w 23"/>
                    <a:gd name="T3" fmla="*/ 20 h 46"/>
                    <a:gd name="T4" fmla="*/ 2 w 23"/>
                    <a:gd name="T5" fmla="*/ 23 h 46"/>
                    <a:gd name="T6" fmla="*/ 4 w 23"/>
                    <a:gd name="T7" fmla="*/ 20 h 46"/>
                    <a:gd name="T8" fmla="*/ 4 w 23"/>
                    <a:gd name="T9" fmla="*/ 7 h 46"/>
                    <a:gd name="T10" fmla="*/ 6 w 23"/>
                    <a:gd name="T11" fmla="*/ 7 h 46"/>
                    <a:gd name="T12" fmla="*/ 6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8 w 23"/>
                    <a:gd name="T27" fmla="*/ 44 h 46"/>
                    <a:gd name="T28" fmla="*/ 18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6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2" y="23"/>
                      </a:cubicBezTo>
                      <a:cubicBezTo>
                        <a:pt x="4" y="23"/>
                        <a:pt x="4" y="22"/>
                        <a:pt x="4" y="20"/>
                      </a:cubicBezTo>
                      <a:cubicBezTo>
                        <a:pt x="4" y="19"/>
                        <a:pt x="4" y="7"/>
                        <a:pt x="4" y="7"/>
                      </a:cubicBezTo>
                      <a:cubicBezTo>
                        <a:pt x="4" y="7"/>
                        <a:pt x="4"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8"/>
                        <a:pt x="23" y="6"/>
                      </a:cubicBezTo>
                      <a:cubicBezTo>
                        <a:pt x="23" y="2"/>
                        <a:pt x="20" y="0"/>
                        <a:pt x="17" y="0"/>
                      </a:cubicBezTo>
                      <a:cubicBezTo>
                        <a:pt x="15" y="0"/>
                        <a:pt x="8" y="0"/>
                        <a:pt x="6"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50" name="Oval 1567"/>
                <p:cNvSpPr>
                  <a:spLocks noChangeArrowheads="1"/>
                </p:cNvSpPr>
                <p:nvPr/>
              </p:nvSpPr>
              <p:spPr bwMode="auto">
                <a:xfrm>
                  <a:off x="12971"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51" name="Oval 1568"/>
                <p:cNvSpPr>
                  <a:spLocks noChangeArrowheads="1"/>
                </p:cNvSpPr>
                <p:nvPr/>
              </p:nvSpPr>
              <p:spPr bwMode="auto">
                <a:xfrm>
                  <a:off x="13038"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52" name="Freeform 1569"/>
                <p:cNvSpPr>
                  <a:spLocks/>
                </p:cNvSpPr>
                <p:nvPr/>
              </p:nvSpPr>
              <p:spPr bwMode="auto">
                <a:xfrm>
                  <a:off x="13016" y="1296"/>
                  <a:ext cx="64" cy="111"/>
                </a:xfrm>
                <a:custGeom>
                  <a:avLst/>
                  <a:gdLst>
                    <a:gd name="T0" fmla="*/ 27 w 27"/>
                    <a:gd name="T1" fmla="*/ 18 h 47"/>
                    <a:gd name="T2" fmla="*/ 23 w 27"/>
                    <a:gd name="T3" fmla="*/ 4 h 47"/>
                    <a:gd name="T4" fmla="*/ 18 w 27"/>
                    <a:gd name="T5" fmla="*/ 0 h 47"/>
                    <a:gd name="T6" fmla="*/ 10 w 27"/>
                    <a:gd name="T7" fmla="*/ 0 h 47"/>
                    <a:gd name="T8" fmla="*/ 5 w 27"/>
                    <a:gd name="T9" fmla="*/ 4 h 47"/>
                    <a:gd name="T10" fmla="*/ 1 w 27"/>
                    <a:gd name="T11" fmla="*/ 18 h 47"/>
                    <a:gd name="T12" fmla="*/ 2 w 27"/>
                    <a:gd name="T13" fmla="*/ 21 h 47"/>
                    <a:gd name="T14" fmla="*/ 4 w 27"/>
                    <a:gd name="T15" fmla="*/ 19 h 47"/>
                    <a:gd name="T16" fmla="*/ 8 w 27"/>
                    <a:gd name="T17" fmla="*/ 6 h 47"/>
                    <a:gd name="T18" fmla="*/ 9 w 27"/>
                    <a:gd name="T19" fmla="*/ 6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7 w 27"/>
                    <a:gd name="T37" fmla="*/ 47 h 47"/>
                    <a:gd name="T38" fmla="*/ 19 w 27"/>
                    <a:gd name="T39" fmla="*/ 45 h 47"/>
                    <a:gd name="T40" fmla="*/ 19 w 27"/>
                    <a:gd name="T41" fmla="*/ 28 h 47"/>
                    <a:gd name="T42" fmla="*/ 25 w 27"/>
                    <a:gd name="T43" fmla="*/ 28 h 47"/>
                    <a:gd name="T44" fmla="*/ 19 w 27"/>
                    <a:gd name="T45" fmla="*/ 6 h 47"/>
                    <a:gd name="T46" fmla="*/ 20 w 27"/>
                    <a:gd name="T47" fmla="*/ 6 h 47"/>
                    <a:gd name="T48" fmla="*/ 23 w 27"/>
                    <a:gd name="T49" fmla="*/ 19 h 47"/>
                    <a:gd name="T50" fmla="*/ 26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7" y="18"/>
                        <a:pt x="25" y="10"/>
                        <a:pt x="23" y="4"/>
                      </a:cubicBezTo>
                      <a:cubicBezTo>
                        <a:pt x="22" y="2"/>
                        <a:pt x="20" y="0"/>
                        <a:pt x="18" y="0"/>
                      </a:cubicBezTo>
                      <a:cubicBezTo>
                        <a:pt x="16" y="0"/>
                        <a:pt x="11" y="0"/>
                        <a:pt x="10" y="0"/>
                      </a:cubicBezTo>
                      <a:cubicBezTo>
                        <a:pt x="8" y="0"/>
                        <a:pt x="5" y="2"/>
                        <a:pt x="5" y="4"/>
                      </a:cubicBezTo>
                      <a:cubicBezTo>
                        <a:pt x="3" y="10"/>
                        <a:pt x="1" y="18"/>
                        <a:pt x="1" y="18"/>
                      </a:cubicBezTo>
                      <a:cubicBezTo>
                        <a:pt x="0" y="19"/>
                        <a:pt x="1" y="20"/>
                        <a:pt x="2" y="21"/>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1"/>
                      </a:cubicBezTo>
                      <a:cubicBezTo>
                        <a:pt x="27"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53" name="Freeform 1570"/>
                <p:cNvSpPr>
                  <a:spLocks/>
                </p:cNvSpPr>
                <p:nvPr/>
              </p:nvSpPr>
              <p:spPr bwMode="auto">
                <a:xfrm>
                  <a:off x="12891" y="1443"/>
                  <a:ext cx="54" cy="109"/>
                </a:xfrm>
                <a:custGeom>
                  <a:avLst/>
                  <a:gdLst>
                    <a:gd name="T0" fmla="*/ 0 w 23"/>
                    <a:gd name="T1" fmla="*/ 6 h 46"/>
                    <a:gd name="T2" fmla="*/ 0 w 23"/>
                    <a:gd name="T3" fmla="*/ 20 h 46"/>
                    <a:gd name="T4" fmla="*/ 2 w 23"/>
                    <a:gd name="T5" fmla="*/ 23 h 46"/>
                    <a:gd name="T6" fmla="*/ 4 w 23"/>
                    <a:gd name="T7" fmla="*/ 20 h 46"/>
                    <a:gd name="T8" fmla="*/ 4 w 23"/>
                    <a:gd name="T9" fmla="*/ 7 h 46"/>
                    <a:gd name="T10" fmla="*/ 5 w 23"/>
                    <a:gd name="T11" fmla="*/ 7 h 46"/>
                    <a:gd name="T12" fmla="*/ 5 w 23"/>
                    <a:gd name="T13" fmla="*/ 44 h 46"/>
                    <a:gd name="T14" fmla="*/ 8 w 23"/>
                    <a:gd name="T15" fmla="*/ 46 h 46"/>
                    <a:gd name="T16" fmla="*/ 11 w 23"/>
                    <a:gd name="T17" fmla="*/ 44 h 46"/>
                    <a:gd name="T18" fmla="*/ 11 w 23"/>
                    <a:gd name="T19" fmla="*/ 23 h 46"/>
                    <a:gd name="T20" fmla="*/ 12 w 23"/>
                    <a:gd name="T21" fmla="*/ 23 h 46"/>
                    <a:gd name="T22" fmla="*/ 12 w 23"/>
                    <a:gd name="T23" fmla="*/ 44 h 46"/>
                    <a:gd name="T24" fmla="*/ 15 w 23"/>
                    <a:gd name="T25" fmla="*/ 46 h 46"/>
                    <a:gd name="T26" fmla="*/ 17 w 23"/>
                    <a:gd name="T27" fmla="*/ 44 h 46"/>
                    <a:gd name="T28" fmla="*/ 17 w 23"/>
                    <a:gd name="T29" fmla="*/ 7 h 46"/>
                    <a:gd name="T30" fmla="*/ 19 w 23"/>
                    <a:gd name="T31" fmla="*/ 7 h 46"/>
                    <a:gd name="T32" fmla="*/ 19 w 23"/>
                    <a:gd name="T33" fmla="*/ 20 h 46"/>
                    <a:gd name="T34" fmla="*/ 21 w 23"/>
                    <a:gd name="T35" fmla="*/ 23 h 46"/>
                    <a:gd name="T36" fmla="*/ 23 w 23"/>
                    <a:gd name="T37" fmla="*/ 20 h 46"/>
                    <a:gd name="T38" fmla="*/ 23 w 23"/>
                    <a:gd name="T39" fmla="*/ 6 h 46"/>
                    <a:gd name="T40" fmla="*/ 17 w 23"/>
                    <a:gd name="T41" fmla="*/ 0 h 46"/>
                    <a:gd name="T42" fmla="*/ 6 w 23"/>
                    <a:gd name="T43" fmla="*/ 0 h 46"/>
                    <a:gd name="T44" fmla="*/ 0 w 23"/>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0" y="6"/>
                      </a:move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19" y="23"/>
                        <a:pt x="21" y="23"/>
                      </a:cubicBezTo>
                      <a:cubicBezTo>
                        <a:pt x="22" y="23"/>
                        <a:pt x="23" y="22"/>
                        <a:pt x="23" y="20"/>
                      </a:cubicBezTo>
                      <a:cubicBezTo>
                        <a:pt x="23" y="19"/>
                        <a:pt x="23" y="8"/>
                        <a:pt x="23" y="6"/>
                      </a:cubicBezTo>
                      <a:cubicBezTo>
                        <a:pt x="23" y="2"/>
                        <a:pt x="20" y="0"/>
                        <a:pt x="17" y="0"/>
                      </a:cubicBezTo>
                      <a:cubicBezTo>
                        <a:pt x="15" y="0"/>
                        <a:pt x="8" y="0"/>
                        <a:pt x="6" y="0"/>
                      </a:cubicBezTo>
                      <a:cubicBezTo>
                        <a:pt x="3"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54" name="Freeform 1571"/>
                <p:cNvSpPr>
                  <a:spLocks/>
                </p:cNvSpPr>
                <p:nvPr/>
              </p:nvSpPr>
              <p:spPr bwMode="auto">
                <a:xfrm>
                  <a:off x="12950" y="1147"/>
                  <a:ext cx="64" cy="111"/>
                </a:xfrm>
                <a:custGeom>
                  <a:avLst/>
                  <a:gdLst>
                    <a:gd name="T0" fmla="*/ 23 w 27"/>
                    <a:gd name="T1" fmla="*/ 5 h 47"/>
                    <a:gd name="T2" fmla="*/ 18 w 27"/>
                    <a:gd name="T3" fmla="*/ 0 h 47"/>
                    <a:gd name="T4" fmla="*/ 10 w 27"/>
                    <a:gd name="T5" fmla="*/ 0 h 47"/>
                    <a:gd name="T6" fmla="*/ 5 w 27"/>
                    <a:gd name="T7" fmla="*/ 5 h 47"/>
                    <a:gd name="T8" fmla="*/ 1 w 27"/>
                    <a:gd name="T9" fmla="*/ 19 h 47"/>
                    <a:gd name="T10" fmla="*/ 2 w 27"/>
                    <a:gd name="T11" fmla="*/ 21 h 47"/>
                    <a:gd name="T12" fmla="*/ 4 w 27"/>
                    <a:gd name="T13" fmla="*/ 20 h 47"/>
                    <a:gd name="T14" fmla="*/ 8 w 27"/>
                    <a:gd name="T15" fmla="*/ 7 h 47"/>
                    <a:gd name="T16" fmla="*/ 9 w 27"/>
                    <a:gd name="T17" fmla="*/ 7 h 47"/>
                    <a:gd name="T18" fmla="*/ 3 w 27"/>
                    <a:gd name="T19" fmla="*/ 29 h 47"/>
                    <a:gd name="T20" fmla="*/ 9 w 27"/>
                    <a:gd name="T21" fmla="*/ 29 h 47"/>
                    <a:gd name="T22" fmla="*/ 9 w 27"/>
                    <a:gd name="T23" fmla="*/ 45 h 47"/>
                    <a:gd name="T24" fmla="*/ 11 w 27"/>
                    <a:gd name="T25" fmla="*/ 47 h 47"/>
                    <a:gd name="T26" fmla="*/ 14 w 27"/>
                    <a:gd name="T27" fmla="*/ 45 h 47"/>
                    <a:gd name="T28" fmla="*/ 14 w 27"/>
                    <a:gd name="T29" fmla="*/ 29 h 47"/>
                    <a:gd name="T30" fmla="*/ 15 w 27"/>
                    <a:gd name="T31" fmla="*/ 29 h 47"/>
                    <a:gd name="T32" fmla="*/ 15 w 27"/>
                    <a:gd name="T33" fmla="*/ 45 h 47"/>
                    <a:gd name="T34" fmla="*/ 17 w 27"/>
                    <a:gd name="T35" fmla="*/ 47 h 47"/>
                    <a:gd name="T36" fmla="*/ 19 w 27"/>
                    <a:gd name="T37" fmla="*/ 45 h 47"/>
                    <a:gd name="T38" fmla="*/ 19 w 27"/>
                    <a:gd name="T39" fmla="*/ 29 h 47"/>
                    <a:gd name="T40" fmla="*/ 25 w 27"/>
                    <a:gd name="T41" fmla="*/ 29 h 47"/>
                    <a:gd name="T42" fmla="*/ 19 w 27"/>
                    <a:gd name="T43" fmla="*/ 7 h 47"/>
                    <a:gd name="T44" fmla="*/ 20 w 27"/>
                    <a:gd name="T45" fmla="*/ 7 h 47"/>
                    <a:gd name="T46" fmla="*/ 24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3"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4" y="46"/>
                        <a:pt x="14" y="45"/>
                      </a:cubicBezTo>
                      <a:cubicBezTo>
                        <a:pt x="14" y="43"/>
                        <a:pt x="14" y="29"/>
                        <a:pt x="14" y="29"/>
                      </a:cubicBezTo>
                      <a:cubicBezTo>
                        <a:pt x="15" y="29"/>
                        <a:pt x="15" y="29"/>
                        <a:pt x="15" y="29"/>
                      </a:cubicBezTo>
                      <a:cubicBezTo>
                        <a:pt x="15" y="29"/>
                        <a:pt x="15" y="43"/>
                        <a:pt x="15" y="45"/>
                      </a:cubicBezTo>
                      <a:cubicBezTo>
                        <a:pt x="15" y="46"/>
                        <a:pt x="16"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55" name="Oval 1572"/>
                <p:cNvSpPr>
                  <a:spLocks noChangeArrowheads="1"/>
                </p:cNvSpPr>
                <p:nvPr/>
              </p:nvSpPr>
              <p:spPr bwMode="auto">
                <a:xfrm>
                  <a:off x="12907"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56" name="Freeform 1573"/>
                <p:cNvSpPr>
                  <a:spLocks/>
                </p:cNvSpPr>
                <p:nvPr/>
              </p:nvSpPr>
              <p:spPr bwMode="auto">
                <a:xfrm>
                  <a:off x="12761" y="1443"/>
                  <a:ext cx="52" cy="109"/>
                </a:xfrm>
                <a:custGeom>
                  <a:avLst/>
                  <a:gdLst>
                    <a:gd name="T0" fmla="*/ 0 w 22"/>
                    <a:gd name="T1" fmla="*/ 6 h 46"/>
                    <a:gd name="T2" fmla="*/ 0 w 22"/>
                    <a:gd name="T3" fmla="*/ 20 h 46"/>
                    <a:gd name="T4" fmla="*/ 2 w 22"/>
                    <a:gd name="T5" fmla="*/ 23 h 46"/>
                    <a:gd name="T6" fmla="*/ 4 w 22"/>
                    <a:gd name="T7" fmla="*/ 20 h 46"/>
                    <a:gd name="T8" fmla="*/ 4 w 22"/>
                    <a:gd name="T9" fmla="*/ 7 h 46"/>
                    <a:gd name="T10" fmla="*/ 5 w 22"/>
                    <a:gd name="T11" fmla="*/ 7 h 46"/>
                    <a:gd name="T12" fmla="*/ 5 w 22"/>
                    <a:gd name="T13" fmla="*/ 44 h 46"/>
                    <a:gd name="T14" fmla="*/ 8 w 22"/>
                    <a:gd name="T15" fmla="*/ 46 h 46"/>
                    <a:gd name="T16" fmla="*/ 10 w 22"/>
                    <a:gd name="T17" fmla="*/ 44 h 46"/>
                    <a:gd name="T18" fmla="*/ 10 w 22"/>
                    <a:gd name="T19" fmla="*/ 23 h 46"/>
                    <a:gd name="T20" fmla="*/ 11 w 22"/>
                    <a:gd name="T21" fmla="*/ 23 h 46"/>
                    <a:gd name="T22" fmla="*/ 11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3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8"/>
                        <a:pt x="0" y="19"/>
                        <a:pt x="0" y="20"/>
                      </a:cubicBezTo>
                      <a:cubicBezTo>
                        <a:pt x="0" y="22"/>
                        <a:pt x="0"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1" y="23"/>
                      </a:cubicBezTo>
                      <a:cubicBezTo>
                        <a:pt x="11" y="23"/>
                        <a:pt x="11" y="41"/>
                        <a:pt x="11" y="44"/>
                      </a:cubicBezTo>
                      <a:cubicBezTo>
                        <a:pt x="11"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8"/>
                        <a:pt x="22" y="6"/>
                      </a:cubicBezTo>
                      <a:cubicBezTo>
                        <a:pt x="22" y="2"/>
                        <a:pt x="19" y="0"/>
                        <a:pt x="16" y="0"/>
                      </a:cubicBezTo>
                      <a:cubicBezTo>
                        <a:pt x="14" y="0"/>
                        <a:pt x="7" y="0"/>
                        <a:pt x="6" y="0"/>
                      </a:cubicBezTo>
                      <a:cubicBezTo>
                        <a:pt x="2"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57" name="Oval 1574"/>
                <p:cNvSpPr>
                  <a:spLocks noChangeArrowheads="1"/>
                </p:cNvSpPr>
                <p:nvPr/>
              </p:nvSpPr>
              <p:spPr bwMode="auto">
                <a:xfrm>
                  <a:off x="12775" y="1417"/>
                  <a:ext cx="24"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58" name="Freeform 1575"/>
                <p:cNvSpPr>
                  <a:spLocks/>
                </p:cNvSpPr>
                <p:nvPr/>
              </p:nvSpPr>
              <p:spPr bwMode="auto">
                <a:xfrm>
                  <a:off x="12690" y="1147"/>
                  <a:ext cx="64" cy="111"/>
                </a:xfrm>
                <a:custGeom>
                  <a:avLst/>
                  <a:gdLst>
                    <a:gd name="T0" fmla="*/ 22 w 27"/>
                    <a:gd name="T1" fmla="*/ 5 h 47"/>
                    <a:gd name="T2" fmla="*/ 17 w 27"/>
                    <a:gd name="T3" fmla="*/ 0 h 47"/>
                    <a:gd name="T4" fmla="*/ 9 w 27"/>
                    <a:gd name="T5" fmla="*/ 0 h 47"/>
                    <a:gd name="T6" fmla="*/ 4 w 27"/>
                    <a:gd name="T7" fmla="*/ 5 h 47"/>
                    <a:gd name="T8" fmla="*/ 0 w 27"/>
                    <a:gd name="T9" fmla="*/ 19 h 47"/>
                    <a:gd name="T10" fmla="*/ 1 w 27"/>
                    <a:gd name="T11" fmla="*/ 21 h 47"/>
                    <a:gd name="T12" fmla="*/ 4 w 27"/>
                    <a:gd name="T13" fmla="*/ 20 h 47"/>
                    <a:gd name="T14" fmla="*/ 7 w 27"/>
                    <a:gd name="T15" fmla="*/ 7 h 47"/>
                    <a:gd name="T16" fmla="*/ 9 w 27"/>
                    <a:gd name="T17" fmla="*/ 7 h 47"/>
                    <a:gd name="T18" fmla="*/ 2 w 27"/>
                    <a:gd name="T19" fmla="*/ 29 h 47"/>
                    <a:gd name="T20" fmla="*/ 8 w 27"/>
                    <a:gd name="T21" fmla="*/ 29 h 47"/>
                    <a:gd name="T22" fmla="*/ 8 w 27"/>
                    <a:gd name="T23" fmla="*/ 45 h 47"/>
                    <a:gd name="T24" fmla="*/ 10 w 27"/>
                    <a:gd name="T25" fmla="*/ 47 h 47"/>
                    <a:gd name="T26" fmla="*/ 13 w 27"/>
                    <a:gd name="T27" fmla="*/ 45 h 47"/>
                    <a:gd name="T28" fmla="*/ 13 w 27"/>
                    <a:gd name="T29" fmla="*/ 29 h 47"/>
                    <a:gd name="T30" fmla="*/ 14 w 27"/>
                    <a:gd name="T31" fmla="*/ 29 h 47"/>
                    <a:gd name="T32" fmla="*/ 14 w 27"/>
                    <a:gd name="T33" fmla="*/ 45 h 47"/>
                    <a:gd name="T34" fmla="*/ 16 w 27"/>
                    <a:gd name="T35" fmla="*/ 47 h 47"/>
                    <a:gd name="T36" fmla="*/ 18 w 27"/>
                    <a:gd name="T37" fmla="*/ 45 h 47"/>
                    <a:gd name="T38" fmla="*/ 18 w 27"/>
                    <a:gd name="T39" fmla="*/ 29 h 47"/>
                    <a:gd name="T40" fmla="*/ 24 w 27"/>
                    <a:gd name="T41" fmla="*/ 29 h 47"/>
                    <a:gd name="T42" fmla="*/ 18 w 27"/>
                    <a:gd name="T43" fmla="*/ 7 h 47"/>
                    <a:gd name="T44" fmla="*/ 19 w 27"/>
                    <a:gd name="T45" fmla="*/ 7 h 47"/>
                    <a:gd name="T46" fmla="*/ 23 w 27"/>
                    <a:gd name="T47" fmla="*/ 20 h 47"/>
                    <a:gd name="T48" fmla="*/ 25 w 27"/>
                    <a:gd name="T49" fmla="*/ 21 h 47"/>
                    <a:gd name="T50" fmla="*/ 26 w 27"/>
                    <a:gd name="T51" fmla="*/ 19 h 47"/>
                    <a:gd name="T52" fmla="*/ 22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5"/>
                      </a:move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ubicBezTo>
                        <a:pt x="2" y="21"/>
                        <a:pt x="3" y="21"/>
                        <a:pt x="4" y="20"/>
                      </a:cubicBezTo>
                      <a:cubicBezTo>
                        <a:pt x="4" y="18"/>
                        <a:pt x="7" y="7"/>
                        <a:pt x="7" y="7"/>
                      </a:cubicBezTo>
                      <a:cubicBezTo>
                        <a:pt x="9" y="7"/>
                        <a:pt x="9" y="7"/>
                        <a:pt x="9" y="7"/>
                      </a:cubicBezTo>
                      <a:cubicBezTo>
                        <a:pt x="2" y="29"/>
                        <a:pt x="2" y="29"/>
                        <a:pt x="2" y="29"/>
                      </a:cubicBezTo>
                      <a:cubicBezTo>
                        <a:pt x="8" y="29"/>
                        <a:pt x="8" y="29"/>
                        <a:pt x="8" y="29"/>
                      </a:cubicBezTo>
                      <a:cubicBezTo>
                        <a:pt x="8" y="36"/>
                        <a:pt x="8" y="44"/>
                        <a:pt x="8" y="45"/>
                      </a:cubicBezTo>
                      <a:cubicBezTo>
                        <a:pt x="8" y="46"/>
                        <a:pt x="9" y="47"/>
                        <a:pt x="10"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7" y="47"/>
                        <a:pt x="18" y="46"/>
                        <a:pt x="18" y="45"/>
                      </a:cubicBezTo>
                      <a:cubicBezTo>
                        <a:pt x="18" y="44"/>
                        <a:pt x="18" y="36"/>
                        <a:pt x="18" y="29"/>
                      </a:cubicBezTo>
                      <a:cubicBezTo>
                        <a:pt x="24" y="29"/>
                        <a:pt x="24" y="29"/>
                        <a:pt x="24" y="29"/>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6" y="19"/>
                      </a:cubicBezTo>
                      <a:cubicBezTo>
                        <a:pt x="26" y="18"/>
                        <a:pt x="24" y="11"/>
                        <a:pt x="2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59" name="Oval 1576"/>
                <p:cNvSpPr>
                  <a:spLocks noChangeArrowheads="1"/>
                </p:cNvSpPr>
                <p:nvPr/>
              </p:nvSpPr>
              <p:spPr bwMode="auto">
                <a:xfrm>
                  <a:off x="12711" y="1417"/>
                  <a:ext cx="21"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60" name="Oval 1577"/>
                <p:cNvSpPr>
                  <a:spLocks noChangeArrowheads="1"/>
                </p:cNvSpPr>
                <p:nvPr/>
              </p:nvSpPr>
              <p:spPr bwMode="auto">
                <a:xfrm>
                  <a:off x="12711"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61" name="Oval 1578"/>
                <p:cNvSpPr>
                  <a:spLocks noChangeArrowheads="1"/>
                </p:cNvSpPr>
                <p:nvPr/>
              </p:nvSpPr>
              <p:spPr bwMode="auto">
                <a:xfrm>
                  <a:off x="12841" y="1417"/>
                  <a:ext cx="22" cy="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62" name="Freeform 1579"/>
                <p:cNvSpPr>
                  <a:spLocks/>
                </p:cNvSpPr>
                <p:nvPr/>
              </p:nvSpPr>
              <p:spPr bwMode="auto">
                <a:xfrm>
                  <a:off x="12825" y="1296"/>
                  <a:ext cx="54" cy="111"/>
                </a:xfrm>
                <a:custGeom>
                  <a:avLst/>
                  <a:gdLst>
                    <a:gd name="T0" fmla="*/ 0 w 23"/>
                    <a:gd name="T1" fmla="*/ 6 h 47"/>
                    <a:gd name="T2" fmla="*/ 0 w 23"/>
                    <a:gd name="T3" fmla="*/ 21 h 47"/>
                    <a:gd name="T4" fmla="*/ 2 w 23"/>
                    <a:gd name="T5" fmla="*/ 23 h 47"/>
                    <a:gd name="T6" fmla="*/ 4 w 23"/>
                    <a:gd name="T7" fmla="*/ 21 h 47"/>
                    <a:gd name="T8" fmla="*/ 4 w 23"/>
                    <a:gd name="T9" fmla="*/ 7 h 47"/>
                    <a:gd name="T10" fmla="*/ 6 w 23"/>
                    <a:gd name="T11" fmla="*/ 7 h 47"/>
                    <a:gd name="T12" fmla="*/ 6 w 23"/>
                    <a:gd name="T13" fmla="*/ 44 h 47"/>
                    <a:gd name="T14" fmla="*/ 8 w 23"/>
                    <a:gd name="T15" fmla="*/ 47 h 47"/>
                    <a:gd name="T16" fmla="*/ 11 w 23"/>
                    <a:gd name="T17" fmla="*/ 44 h 47"/>
                    <a:gd name="T18" fmla="*/ 11 w 23"/>
                    <a:gd name="T19" fmla="*/ 23 h 47"/>
                    <a:gd name="T20" fmla="*/ 12 w 23"/>
                    <a:gd name="T21" fmla="*/ 23 h 47"/>
                    <a:gd name="T22" fmla="*/ 12 w 23"/>
                    <a:gd name="T23" fmla="*/ 44 h 47"/>
                    <a:gd name="T24" fmla="*/ 15 w 23"/>
                    <a:gd name="T25" fmla="*/ 47 h 47"/>
                    <a:gd name="T26" fmla="*/ 18 w 23"/>
                    <a:gd name="T27" fmla="*/ 44 h 47"/>
                    <a:gd name="T28" fmla="*/ 18 w 23"/>
                    <a:gd name="T29" fmla="*/ 7 h 47"/>
                    <a:gd name="T30" fmla="*/ 19 w 23"/>
                    <a:gd name="T31" fmla="*/ 7 h 47"/>
                    <a:gd name="T32" fmla="*/ 19 w 23"/>
                    <a:gd name="T33" fmla="*/ 21 h 47"/>
                    <a:gd name="T34" fmla="*/ 21 w 23"/>
                    <a:gd name="T35" fmla="*/ 23 h 47"/>
                    <a:gd name="T36" fmla="*/ 23 w 23"/>
                    <a:gd name="T37" fmla="*/ 21 h 47"/>
                    <a:gd name="T38" fmla="*/ 23 w 23"/>
                    <a:gd name="T39" fmla="*/ 6 h 47"/>
                    <a:gd name="T40" fmla="*/ 17 w 23"/>
                    <a:gd name="T41" fmla="*/ 0 h 47"/>
                    <a:gd name="T42" fmla="*/ 6 w 23"/>
                    <a:gd name="T43" fmla="*/ 0 h 47"/>
                    <a:gd name="T44" fmla="*/ 0 w 23"/>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6"/>
                      </a:moveTo>
                      <a:cubicBezTo>
                        <a:pt x="0" y="8"/>
                        <a:pt x="0" y="19"/>
                        <a:pt x="0" y="21"/>
                      </a:cubicBezTo>
                      <a:cubicBezTo>
                        <a:pt x="0" y="22"/>
                        <a:pt x="1" y="23"/>
                        <a:pt x="2" y="23"/>
                      </a:cubicBezTo>
                      <a:cubicBezTo>
                        <a:pt x="4" y="23"/>
                        <a:pt x="4" y="22"/>
                        <a:pt x="4" y="21"/>
                      </a:cubicBezTo>
                      <a:cubicBezTo>
                        <a:pt x="4" y="19"/>
                        <a:pt x="4" y="7"/>
                        <a:pt x="4" y="7"/>
                      </a:cubicBezTo>
                      <a:cubicBezTo>
                        <a:pt x="4" y="7"/>
                        <a:pt x="4" y="7"/>
                        <a:pt x="6" y="7"/>
                      </a:cubicBezTo>
                      <a:cubicBezTo>
                        <a:pt x="6" y="7"/>
                        <a:pt x="6" y="42"/>
                        <a:pt x="6" y="44"/>
                      </a:cubicBezTo>
                      <a:cubicBezTo>
                        <a:pt x="6"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4" y="47"/>
                        <a:pt x="15" y="47"/>
                      </a:cubicBezTo>
                      <a:cubicBezTo>
                        <a:pt x="17" y="47"/>
                        <a:pt x="18" y="45"/>
                        <a:pt x="18" y="44"/>
                      </a:cubicBezTo>
                      <a:cubicBezTo>
                        <a:pt x="18" y="42"/>
                        <a:pt x="18" y="7"/>
                        <a:pt x="18" y="7"/>
                      </a:cubicBezTo>
                      <a:cubicBezTo>
                        <a:pt x="18" y="7"/>
                        <a:pt x="18" y="7"/>
                        <a:pt x="19" y="7"/>
                      </a:cubicBezTo>
                      <a:cubicBezTo>
                        <a:pt x="19" y="7"/>
                        <a:pt x="19" y="19"/>
                        <a:pt x="19" y="21"/>
                      </a:cubicBezTo>
                      <a:cubicBezTo>
                        <a:pt x="19" y="22"/>
                        <a:pt x="20"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63" name="Oval 1580"/>
                <p:cNvSpPr>
                  <a:spLocks noChangeArrowheads="1"/>
                </p:cNvSpPr>
                <p:nvPr/>
              </p:nvSpPr>
              <p:spPr bwMode="auto">
                <a:xfrm>
                  <a:off x="12841" y="1270"/>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64" name="Freeform 1581"/>
                <p:cNvSpPr>
                  <a:spLocks/>
                </p:cNvSpPr>
                <p:nvPr/>
              </p:nvSpPr>
              <p:spPr bwMode="auto">
                <a:xfrm>
                  <a:off x="12754" y="1296"/>
                  <a:ext cx="66" cy="111"/>
                </a:xfrm>
                <a:custGeom>
                  <a:avLst/>
                  <a:gdLst>
                    <a:gd name="T0" fmla="*/ 27 w 28"/>
                    <a:gd name="T1" fmla="*/ 18 h 47"/>
                    <a:gd name="T2" fmla="*/ 23 w 28"/>
                    <a:gd name="T3" fmla="*/ 4 h 47"/>
                    <a:gd name="T4" fmla="*/ 18 w 28"/>
                    <a:gd name="T5" fmla="*/ 0 h 47"/>
                    <a:gd name="T6" fmla="*/ 10 w 28"/>
                    <a:gd name="T7" fmla="*/ 0 h 47"/>
                    <a:gd name="T8" fmla="*/ 5 w 28"/>
                    <a:gd name="T9" fmla="*/ 4 h 47"/>
                    <a:gd name="T10" fmla="*/ 1 w 28"/>
                    <a:gd name="T11" fmla="*/ 18 h 47"/>
                    <a:gd name="T12" fmla="*/ 2 w 28"/>
                    <a:gd name="T13" fmla="*/ 21 h 47"/>
                    <a:gd name="T14" fmla="*/ 4 w 28"/>
                    <a:gd name="T15" fmla="*/ 19 h 47"/>
                    <a:gd name="T16" fmla="*/ 8 w 28"/>
                    <a:gd name="T17" fmla="*/ 6 h 47"/>
                    <a:gd name="T18" fmla="*/ 9 w 28"/>
                    <a:gd name="T19" fmla="*/ 6 h 47"/>
                    <a:gd name="T20" fmla="*/ 3 w 28"/>
                    <a:gd name="T21" fmla="*/ 28 h 47"/>
                    <a:gd name="T22" fmla="*/ 9 w 28"/>
                    <a:gd name="T23" fmla="*/ 28 h 47"/>
                    <a:gd name="T24" fmla="*/ 9 w 28"/>
                    <a:gd name="T25" fmla="*/ 45 h 47"/>
                    <a:gd name="T26" fmla="*/ 11 w 28"/>
                    <a:gd name="T27" fmla="*/ 47 h 47"/>
                    <a:gd name="T28" fmla="*/ 13 w 28"/>
                    <a:gd name="T29" fmla="*/ 45 h 47"/>
                    <a:gd name="T30" fmla="*/ 13 w 28"/>
                    <a:gd name="T31" fmla="*/ 28 h 47"/>
                    <a:gd name="T32" fmla="*/ 15 w 28"/>
                    <a:gd name="T33" fmla="*/ 28 h 47"/>
                    <a:gd name="T34" fmla="*/ 15 w 28"/>
                    <a:gd name="T35" fmla="*/ 45 h 47"/>
                    <a:gd name="T36" fmla="*/ 17 w 28"/>
                    <a:gd name="T37" fmla="*/ 47 h 47"/>
                    <a:gd name="T38" fmla="*/ 19 w 28"/>
                    <a:gd name="T39" fmla="*/ 45 h 47"/>
                    <a:gd name="T40" fmla="*/ 19 w 28"/>
                    <a:gd name="T41" fmla="*/ 28 h 47"/>
                    <a:gd name="T42" fmla="*/ 25 w 28"/>
                    <a:gd name="T43" fmla="*/ 28 h 47"/>
                    <a:gd name="T44" fmla="*/ 19 w 28"/>
                    <a:gd name="T45" fmla="*/ 6 h 47"/>
                    <a:gd name="T46" fmla="*/ 20 w 28"/>
                    <a:gd name="T47" fmla="*/ 6 h 47"/>
                    <a:gd name="T48" fmla="*/ 24 w 28"/>
                    <a:gd name="T49" fmla="*/ 19 h 47"/>
                    <a:gd name="T50" fmla="*/ 26 w 28"/>
                    <a:gd name="T51" fmla="*/ 21 h 47"/>
                    <a:gd name="T52" fmla="*/ 27 w 28"/>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7" y="18"/>
                      </a:moveTo>
                      <a:cubicBezTo>
                        <a:pt x="27" y="18"/>
                        <a:pt x="25" y="10"/>
                        <a:pt x="23" y="4"/>
                      </a:cubicBezTo>
                      <a:cubicBezTo>
                        <a:pt x="22" y="2"/>
                        <a:pt x="20" y="0"/>
                        <a:pt x="18" y="0"/>
                      </a:cubicBezTo>
                      <a:cubicBezTo>
                        <a:pt x="17" y="0"/>
                        <a:pt x="11" y="0"/>
                        <a:pt x="10" y="0"/>
                      </a:cubicBezTo>
                      <a:cubicBezTo>
                        <a:pt x="8" y="0"/>
                        <a:pt x="6" y="2"/>
                        <a:pt x="5" y="4"/>
                      </a:cubicBezTo>
                      <a:cubicBezTo>
                        <a:pt x="3" y="10"/>
                        <a:pt x="1" y="18"/>
                        <a:pt x="1" y="18"/>
                      </a:cubicBezTo>
                      <a:cubicBezTo>
                        <a:pt x="0" y="19"/>
                        <a:pt x="1" y="20"/>
                        <a:pt x="2" y="21"/>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1"/>
                      </a:cubicBezTo>
                      <a:cubicBezTo>
                        <a:pt x="27" y="20"/>
                        <a:pt x="28"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65" name="Freeform 1582"/>
                <p:cNvSpPr>
                  <a:spLocks/>
                </p:cNvSpPr>
                <p:nvPr/>
              </p:nvSpPr>
              <p:spPr bwMode="auto">
                <a:xfrm>
                  <a:off x="12820" y="1443"/>
                  <a:ext cx="64" cy="111"/>
                </a:xfrm>
                <a:custGeom>
                  <a:avLst/>
                  <a:gdLst>
                    <a:gd name="T0" fmla="*/ 23 w 27"/>
                    <a:gd name="T1" fmla="*/ 4 h 47"/>
                    <a:gd name="T2" fmla="*/ 17 w 27"/>
                    <a:gd name="T3" fmla="*/ 0 h 47"/>
                    <a:gd name="T4" fmla="*/ 10 w 27"/>
                    <a:gd name="T5" fmla="*/ 0 h 47"/>
                    <a:gd name="T6" fmla="*/ 4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2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9 w 27"/>
                    <a:gd name="T37" fmla="*/ 44 h 47"/>
                    <a:gd name="T38" fmla="*/ 19 w 27"/>
                    <a:gd name="T39" fmla="*/ 28 h 47"/>
                    <a:gd name="T40" fmla="*/ 25 w 27"/>
                    <a:gd name="T41" fmla="*/ 28 h 47"/>
                    <a:gd name="T42" fmla="*/ 18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7" y="0"/>
                      </a:cubicBezTo>
                      <a:cubicBezTo>
                        <a:pt x="16" y="0"/>
                        <a:pt x="11" y="0"/>
                        <a:pt x="10" y="0"/>
                      </a:cubicBezTo>
                      <a:cubicBezTo>
                        <a:pt x="8" y="0"/>
                        <a:pt x="5" y="2"/>
                        <a:pt x="4"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2" y="28"/>
                        <a:pt x="2" y="28"/>
                        <a:pt x="2"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66" name="Freeform 1583"/>
                <p:cNvSpPr>
                  <a:spLocks/>
                </p:cNvSpPr>
                <p:nvPr/>
              </p:nvSpPr>
              <p:spPr bwMode="auto">
                <a:xfrm>
                  <a:off x="13083" y="1443"/>
                  <a:ext cx="63" cy="111"/>
                </a:xfrm>
                <a:custGeom>
                  <a:avLst/>
                  <a:gdLst>
                    <a:gd name="T0" fmla="*/ 23 w 27"/>
                    <a:gd name="T1" fmla="*/ 19 h 47"/>
                    <a:gd name="T2" fmla="*/ 25 w 27"/>
                    <a:gd name="T3" fmla="*/ 20 h 47"/>
                    <a:gd name="T4" fmla="*/ 27 w 27"/>
                    <a:gd name="T5" fmla="*/ 18 h 47"/>
                    <a:gd name="T6" fmla="*/ 23 w 27"/>
                    <a:gd name="T7" fmla="*/ 4 h 47"/>
                    <a:gd name="T8" fmla="*/ 17 w 27"/>
                    <a:gd name="T9" fmla="*/ 0 h 47"/>
                    <a:gd name="T10" fmla="*/ 10 w 27"/>
                    <a:gd name="T11" fmla="*/ 0 h 47"/>
                    <a:gd name="T12" fmla="*/ 4 w 27"/>
                    <a:gd name="T13" fmla="*/ 4 h 47"/>
                    <a:gd name="T14" fmla="*/ 0 w 27"/>
                    <a:gd name="T15" fmla="*/ 18 h 47"/>
                    <a:gd name="T16" fmla="*/ 1 w 27"/>
                    <a:gd name="T17" fmla="*/ 20 h 47"/>
                    <a:gd name="T18" fmla="*/ 4 w 27"/>
                    <a:gd name="T19" fmla="*/ 19 h 47"/>
                    <a:gd name="T20" fmla="*/ 8 w 27"/>
                    <a:gd name="T21" fmla="*/ 6 h 47"/>
                    <a:gd name="T22" fmla="*/ 9 w 27"/>
                    <a:gd name="T23" fmla="*/ 6 h 47"/>
                    <a:gd name="T24" fmla="*/ 2 w 27"/>
                    <a:gd name="T25" fmla="*/ 28 h 47"/>
                    <a:gd name="T26" fmla="*/ 8 w 27"/>
                    <a:gd name="T27" fmla="*/ 28 h 47"/>
                    <a:gd name="T28" fmla="*/ 8 w 27"/>
                    <a:gd name="T29" fmla="*/ 44 h 47"/>
                    <a:gd name="T30" fmla="*/ 11 w 27"/>
                    <a:gd name="T31" fmla="*/ 47 h 47"/>
                    <a:gd name="T32" fmla="*/ 13 w 27"/>
                    <a:gd name="T33" fmla="*/ 44 h 47"/>
                    <a:gd name="T34" fmla="*/ 13 w 27"/>
                    <a:gd name="T35" fmla="*/ 28 h 47"/>
                    <a:gd name="T36" fmla="*/ 14 w 27"/>
                    <a:gd name="T37" fmla="*/ 28 h 47"/>
                    <a:gd name="T38" fmla="*/ 14 w 27"/>
                    <a:gd name="T39" fmla="*/ 44 h 47"/>
                    <a:gd name="T40" fmla="*/ 16 w 27"/>
                    <a:gd name="T41" fmla="*/ 47 h 47"/>
                    <a:gd name="T42" fmla="*/ 18 w 27"/>
                    <a:gd name="T43" fmla="*/ 44 h 47"/>
                    <a:gd name="T44" fmla="*/ 18 w 27"/>
                    <a:gd name="T45" fmla="*/ 28 h 47"/>
                    <a:gd name="T46" fmla="*/ 25 w 27"/>
                    <a:gd name="T47" fmla="*/ 28 h 47"/>
                    <a:gd name="T48" fmla="*/ 18 w 27"/>
                    <a:gd name="T49" fmla="*/ 6 h 47"/>
                    <a:gd name="T50" fmla="*/ 19 w 27"/>
                    <a:gd name="T51" fmla="*/ 6 h 47"/>
                    <a:gd name="T52" fmla="*/ 23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19"/>
                      </a:moveTo>
                      <a:cubicBezTo>
                        <a:pt x="23" y="20"/>
                        <a:pt x="24" y="21"/>
                        <a:pt x="25" y="20"/>
                      </a:cubicBezTo>
                      <a:cubicBezTo>
                        <a:pt x="26" y="20"/>
                        <a:pt x="27" y="19"/>
                        <a:pt x="27" y="18"/>
                      </a:cubicBezTo>
                      <a:cubicBezTo>
                        <a:pt x="26" y="17"/>
                        <a:pt x="24" y="10"/>
                        <a:pt x="23" y="4"/>
                      </a:cubicBezTo>
                      <a:cubicBezTo>
                        <a:pt x="22" y="2"/>
                        <a:pt x="20" y="0"/>
                        <a:pt x="17" y="0"/>
                      </a:cubicBezTo>
                      <a:cubicBezTo>
                        <a:pt x="16" y="0"/>
                        <a:pt x="11" y="0"/>
                        <a:pt x="10" y="0"/>
                      </a:cubicBezTo>
                      <a:cubicBezTo>
                        <a:pt x="7" y="0"/>
                        <a:pt x="5" y="2"/>
                        <a:pt x="4" y="4"/>
                      </a:cubicBezTo>
                      <a:cubicBezTo>
                        <a:pt x="3" y="10"/>
                        <a:pt x="0" y="17"/>
                        <a:pt x="0" y="18"/>
                      </a:cubicBezTo>
                      <a:cubicBezTo>
                        <a:pt x="0" y="19"/>
                        <a:pt x="0" y="20"/>
                        <a:pt x="1" y="20"/>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67" name="Freeform 1584"/>
                <p:cNvSpPr>
                  <a:spLocks/>
                </p:cNvSpPr>
                <p:nvPr/>
              </p:nvSpPr>
              <p:spPr bwMode="auto">
                <a:xfrm>
                  <a:off x="12387" y="1443"/>
                  <a:ext cx="35" cy="28"/>
                </a:xfrm>
                <a:custGeom>
                  <a:avLst/>
                  <a:gdLst>
                    <a:gd name="T0" fmla="*/ 9 w 15"/>
                    <a:gd name="T1" fmla="*/ 0 h 12"/>
                    <a:gd name="T2" fmla="*/ 0 w 15"/>
                    <a:gd name="T3" fmla="*/ 0 h 12"/>
                    <a:gd name="T4" fmla="*/ 10 w 15"/>
                    <a:gd name="T5" fmla="*/ 8 h 12"/>
                    <a:gd name="T6" fmla="*/ 10 w 15"/>
                    <a:gd name="T7" fmla="*/ 7 h 12"/>
                    <a:gd name="T8" fmla="*/ 11 w 15"/>
                    <a:gd name="T9" fmla="*/ 7 h 12"/>
                    <a:gd name="T10" fmla="*/ 11 w 15"/>
                    <a:gd name="T11" fmla="*/ 9 h 12"/>
                    <a:gd name="T12" fmla="*/ 15 w 15"/>
                    <a:gd name="T13" fmla="*/ 12 h 12"/>
                    <a:gd name="T14" fmla="*/ 15 w 15"/>
                    <a:gd name="T15" fmla="*/ 6 h 12"/>
                    <a:gd name="T16" fmla="*/ 9 w 15"/>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2">
                      <a:moveTo>
                        <a:pt x="9" y="0"/>
                      </a:moveTo>
                      <a:cubicBezTo>
                        <a:pt x="8" y="0"/>
                        <a:pt x="2" y="0"/>
                        <a:pt x="0" y="0"/>
                      </a:cubicBezTo>
                      <a:cubicBezTo>
                        <a:pt x="3" y="3"/>
                        <a:pt x="7" y="5"/>
                        <a:pt x="10" y="8"/>
                      </a:cubicBezTo>
                      <a:cubicBezTo>
                        <a:pt x="10" y="7"/>
                        <a:pt x="10" y="7"/>
                        <a:pt x="10" y="7"/>
                      </a:cubicBezTo>
                      <a:cubicBezTo>
                        <a:pt x="10" y="7"/>
                        <a:pt x="10" y="7"/>
                        <a:pt x="11" y="7"/>
                      </a:cubicBezTo>
                      <a:cubicBezTo>
                        <a:pt x="11" y="7"/>
                        <a:pt x="11" y="8"/>
                        <a:pt x="11" y="9"/>
                      </a:cubicBezTo>
                      <a:cubicBezTo>
                        <a:pt x="13" y="10"/>
                        <a:pt x="14" y="11"/>
                        <a:pt x="15" y="12"/>
                      </a:cubicBezTo>
                      <a:cubicBezTo>
                        <a:pt x="15" y="9"/>
                        <a:pt x="15" y="7"/>
                        <a:pt x="15" y="6"/>
                      </a:cubicBezTo>
                      <a:cubicBezTo>
                        <a:pt x="15" y="2"/>
                        <a:pt x="12" y="0"/>
                        <a:pt x="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68" name="Oval 1585"/>
                <p:cNvSpPr>
                  <a:spLocks noChangeArrowheads="1"/>
                </p:cNvSpPr>
                <p:nvPr/>
              </p:nvSpPr>
              <p:spPr bwMode="auto">
                <a:xfrm>
                  <a:off x="12517" y="1270"/>
                  <a:ext cx="21"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69" name="Freeform 1586"/>
                <p:cNvSpPr>
                  <a:spLocks/>
                </p:cNvSpPr>
                <p:nvPr/>
              </p:nvSpPr>
              <p:spPr bwMode="auto">
                <a:xfrm>
                  <a:off x="12432" y="1443"/>
                  <a:ext cx="61" cy="87"/>
                </a:xfrm>
                <a:custGeom>
                  <a:avLst/>
                  <a:gdLst>
                    <a:gd name="T0" fmla="*/ 24 w 26"/>
                    <a:gd name="T1" fmla="*/ 28 h 37"/>
                    <a:gd name="T2" fmla="*/ 17 w 26"/>
                    <a:gd name="T3" fmla="*/ 6 h 37"/>
                    <a:gd name="T4" fmla="*/ 19 w 26"/>
                    <a:gd name="T5" fmla="*/ 6 h 37"/>
                    <a:gd name="T6" fmla="*/ 22 w 26"/>
                    <a:gd name="T7" fmla="*/ 19 h 37"/>
                    <a:gd name="T8" fmla="*/ 25 w 26"/>
                    <a:gd name="T9" fmla="*/ 20 h 37"/>
                    <a:gd name="T10" fmla="*/ 26 w 26"/>
                    <a:gd name="T11" fmla="*/ 18 h 37"/>
                    <a:gd name="T12" fmla="*/ 22 w 26"/>
                    <a:gd name="T13" fmla="*/ 4 h 37"/>
                    <a:gd name="T14" fmla="*/ 16 w 26"/>
                    <a:gd name="T15" fmla="*/ 0 h 37"/>
                    <a:gd name="T16" fmla="*/ 9 w 26"/>
                    <a:gd name="T17" fmla="*/ 0 h 37"/>
                    <a:gd name="T18" fmla="*/ 3 w 26"/>
                    <a:gd name="T19" fmla="*/ 4 h 37"/>
                    <a:gd name="T20" fmla="*/ 0 w 26"/>
                    <a:gd name="T21" fmla="*/ 16 h 37"/>
                    <a:gd name="T22" fmla="*/ 3 w 26"/>
                    <a:gd name="T23" fmla="*/ 19 h 37"/>
                    <a:gd name="T24" fmla="*/ 7 w 26"/>
                    <a:gd name="T25" fmla="*/ 6 h 37"/>
                    <a:gd name="T26" fmla="*/ 8 w 26"/>
                    <a:gd name="T27" fmla="*/ 6 h 37"/>
                    <a:gd name="T28" fmla="*/ 4 w 26"/>
                    <a:gd name="T29" fmla="*/ 19 h 37"/>
                    <a:gd name="T30" fmla="*/ 12 w 26"/>
                    <a:gd name="T31" fmla="*/ 29 h 37"/>
                    <a:gd name="T32" fmla="*/ 12 w 26"/>
                    <a:gd name="T33" fmla="*/ 28 h 37"/>
                    <a:gd name="T34" fmla="*/ 13 w 26"/>
                    <a:gd name="T35" fmla="*/ 28 h 37"/>
                    <a:gd name="T36" fmla="*/ 13 w 26"/>
                    <a:gd name="T37" fmla="*/ 30 h 37"/>
                    <a:gd name="T38" fmla="*/ 18 w 26"/>
                    <a:gd name="T39" fmla="*/ 37 h 37"/>
                    <a:gd name="T40" fmla="*/ 18 w 26"/>
                    <a:gd name="T41" fmla="*/ 28 h 37"/>
                    <a:gd name="T42" fmla="*/ 24 w 26"/>
                    <a:gd name="T43" fmla="*/ 2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37">
                      <a:moveTo>
                        <a:pt x="24" y="28"/>
                      </a:moveTo>
                      <a:cubicBezTo>
                        <a:pt x="17" y="6"/>
                        <a:pt x="17" y="6"/>
                        <a:pt x="17" y="6"/>
                      </a:cubicBezTo>
                      <a:cubicBezTo>
                        <a:pt x="19" y="6"/>
                        <a:pt x="19" y="6"/>
                        <a:pt x="19" y="6"/>
                      </a:cubicBezTo>
                      <a:cubicBezTo>
                        <a:pt x="19" y="6"/>
                        <a:pt x="22" y="18"/>
                        <a:pt x="22" y="19"/>
                      </a:cubicBezTo>
                      <a:cubicBezTo>
                        <a:pt x="23" y="20"/>
                        <a:pt x="24" y="21"/>
                        <a:pt x="25" y="20"/>
                      </a:cubicBezTo>
                      <a:cubicBezTo>
                        <a:pt x="26" y="20"/>
                        <a:pt x="26" y="19"/>
                        <a:pt x="26" y="18"/>
                      </a:cubicBezTo>
                      <a:cubicBezTo>
                        <a:pt x="26" y="17"/>
                        <a:pt x="24" y="10"/>
                        <a:pt x="22" y="4"/>
                      </a:cubicBezTo>
                      <a:cubicBezTo>
                        <a:pt x="21" y="2"/>
                        <a:pt x="19" y="0"/>
                        <a:pt x="16" y="0"/>
                      </a:cubicBezTo>
                      <a:cubicBezTo>
                        <a:pt x="15" y="0"/>
                        <a:pt x="10" y="0"/>
                        <a:pt x="9" y="0"/>
                      </a:cubicBezTo>
                      <a:cubicBezTo>
                        <a:pt x="6" y="0"/>
                        <a:pt x="4" y="2"/>
                        <a:pt x="3" y="4"/>
                      </a:cubicBezTo>
                      <a:cubicBezTo>
                        <a:pt x="2" y="8"/>
                        <a:pt x="1" y="13"/>
                        <a:pt x="0" y="16"/>
                      </a:cubicBezTo>
                      <a:cubicBezTo>
                        <a:pt x="1" y="17"/>
                        <a:pt x="2" y="18"/>
                        <a:pt x="3" y="19"/>
                      </a:cubicBezTo>
                      <a:cubicBezTo>
                        <a:pt x="4" y="16"/>
                        <a:pt x="7" y="6"/>
                        <a:pt x="7" y="6"/>
                      </a:cubicBezTo>
                      <a:cubicBezTo>
                        <a:pt x="8" y="6"/>
                        <a:pt x="8" y="6"/>
                        <a:pt x="8" y="6"/>
                      </a:cubicBezTo>
                      <a:cubicBezTo>
                        <a:pt x="6" y="12"/>
                        <a:pt x="5" y="16"/>
                        <a:pt x="4" y="19"/>
                      </a:cubicBezTo>
                      <a:cubicBezTo>
                        <a:pt x="7" y="22"/>
                        <a:pt x="10" y="25"/>
                        <a:pt x="12" y="29"/>
                      </a:cubicBezTo>
                      <a:cubicBezTo>
                        <a:pt x="12" y="28"/>
                        <a:pt x="12" y="28"/>
                        <a:pt x="12" y="28"/>
                      </a:cubicBezTo>
                      <a:cubicBezTo>
                        <a:pt x="13" y="28"/>
                        <a:pt x="13" y="28"/>
                        <a:pt x="13" y="28"/>
                      </a:cubicBezTo>
                      <a:cubicBezTo>
                        <a:pt x="13" y="28"/>
                        <a:pt x="13" y="29"/>
                        <a:pt x="13" y="30"/>
                      </a:cubicBezTo>
                      <a:cubicBezTo>
                        <a:pt x="15" y="32"/>
                        <a:pt x="16" y="35"/>
                        <a:pt x="18" y="37"/>
                      </a:cubicBezTo>
                      <a:cubicBezTo>
                        <a:pt x="18" y="34"/>
                        <a:pt x="18" y="31"/>
                        <a:pt x="18" y="28"/>
                      </a:cubicBezTo>
                      <a:cubicBezTo>
                        <a:pt x="24" y="28"/>
                        <a:pt x="24" y="28"/>
                        <a:pt x="2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70" name="Freeform 1587"/>
                <p:cNvSpPr>
                  <a:spLocks/>
                </p:cNvSpPr>
                <p:nvPr/>
              </p:nvSpPr>
              <p:spPr bwMode="auto">
                <a:xfrm>
                  <a:off x="12271" y="1296"/>
                  <a:ext cx="26" cy="50"/>
                </a:xfrm>
                <a:custGeom>
                  <a:avLst/>
                  <a:gdLst>
                    <a:gd name="T0" fmla="*/ 11 w 11"/>
                    <a:gd name="T1" fmla="*/ 18 h 21"/>
                    <a:gd name="T2" fmla="*/ 7 w 11"/>
                    <a:gd name="T3" fmla="*/ 4 h 21"/>
                    <a:gd name="T4" fmla="*/ 1 w 11"/>
                    <a:gd name="T5" fmla="*/ 0 h 21"/>
                    <a:gd name="T6" fmla="*/ 0 w 11"/>
                    <a:gd name="T7" fmla="*/ 0 h 21"/>
                    <a:gd name="T8" fmla="*/ 3 w 11"/>
                    <a:gd name="T9" fmla="*/ 7 h 21"/>
                    <a:gd name="T10" fmla="*/ 2 w 11"/>
                    <a:gd name="T11" fmla="*/ 6 h 21"/>
                    <a:gd name="T12" fmla="*/ 3 w 11"/>
                    <a:gd name="T13" fmla="*/ 6 h 21"/>
                    <a:gd name="T14" fmla="*/ 6 w 11"/>
                    <a:gd name="T15" fmla="*/ 13 h 21"/>
                    <a:gd name="T16" fmla="*/ 9 w 11"/>
                    <a:gd name="T17" fmla="*/ 21 h 21"/>
                    <a:gd name="T18" fmla="*/ 10 w 11"/>
                    <a:gd name="T19" fmla="*/ 21 h 21"/>
                    <a:gd name="T20" fmla="*/ 11 w 11"/>
                    <a:gd name="T21"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21">
                      <a:moveTo>
                        <a:pt x="11" y="18"/>
                      </a:moveTo>
                      <a:cubicBezTo>
                        <a:pt x="11" y="18"/>
                        <a:pt x="8" y="10"/>
                        <a:pt x="7" y="4"/>
                      </a:cubicBezTo>
                      <a:cubicBezTo>
                        <a:pt x="6" y="2"/>
                        <a:pt x="4" y="0"/>
                        <a:pt x="1" y="0"/>
                      </a:cubicBezTo>
                      <a:cubicBezTo>
                        <a:pt x="1" y="0"/>
                        <a:pt x="1" y="0"/>
                        <a:pt x="0" y="0"/>
                      </a:cubicBezTo>
                      <a:cubicBezTo>
                        <a:pt x="1" y="2"/>
                        <a:pt x="2" y="5"/>
                        <a:pt x="3" y="7"/>
                      </a:cubicBezTo>
                      <a:cubicBezTo>
                        <a:pt x="2" y="6"/>
                        <a:pt x="2" y="6"/>
                        <a:pt x="2" y="6"/>
                      </a:cubicBezTo>
                      <a:cubicBezTo>
                        <a:pt x="3" y="6"/>
                        <a:pt x="3" y="6"/>
                        <a:pt x="3" y="6"/>
                      </a:cubicBezTo>
                      <a:cubicBezTo>
                        <a:pt x="3" y="6"/>
                        <a:pt x="5" y="10"/>
                        <a:pt x="6" y="13"/>
                      </a:cubicBezTo>
                      <a:cubicBezTo>
                        <a:pt x="7" y="16"/>
                        <a:pt x="8" y="18"/>
                        <a:pt x="9" y="21"/>
                      </a:cubicBezTo>
                      <a:cubicBezTo>
                        <a:pt x="10" y="21"/>
                        <a:pt x="10" y="21"/>
                        <a:pt x="10" y="21"/>
                      </a:cubicBezTo>
                      <a:cubicBezTo>
                        <a:pt x="11" y="20"/>
                        <a:pt x="11" y="19"/>
                        <a:pt x="1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71" name="Oval 1588"/>
                <p:cNvSpPr>
                  <a:spLocks noChangeArrowheads="1"/>
                </p:cNvSpPr>
                <p:nvPr/>
              </p:nvSpPr>
              <p:spPr bwMode="auto">
                <a:xfrm>
                  <a:off x="12581" y="1123"/>
                  <a:ext cx="24"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72" name="Freeform 1589"/>
                <p:cNvSpPr>
                  <a:spLocks/>
                </p:cNvSpPr>
                <p:nvPr/>
              </p:nvSpPr>
              <p:spPr bwMode="auto">
                <a:xfrm>
                  <a:off x="12500" y="1147"/>
                  <a:ext cx="55" cy="111"/>
                </a:xfrm>
                <a:custGeom>
                  <a:avLst/>
                  <a:gdLst>
                    <a:gd name="T0" fmla="*/ 2 w 23"/>
                    <a:gd name="T1" fmla="*/ 23 h 47"/>
                    <a:gd name="T2" fmla="*/ 4 w 23"/>
                    <a:gd name="T3" fmla="*/ 21 h 47"/>
                    <a:gd name="T4" fmla="*/ 4 w 23"/>
                    <a:gd name="T5" fmla="*/ 8 h 47"/>
                    <a:gd name="T6" fmla="*/ 5 w 23"/>
                    <a:gd name="T7" fmla="*/ 8 h 47"/>
                    <a:gd name="T8" fmla="*/ 5 w 23"/>
                    <a:gd name="T9" fmla="*/ 44 h 47"/>
                    <a:gd name="T10" fmla="*/ 8 w 23"/>
                    <a:gd name="T11" fmla="*/ 47 h 47"/>
                    <a:gd name="T12" fmla="*/ 11 w 23"/>
                    <a:gd name="T13" fmla="*/ 44 h 47"/>
                    <a:gd name="T14" fmla="*/ 11 w 23"/>
                    <a:gd name="T15" fmla="*/ 23 h 47"/>
                    <a:gd name="T16" fmla="*/ 12 w 23"/>
                    <a:gd name="T17" fmla="*/ 23 h 47"/>
                    <a:gd name="T18" fmla="*/ 12 w 23"/>
                    <a:gd name="T19" fmla="*/ 44 h 47"/>
                    <a:gd name="T20" fmla="*/ 15 w 23"/>
                    <a:gd name="T21" fmla="*/ 47 h 47"/>
                    <a:gd name="T22" fmla="*/ 17 w 23"/>
                    <a:gd name="T23" fmla="*/ 44 h 47"/>
                    <a:gd name="T24" fmla="*/ 17 w 23"/>
                    <a:gd name="T25" fmla="*/ 8 h 47"/>
                    <a:gd name="T26" fmla="*/ 19 w 23"/>
                    <a:gd name="T27" fmla="*/ 8 h 47"/>
                    <a:gd name="T28" fmla="*/ 19 w 23"/>
                    <a:gd name="T29" fmla="*/ 21 h 47"/>
                    <a:gd name="T30" fmla="*/ 21 w 23"/>
                    <a:gd name="T31" fmla="*/ 23 h 47"/>
                    <a:gd name="T32" fmla="*/ 23 w 23"/>
                    <a:gd name="T33" fmla="*/ 21 h 47"/>
                    <a:gd name="T34" fmla="*/ 23 w 23"/>
                    <a:gd name="T35" fmla="*/ 7 h 47"/>
                    <a:gd name="T36" fmla="*/ 16 w 23"/>
                    <a:gd name="T37" fmla="*/ 0 h 47"/>
                    <a:gd name="T38" fmla="*/ 6 w 23"/>
                    <a:gd name="T39" fmla="*/ 0 h 47"/>
                    <a:gd name="T40" fmla="*/ 0 w 23"/>
                    <a:gd name="T41" fmla="*/ 7 h 47"/>
                    <a:gd name="T42" fmla="*/ 0 w 23"/>
                    <a:gd name="T43" fmla="*/ 21 h 47"/>
                    <a:gd name="T44" fmla="*/ 2 w 23"/>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2" y="23"/>
                      </a:move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9" y="8"/>
                      </a:cubicBezTo>
                      <a:cubicBezTo>
                        <a:pt x="19" y="8"/>
                        <a:pt x="19" y="20"/>
                        <a:pt x="19" y="21"/>
                      </a:cubicBezTo>
                      <a:cubicBezTo>
                        <a:pt x="19" y="22"/>
                        <a:pt x="19" y="23"/>
                        <a:pt x="21" y="23"/>
                      </a:cubicBezTo>
                      <a:cubicBezTo>
                        <a:pt x="22" y="23"/>
                        <a:pt x="23" y="22"/>
                        <a:pt x="23" y="21"/>
                      </a:cubicBezTo>
                      <a:cubicBezTo>
                        <a:pt x="23" y="20"/>
                        <a:pt x="23" y="8"/>
                        <a:pt x="23" y="7"/>
                      </a:cubicBezTo>
                      <a:cubicBezTo>
                        <a:pt x="23" y="3"/>
                        <a:pt x="20" y="0"/>
                        <a:pt x="16" y="0"/>
                      </a:cubicBezTo>
                      <a:cubicBezTo>
                        <a:pt x="15" y="0"/>
                        <a:pt x="8" y="0"/>
                        <a:pt x="6" y="0"/>
                      </a:cubicBezTo>
                      <a:cubicBezTo>
                        <a:pt x="3" y="0"/>
                        <a:pt x="0" y="3"/>
                        <a:pt x="0" y="7"/>
                      </a:cubicBezTo>
                      <a:cubicBezTo>
                        <a:pt x="0" y="8"/>
                        <a:pt x="0" y="20"/>
                        <a:pt x="0" y="21"/>
                      </a:cubicBezTo>
                      <a:cubicBezTo>
                        <a:pt x="0" y="22"/>
                        <a:pt x="1"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73" name="Oval 1590"/>
                <p:cNvSpPr>
                  <a:spLocks noChangeArrowheads="1"/>
                </p:cNvSpPr>
                <p:nvPr/>
              </p:nvSpPr>
              <p:spPr bwMode="auto">
                <a:xfrm>
                  <a:off x="12517" y="112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74" name="Freeform 1591"/>
                <p:cNvSpPr>
                  <a:spLocks/>
                </p:cNvSpPr>
                <p:nvPr/>
              </p:nvSpPr>
              <p:spPr bwMode="auto">
                <a:xfrm>
                  <a:off x="12304" y="1296"/>
                  <a:ext cx="54" cy="109"/>
                </a:xfrm>
                <a:custGeom>
                  <a:avLst/>
                  <a:gdLst>
                    <a:gd name="T0" fmla="*/ 17 w 23"/>
                    <a:gd name="T1" fmla="*/ 44 h 46"/>
                    <a:gd name="T2" fmla="*/ 17 w 23"/>
                    <a:gd name="T3" fmla="*/ 7 h 46"/>
                    <a:gd name="T4" fmla="*/ 18 w 23"/>
                    <a:gd name="T5" fmla="*/ 7 h 46"/>
                    <a:gd name="T6" fmla="*/ 18 w 23"/>
                    <a:gd name="T7" fmla="*/ 21 h 46"/>
                    <a:gd name="T8" fmla="*/ 21 w 23"/>
                    <a:gd name="T9" fmla="*/ 23 h 46"/>
                    <a:gd name="T10" fmla="*/ 23 w 23"/>
                    <a:gd name="T11" fmla="*/ 21 h 46"/>
                    <a:gd name="T12" fmla="*/ 23 w 23"/>
                    <a:gd name="T13" fmla="*/ 6 h 46"/>
                    <a:gd name="T14" fmla="*/ 17 w 23"/>
                    <a:gd name="T15" fmla="*/ 0 h 46"/>
                    <a:gd name="T16" fmla="*/ 6 w 23"/>
                    <a:gd name="T17" fmla="*/ 0 h 46"/>
                    <a:gd name="T18" fmla="*/ 0 w 23"/>
                    <a:gd name="T19" fmla="*/ 6 h 46"/>
                    <a:gd name="T20" fmla="*/ 0 w 23"/>
                    <a:gd name="T21" fmla="*/ 21 h 46"/>
                    <a:gd name="T22" fmla="*/ 2 w 23"/>
                    <a:gd name="T23" fmla="*/ 23 h 46"/>
                    <a:gd name="T24" fmla="*/ 4 w 23"/>
                    <a:gd name="T25" fmla="*/ 21 h 46"/>
                    <a:gd name="T26" fmla="*/ 4 w 23"/>
                    <a:gd name="T27" fmla="*/ 7 h 46"/>
                    <a:gd name="T28" fmla="*/ 5 w 23"/>
                    <a:gd name="T29" fmla="*/ 7 h 46"/>
                    <a:gd name="T30" fmla="*/ 5 w 23"/>
                    <a:gd name="T31" fmla="*/ 35 h 46"/>
                    <a:gd name="T32" fmla="*/ 11 w 23"/>
                    <a:gd name="T33" fmla="*/ 42 h 46"/>
                    <a:gd name="T34" fmla="*/ 11 w 23"/>
                    <a:gd name="T35" fmla="*/ 23 h 46"/>
                    <a:gd name="T36" fmla="*/ 12 w 23"/>
                    <a:gd name="T37" fmla="*/ 23 h 46"/>
                    <a:gd name="T38" fmla="*/ 12 w 23"/>
                    <a:gd name="T39" fmla="*/ 43 h 46"/>
                    <a:gd name="T40" fmla="*/ 15 w 23"/>
                    <a:gd name="T41" fmla="*/ 46 h 46"/>
                    <a:gd name="T42" fmla="*/ 17 w 23"/>
                    <a:gd name="T43" fmla="*/ 4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46">
                      <a:moveTo>
                        <a:pt x="17" y="44"/>
                      </a:moveTo>
                      <a:cubicBezTo>
                        <a:pt x="17" y="42"/>
                        <a:pt x="17" y="7"/>
                        <a:pt x="17" y="7"/>
                      </a:cubicBezTo>
                      <a:cubicBezTo>
                        <a:pt x="17" y="7"/>
                        <a:pt x="17" y="7"/>
                        <a:pt x="18" y="7"/>
                      </a:cubicBezTo>
                      <a:cubicBezTo>
                        <a:pt x="18" y="7"/>
                        <a:pt x="18" y="19"/>
                        <a:pt x="18" y="21"/>
                      </a:cubicBezTo>
                      <a:cubicBezTo>
                        <a:pt x="18" y="22"/>
                        <a:pt x="19" y="23"/>
                        <a:pt x="21" y="23"/>
                      </a:cubicBezTo>
                      <a:cubicBezTo>
                        <a:pt x="22" y="23"/>
                        <a:pt x="23" y="22"/>
                        <a:pt x="23" y="21"/>
                      </a:cubicBezTo>
                      <a:cubicBezTo>
                        <a:pt x="23" y="19"/>
                        <a:pt x="23" y="8"/>
                        <a:pt x="23" y="6"/>
                      </a:cubicBezTo>
                      <a:cubicBezTo>
                        <a:pt x="23" y="3"/>
                        <a:pt x="20" y="0"/>
                        <a:pt x="17" y="0"/>
                      </a:cubicBezTo>
                      <a:cubicBezTo>
                        <a:pt x="15" y="0"/>
                        <a:pt x="8" y="0"/>
                        <a:pt x="6" y="0"/>
                      </a:cubicBezTo>
                      <a:cubicBezTo>
                        <a:pt x="3" y="0"/>
                        <a:pt x="0" y="3"/>
                        <a:pt x="0" y="6"/>
                      </a:cubicBez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24"/>
                        <a:pt x="5" y="35"/>
                      </a:cubicBezTo>
                      <a:cubicBezTo>
                        <a:pt x="7" y="37"/>
                        <a:pt x="9" y="39"/>
                        <a:pt x="11" y="42"/>
                      </a:cubicBezTo>
                      <a:cubicBezTo>
                        <a:pt x="11" y="36"/>
                        <a:pt x="11" y="23"/>
                        <a:pt x="11" y="23"/>
                      </a:cubicBezTo>
                      <a:cubicBezTo>
                        <a:pt x="11" y="23"/>
                        <a:pt x="11" y="23"/>
                        <a:pt x="12" y="23"/>
                      </a:cubicBezTo>
                      <a:cubicBezTo>
                        <a:pt x="12" y="23"/>
                        <a:pt x="12" y="38"/>
                        <a:pt x="12" y="43"/>
                      </a:cubicBezTo>
                      <a:cubicBezTo>
                        <a:pt x="13" y="44"/>
                        <a:pt x="14" y="45"/>
                        <a:pt x="15" y="46"/>
                      </a:cubicBezTo>
                      <a:cubicBezTo>
                        <a:pt x="17" y="46"/>
                        <a:pt x="17" y="45"/>
                        <a:pt x="17"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75" name="Freeform 1592"/>
                <p:cNvSpPr>
                  <a:spLocks/>
                </p:cNvSpPr>
                <p:nvPr/>
              </p:nvSpPr>
              <p:spPr bwMode="auto">
                <a:xfrm>
                  <a:off x="12304" y="1159"/>
                  <a:ext cx="59" cy="99"/>
                </a:xfrm>
                <a:custGeom>
                  <a:avLst/>
                  <a:gdLst>
                    <a:gd name="T0" fmla="*/ 0 w 25"/>
                    <a:gd name="T1" fmla="*/ 24 h 42"/>
                    <a:gd name="T2" fmla="*/ 6 w 25"/>
                    <a:gd name="T3" fmla="*/ 24 h 42"/>
                    <a:gd name="T4" fmla="*/ 6 w 25"/>
                    <a:gd name="T5" fmla="*/ 40 h 42"/>
                    <a:gd name="T6" fmla="*/ 8 w 25"/>
                    <a:gd name="T7" fmla="*/ 42 h 42"/>
                    <a:gd name="T8" fmla="*/ 11 w 25"/>
                    <a:gd name="T9" fmla="*/ 40 h 42"/>
                    <a:gd name="T10" fmla="*/ 11 w 25"/>
                    <a:gd name="T11" fmla="*/ 24 h 42"/>
                    <a:gd name="T12" fmla="*/ 12 w 25"/>
                    <a:gd name="T13" fmla="*/ 24 h 42"/>
                    <a:gd name="T14" fmla="*/ 12 w 25"/>
                    <a:gd name="T15" fmla="*/ 40 h 42"/>
                    <a:gd name="T16" fmla="*/ 14 w 25"/>
                    <a:gd name="T17" fmla="*/ 42 h 42"/>
                    <a:gd name="T18" fmla="*/ 16 w 25"/>
                    <a:gd name="T19" fmla="*/ 40 h 42"/>
                    <a:gd name="T20" fmla="*/ 16 w 25"/>
                    <a:gd name="T21" fmla="*/ 24 h 42"/>
                    <a:gd name="T22" fmla="*/ 22 w 25"/>
                    <a:gd name="T23" fmla="*/ 24 h 42"/>
                    <a:gd name="T24" fmla="*/ 16 w 25"/>
                    <a:gd name="T25" fmla="*/ 2 h 42"/>
                    <a:gd name="T26" fmla="*/ 17 w 25"/>
                    <a:gd name="T27" fmla="*/ 2 h 42"/>
                    <a:gd name="T28" fmla="*/ 21 w 25"/>
                    <a:gd name="T29" fmla="*/ 15 h 42"/>
                    <a:gd name="T30" fmla="*/ 23 w 25"/>
                    <a:gd name="T31" fmla="*/ 16 h 42"/>
                    <a:gd name="T32" fmla="*/ 24 w 25"/>
                    <a:gd name="T33" fmla="*/ 14 h 42"/>
                    <a:gd name="T34" fmla="*/ 20 w 25"/>
                    <a:gd name="T35" fmla="*/ 0 h 42"/>
                    <a:gd name="T36" fmla="*/ 5 w 25"/>
                    <a:gd name="T37" fmla="*/ 6 h 42"/>
                    <a:gd name="T38" fmla="*/ 0 w 25"/>
                    <a:gd name="T39" fmla="*/ 2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42">
                      <a:moveTo>
                        <a:pt x="0" y="24"/>
                      </a:moveTo>
                      <a:cubicBezTo>
                        <a:pt x="6" y="24"/>
                        <a:pt x="6" y="24"/>
                        <a:pt x="6" y="24"/>
                      </a:cubicBezTo>
                      <a:cubicBezTo>
                        <a:pt x="6" y="31"/>
                        <a:pt x="6" y="39"/>
                        <a:pt x="6" y="40"/>
                      </a:cubicBezTo>
                      <a:cubicBezTo>
                        <a:pt x="6" y="41"/>
                        <a:pt x="7" y="42"/>
                        <a:pt x="8" y="42"/>
                      </a:cubicBezTo>
                      <a:cubicBezTo>
                        <a:pt x="10" y="42"/>
                        <a:pt x="11" y="41"/>
                        <a:pt x="11" y="40"/>
                      </a:cubicBezTo>
                      <a:cubicBezTo>
                        <a:pt x="11" y="38"/>
                        <a:pt x="11" y="24"/>
                        <a:pt x="11" y="24"/>
                      </a:cubicBezTo>
                      <a:cubicBezTo>
                        <a:pt x="12" y="24"/>
                        <a:pt x="12" y="24"/>
                        <a:pt x="12" y="24"/>
                      </a:cubicBezTo>
                      <a:cubicBezTo>
                        <a:pt x="12" y="24"/>
                        <a:pt x="12" y="38"/>
                        <a:pt x="12" y="40"/>
                      </a:cubicBezTo>
                      <a:cubicBezTo>
                        <a:pt x="12" y="41"/>
                        <a:pt x="13" y="42"/>
                        <a:pt x="14" y="42"/>
                      </a:cubicBezTo>
                      <a:cubicBezTo>
                        <a:pt x="15" y="42"/>
                        <a:pt x="16" y="41"/>
                        <a:pt x="16" y="40"/>
                      </a:cubicBezTo>
                      <a:cubicBezTo>
                        <a:pt x="16" y="39"/>
                        <a:pt x="16" y="31"/>
                        <a:pt x="16" y="24"/>
                      </a:cubicBezTo>
                      <a:cubicBezTo>
                        <a:pt x="22" y="24"/>
                        <a:pt x="22" y="24"/>
                        <a:pt x="22" y="24"/>
                      </a:cubicBezTo>
                      <a:cubicBezTo>
                        <a:pt x="16" y="2"/>
                        <a:pt x="16" y="2"/>
                        <a:pt x="16" y="2"/>
                      </a:cubicBezTo>
                      <a:cubicBezTo>
                        <a:pt x="17" y="2"/>
                        <a:pt x="17" y="2"/>
                        <a:pt x="17" y="2"/>
                      </a:cubicBezTo>
                      <a:cubicBezTo>
                        <a:pt x="17" y="2"/>
                        <a:pt x="20" y="13"/>
                        <a:pt x="21" y="15"/>
                      </a:cubicBezTo>
                      <a:cubicBezTo>
                        <a:pt x="21" y="16"/>
                        <a:pt x="22" y="16"/>
                        <a:pt x="23" y="16"/>
                      </a:cubicBezTo>
                      <a:cubicBezTo>
                        <a:pt x="24" y="16"/>
                        <a:pt x="25" y="15"/>
                        <a:pt x="24" y="14"/>
                      </a:cubicBezTo>
                      <a:cubicBezTo>
                        <a:pt x="24" y="13"/>
                        <a:pt x="22" y="6"/>
                        <a:pt x="20" y="0"/>
                      </a:cubicBezTo>
                      <a:cubicBezTo>
                        <a:pt x="15" y="2"/>
                        <a:pt x="10" y="3"/>
                        <a:pt x="5" y="6"/>
                      </a:cubicBezTo>
                      <a:cubicBezTo>
                        <a:pt x="0" y="24"/>
                        <a:pt x="0" y="24"/>
                        <a:pt x="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76" name="Freeform 1593"/>
                <p:cNvSpPr>
                  <a:spLocks/>
                </p:cNvSpPr>
                <p:nvPr/>
              </p:nvSpPr>
              <p:spPr bwMode="auto">
                <a:xfrm>
                  <a:off x="12370" y="1147"/>
                  <a:ext cx="52" cy="111"/>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8 w 22"/>
                    <a:gd name="T13" fmla="*/ 47 h 47"/>
                    <a:gd name="T14" fmla="*/ 10 w 22"/>
                    <a:gd name="T15" fmla="*/ 44 h 47"/>
                    <a:gd name="T16" fmla="*/ 10 w 22"/>
                    <a:gd name="T17" fmla="*/ 23 h 47"/>
                    <a:gd name="T18" fmla="*/ 11 w 22"/>
                    <a:gd name="T19" fmla="*/ 23 h 47"/>
                    <a:gd name="T20" fmla="*/ 11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7 h 47"/>
                    <a:gd name="T38" fmla="*/ 16 w 22"/>
                    <a:gd name="T39" fmla="*/ 0 h 47"/>
                    <a:gd name="T40" fmla="*/ 14 w 22"/>
                    <a:gd name="T41" fmla="*/ 0 h 47"/>
                    <a:gd name="T42" fmla="*/ 1 w 22"/>
                    <a:gd name="T43" fmla="*/ 3 h 47"/>
                    <a:gd name="T44" fmla="*/ 0 w 22"/>
                    <a:gd name="T45" fmla="*/ 7 h 47"/>
                    <a:gd name="T46" fmla="*/ 0 w 22"/>
                    <a:gd name="T47"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47">
                      <a:moveTo>
                        <a:pt x="0" y="21"/>
                      </a:moveTo>
                      <a:cubicBezTo>
                        <a:pt x="0" y="22"/>
                        <a:pt x="0"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7"/>
                      </a:cubicBezTo>
                      <a:cubicBezTo>
                        <a:pt x="22" y="3"/>
                        <a:pt x="19" y="0"/>
                        <a:pt x="16" y="0"/>
                      </a:cubicBezTo>
                      <a:cubicBezTo>
                        <a:pt x="16" y="0"/>
                        <a:pt x="15" y="0"/>
                        <a:pt x="14" y="0"/>
                      </a:cubicBezTo>
                      <a:cubicBezTo>
                        <a:pt x="9" y="1"/>
                        <a:pt x="5" y="2"/>
                        <a:pt x="1" y="3"/>
                      </a:cubicBezTo>
                      <a:cubicBezTo>
                        <a:pt x="0" y="4"/>
                        <a:pt x="0" y="5"/>
                        <a:pt x="0" y="7"/>
                      </a:cubicBezTo>
                      <a:cubicBezTo>
                        <a:pt x="0" y="8"/>
                        <a:pt x="0" y="20"/>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77" name="Freeform 1594"/>
                <p:cNvSpPr>
                  <a:spLocks/>
                </p:cNvSpPr>
                <p:nvPr/>
              </p:nvSpPr>
              <p:spPr bwMode="auto">
                <a:xfrm>
                  <a:off x="12299" y="1173"/>
                  <a:ext cx="14" cy="24"/>
                </a:xfrm>
                <a:custGeom>
                  <a:avLst/>
                  <a:gdLst>
                    <a:gd name="T0" fmla="*/ 1 w 6"/>
                    <a:gd name="T1" fmla="*/ 10 h 10"/>
                    <a:gd name="T2" fmla="*/ 3 w 6"/>
                    <a:gd name="T3" fmla="*/ 9 h 10"/>
                    <a:gd name="T4" fmla="*/ 6 w 6"/>
                    <a:gd name="T5" fmla="*/ 0 h 10"/>
                    <a:gd name="T6" fmla="*/ 1 w 6"/>
                    <a:gd name="T7" fmla="*/ 3 h 10"/>
                    <a:gd name="T8" fmla="*/ 0 w 6"/>
                    <a:gd name="T9" fmla="*/ 8 h 10"/>
                    <a:gd name="T10" fmla="*/ 1 w 6"/>
                    <a:gd name="T11" fmla="*/ 10 h 10"/>
                  </a:gdLst>
                  <a:ahLst/>
                  <a:cxnLst>
                    <a:cxn ang="0">
                      <a:pos x="T0" y="T1"/>
                    </a:cxn>
                    <a:cxn ang="0">
                      <a:pos x="T2" y="T3"/>
                    </a:cxn>
                    <a:cxn ang="0">
                      <a:pos x="T4" y="T5"/>
                    </a:cxn>
                    <a:cxn ang="0">
                      <a:pos x="T6" y="T7"/>
                    </a:cxn>
                    <a:cxn ang="0">
                      <a:pos x="T8" y="T9"/>
                    </a:cxn>
                    <a:cxn ang="0">
                      <a:pos x="T10" y="T11"/>
                    </a:cxn>
                  </a:cxnLst>
                  <a:rect l="0" t="0" r="r" b="b"/>
                  <a:pathLst>
                    <a:path w="6" h="10">
                      <a:moveTo>
                        <a:pt x="1" y="10"/>
                      </a:moveTo>
                      <a:cubicBezTo>
                        <a:pt x="2" y="10"/>
                        <a:pt x="3" y="10"/>
                        <a:pt x="3" y="9"/>
                      </a:cubicBezTo>
                      <a:cubicBezTo>
                        <a:pt x="4" y="8"/>
                        <a:pt x="5" y="4"/>
                        <a:pt x="6" y="0"/>
                      </a:cubicBezTo>
                      <a:cubicBezTo>
                        <a:pt x="4" y="1"/>
                        <a:pt x="3" y="2"/>
                        <a:pt x="1" y="3"/>
                      </a:cubicBezTo>
                      <a:cubicBezTo>
                        <a:pt x="1" y="5"/>
                        <a:pt x="0" y="7"/>
                        <a:pt x="0" y="8"/>
                      </a:cubicBezTo>
                      <a:cubicBezTo>
                        <a:pt x="0" y="9"/>
                        <a:pt x="0" y="10"/>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78" name="Freeform 1595"/>
                <p:cNvSpPr>
                  <a:spLocks/>
                </p:cNvSpPr>
                <p:nvPr/>
              </p:nvSpPr>
              <p:spPr bwMode="auto">
                <a:xfrm>
                  <a:off x="12264" y="1270"/>
                  <a:ext cx="12" cy="21"/>
                </a:xfrm>
                <a:custGeom>
                  <a:avLst/>
                  <a:gdLst>
                    <a:gd name="T0" fmla="*/ 5 w 5"/>
                    <a:gd name="T1" fmla="*/ 5 h 9"/>
                    <a:gd name="T2" fmla="*/ 1 w 5"/>
                    <a:gd name="T3" fmla="*/ 0 h 9"/>
                    <a:gd name="T4" fmla="*/ 0 w 5"/>
                    <a:gd name="T5" fmla="*/ 0 h 9"/>
                    <a:gd name="T6" fmla="*/ 2 w 5"/>
                    <a:gd name="T7" fmla="*/ 9 h 9"/>
                    <a:gd name="T8" fmla="*/ 5 w 5"/>
                    <a:gd name="T9" fmla="*/ 5 h 9"/>
                  </a:gdLst>
                  <a:ahLst/>
                  <a:cxnLst>
                    <a:cxn ang="0">
                      <a:pos x="T0" y="T1"/>
                    </a:cxn>
                    <a:cxn ang="0">
                      <a:pos x="T2" y="T3"/>
                    </a:cxn>
                    <a:cxn ang="0">
                      <a:pos x="T4" y="T5"/>
                    </a:cxn>
                    <a:cxn ang="0">
                      <a:pos x="T6" y="T7"/>
                    </a:cxn>
                    <a:cxn ang="0">
                      <a:pos x="T8" y="T9"/>
                    </a:cxn>
                  </a:cxnLst>
                  <a:rect l="0" t="0" r="r" b="b"/>
                  <a:pathLst>
                    <a:path w="5" h="9">
                      <a:moveTo>
                        <a:pt x="5" y="5"/>
                      </a:moveTo>
                      <a:cubicBezTo>
                        <a:pt x="5" y="2"/>
                        <a:pt x="3" y="0"/>
                        <a:pt x="1" y="0"/>
                      </a:cubicBezTo>
                      <a:cubicBezTo>
                        <a:pt x="0" y="0"/>
                        <a:pt x="0" y="0"/>
                        <a:pt x="0" y="0"/>
                      </a:cubicBezTo>
                      <a:cubicBezTo>
                        <a:pt x="1" y="3"/>
                        <a:pt x="1" y="6"/>
                        <a:pt x="2" y="9"/>
                      </a:cubicBezTo>
                      <a:cubicBezTo>
                        <a:pt x="4" y="9"/>
                        <a:pt x="5" y="7"/>
                        <a:pt x="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79" name="Freeform 1596"/>
                <p:cNvSpPr>
                  <a:spLocks/>
                </p:cNvSpPr>
                <p:nvPr/>
              </p:nvSpPr>
              <p:spPr bwMode="auto">
                <a:xfrm>
                  <a:off x="12261" y="1230"/>
                  <a:ext cx="3" cy="26"/>
                </a:xfrm>
                <a:custGeom>
                  <a:avLst/>
                  <a:gdLst>
                    <a:gd name="T0" fmla="*/ 1 w 1"/>
                    <a:gd name="T1" fmla="*/ 0 h 11"/>
                    <a:gd name="T2" fmla="*/ 0 w 1"/>
                    <a:gd name="T3" fmla="*/ 11 h 11"/>
                    <a:gd name="T4" fmla="*/ 1 w 1"/>
                    <a:gd name="T5" fmla="*/ 9 h 11"/>
                    <a:gd name="T6" fmla="*/ 1 w 1"/>
                    <a:gd name="T7" fmla="*/ 0 h 11"/>
                  </a:gdLst>
                  <a:ahLst/>
                  <a:cxnLst>
                    <a:cxn ang="0">
                      <a:pos x="T0" y="T1"/>
                    </a:cxn>
                    <a:cxn ang="0">
                      <a:pos x="T2" y="T3"/>
                    </a:cxn>
                    <a:cxn ang="0">
                      <a:pos x="T4" y="T5"/>
                    </a:cxn>
                    <a:cxn ang="0">
                      <a:pos x="T6" y="T7"/>
                    </a:cxn>
                  </a:cxnLst>
                  <a:rect l="0" t="0" r="r" b="b"/>
                  <a:pathLst>
                    <a:path w="1" h="11">
                      <a:moveTo>
                        <a:pt x="1" y="0"/>
                      </a:moveTo>
                      <a:cubicBezTo>
                        <a:pt x="0" y="3"/>
                        <a:pt x="0" y="7"/>
                        <a:pt x="0" y="11"/>
                      </a:cubicBezTo>
                      <a:cubicBezTo>
                        <a:pt x="1" y="11"/>
                        <a:pt x="1" y="10"/>
                        <a:pt x="1" y="9"/>
                      </a:cubicBezTo>
                      <a:cubicBezTo>
                        <a:pt x="1" y="8"/>
                        <a:pt x="1" y="4"/>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80" name="Freeform 1597"/>
                <p:cNvSpPr>
                  <a:spLocks/>
                </p:cNvSpPr>
                <p:nvPr/>
              </p:nvSpPr>
              <p:spPr bwMode="auto">
                <a:xfrm>
                  <a:off x="12451" y="1133"/>
                  <a:ext cx="21" cy="12"/>
                </a:xfrm>
                <a:custGeom>
                  <a:avLst/>
                  <a:gdLst>
                    <a:gd name="T0" fmla="*/ 5 w 9"/>
                    <a:gd name="T1" fmla="*/ 5 h 5"/>
                    <a:gd name="T2" fmla="*/ 9 w 9"/>
                    <a:gd name="T3" fmla="*/ 1 h 5"/>
                    <a:gd name="T4" fmla="*/ 9 w 9"/>
                    <a:gd name="T5" fmla="*/ 0 h 5"/>
                    <a:gd name="T6" fmla="*/ 0 w 9"/>
                    <a:gd name="T7" fmla="*/ 2 h 5"/>
                    <a:gd name="T8" fmla="*/ 5 w 9"/>
                    <a:gd name="T9" fmla="*/ 5 h 5"/>
                  </a:gdLst>
                  <a:ahLst/>
                  <a:cxnLst>
                    <a:cxn ang="0">
                      <a:pos x="T0" y="T1"/>
                    </a:cxn>
                    <a:cxn ang="0">
                      <a:pos x="T2" y="T3"/>
                    </a:cxn>
                    <a:cxn ang="0">
                      <a:pos x="T4" y="T5"/>
                    </a:cxn>
                    <a:cxn ang="0">
                      <a:pos x="T6" y="T7"/>
                    </a:cxn>
                    <a:cxn ang="0">
                      <a:pos x="T8" y="T9"/>
                    </a:cxn>
                  </a:cxnLst>
                  <a:rect l="0" t="0" r="r" b="b"/>
                  <a:pathLst>
                    <a:path w="9" h="5">
                      <a:moveTo>
                        <a:pt x="5" y="5"/>
                      </a:moveTo>
                      <a:cubicBezTo>
                        <a:pt x="7" y="5"/>
                        <a:pt x="9" y="3"/>
                        <a:pt x="9" y="1"/>
                      </a:cubicBezTo>
                      <a:cubicBezTo>
                        <a:pt x="9" y="0"/>
                        <a:pt x="9" y="0"/>
                        <a:pt x="9" y="0"/>
                      </a:cubicBezTo>
                      <a:cubicBezTo>
                        <a:pt x="6" y="1"/>
                        <a:pt x="3" y="1"/>
                        <a:pt x="0" y="2"/>
                      </a:cubicBezTo>
                      <a:cubicBezTo>
                        <a:pt x="1" y="4"/>
                        <a:pt x="3" y="5"/>
                        <a:pt x="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81" name="Freeform 1598"/>
                <p:cNvSpPr>
                  <a:spLocks/>
                </p:cNvSpPr>
                <p:nvPr/>
              </p:nvSpPr>
              <p:spPr bwMode="auto">
                <a:xfrm>
                  <a:off x="12266" y="1197"/>
                  <a:ext cx="14" cy="61"/>
                </a:xfrm>
                <a:custGeom>
                  <a:avLst/>
                  <a:gdLst>
                    <a:gd name="T0" fmla="*/ 0 w 6"/>
                    <a:gd name="T1" fmla="*/ 23 h 26"/>
                    <a:gd name="T2" fmla="*/ 3 w 6"/>
                    <a:gd name="T3" fmla="*/ 26 h 26"/>
                    <a:gd name="T4" fmla="*/ 6 w 6"/>
                    <a:gd name="T5" fmla="*/ 23 h 26"/>
                    <a:gd name="T6" fmla="*/ 6 w 6"/>
                    <a:gd name="T7" fmla="*/ 0 h 26"/>
                    <a:gd name="T8" fmla="*/ 0 w 6"/>
                    <a:gd name="T9" fmla="*/ 10 h 26"/>
                    <a:gd name="T10" fmla="*/ 0 w 6"/>
                    <a:gd name="T11" fmla="*/ 23 h 26"/>
                  </a:gdLst>
                  <a:ahLst/>
                  <a:cxnLst>
                    <a:cxn ang="0">
                      <a:pos x="T0" y="T1"/>
                    </a:cxn>
                    <a:cxn ang="0">
                      <a:pos x="T2" y="T3"/>
                    </a:cxn>
                    <a:cxn ang="0">
                      <a:pos x="T4" y="T5"/>
                    </a:cxn>
                    <a:cxn ang="0">
                      <a:pos x="T6" y="T7"/>
                    </a:cxn>
                    <a:cxn ang="0">
                      <a:pos x="T8" y="T9"/>
                    </a:cxn>
                    <a:cxn ang="0">
                      <a:pos x="T10" y="T11"/>
                    </a:cxn>
                  </a:cxnLst>
                  <a:rect l="0" t="0" r="r" b="b"/>
                  <a:pathLst>
                    <a:path w="6" h="26">
                      <a:moveTo>
                        <a:pt x="0" y="23"/>
                      </a:moveTo>
                      <a:cubicBezTo>
                        <a:pt x="0" y="25"/>
                        <a:pt x="1" y="26"/>
                        <a:pt x="3" y="26"/>
                      </a:cubicBezTo>
                      <a:cubicBezTo>
                        <a:pt x="4" y="26"/>
                        <a:pt x="6" y="25"/>
                        <a:pt x="6" y="23"/>
                      </a:cubicBezTo>
                      <a:cubicBezTo>
                        <a:pt x="6" y="22"/>
                        <a:pt x="6" y="10"/>
                        <a:pt x="6" y="0"/>
                      </a:cubicBezTo>
                      <a:cubicBezTo>
                        <a:pt x="3" y="3"/>
                        <a:pt x="1" y="7"/>
                        <a:pt x="0" y="10"/>
                      </a:cubicBezTo>
                      <a:cubicBezTo>
                        <a:pt x="0" y="16"/>
                        <a:pt x="0" y="22"/>
                        <a:pt x="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82" name="Freeform 1599"/>
                <p:cNvSpPr>
                  <a:spLocks/>
                </p:cNvSpPr>
                <p:nvPr/>
              </p:nvSpPr>
              <p:spPr bwMode="auto">
                <a:xfrm>
                  <a:off x="12283" y="1187"/>
                  <a:ext cx="9" cy="14"/>
                </a:xfrm>
                <a:custGeom>
                  <a:avLst/>
                  <a:gdLst>
                    <a:gd name="T0" fmla="*/ 0 w 4"/>
                    <a:gd name="T1" fmla="*/ 3 h 6"/>
                    <a:gd name="T2" fmla="*/ 0 w 4"/>
                    <a:gd name="T3" fmla="*/ 4 h 6"/>
                    <a:gd name="T4" fmla="*/ 2 w 4"/>
                    <a:gd name="T5" fmla="*/ 6 h 6"/>
                    <a:gd name="T6" fmla="*/ 4 w 4"/>
                    <a:gd name="T7" fmla="*/ 4 h 6"/>
                    <a:gd name="T8" fmla="*/ 4 w 4"/>
                    <a:gd name="T9" fmla="*/ 0 h 6"/>
                    <a:gd name="T10" fmla="*/ 1 w 4"/>
                    <a:gd name="T11" fmla="*/ 2 h 6"/>
                    <a:gd name="T12" fmla="*/ 0 w 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3"/>
                      </a:moveTo>
                      <a:cubicBezTo>
                        <a:pt x="0" y="4"/>
                        <a:pt x="0" y="4"/>
                        <a:pt x="0" y="4"/>
                      </a:cubicBezTo>
                      <a:cubicBezTo>
                        <a:pt x="0" y="5"/>
                        <a:pt x="1" y="6"/>
                        <a:pt x="2" y="6"/>
                      </a:cubicBezTo>
                      <a:cubicBezTo>
                        <a:pt x="3" y="6"/>
                        <a:pt x="4" y="5"/>
                        <a:pt x="4" y="4"/>
                      </a:cubicBezTo>
                      <a:cubicBezTo>
                        <a:pt x="4" y="4"/>
                        <a:pt x="4" y="2"/>
                        <a:pt x="4" y="0"/>
                      </a:cubicBezTo>
                      <a:cubicBezTo>
                        <a:pt x="3" y="0"/>
                        <a:pt x="2" y="1"/>
                        <a:pt x="1" y="2"/>
                      </a:cubicBezTo>
                      <a:cubicBezTo>
                        <a:pt x="1" y="2"/>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83" name="Freeform 1600"/>
                <p:cNvSpPr>
                  <a:spLocks/>
                </p:cNvSpPr>
                <p:nvPr/>
              </p:nvSpPr>
              <p:spPr bwMode="auto">
                <a:xfrm>
                  <a:off x="12560" y="1443"/>
                  <a:ext cx="63" cy="111"/>
                </a:xfrm>
                <a:custGeom>
                  <a:avLst/>
                  <a:gdLst>
                    <a:gd name="T0" fmla="*/ 23 w 27"/>
                    <a:gd name="T1" fmla="*/ 4 h 47"/>
                    <a:gd name="T2" fmla="*/ 18 w 27"/>
                    <a:gd name="T3" fmla="*/ 0 h 47"/>
                    <a:gd name="T4" fmla="*/ 10 w 27"/>
                    <a:gd name="T5" fmla="*/ 0 h 47"/>
                    <a:gd name="T6" fmla="*/ 5 w 27"/>
                    <a:gd name="T7" fmla="*/ 4 h 47"/>
                    <a:gd name="T8" fmla="*/ 1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4 w 27"/>
                    <a:gd name="T27" fmla="*/ 44 h 47"/>
                    <a:gd name="T28" fmla="*/ 14 w 27"/>
                    <a:gd name="T29" fmla="*/ 28 h 47"/>
                    <a:gd name="T30" fmla="*/ 15 w 27"/>
                    <a:gd name="T31" fmla="*/ 28 h 47"/>
                    <a:gd name="T32" fmla="*/ 15 w 27"/>
                    <a:gd name="T33" fmla="*/ 44 h 47"/>
                    <a:gd name="T34" fmla="*/ 17 w 27"/>
                    <a:gd name="T35" fmla="*/ 47 h 47"/>
                    <a:gd name="T36" fmla="*/ 19 w 27"/>
                    <a:gd name="T37" fmla="*/ 44 h 47"/>
                    <a:gd name="T38" fmla="*/ 19 w 27"/>
                    <a:gd name="T39" fmla="*/ 28 h 47"/>
                    <a:gd name="T40" fmla="*/ 25 w 27"/>
                    <a:gd name="T41" fmla="*/ 28 h 47"/>
                    <a:gd name="T42" fmla="*/ 19 w 27"/>
                    <a:gd name="T43" fmla="*/ 6 h 47"/>
                    <a:gd name="T44" fmla="*/ 20 w 27"/>
                    <a:gd name="T45" fmla="*/ 6 h 47"/>
                    <a:gd name="T46" fmla="*/ 24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3"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4" y="46"/>
                        <a:pt x="14" y="44"/>
                      </a:cubicBezTo>
                      <a:cubicBezTo>
                        <a:pt x="14" y="43"/>
                        <a:pt x="14" y="28"/>
                        <a:pt x="14" y="28"/>
                      </a:cubicBezTo>
                      <a:cubicBezTo>
                        <a:pt x="15" y="28"/>
                        <a:pt x="15" y="28"/>
                        <a:pt x="15" y="28"/>
                      </a:cubicBezTo>
                      <a:cubicBezTo>
                        <a:pt x="15" y="28"/>
                        <a:pt x="15" y="43"/>
                        <a:pt x="15" y="44"/>
                      </a:cubicBezTo>
                      <a:cubicBezTo>
                        <a:pt x="15"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84" name="Freeform 1601"/>
                <p:cNvSpPr>
                  <a:spLocks/>
                </p:cNvSpPr>
                <p:nvPr/>
              </p:nvSpPr>
              <p:spPr bwMode="auto">
                <a:xfrm>
                  <a:off x="12496" y="1296"/>
                  <a:ext cx="64" cy="111"/>
                </a:xfrm>
                <a:custGeom>
                  <a:avLst/>
                  <a:gdLst>
                    <a:gd name="T0" fmla="*/ 27 w 27"/>
                    <a:gd name="T1" fmla="*/ 18 h 47"/>
                    <a:gd name="T2" fmla="*/ 23 w 27"/>
                    <a:gd name="T3" fmla="*/ 4 h 47"/>
                    <a:gd name="T4" fmla="*/ 17 w 27"/>
                    <a:gd name="T5" fmla="*/ 0 h 47"/>
                    <a:gd name="T6" fmla="*/ 10 w 27"/>
                    <a:gd name="T7" fmla="*/ 0 h 47"/>
                    <a:gd name="T8" fmla="*/ 4 w 27"/>
                    <a:gd name="T9" fmla="*/ 4 h 47"/>
                    <a:gd name="T10" fmla="*/ 0 w 27"/>
                    <a:gd name="T11" fmla="*/ 18 h 47"/>
                    <a:gd name="T12" fmla="*/ 1 w 27"/>
                    <a:gd name="T13" fmla="*/ 21 h 47"/>
                    <a:gd name="T14" fmla="*/ 4 w 27"/>
                    <a:gd name="T15" fmla="*/ 19 h 47"/>
                    <a:gd name="T16" fmla="*/ 7 w 27"/>
                    <a:gd name="T17" fmla="*/ 6 h 47"/>
                    <a:gd name="T18" fmla="*/ 9 w 27"/>
                    <a:gd name="T19" fmla="*/ 6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5 w 27"/>
                    <a:gd name="T43" fmla="*/ 28 h 47"/>
                    <a:gd name="T44" fmla="*/ 18 w 27"/>
                    <a:gd name="T45" fmla="*/ 6 h 47"/>
                    <a:gd name="T46" fmla="*/ 19 w 27"/>
                    <a:gd name="T47" fmla="*/ 6 h 47"/>
                    <a:gd name="T48" fmla="*/ 23 w 27"/>
                    <a:gd name="T49" fmla="*/ 19 h 47"/>
                    <a:gd name="T50" fmla="*/ 25 w 27"/>
                    <a:gd name="T51" fmla="*/ 21 h 47"/>
                    <a:gd name="T52" fmla="*/ 27 w 27"/>
                    <a:gd name="T53"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8"/>
                      </a:moveTo>
                      <a:cubicBezTo>
                        <a:pt x="26" y="18"/>
                        <a:pt x="24" y="10"/>
                        <a:pt x="23" y="4"/>
                      </a:cubicBezTo>
                      <a:cubicBezTo>
                        <a:pt x="22" y="2"/>
                        <a:pt x="19" y="0"/>
                        <a:pt x="17" y="0"/>
                      </a:cubicBezTo>
                      <a:cubicBezTo>
                        <a:pt x="16" y="0"/>
                        <a:pt x="11" y="0"/>
                        <a:pt x="10" y="0"/>
                      </a:cubicBezTo>
                      <a:cubicBezTo>
                        <a:pt x="7" y="0"/>
                        <a:pt x="5" y="2"/>
                        <a:pt x="4" y="4"/>
                      </a:cubicBezTo>
                      <a:cubicBezTo>
                        <a:pt x="2" y="10"/>
                        <a:pt x="0" y="18"/>
                        <a:pt x="0" y="18"/>
                      </a:cubicBezTo>
                      <a:cubicBezTo>
                        <a:pt x="0" y="19"/>
                        <a:pt x="0" y="20"/>
                        <a:pt x="1" y="21"/>
                      </a:cubicBezTo>
                      <a:cubicBezTo>
                        <a:pt x="2" y="21"/>
                        <a:pt x="3" y="20"/>
                        <a:pt x="4" y="19"/>
                      </a:cubicBezTo>
                      <a:cubicBezTo>
                        <a:pt x="4" y="18"/>
                        <a:pt x="7" y="6"/>
                        <a:pt x="7" y="6"/>
                      </a:cubicBezTo>
                      <a:cubicBezTo>
                        <a:pt x="9" y="6"/>
                        <a:pt x="9" y="6"/>
                        <a:pt x="9" y="6"/>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1"/>
                      </a:cubicBezTo>
                      <a:cubicBezTo>
                        <a:pt x="26" y="20"/>
                        <a:pt x="27" y="19"/>
                        <a:pt x="2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85" name="Freeform 1602"/>
                <p:cNvSpPr>
                  <a:spLocks/>
                </p:cNvSpPr>
                <p:nvPr/>
              </p:nvSpPr>
              <p:spPr bwMode="auto">
                <a:xfrm>
                  <a:off x="12567" y="1296"/>
                  <a:ext cx="52" cy="111"/>
                </a:xfrm>
                <a:custGeom>
                  <a:avLst/>
                  <a:gdLst>
                    <a:gd name="T0" fmla="*/ 0 w 22"/>
                    <a:gd name="T1" fmla="*/ 6 h 47"/>
                    <a:gd name="T2" fmla="*/ 0 w 22"/>
                    <a:gd name="T3" fmla="*/ 21 h 47"/>
                    <a:gd name="T4" fmla="*/ 2 w 22"/>
                    <a:gd name="T5" fmla="*/ 23 h 47"/>
                    <a:gd name="T6" fmla="*/ 4 w 22"/>
                    <a:gd name="T7" fmla="*/ 21 h 47"/>
                    <a:gd name="T8" fmla="*/ 4 w 22"/>
                    <a:gd name="T9" fmla="*/ 7 h 47"/>
                    <a:gd name="T10" fmla="*/ 5 w 22"/>
                    <a:gd name="T11" fmla="*/ 7 h 47"/>
                    <a:gd name="T12" fmla="*/ 5 w 22"/>
                    <a:gd name="T13" fmla="*/ 44 h 47"/>
                    <a:gd name="T14" fmla="*/ 8 w 22"/>
                    <a:gd name="T15" fmla="*/ 47 h 47"/>
                    <a:gd name="T16" fmla="*/ 10 w 22"/>
                    <a:gd name="T17" fmla="*/ 44 h 47"/>
                    <a:gd name="T18" fmla="*/ 10 w 22"/>
                    <a:gd name="T19" fmla="*/ 23 h 47"/>
                    <a:gd name="T20" fmla="*/ 12 w 22"/>
                    <a:gd name="T21" fmla="*/ 23 h 47"/>
                    <a:gd name="T22" fmla="*/ 12 w 22"/>
                    <a:gd name="T23" fmla="*/ 44 h 47"/>
                    <a:gd name="T24" fmla="*/ 14 w 22"/>
                    <a:gd name="T25" fmla="*/ 47 h 47"/>
                    <a:gd name="T26" fmla="*/ 17 w 22"/>
                    <a:gd name="T27" fmla="*/ 44 h 47"/>
                    <a:gd name="T28" fmla="*/ 17 w 22"/>
                    <a:gd name="T29" fmla="*/ 7 h 47"/>
                    <a:gd name="T30" fmla="*/ 18 w 22"/>
                    <a:gd name="T31" fmla="*/ 7 h 47"/>
                    <a:gd name="T32" fmla="*/ 18 w 22"/>
                    <a:gd name="T33" fmla="*/ 21 h 47"/>
                    <a:gd name="T34" fmla="*/ 20 w 22"/>
                    <a:gd name="T35" fmla="*/ 23 h 47"/>
                    <a:gd name="T36" fmla="*/ 22 w 22"/>
                    <a:gd name="T37" fmla="*/ 21 h 47"/>
                    <a:gd name="T38" fmla="*/ 22 w 22"/>
                    <a:gd name="T39" fmla="*/ 6 h 47"/>
                    <a:gd name="T40" fmla="*/ 16 w 22"/>
                    <a:gd name="T41" fmla="*/ 0 h 47"/>
                    <a:gd name="T42" fmla="*/ 6 w 22"/>
                    <a:gd name="T43" fmla="*/ 0 h 47"/>
                    <a:gd name="T44" fmla="*/ 0 w 22"/>
                    <a:gd name="T4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6"/>
                      </a:moveTo>
                      <a:cubicBezTo>
                        <a:pt x="0" y="8"/>
                        <a:pt x="0" y="19"/>
                        <a:pt x="0" y="21"/>
                      </a:cubicBezTo>
                      <a:cubicBezTo>
                        <a:pt x="0" y="22"/>
                        <a:pt x="1" y="23"/>
                        <a:pt x="2" y="23"/>
                      </a:cubicBezTo>
                      <a:cubicBezTo>
                        <a:pt x="3" y="23"/>
                        <a:pt x="4" y="22"/>
                        <a:pt x="4" y="21"/>
                      </a:cubicBezTo>
                      <a:cubicBezTo>
                        <a:pt x="4" y="19"/>
                        <a:pt x="4" y="7"/>
                        <a:pt x="4" y="7"/>
                      </a:cubicBezTo>
                      <a:cubicBezTo>
                        <a:pt x="4" y="7"/>
                        <a:pt x="4" y="7"/>
                        <a:pt x="5" y="7"/>
                      </a:cubicBezTo>
                      <a:cubicBezTo>
                        <a:pt x="5" y="7"/>
                        <a:pt x="5" y="42"/>
                        <a:pt x="5" y="44"/>
                      </a:cubicBezTo>
                      <a:cubicBezTo>
                        <a:pt x="5" y="45"/>
                        <a:pt x="6" y="47"/>
                        <a:pt x="8" y="47"/>
                      </a:cubicBezTo>
                      <a:cubicBezTo>
                        <a:pt x="9" y="47"/>
                        <a:pt x="10" y="45"/>
                        <a:pt x="10" y="44"/>
                      </a:cubicBezTo>
                      <a:cubicBezTo>
                        <a:pt x="10" y="42"/>
                        <a:pt x="10" y="23"/>
                        <a:pt x="10" y="23"/>
                      </a:cubicBezTo>
                      <a:cubicBezTo>
                        <a:pt x="10" y="23"/>
                        <a:pt x="10" y="23"/>
                        <a:pt x="12" y="23"/>
                      </a:cubicBezTo>
                      <a:cubicBezTo>
                        <a:pt x="12" y="23"/>
                        <a:pt x="12" y="42"/>
                        <a:pt x="12" y="44"/>
                      </a:cubicBezTo>
                      <a:cubicBezTo>
                        <a:pt x="12" y="45"/>
                        <a:pt x="13" y="47"/>
                        <a:pt x="14" y="47"/>
                      </a:cubicBezTo>
                      <a:cubicBezTo>
                        <a:pt x="16" y="47"/>
                        <a:pt x="17" y="45"/>
                        <a:pt x="17" y="44"/>
                      </a:cubicBezTo>
                      <a:cubicBezTo>
                        <a:pt x="17" y="42"/>
                        <a:pt x="17" y="7"/>
                        <a:pt x="17" y="7"/>
                      </a:cubicBezTo>
                      <a:cubicBezTo>
                        <a:pt x="17" y="7"/>
                        <a:pt x="17" y="7"/>
                        <a:pt x="18" y="7"/>
                      </a:cubicBezTo>
                      <a:cubicBezTo>
                        <a:pt x="18" y="7"/>
                        <a:pt x="18" y="19"/>
                        <a:pt x="18" y="21"/>
                      </a:cubicBezTo>
                      <a:cubicBezTo>
                        <a:pt x="18" y="22"/>
                        <a:pt x="19" y="23"/>
                        <a:pt x="20" y="23"/>
                      </a:cubicBezTo>
                      <a:cubicBezTo>
                        <a:pt x="21" y="23"/>
                        <a:pt x="22" y="22"/>
                        <a:pt x="22" y="21"/>
                      </a:cubicBezTo>
                      <a:cubicBezTo>
                        <a:pt x="22" y="19"/>
                        <a:pt x="22" y="8"/>
                        <a:pt x="22" y="6"/>
                      </a:cubicBezTo>
                      <a:cubicBezTo>
                        <a:pt x="22" y="3"/>
                        <a:pt x="20" y="0"/>
                        <a:pt x="16" y="0"/>
                      </a:cubicBezTo>
                      <a:cubicBezTo>
                        <a:pt x="15" y="0"/>
                        <a:pt x="7" y="0"/>
                        <a:pt x="6" y="0"/>
                      </a:cubicBezTo>
                      <a:cubicBezTo>
                        <a:pt x="2" y="0"/>
                        <a:pt x="0" y="3"/>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86" name="Freeform 1603"/>
                <p:cNvSpPr>
                  <a:spLocks/>
                </p:cNvSpPr>
                <p:nvPr/>
              </p:nvSpPr>
              <p:spPr bwMode="auto">
                <a:xfrm>
                  <a:off x="12560" y="1147"/>
                  <a:ext cx="63" cy="111"/>
                </a:xfrm>
                <a:custGeom>
                  <a:avLst/>
                  <a:gdLst>
                    <a:gd name="T0" fmla="*/ 23 w 27"/>
                    <a:gd name="T1" fmla="*/ 5 h 47"/>
                    <a:gd name="T2" fmla="*/ 18 w 27"/>
                    <a:gd name="T3" fmla="*/ 0 h 47"/>
                    <a:gd name="T4" fmla="*/ 10 w 27"/>
                    <a:gd name="T5" fmla="*/ 0 h 47"/>
                    <a:gd name="T6" fmla="*/ 5 w 27"/>
                    <a:gd name="T7" fmla="*/ 5 h 47"/>
                    <a:gd name="T8" fmla="*/ 1 w 27"/>
                    <a:gd name="T9" fmla="*/ 19 h 47"/>
                    <a:gd name="T10" fmla="*/ 2 w 27"/>
                    <a:gd name="T11" fmla="*/ 21 h 47"/>
                    <a:gd name="T12" fmla="*/ 4 w 27"/>
                    <a:gd name="T13" fmla="*/ 20 h 47"/>
                    <a:gd name="T14" fmla="*/ 8 w 27"/>
                    <a:gd name="T15" fmla="*/ 7 h 47"/>
                    <a:gd name="T16" fmla="*/ 9 w 27"/>
                    <a:gd name="T17" fmla="*/ 7 h 47"/>
                    <a:gd name="T18" fmla="*/ 3 w 27"/>
                    <a:gd name="T19" fmla="*/ 29 h 47"/>
                    <a:gd name="T20" fmla="*/ 9 w 27"/>
                    <a:gd name="T21" fmla="*/ 29 h 47"/>
                    <a:gd name="T22" fmla="*/ 9 w 27"/>
                    <a:gd name="T23" fmla="*/ 45 h 47"/>
                    <a:gd name="T24" fmla="*/ 11 w 27"/>
                    <a:gd name="T25" fmla="*/ 47 h 47"/>
                    <a:gd name="T26" fmla="*/ 14 w 27"/>
                    <a:gd name="T27" fmla="*/ 45 h 47"/>
                    <a:gd name="T28" fmla="*/ 14 w 27"/>
                    <a:gd name="T29" fmla="*/ 29 h 47"/>
                    <a:gd name="T30" fmla="*/ 15 w 27"/>
                    <a:gd name="T31" fmla="*/ 29 h 47"/>
                    <a:gd name="T32" fmla="*/ 15 w 27"/>
                    <a:gd name="T33" fmla="*/ 45 h 47"/>
                    <a:gd name="T34" fmla="*/ 17 w 27"/>
                    <a:gd name="T35" fmla="*/ 47 h 47"/>
                    <a:gd name="T36" fmla="*/ 19 w 27"/>
                    <a:gd name="T37" fmla="*/ 45 h 47"/>
                    <a:gd name="T38" fmla="*/ 19 w 27"/>
                    <a:gd name="T39" fmla="*/ 29 h 47"/>
                    <a:gd name="T40" fmla="*/ 25 w 27"/>
                    <a:gd name="T41" fmla="*/ 29 h 47"/>
                    <a:gd name="T42" fmla="*/ 19 w 27"/>
                    <a:gd name="T43" fmla="*/ 7 h 47"/>
                    <a:gd name="T44" fmla="*/ 20 w 27"/>
                    <a:gd name="T45" fmla="*/ 7 h 47"/>
                    <a:gd name="T46" fmla="*/ 24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3"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9"/>
                        <a:pt x="3" y="29"/>
                        <a:pt x="3" y="29"/>
                      </a:cubicBezTo>
                      <a:cubicBezTo>
                        <a:pt x="9" y="29"/>
                        <a:pt x="9" y="29"/>
                        <a:pt x="9" y="29"/>
                      </a:cubicBezTo>
                      <a:cubicBezTo>
                        <a:pt x="9" y="36"/>
                        <a:pt x="9" y="44"/>
                        <a:pt x="9" y="45"/>
                      </a:cubicBezTo>
                      <a:cubicBezTo>
                        <a:pt x="9" y="46"/>
                        <a:pt x="10" y="47"/>
                        <a:pt x="11" y="47"/>
                      </a:cubicBezTo>
                      <a:cubicBezTo>
                        <a:pt x="12" y="47"/>
                        <a:pt x="14" y="46"/>
                        <a:pt x="14" y="45"/>
                      </a:cubicBezTo>
                      <a:cubicBezTo>
                        <a:pt x="14" y="43"/>
                        <a:pt x="14" y="29"/>
                        <a:pt x="14" y="29"/>
                      </a:cubicBezTo>
                      <a:cubicBezTo>
                        <a:pt x="15" y="29"/>
                        <a:pt x="15" y="29"/>
                        <a:pt x="15" y="29"/>
                      </a:cubicBezTo>
                      <a:cubicBezTo>
                        <a:pt x="15" y="29"/>
                        <a:pt x="15" y="43"/>
                        <a:pt x="15" y="45"/>
                      </a:cubicBezTo>
                      <a:cubicBezTo>
                        <a:pt x="15" y="46"/>
                        <a:pt x="16" y="47"/>
                        <a:pt x="17" y="47"/>
                      </a:cubicBezTo>
                      <a:cubicBezTo>
                        <a:pt x="18" y="47"/>
                        <a:pt x="19" y="46"/>
                        <a:pt x="19" y="45"/>
                      </a:cubicBezTo>
                      <a:cubicBezTo>
                        <a:pt x="19" y="44"/>
                        <a:pt x="19" y="36"/>
                        <a:pt x="19" y="29"/>
                      </a:cubicBezTo>
                      <a:cubicBezTo>
                        <a:pt x="25" y="29"/>
                        <a:pt x="25" y="29"/>
                        <a:pt x="25" y="29"/>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887" name="Oval 1604"/>
                <p:cNvSpPr>
                  <a:spLocks noChangeArrowheads="1"/>
                </p:cNvSpPr>
                <p:nvPr/>
              </p:nvSpPr>
              <p:spPr bwMode="auto">
                <a:xfrm>
                  <a:off x="12581" y="1270"/>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sp>
            <p:nvSpPr>
              <p:cNvPr id="488" name="Oval 1606"/>
              <p:cNvSpPr>
                <a:spLocks noChangeArrowheads="1"/>
              </p:cNvSpPr>
              <p:nvPr/>
            </p:nvSpPr>
            <p:spPr bwMode="auto">
              <a:xfrm>
                <a:off x="19870738" y="2249488"/>
                <a:ext cx="33338" cy="36513"/>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489" name="Oval 1607"/>
              <p:cNvSpPr>
                <a:spLocks noChangeArrowheads="1"/>
              </p:cNvSpPr>
              <p:nvPr/>
            </p:nvSpPr>
            <p:spPr bwMode="auto">
              <a:xfrm>
                <a:off x="19972338" y="2249488"/>
                <a:ext cx="38100" cy="36513"/>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490" name="Oval 1608"/>
              <p:cNvSpPr>
                <a:spLocks noChangeArrowheads="1"/>
              </p:cNvSpPr>
              <p:nvPr/>
            </p:nvSpPr>
            <p:spPr bwMode="auto">
              <a:xfrm>
                <a:off x="19659601" y="2016126"/>
                <a:ext cx="38100"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491" name="Freeform 1609"/>
              <p:cNvSpPr>
                <a:spLocks/>
              </p:cNvSpPr>
              <p:nvPr/>
            </p:nvSpPr>
            <p:spPr bwMode="auto">
              <a:xfrm>
                <a:off x="19626263" y="2057401"/>
                <a:ext cx="101600" cy="176213"/>
              </a:xfrm>
              <a:custGeom>
                <a:avLst/>
                <a:gdLst>
                  <a:gd name="T0" fmla="*/ 23 w 27"/>
                  <a:gd name="T1" fmla="*/ 4 h 47"/>
                  <a:gd name="T2" fmla="*/ 18 w 27"/>
                  <a:gd name="T3" fmla="*/ 0 h 47"/>
                  <a:gd name="T4" fmla="*/ 10 w 27"/>
                  <a:gd name="T5" fmla="*/ 0 h 47"/>
                  <a:gd name="T6" fmla="*/ 5 w 27"/>
                  <a:gd name="T7" fmla="*/ 4 h 47"/>
                  <a:gd name="T8" fmla="*/ 1 w 27"/>
                  <a:gd name="T9" fmla="*/ 18 h 47"/>
                  <a:gd name="T10" fmla="*/ 2 w 27"/>
                  <a:gd name="T11" fmla="*/ 21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5 w 27"/>
                  <a:gd name="T31" fmla="*/ 28 h 47"/>
                  <a:gd name="T32" fmla="*/ 15 w 27"/>
                  <a:gd name="T33" fmla="*/ 45 h 47"/>
                  <a:gd name="T34" fmla="*/ 17 w 27"/>
                  <a:gd name="T35" fmla="*/ 47 h 47"/>
                  <a:gd name="T36" fmla="*/ 19 w 27"/>
                  <a:gd name="T37" fmla="*/ 45 h 47"/>
                  <a:gd name="T38" fmla="*/ 19 w 27"/>
                  <a:gd name="T39" fmla="*/ 28 h 47"/>
                  <a:gd name="T40" fmla="*/ 25 w 27"/>
                  <a:gd name="T41" fmla="*/ 28 h 47"/>
                  <a:gd name="T42" fmla="*/ 19 w 27"/>
                  <a:gd name="T43" fmla="*/ 6 h 47"/>
                  <a:gd name="T44" fmla="*/ 20 w 27"/>
                  <a:gd name="T45" fmla="*/ 6 h 47"/>
                  <a:gd name="T46" fmla="*/ 24 w 27"/>
                  <a:gd name="T47" fmla="*/ 19 h 47"/>
                  <a:gd name="T48" fmla="*/ 26 w 27"/>
                  <a:gd name="T49" fmla="*/ 21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7" y="0"/>
                      <a:pt x="11" y="0"/>
                      <a:pt x="10" y="0"/>
                    </a:cubicBezTo>
                    <a:cubicBezTo>
                      <a:pt x="8" y="0"/>
                      <a:pt x="5" y="2"/>
                      <a:pt x="5" y="4"/>
                    </a:cubicBezTo>
                    <a:cubicBezTo>
                      <a:pt x="3" y="10"/>
                      <a:pt x="1" y="18"/>
                      <a:pt x="1" y="18"/>
                    </a:cubicBezTo>
                    <a:cubicBezTo>
                      <a:pt x="0" y="19"/>
                      <a:pt x="1" y="20"/>
                      <a:pt x="2" y="21"/>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1"/>
                    </a:cubicBezTo>
                    <a:cubicBezTo>
                      <a:pt x="27" y="20"/>
                      <a:pt x="27" y="19"/>
                      <a:pt x="27" y="18"/>
                    </a:cubicBezTo>
                    <a:cubicBezTo>
                      <a:pt x="27" y="18"/>
                      <a:pt x="25" y="10"/>
                      <a:pt x="23" y="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492" name="Freeform 1610"/>
              <p:cNvSpPr>
                <a:spLocks/>
              </p:cNvSpPr>
              <p:nvPr/>
            </p:nvSpPr>
            <p:spPr bwMode="auto">
              <a:xfrm>
                <a:off x="19843751" y="2290763"/>
                <a:ext cx="87313" cy="173038"/>
              </a:xfrm>
              <a:custGeom>
                <a:avLst/>
                <a:gdLst>
                  <a:gd name="T0" fmla="*/ 16 w 23"/>
                  <a:gd name="T1" fmla="*/ 0 h 46"/>
                  <a:gd name="T2" fmla="*/ 6 w 23"/>
                  <a:gd name="T3" fmla="*/ 0 h 46"/>
                  <a:gd name="T4" fmla="*/ 0 w 23"/>
                  <a:gd name="T5" fmla="*/ 6 h 46"/>
                  <a:gd name="T6" fmla="*/ 0 w 23"/>
                  <a:gd name="T7" fmla="*/ 20 h 46"/>
                  <a:gd name="T8" fmla="*/ 2 w 23"/>
                  <a:gd name="T9" fmla="*/ 23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7 w 23"/>
                  <a:gd name="T31" fmla="*/ 44 h 46"/>
                  <a:gd name="T32" fmla="*/ 17 w 23"/>
                  <a:gd name="T33" fmla="*/ 7 h 46"/>
                  <a:gd name="T34" fmla="*/ 19 w 23"/>
                  <a:gd name="T35" fmla="*/ 7 h 46"/>
                  <a:gd name="T36" fmla="*/ 19 w 23"/>
                  <a:gd name="T37" fmla="*/ 20 h 46"/>
                  <a:gd name="T38" fmla="*/ 21 w 23"/>
                  <a:gd name="T39" fmla="*/ 23 h 46"/>
                  <a:gd name="T40" fmla="*/ 23 w 23"/>
                  <a:gd name="T41" fmla="*/ 20 h 46"/>
                  <a:gd name="T42" fmla="*/ 23 w 23"/>
                  <a:gd name="T43" fmla="*/ 6 h 46"/>
                  <a:gd name="T44" fmla="*/ 16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6" y="0"/>
                    </a:moveTo>
                    <a:cubicBezTo>
                      <a:pt x="15" y="0"/>
                      <a:pt x="8" y="0"/>
                      <a:pt x="6" y="0"/>
                    </a:cubicBezTo>
                    <a:cubicBezTo>
                      <a:pt x="3" y="0"/>
                      <a:pt x="0" y="2"/>
                      <a:pt x="0" y="6"/>
                    </a:cubicBezTo>
                    <a:cubicBezTo>
                      <a:pt x="0" y="8"/>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19" y="23"/>
                      <a:pt x="21" y="23"/>
                    </a:cubicBezTo>
                    <a:cubicBezTo>
                      <a:pt x="22" y="23"/>
                      <a:pt x="23" y="22"/>
                      <a:pt x="23" y="20"/>
                    </a:cubicBezTo>
                    <a:cubicBezTo>
                      <a:pt x="23" y="19"/>
                      <a:pt x="23" y="8"/>
                      <a:pt x="23" y="6"/>
                    </a:cubicBezTo>
                    <a:cubicBezTo>
                      <a:pt x="23" y="2"/>
                      <a:pt x="20" y="0"/>
                      <a:pt x="16"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493" name="Oval 1611"/>
              <p:cNvSpPr>
                <a:spLocks noChangeArrowheads="1"/>
              </p:cNvSpPr>
              <p:nvPr/>
            </p:nvSpPr>
            <p:spPr bwMode="auto">
              <a:xfrm>
                <a:off x="19765963" y="2249488"/>
                <a:ext cx="33338" cy="36513"/>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494" name="Oval 1612"/>
              <p:cNvSpPr>
                <a:spLocks noChangeArrowheads="1"/>
              </p:cNvSpPr>
              <p:nvPr/>
            </p:nvSpPr>
            <p:spPr bwMode="auto">
              <a:xfrm>
                <a:off x="19659601" y="2249488"/>
                <a:ext cx="38100" cy="36513"/>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495" name="Freeform 1613"/>
              <p:cNvSpPr>
                <a:spLocks/>
              </p:cNvSpPr>
              <p:nvPr/>
            </p:nvSpPr>
            <p:spPr bwMode="auto">
              <a:xfrm>
                <a:off x="19731038" y="1820863"/>
                <a:ext cx="101600" cy="176213"/>
              </a:xfrm>
              <a:custGeom>
                <a:avLst/>
                <a:gdLst>
                  <a:gd name="T0" fmla="*/ 23 w 27"/>
                  <a:gd name="T1" fmla="*/ 5 h 47"/>
                  <a:gd name="T2" fmla="*/ 17 w 27"/>
                  <a:gd name="T3" fmla="*/ 0 h 47"/>
                  <a:gd name="T4" fmla="*/ 10 w 27"/>
                  <a:gd name="T5" fmla="*/ 0 h 47"/>
                  <a:gd name="T6" fmla="*/ 4 w 27"/>
                  <a:gd name="T7" fmla="*/ 5 h 47"/>
                  <a:gd name="T8" fmla="*/ 0 w 27"/>
                  <a:gd name="T9" fmla="*/ 19 h 47"/>
                  <a:gd name="T10" fmla="*/ 2 w 27"/>
                  <a:gd name="T11" fmla="*/ 21 h 47"/>
                  <a:gd name="T12" fmla="*/ 4 w 27"/>
                  <a:gd name="T13" fmla="*/ 20 h 47"/>
                  <a:gd name="T14" fmla="*/ 8 w 27"/>
                  <a:gd name="T15" fmla="*/ 7 h 47"/>
                  <a:gd name="T16" fmla="*/ 9 w 27"/>
                  <a:gd name="T17" fmla="*/ 7 h 47"/>
                  <a:gd name="T18" fmla="*/ 2 w 27"/>
                  <a:gd name="T19" fmla="*/ 29 h 47"/>
                  <a:gd name="T20" fmla="*/ 9 w 27"/>
                  <a:gd name="T21" fmla="*/ 29 h 47"/>
                  <a:gd name="T22" fmla="*/ 9 w 27"/>
                  <a:gd name="T23" fmla="*/ 45 h 47"/>
                  <a:gd name="T24" fmla="*/ 11 w 27"/>
                  <a:gd name="T25" fmla="*/ 47 h 47"/>
                  <a:gd name="T26" fmla="*/ 13 w 27"/>
                  <a:gd name="T27" fmla="*/ 45 h 47"/>
                  <a:gd name="T28" fmla="*/ 13 w 27"/>
                  <a:gd name="T29" fmla="*/ 29 h 47"/>
                  <a:gd name="T30" fmla="*/ 14 w 27"/>
                  <a:gd name="T31" fmla="*/ 29 h 47"/>
                  <a:gd name="T32" fmla="*/ 14 w 27"/>
                  <a:gd name="T33" fmla="*/ 45 h 47"/>
                  <a:gd name="T34" fmla="*/ 16 w 27"/>
                  <a:gd name="T35" fmla="*/ 47 h 47"/>
                  <a:gd name="T36" fmla="*/ 19 w 27"/>
                  <a:gd name="T37" fmla="*/ 45 h 47"/>
                  <a:gd name="T38" fmla="*/ 19 w 27"/>
                  <a:gd name="T39" fmla="*/ 29 h 47"/>
                  <a:gd name="T40" fmla="*/ 25 w 27"/>
                  <a:gd name="T41" fmla="*/ 29 h 47"/>
                  <a:gd name="T42" fmla="*/ 18 w 27"/>
                  <a:gd name="T43" fmla="*/ 7 h 47"/>
                  <a:gd name="T44" fmla="*/ 20 w 27"/>
                  <a:gd name="T45" fmla="*/ 7 h 47"/>
                  <a:gd name="T46" fmla="*/ 23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7" y="0"/>
                      <a:pt x="5" y="3"/>
                      <a:pt x="4"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2" y="29"/>
                      <a:pt x="2" y="29"/>
                      <a:pt x="2" y="29"/>
                    </a:cubicBezTo>
                    <a:cubicBezTo>
                      <a:pt x="9" y="29"/>
                      <a:pt x="9" y="29"/>
                      <a:pt x="9" y="29"/>
                    </a:cubicBezTo>
                    <a:cubicBezTo>
                      <a:pt x="9" y="36"/>
                      <a:pt x="9" y="44"/>
                      <a:pt x="9" y="45"/>
                    </a:cubicBezTo>
                    <a:cubicBezTo>
                      <a:pt x="9" y="46"/>
                      <a:pt x="10" y="47"/>
                      <a:pt x="11" y="47"/>
                    </a:cubicBezTo>
                    <a:cubicBezTo>
                      <a:pt x="12" y="47"/>
                      <a:pt x="13" y="46"/>
                      <a:pt x="13" y="45"/>
                    </a:cubicBezTo>
                    <a:cubicBezTo>
                      <a:pt x="13" y="43"/>
                      <a:pt x="13" y="29"/>
                      <a:pt x="13" y="29"/>
                    </a:cubicBezTo>
                    <a:cubicBezTo>
                      <a:pt x="14" y="29"/>
                      <a:pt x="14" y="29"/>
                      <a:pt x="14" y="29"/>
                    </a:cubicBezTo>
                    <a:cubicBezTo>
                      <a:pt x="14" y="29"/>
                      <a:pt x="14" y="43"/>
                      <a:pt x="14" y="45"/>
                    </a:cubicBezTo>
                    <a:cubicBezTo>
                      <a:pt x="14" y="46"/>
                      <a:pt x="15" y="47"/>
                      <a:pt x="16" y="47"/>
                    </a:cubicBezTo>
                    <a:cubicBezTo>
                      <a:pt x="18" y="47"/>
                      <a:pt x="19" y="46"/>
                      <a:pt x="19" y="45"/>
                    </a:cubicBezTo>
                    <a:cubicBezTo>
                      <a:pt x="19" y="44"/>
                      <a:pt x="19" y="36"/>
                      <a:pt x="19" y="29"/>
                    </a:cubicBezTo>
                    <a:cubicBezTo>
                      <a:pt x="25" y="29"/>
                      <a:pt x="25" y="29"/>
                      <a:pt x="25" y="29"/>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496" name="Oval 1614"/>
              <p:cNvSpPr>
                <a:spLocks noChangeArrowheads="1"/>
              </p:cNvSpPr>
              <p:nvPr/>
            </p:nvSpPr>
            <p:spPr bwMode="auto">
              <a:xfrm>
                <a:off x="19765963" y="2016126"/>
                <a:ext cx="33338"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497" name="Freeform 1615"/>
              <p:cNvSpPr>
                <a:spLocks/>
              </p:cNvSpPr>
              <p:nvPr/>
            </p:nvSpPr>
            <p:spPr bwMode="auto">
              <a:xfrm>
                <a:off x="19738976" y="2057401"/>
                <a:ext cx="87313" cy="176213"/>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7 h 47"/>
                  <a:gd name="T14" fmla="*/ 5 w 23"/>
                  <a:gd name="T15" fmla="*/ 7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7 h 47"/>
                  <a:gd name="T34" fmla="*/ 19 w 23"/>
                  <a:gd name="T35" fmla="*/ 7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19"/>
                      <a:pt x="0" y="21"/>
                    </a:cubicBezTo>
                    <a:cubicBezTo>
                      <a:pt x="0" y="22"/>
                      <a:pt x="1" y="23"/>
                      <a:pt x="2" y="23"/>
                    </a:cubicBezTo>
                    <a:cubicBezTo>
                      <a:pt x="4" y="23"/>
                      <a:pt x="4" y="22"/>
                      <a:pt x="4" y="21"/>
                    </a:cubicBezTo>
                    <a:cubicBezTo>
                      <a:pt x="4" y="19"/>
                      <a:pt x="4" y="7"/>
                      <a:pt x="4" y="7"/>
                    </a:cubicBezTo>
                    <a:cubicBezTo>
                      <a:pt x="4" y="7"/>
                      <a:pt x="4" y="7"/>
                      <a:pt x="5" y="7"/>
                    </a:cubicBezTo>
                    <a:cubicBezTo>
                      <a:pt x="5" y="7"/>
                      <a:pt x="5" y="42"/>
                      <a:pt x="5" y="44"/>
                    </a:cubicBezTo>
                    <a:cubicBezTo>
                      <a:pt x="5" y="45"/>
                      <a:pt x="7" y="47"/>
                      <a:pt x="8" y="47"/>
                    </a:cubicBezTo>
                    <a:cubicBezTo>
                      <a:pt x="10" y="47"/>
                      <a:pt x="11" y="45"/>
                      <a:pt x="11" y="44"/>
                    </a:cubicBezTo>
                    <a:cubicBezTo>
                      <a:pt x="11" y="42"/>
                      <a:pt x="11" y="23"/>
                      <a:pt x="11" y="23"/>
                    </a:cubicBezTo>
                    <a:cubicBezTo>
                      <a:pt x="11" y="23"/>
                      <a:pt x="11" y="23"/>
                      <a:pt x="12" y="23"/>
                    </a:cubicBezTo>
                    <a:cubicBezTo>
                      <a:pt x="12" y="23"/>
                      <a:pt x="12" y="42"/>
                      <a:pt x="12" y="44"/>
                    </a:cubicBezTo>
                    <a:cubicBezTo>
                      <a:pt x="12" y="45"/>
                      <a:pt x="13" y="47"/>
                      <a:pt x="15" y="47"/>
                    </a:cubicBezTo>
                    <a:cubicBezTo>
                      <a:pt x="16" y="47"/>
                      <a:pt x="18" y="45"/>
                      <a:pt x="18" y="44"/>
                    </a:cubicBezTo>
                    <a:cubicBezTo>
                      <a:pt x="18" y="42"/>
                      <a:pt x="18" y="7"/>
                      <a:pt x="18" y="7"/>
                    </a:cubicBezTo>
                    <a:cubicBezTo>
                      <a:pt x="18" y="7"/>
                      <a:pt x="18" y="7"/>
                      <a:pt x="19" y="7"/>
                    </a:cubicBezTo>
                    <a:cubicBezTo>
                      <a:pt x="19" y="7"/>
                      <a:pt x="19" y="19"/>
                      <a:pt x="19" y="21"/>
                    </a:cubicBezTo>
                    <a:cubicBezTo>
                      <a:pt x="19" y="22"/>
                      <a:pt x="20" y="23"/>
                      <a:pt x="21" y="23"/>
                    </a:cubicBezTo>
                    <a:cubicBezTo>
                      <a:pt x="22" y="23"/>
                      <a:pt x="23" y="22"/>
                      <a:pt x="23" y="21"/>
                    </a:cubicBezTo>
                    <a:cubicBezTo>
                      <a:pt x="23" y="19"/>
                      <a:pt x="23" y="8"/>
                      <a:pt x="23" y="6"/>
                    </a:cubicBezTo>
                    <a:cubicBezTo>
                      <a:pt x="23" y="3"/>
                      <a:pt x="20" y="0"/>
                      <a:pt x="17"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498" name="Oval 1616"/>
              <p:cNvSpPr>
                <a:spLocks noChangeArrowheads="1"/>
              </p:cNvSpPr>
              <p:nvPr/>
            </p:nvSpPr>
            <p:spPr bwMode="auto">
              <a:xfrm>
                <a:off x="19559588" y="2016126"/>
                <a:ext cx="33338"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499" name="Oval 1617"/>
              <p:cNvSpPr>
                <a:spLocks noChangeArrowheads="1"/>
              </p:cNvSpPr>
              <p:nvPr/>
            </p:nvSpPr>
            <p:spPr bwMode="auto">
              <a:xfrm>
                <a:off x="22553613" y="2947988"/>
                <a:ext cx="33338"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00" name="Oval 1618"/>
              <p:cNvSpPr>
                <a:spLocks noChangeArrowheads="1"/>
              </p:cNvSpPr>
              <p:nvPr/>
            </p:nvSpPr>
            <p:spPr bwMode="auto">
              <a:xfrm>
                <a:off x="22553613" y="2481263"/>
                <a:ext cx="33338"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01" name="Freeform 1619"/>
              <p:cNvSpPr>
                <a:spLocks/>
              </p:cNvSpPr>
              <p:nvPr/>
            </p:nvSpPr>
            <p:spPr bwMode="auto">
              <a:xfrm>
                <a:off x="22518688" y="2755901"/>
                <a:ext cx="101600" cy="176213"/>
              </a:xfrm>
              <a:custGeom>
                <a:avLst/>
                <a:gdLst>
                  <a:gd name="T0" fmla="*/ 23 w 27"/>
                  <a:gd name="T1" fmla="*/ 4 h 47"/>
                  <a:gd name="T2" fmla="*/ 18 w 27"/>
                  <a:gd name="T3" fmla="*/ 0 h 47"/>
                  <a:gd name="T4" fmla="*/ 10 w 27"/>
                  <a:gd name="T5" fmla="*/ 0 h 47"/>
                  <a:gd name="T6" fmla="*/ 5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7 w 27"/>
                  <a:gd name="T35" fmla="*/ 47 h 47"/>
                  <a:gd name="T36" fmla="*/ 19 w 27"/>
                  <a:gd name="T37" fmla="*/ 44 h 47"/>
                  <a:gd name="T38" fmla="*/ 19 w 27"/>
                  <a:gd name="T39" fmla="*/ 28 h 47"/>
                  <a:gd name="T40" fmla="*/ 25 w 27"/>
                  <a:gd name="T41" fmla="*/ 28 h 47"/>
                  <a:gd name="T42" fmla="*/ 19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02" name="Oval 1620"/>
              <p:cNvSpPr>
                <a:spLocks noChangeArrowheads="1"/>
              </p:cNvSpPr>
              <p:nvPr/>
            </p:nvSpPr>
            <p:spPr bwMode="auto">
              <a:xfrm>
                <a:off x="22759988" y="2947988"/>
                <a:ext cx="38100"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03" name="Freeform 1621"/>
              <p:cNvSpPr>
                <a:spLocks/>
              </p:cNvSpPr>
              <p:nvPr/>
            </p:nvSpPr>
            <p:spPr bwMode="auto">
              <a:xfrm>
                <a:off x="22526626" y="2519363"/>
                <a:ext cx="87313" cy="176213"/>
              </a:xfrm>
              <a:custGeom>
                <a:avLst/>
                <a:gdLst>
                  <a:gd name="T0" fmla="*/ 0 w 23"/>
                  <a:gd name="T1" fmla="*/ 21 h 47"/>
                  <a:gd name="T2" fmla="*/ 2 w 23"/>
                  <a:gd name="T3" fmla="*/ 23 h 47"/>
                  <a:gd name="T4" fmla="*/ 5 w 23"/>
                  <a:gd name="T5" fmla="*/ 21 h 47"/>
                  <a:gd name="T6" fmla="*/ 5 w 23"/>
                  <a:gd name="T7" fmla="*/ 8 h 47"/>
                  <a:gd name="T8" fmla="*/ 6 w 23"/>
                  <a:gd name="T9" fmla="*/ 8 h 47"/>
                  <a:gd name="T10" fmla="*/ 6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8 w 23"/>
                  <a:gd name="T25" fmla="*/ 44 h 47"/>
                  <a:gd name="T26" fmla="*/ 18 w 23"/>
                  <a:gd name="T27" fmla="*/ 8 h 47"/>
                  <a:gd name="T28" fmla="*/ 19 w 23"/>
                  <a:gd name="T29" fmla="*/ 8 h 47"/>
                  <a:gd name="T30" fmla="*/ 19 w 23"/>
                  <a:gd name="T31" fmla="*/ 21 h 47"/>
                  <a:gd name="T32" fmla="*/ 21 w 23"/>
                  <a:gd name="T33" fmla="*/ 23 h 47"/>
                  <a:gd name="T34" fmla="*/ 23 w 23"/>
                  <a:gd name="T35" fmla="*/ 21 h 47"/>
                  <a:gd name="T36" fmla="*/ 23 w 23"/>
                  <a:gd name="T37" fmla="*/ 6 h 47"/>
                  <a:gd name="T38" fmla="*/ 17 w 23"/>
                  <a:gd name="T39" fmla="*/ 0 h 47"/>
                  <a:gd name="T40" fmla="*/ 7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4" y="23"/>
                      <a:pt x="5" y="22"/>
                      <a:pt x="5" y="21"/>
                    </a:cubicBezTo>
                    <a:cubicBezTo>
                      <a:pt x="5" y="20"/>
                      <a:pt x="5" y="8"/>
                      <a:pt x="5" y="8"/>
                    </a:cubicBezTo>
                    <a:cubicBezTo>
                      <a:pt x="5" y="8"/>
                      <a:pt x="5"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4" y="47"/>
                      <a:pt x="15" y="47"/>
                    </a:cubicBezTo>
                    <a:cubicBezTo>
                      <a:pt x="17"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7" y="0"/>
                    </a:cubicBezTo>
                    <a:cubicBezTo>
                      <a:pt x="3" y="0"/>
                      <a:pt x="0" y="3"/>
                      <a:pt x="0" y="6"/>
                    </a:cubicBezTo>
                    <a:cubicBezTo>
                      <a:pt x="0" y="8"/>
                      <a:pt x="0" y="20"/>
                      <a:pt x="0" y="21"/>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04" name="Freeform 1622"/>
              <p:cNvSpPr>
                <a:spLocks/>
              </p:cNvSpPr>
              <p:nvPr/>
            </p:nvSpPr>
            <p:spPr bwMode="auto">
              <a:xfrm>
                <a:off x="22625051" y="2989263"/>
                <a:ext cx="101600" cy="173038"/>
              </a:xfrm>
              <a:custGeom>
                <a:avLst/>
                <a:gdLst>
                  <a:gd name="T0" fmla="*/ 4 w 27"/>
                  <a:gd name="T1" fmla="*/ 19 h 46"/>
                  <a:gd name="T2" fmla="*/ 8 w 27"/>
                  <a:gd name="T3" fmla="*/ 6 h 46"/>
                  <a:gd name="T4" fmla="*/ 9 w 27"/>
                  <a:gd name="T5" fmla="*/ 6 h 46"/>
                  <a:gd name="T6" fmla="*/ 2 w 27"/>
                  <a:gd name="T7" fmla="*/ 28 h 46"/>
                  <a:gd name="T8" fmla="*/ 8 w 27"/>
                  <a:gd name="T9" fmla="*/ 28 h 46"/>
                  <a:gd name="T10" fmla="*/ 8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6 w 27"/>
                  <a:gd name="T23" fmla="*/ 46 h 46"/>
                  <a:gd name="T24" fmla="*/ 18 w 27"/>
                  <a:gd name="T25" fmla="*/ 44 h 46"/>
                  <a:gd name="T26" fmla="*/ 18 w 27"/>
                  <a:gd name="T27" fmla="*/ 28 h 46"/>
                  <a:gd name="T28" fmla="*/ 25 w 27"/>
                  <a:gd name="T29" fmla="*/ 28 h 46"/>
                  <a:gd name="T30" fmla="*/ 18 w 27"/>
                  <a:gd name="T31" fmla="*/ 6 h 46"/>
                  <a:gd name="T32" fmla="*/ 19 w 27"/>
                  <a:gd name="T33" fmla="*/ 6 h 46"/>
                  <a:gd name="T34" fmla="*/ 23 w 27"/>
                  <a:gd name="T35" fmla="*/ 19 h 46"/>
                  <a:gd name="T36" fmla="*/ 25 w 27"/>
                  <a:gd name="T37" fmla="*/ 20 h 46"/>
                  <a:gd name="T38" fmla="*/ 27 w 27"/>
                  <a:gd name="T39" fmla="*/ 18 h 46"/>
                  <a:gd name="T40" fmla="*/ 23 w 27"/>
                  <a:gd name="T41" fmla="*/ 4 h 46"/>
                  <a:gd name="T42" fmla="*/ 17 w 27"/>
                  <a:gd name="T43" fmla="*/ 0 h 46"/>
                  <a:gd name="T44" fmla="*/ 10 w 27"/>
                  <a:gd name="T45" fmla="*/ 0 h 46"/>
                  <a:gd name="T46" fmla="*/ 4 w 27"/>
                  <a:gd name="T47" fmla="*/ 4 h 46"/>
                  <a:gd name="T48" fmla="*/ 0 w 27"/>
                  <a:gd name="T49" fmla="*/ 18 h 46"/>
                  <a:gd name="T50" fmla="*/ 1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5"/>
                      <a:pt x="9"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6" y="46"/>
                    </a:cubicBezTo>
                    <a:cubicBezTo>
                      <a:pt x="18" y="46"/>
                      <a:pt x="18" y="45"/>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3" y="4"/>
                    </a:cubicBezTo>
                    <a:cubicBezTo>
                      <a:pt x="22" y="2"/>
                      <a:pt x="20"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05" name="Freeform 1623"/>
              <p:cNvSpPr>
                <a:spLocks/>
              </p:cNvSpPr>
              <p:nvPr/>
            </p:nvSpPr>
            <p:spPr bwMode="auto">
              <a:xfrm>
                <a:off x="22737763" y="2989263"/>
                <a:ext cx="82550" cy="173038"/>
              </a:xfrm>
              <a:custGeom>
                <a:avLst/>
                <a:gdLst>
                  <a:gd name="T0" fmla="*/ 4 w 22"/>
                  <a:gd name="T1" fmla="*/ 20 h 46"/>
                  <a:gd name="T2" fmla="*/ 4 w 22"/>
                  <a:gd name="T3" fmla="*/ 7 h 46"/>
                  <a:gd name="T4" fmla="*/ 5 w 22"/>
                  <a:gd name="T5" fmla="*/ 7 h 46"/>
                  <a:gd name="T6" fmla="*/ 5 w 22"/>
                  <a:gd name="T7" fmla="*/ 44 h 46"/>
                  <a:gd name="T8" fmla="*/ 8 w 22"/>
                  <a:gd name="T9" fmla="*/ 46 h 46"/>
                  <a:gd name="T10" fmla="*/ 11 w 22"/>
                  <a:gd name="T11" fmla="*/ 44 h 46"/>
                  <a:gd name="T12" fmla="*/ 11 w 22"/>
                  <a:gd name="T13" fmla="*/ 22 h 46"/>
                  <a:gd name="T14" fmla="*/ 12 w 22"/>
                  <a:gd name="T15" fmla="*/ 22 h 46"/>
                  <a:gd name="T16" fmla="*/ 12 w 22"/>
                  <a:gd name="T17" fmla="*/ 44 h 46"/>
                  <a:gd name="T18" fmla="*/ 14 w 22"/>
                  <a:gd name="T19" fmla="*/ 46 h 46"/>
                  <a:gd name="T20" fmla="*/ 17 w 22"/>
                  <a:gd name="T21" fmla="*/ 44 h 46"/>
                  <a:gd name="T22" fmla="*/ 17 w 22"/>
                  <a:gd name="T23" fmla="*/ 7 h 46"/>
                  <a:gd name="T24" fmla="*/ 18 w 22"/>
                  <a:gd name="T25" fmla="*/ 7 h 46"/>
                  <a:gd name="T26" fmla="*/ 18 w 22"/>
                  <a:gd name="T27" fmla="*/ 20 h 46"/>
                  <a:gd name="T28" fmla="*/ 20 w 22"/>
                  <a:gd name="T29" fmla="*/ 22 h 46"/>
                  <a:gd name="T30" fmla="*/ 22 w 22"/>
                  <a:gd name="T31" fmla="*/ 20 h 46"/>
                  <a:gd name="T32" fmla="*/ 22 w 22"/>
                  <a:gd name="T33" fmla="*/ 6 h 46"/>
                  <a:gd name="T34" fmla="*/ 16 w 22"/>
                  <a:gd name="T35" fmla="*/ 0 h 46"/>
                  <a:gd name="T36" fmla="*/ 6 w 22"/>
                  <a:gd name="T37" fmla="*/ 0 h 46"/>
                  <a:gd name="T38" fmla="*/ 0 w 22"/>
                  <a:gd name="T39" fmla="*/ 6 h 46"/>
                  <a:gd name="T40" fmla="*/ 0 w 22"/>
                  <a:gd name="T41" fmla="*/ 20 h 46"/>
                  <a:gd name="T42" fmla="*/ 2 w 22"/>
                  <a:gd name="T43" fmla="*/ 22 h 46"/>
                  <a:gd name="T44" fmla="*/ 4 w 22"/>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4" y="20"/>
                    </a:move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2"/>
                      <a:pt x="11" y="22"/>
                    </a:cubicBezTo>
                    <a:cubicBezTo>
                      <a:pt x="11" y="22"/>
                      <a:pt x="11" y="22"/>
                      <a:pt x="12" y="22"/>
                    </a:cubicBezTo>
                    <a:cubicBezTo>
                      <a:pt x="12" y="22"/>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1"/>
                      <a:pt x="19" y="22"/>
                      <a:pt x="20" y="22"/>
                    </a:cubicBezTo>
                    <a:cubicBezTo>
                      <a:pt x="21" y="22"/>
                      <a:pt x="22" y="21"/>
                      <a:pt x="22" y="20"/>
                    </a:cubicBezTo>
                    <a:cubicBezTo>
                      <a:pt x="22" y="19"/>
                      <a:pt x="22" y="7"/>
                      <a:pt x="22" y="6"/>
                    </a:cubicBezTo>
                    <a:cubicBezTo>
                      <a:pt x="22" y="2"/>
                      <a:pt x="20" y="0"/>
                      <a:pt x="16" y="0"/>
                    </a:cubicBezTo>
                    <a:cubicBezTo>
                      <a:pt x="15" y="0"/>
                      <a:pt x="7" y="0"/>
                      <a:pt x="6" y="0"/>
                    </a:cubicBezTo>
                    <a:cubicBezTo>
                      <a:pt x="2" y="0"/>
                      <a:pt x="0" y="2"/>
                      <a:pt x="0" y="6"/>
                    </a:cubicBezTo>
                    <a:cubicBezTo>
                      <a:pt x="0" y="7"/>
                      <a:pt x="0" y="19"/>
                      <a:pt x="0" y="20"/>
                    </a:cubicBezTo>
                    <a:cubicBezTo>
                      <a:pt x="0" y="21"/>
                      <a:pt x="1" y="22"/>
                      <a:pt x="2" y="22"/>
                    </a:cubicBezTo>
                    <a:cubicBezTo>
                      <a:pt x="3" y="22"/>
                      <a:pt x="4" y="21"/>
                      <a:pt x="4" y="2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06" name="Freeform 1624"/>
              <p:cNvSpPr>
                <a:spLocks/>
              </p:cNvSpPr>
              <p:nvPr/>
            </p:nvSpPr>
            <p:spPr bwMode="auto">
              <a:xfrm>
                <a:off x="22944138" y="2519363"/>
                <a:ext cx="66675" cy="176213"/>
              </a:xfrm>
              <a:custGeom>
                <a:avLst/>
                <a:gdLst>
                  <a:gd name="T0" fmla="*/ 0 w 18"/>
                  <a:gd name="T1" fmla="*/ 6 h 47"/>
                  <a:gd name="T2" fmla="*/ 0 w 18"/>
                  <a:gd name="T3" fmla="*/ 21 h 47"/>
                  <a:gd name="T4" fmla="*/ 2 w 18"/>
                  <a:gd name="T5" fmla="*/ 23 h 47"/>
                  <a:gd name="T6" fmla="*/ 4 w 18"/>
                  <a:gd name="T7" fmla="*/ 21 h 47"/>
                  <a:gd name="T8" fmla="*/ 4 w 18"/>
                  <a:gd name="T9" fmla="*/ 8 h 47"/>
                  <a:gd name="T10" fmla="*/ 5 w 18"/>
                  <a:gd name="T11" fmla="*/ 8 h 47"/>
                  <a:gd name="T12" fmla="*/ 5 w 18"/>
                  <a:gd name="T13" fmla="*/ 44 h 47"/>
                  <a:gd name="T14" fmla="*/ 8 w 18"/>
                  <a:gd name="T15" fmla="*/ 47 h 47"/>
                  <a:gd name="T16" fmla="*/ 11 w 18"/>
                  <a:gd name="T17" fmla="*/ 44 h 47"/>
                  <a:gd name="T18" fmla="*/ 11 w 18"/>
                  <a:gd name="T19" fmla="*/ 23 h 47"/>
                  <a:gd name="T20" fmla="*/ 12 w 18"/>
                  <a:gd name="T21" fmla="*/ 23 h 47"/>
                  <a:gd name="T22" fmla="*/ 12 w 18"/>
                  <a:gd name="T23" fmla="*/ 44 h 47"/>
                  <a:gd name="T24" fmla="*/ 15 w 18"/>
                  <a:gd name="T25" fmla="*/ 47 h 47"/>
                  <a:gd name="T26" fmla="*/ 18 w 18"/>
                  <a:gd name="T27" fmla="*/ 44 h 47"/>
                  <a:gd name="T28" fmla="*/ 18 w 18"/>
                  <a:gd name="T29" fmla="*/ 13 h 47"/>
                  <a:gd name="T30" fmla="*/ 7 w 18"/>
                  <a:gd name="T31" fmla="*/ 0 h 47"/>
                  <a:gd name="T32" fmla="*/ 6 w 18"/>
                  <a:gd name="T33" fmla="*/ 0 h 47"/>
                  <a:gd name="T34" fmla="*/ 0 w 18"/>
                  <a:gd name="T35"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7">
                    <a:moveTo>
                      <a:pt x="0" y="6"/>
                    </a:move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22"/>
                      <a:pt x="18" y="13"/>
                    </a:cubicBezTo>
                    <a:cubicBezTo>
                      <a:pt x="15" y="9"/>
                      <a:pt x="11" y="4"/>
                      <a:pt x="7" y="0"/>
                    </a:cubicBezTo>
                    <a:cubicBezTo>
                      <a:pt x="7" y="0"/>
                      <a:pt x="7" y="0"/>
                      <a:pt x="6" y="0"/>
                    </a:cubicBezTo>
                    <a:cubicBezTo>
                      <a:pt x="3" y="0"/>
                      <a:pt x="0" y="3"/>
                      <a:pt x="0" y="6"/>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07" name="Oval 1625"/>
              <p:cNvSpPr>
                <a:spLocks noChangeArrowheads="1"/>
              </p:cNvSpPr>
              <p:nvPr/>
            </p:nvSpPr>
            <p:spPr bwMode="auto">
              <a:xfrm>
                <a:off x="22553613" y="2714626"/>
                <a:ext cx="36513"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08" name="Freeform 1626"/>
              <p:cNvSpPr>
                <a:spLocks/>
              </p:cNvSpPr>
              <p:nvPr/>
            </p:nvSpPr>
            <p:spPr bwMode="auto">
              <a:xfrm>
                <a:off x="22526626" y="2989263"/>
                <a:ext cx="87313" cy="173038"/>
              </a:xfrm>
              <a:custGeom>
                <a:avLst/>
                <a:gdLst>
                  <a:gd name="T0" fmla="*/ 5 w 23"/>
                  <a:gd name="T1" fmla="*/ 20 h 46"/>
                  <a:gd name="T2" fmla="*/ 5 w 23"/>
                  <a:gd name="T3" fmla="*/ 7 h 46"/>
                  <a:gd name="T4" fmla="*/ 6 w 23"/>
                  <a:gd name="T5" fmla="*/ 7 h 46"/>
                  <a:gd name="T6" fmla="*/ 6 w 23"/>
                  <a:gd name="T7" fmla="*/ 44 h 46"/>
                  <a:gd name="T8" fmla="*/ 8 w 23"/>
                  <a:gd name="T9" fmla="*/ 46 h 46"/>
                  <a:gd name="T10" fmla="*/ 11 w 23"/>
                  <a:gd name="T11" fmla="*/ 44 h 46"/>
                  <a:gd name="T12" fmla="*/ 11 w 23"/>
                  <a:gd name="T13" fmla="*/ 22 h 46"/>
                  <a:gd name="T14" fmla="*/ 12 w 23"/>
                  <a:gd name="T15" fmla="*/ 22 h 46"/>
                  <a:gd name="T16" fmla="*/ 12 w 23"/>
                  <a:gd name="T17" fmla="*/ 44 h 46"/>
                  <a:gd name="T18" fmla="*/ 15 w 23"/>
                  <a:gd name="T19" fmla="*/ 46 h 46"/>
                  <a:gd name="T20" fmla="*/ 18 w 23"/>
                  <a:gd name="T21" fmla="*/ 44 h 46"/>
                  <a:gd name="T22" fmla="*/ 18 w 23"/>
                  <a:gd name="T23" fmla="*/ 7 h 46"/>
                  <a:gd name="T24" fmla="*/ 19 w 23"/>
                  <a:gd name="T25" fmla="*/ 7 h 46"/>
                  <a:gd name="T26" fmla="*/ 19 w 23"/>
                  <a:gd name="T27" fmla="*/ 20 h 46"/>
                  <a:gd name="T28" fmla="*/ 21 w 23"/>
                  <a:gd name="T29" fmla="*/ 22 h 46"/>
                  <a:gd name="T30" fmla="*/ 23 w 23"/>
                  <a:gd name="T31" fmla="*/ 20 h 46"/>
                  <a:gd name="T32" fmla="*/ 23 w 23"/>
                  <a:gd name="T33" fmla="*/ 6 h 46"/>
                  <a:gd name="T34" fmla="*/ 17 w 23"/>
                  <a:gd name="T35" fmla="*/ 0 h 46"/>
                  <a:gd name="T36" fmla="*/ 7 w 23"/>
                  <a:gd name="T37" fmla="*/ 0 h 46"/>
                  <a:gd name="T38" fmla="*/ 0 w 23"/>
                  <a:gd name="T39" fmla="*/ 6 h 46"/>
                  <a:gd name="T40" fmla="*/ 0 w 23"/>
                  <a:gd name="T41" fmla="*/ 20 h 46"/>
                  <a:gd name="T42" fmla="*/ 2 w 23"/>
                  <a:gd name="T43" fmla="*/ 22 h 46"/>
                  <a:gd name="T44" fmla="*/ 5 w 23"/>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5" y="20"/>
                    </a:move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2"/>
                      <a:pt x="11" y="22"/>
                    </a:cubicBezTo>
                    <a:cubicBezTo>
                      <a:pt x="11" y="22"/>
                      <a:pt x="11" y="22"/>
                      <a:pt x="12" y="22"/>
                    </a:cubicBezTo>
                    <a:cubicBezTo>
                      <a:pt x="12" y="22"/>
                      <a:pt x="12" y="41"/>
                      <a:pt x="12" y="44"/>
                    </a:cubicBezTo>
                    <a:cubicBezTo>
                      <a:pt x="12" y="45"/>
                      <a:pt x="14"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1"/>
                      <a:pt x="20" y="22"/>
                      <a:pt x="21" y="22"/>
                    </a:cubicBezTo>
                    <a:cubicBezTo>
                      <a:pt x="22" y="22"/>
                      <a:pt x="23" y="21"/>
                      <a:pt x="23" y="20"/>
                    </a:cubicBezTo>
                    <a:cubicBezTo>
                      <a:pt x="23" y="19"/>
                      <a:pt x="23" y="7"/>
                      <a:pt x="23" y="6"/>
                    </a:cubicBezTo>
                    <a:cubicBezTo>
                      <a:pt x="23" y="2"/>
                      <a:pt x="20" y="0"/>
                      <a:pt x="17" y="0"/>
                    </a:cubicBezTo>
                    <a:cubicBezTo>
                      <a:pt x="15" y="0"/>
                      <a:pt x="8" y="0"/>
                      <a:pt x="7" y="0"/>
                    </a:cubicBezTo>
                    <a:cubicBezTo>
                      <a:pt x="3" y="0"/>
                      <a:pt x="0" y="2"/>
                      <a:pt x="0" y="6"/>
                    </a:cubicBezTo>
                    <a:cubicBezTo>
                      <a:pt x="0" y="7"/>
                      <a:pt x="0" y="19"/>
                      <a:pt x="0" y="20"/>
                    </a:cubicBezTo>
                    <a:cubicBezTo>
                      <a:pt x="0" y="21"/>
                      <a:pt x="1" y="22"/>
                      <a:pt x="2" y="22"/>
                    </a:cubicBezTo>
                    <a:cubicBezTo>
                      <a:pt x="4" y="22"/>
                      <a:pt x="5" y="21"/>
                      <a:pt x="5" y="2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09" name="Line 1627"/>
              <p:cNvSpPr>
                <a:spLocks noChangeShapeType="1"/>
              </p:cNvSpPr>
              <p:nvPr/>
            </p:nvSpPr>
            <p:spPr bwMode="auto">
              <a:xfrm>
                <a:off x="22969538" y="2733676"/>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10" name="Line 1628"/>
              <p:cNvSpPr>
                <a:spLocks noChangeShapeType="1"/>
              </p:cNvSpPr>
              <p:nvPr/>
            </p:nvSpPr>
            <p:spPr bwMode="auto">
              <a:xfrm>
                <a:off x="22969538" y="2733676"/>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11" name="Line 1629"/>
              <p:cNvSpPr>
                <a:spLocks noChangeShapeType="1"/>
              </p:cNvSpPr>
              <p:nvPr/>
            </p:nvSpPr>
            <p:spPr bwMode="auto">
              <a:xfrm>
                <a:off x="23004463" y="2733676"/>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12" name="Line 1630"/>
              <p:cNvSpPr>
                <a:spLocks noChangeShapeType="1"/>
              </p:cNvSpPr>
              <p:nvPr/>
            </p:nvSpPr>
            <p:spPr bwMode="auto">
              <a:xfrm>
                <a:off x="23004463" y="2733676"/>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13" name="Oval 1631"/>
              <p:cNvSpPr>
                <a:spLocks noChangeArrowheads="1"/>
              </p:cNvSpPr>
              <p:nvPr/>
            </p:nvSpPr>
            <p:spPr bwMode="auto">
              <a:xfrm>
                <a:off x="22969538" y="2947988"/>
                <a:ext cx="34925"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14" name="Freeform 1632"/>
              <p:cNvSpPr>
                <a:spLocks/>
              </p:cNvSpPr>
              <p:nvPr/>
            </p:nvSpPr>
            <p:spPr bwMode="auto">
              <a:xfrm>
                <a:off x="22944138" y="2989263"/>
                <a:ext cx="85725" cy="173038"/>
              </a:xfrm>
              <a:custGeom>
                <a:avLst/>
                <a:gdLst>
                  <a:gd name="T0" fmla="*/ 17 w 23"/>
                  <a:gd name="T1" fmla="*/ 0 h 46"/>
                  <a:gd name="T2" fmla="*/ 6 w 23"/>
                  <a:gd name="T3" fmla="*/ 0 h 46"/>
                  <a:gd name="T4" fmla="*/ 0 w 23"/>
                  <a:gd name="T5" fmla="*/ 6 h 46"/>
                  <a:gd name="T6" fmla="*/ 0 w 23"/>
                  <a:gd name="T7" fmla="*/ 20 h 46"/>
                  <a:gd name="T8" fmla="*/ 2 w 23"/>
                  <a:gd name="T9" fmla="*/ 22 h 46"/>
                  <a:gd name="T10" fmla="*/ 4 w 23"/>
                  <a:gd name="T11" fmla="*/ 20 h 46"/>
                  <a:gd name="T12" fmla="*/ 4 w 23"/>
                  <a:gd name="T13" fmla="*/ 7 h 46"/>
                  <a:gd name="T14" fmla="*/ 5 w 23"/>
                  <a:gd name="T15" fmla="*/ 7 h 46"/>
                  <a:gd name="T16" fmla="*/ 5 w 23"/>
                  <a:gd name="T17" fmla="*/ 44 h 46"/>
                  <a:gd name="T18" fmla="*/ 8 w 23"/>
                  <a:gd name="T19" fmla="*/ 46 h 46"/>
                  <a:gd name="T20" fmla="*/ 9 w 23"/>
                  <a:gd name="T21" fmla="*/ 46 h 46"/>
                  <a:gd name="T22" fmla="*/ 11 w 23"/>
                  <a:gd name="T23" fmla="*/ 43 h 46"/>
                  <a:gd name="T24" fmla="*/ 11 w 23"/>
                  <a:gd name="T25" fmla="*/ 22 h 46"/>
                  <a:gd name="T26" fmla="*/ 12 w 23"/>
                  <a:gd name="T27" fmla="*/ 22 h 46"/>
                  <a:gd name="T28" fmla="*/ 12 w 23"/>
                  <a:gd name="T29" fmla="*/ 40 h 46"/>
                  <a:gd name="T30" fmla="*/ 18 w 23"/>
                  <a:gd name="T31" fmla="*/ 28 h 46"/>
                  <a:gd name="T32" fmla="*/ 18 w 23"/>
                  <a:gd name="T33" fmla="*/ 7 h 46"/>
                  <a:gd name="T34" fmla="*/ 19 w 23"/>
                  <a:gd name="T35" fmla="*/ 7 h 46"/>
                  <a:gd name="T36" fmla="*/ 19 w 23"/>
                  <a:gd name="T37" fmla="*/ 20 h 46"/>
                  <a:gd name="T38" fmla="*/ 20 w 23"/>
                  <a:gd name="T39" fmla="*/ 22 h 46"/>
                  <a:gd name="T40" fmla="*/ 23 w 23"/>
                  <a:gd name="T41" fmla="*/ 15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7"/>
                      <a:pt x="0" y="19"/>
                      <a:pt x="0" y="20"/>
                    </a:cubicBezTo>
                    <a:cubicBezTo>
                      <a:pt x="0" y="21"/>
                      <a:pt x="1" y="22"/>
                      <a:pt x="2" y="22"/>
                    </a:cubicBezTo>
                    <a:cubicBezTo>
                      <a:pt x="3" y="22"/>
                      <a:pt x="4" y="21"/>
                      <a:pt x="4" y="20"/>
                    </a:cubicBezTo>
                    <a:cubicBezTo>
                      <a:pt x="4" y="19"/>
                      <a:pt x="4" y="7"/>
                      <a:pt x="4" y="7"/>
                    </a:cubicBezTo>
                    <a:cubicBezTo>
                      <a:pt x="4" y="7"/>
                      <a:pt x="4" y="7"/>
                      <a:pt x="5" y="7"/>
                    </a:cubicBezTo>
                    <a:cubicBezTo>
                      <a:pt x="5" y="7"/>
                      <a:pt x="5" y="41"/>
                      <a:pt x="5" y="44"/>
                    </a:cubicBezTo>
                    <a:cubicBezTo>
                      <a:pt x="5" y="45"/>
                      <a:pt x="7" y="46"/>
                      <a:pt x="8" y="46"/>
                    </a:cubicBezTo>
                    <a:cubicBezTo>
                      <a:pt x="9" y="46"/>
                      <a:pt x="9" y="46"/>
                      <a:pt x="9" y="46"/>
                    </a:cubicBezTo>
                    <a:cubicBezTo>
                      <a:pt x="10" y="45"/>
                      <a:pt x="10" y="44"/>
                      <a:pt x="11" y="43"/>
                    </a:cubicBezTo>
                    <a:cubicBezTo>
                      <a:pt x="11" y="38"/>
                      <a:pt x="11" y="22"/>
                      <a:pt x="11" y="22"/>
                    </a:cubicBezTo>
                    <a:cubicBezTo>
                      <a:pt x="11" y="22"/>
                      <a:pt x="11" y="22"/>
                      <a:pt x="12" y="22"/>
                    </a:cubicBezTo>
                    <a:cubicBezTo>
                      <a:pt x="12" y="22"/>
                      <a:pt x="12" y="34"/>
                      <a:pt x="12" y="40"/>
                    </a:cubicBezTo>
                    <a:cubicBezTo>
                      <a:pt x="14" y="36"/>
                      <a:pt x="16" y="32"/>
                      <a:pt x="18" y="28"/>
                    </a:cubicBezTo>
                    <a:cubicBezTo>
                      <a:pt x="18" y="18"/>
                      <a:pt x="18" y="7"/>
                      <a:pt x="18" y="7"/>
                    </a:cubicBezTo>
                    <a:cubicBezTo>
                      <a:pt x="18" y="7"/>
                      <a:pt x="18" y="7"/>
                      <a:pt x="19" y="7"/>
                    </a:cubicBezTo>
                    <a:cubicBezTo>
                      <a:pt x="19" y="7"/>
                      <a:pt x="19" y="19"/>
                      <a:pt x="19" y="20"/>
                    </a:cubicBezTo>
                    <a:cubicBezTo>
                      <a:pt x="19" y="21"/>
                      <a:pt x="19" y="22"/>
                      <a:pt x="20" y="22"/>
                    </a:cubicBezTo>
                    <a:cubicBezTo>
                      <a:pt x="21" y="20"/>
                      <a:pt x="22" y="17"/>
                      <a:pt x="23" y="15"/>
                    </a:cubicBezTo>
                    <a:cubicBezTo>
                      <a:pt x="23" y="11"/>
                      <a:pt x="23" y="7"/>
                      <a:pt x="23" y="6"/>
                    </a:cubicBezTo>
                    <a:cubicBezTo>
                      <a:pt x="23" y="2"/>
                      <a:pt x="20" y="0"/>
                      <a:pt x="17"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15" name="Freeform 1633"/>
              <p:cNvSpPr>
                <a:spLocks/>
              </p:cNvSpPr>
              <p:nvPr/>
            </p:nvSpPr>
            <p:spPr bwMode="auto">
              <a:xfrm>
                <a:off x="22831426" y="2989263"/>
                <a:ext cx="101600" cy="173038"/>
              </a:xfrm>
              <a:custGeom>
                <a:avLst/>
                <a:gdLst>
                  <a:gd name="T0" fmla="*/ 4 w 27"/>
                  <a:gd name="T1" fmla="*/ 19 h 46"/>
                  <a:gd name="T2" fmla="*/ 8 w 27"/>
                  <a:gd name="T3" fmla="*/ 6 h 46"/>
                  <a:gd name="T4" fmla="*/ 9 w 27"/>
                  <a:gd name="T5" fmla="*/ 6 h 46"/>
                  <a:gd name="T6" fmla="*/ 3 w 27"/>
                  <a:gd name="T7" fmla="*/ 28 h 46"/>
                  <a:gd name="T8" fmla="*/ 9 w 27"/>
                  <a:gd name="T9" fmla="*/ 28 h 46"/>
                  <a:gd name="T10" fmla="*/ 9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7 w 27"/>
                  <a:gd name="T23" fmla="*/ 46 h 46"/>
                  <a:gd name="T24" fmla="*/ 19 w 27"/>
                  <a:gd name="T25" fmla="*/ 44 h 46"/>
                  <a:gd name="T26" fmla="*/ 19 w 27"/>
                  <a:gd name="T27" fmla="*/ 28 h 46"/>
                  <a:gd name="T28" fmla="*/ 25 w 27"/>
                  <a:gd name="T29" fmla="*/ 28 h 46"/>
                  <a:gd name="T30" fmla="*/ 19 w 27"/>
                  <a:gd name="T31" fmla="*/ 6 h 46"/>
                  <a:gd name="T32" fmla="*/ 20 w 27"/>
                  <a:gd name="T33" fmla="*/ 6 h 46"/>
                  <a:gd name="T34" fmla="*/ 24 w 27"/>
                  <a:gd name="T35" fmla="*/ 19 h 46"/>
                  <a:gd name="T36" fmla="*/ 26 w 27"/>
                  <a:gd name="T37" fmla="*/ 20 h 46"/>
                  <a:gd name="T38" fmla="*/ 27 w 27"/>
                  <a:gd name="T39" fmla="*/ 18 h 46"/>
                  <a:gd name="T40" fmla="*/ 23 w 27"/>
                  <a:gd name="T41" fmla="*/ 4 h 46"/>
                  <a:gd name="T42" fmla="*/ 18 w 27"/>
                  <a:gd name="T43" fmla="*/ 0 h 46"/>
                  <a:gd name="T44" fmla="*/ 10 w 27"/>
                  <a:gd name="T45" fmla="*/ 0 h 46"/>
                  <a:gd name="T46" fmla="*/ 5 w 27"/>
                  <a:gd name="T47" fmla="*/ 4 h 46"/>
                  <a:gd name="T48" fmla="*/ 1 w 27"/>
                  <a:gd name="T49" fmla="*/ 18 h 46"/>
                  <a:gd name="T50" fmla="*/ 2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5"/>
                      <a:pt x="10"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7" y="46"/>
                    </a:cubicBezTo>
                    <a:cubicBezTo>
                      <a:pt x="18" y="46"/>
                      <a:pt x="19" y="45"/>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ubicBezTo>
                      <a:pt x="22" y="2"/>
                      <a:pt x="20" y="0"/>
                      <a:pt x="18" y="0"/>
                    </a:cubicBezTo>
                    <a:cubicBezTo>
                      <a:pt x="16" y="0"/>
                      <a:pt x="11" y="0"/>
                      <a:pt x="10" y="0"/>
                    </a:cubicBezTo>
                    <a:cubicBezTo>
                      <a:pt x="8" y="0"/>
                      <a:pt x="5" y="2"/>
                      <a:pt x="5" y="4"/>
                    </a:cubicBezTo>
                    <a:cubicBezTo>
                      <a:pt x="3" y="10"/>
                      <a:pt x="1" y="17"/>
                      <a:pt x="1" y="18"/>
                    </a:cubicBezTo>
                    <a:cubicBezTo>
                      <a:pt x="0" y="19"/>
                      <a:pt x="1" y="20"/>
                      <a:pt x="2" y="20"/>
                    </a:cubicBezTo>
                    <a:cubicBezTo>
                      <a:pt x="3" y="21"/>
                      <a:pt x="4" y="20"/>
                      <a:pt x="4" y="1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16" name="Freeform 1634"/>
              <p:cNvSpPr>
                <a:spLocks/>
              </p:cNvSpPr>
              <p:nvPr/>
            </p:nvSpPr>
            <p:spPr bwMode="auto">
              <a:xfrm>
                <a:off x="23015576" y="2571751"/>
                <a:ext cx="11113" cy="33338"/>
              </a:xfrm>
              <a:custGeom>
                <a:avLst/>
                <a:gdLst>
                  <a:gd name="T0" fmla="*/ 0 w 3"/>
                  <a:gd name="T1" fmla="*/ 0 h 9"/>
                  <a:gd name="T2" fmla="*/ 0 w 3"/>
                  <a:gd name="T3" fmla="*/ 7 h 9"/>
                  <a:gd name="T4" fmla="*/ 2 w 3"/>
                  <a:gd name="T5" fmla="*/ 9 h 9"/>
                  <a:gd name="T6" fmla="*/ 3 w 3"/>
                  <a:gd name="T7" fmla="*/ 9 h 9"/>
                  <a:gd name="T8" fmla="*/ 1 w 3"/>
                  <a:gd name="T9" fmla="*/ 2 h 9"/>
                  <a:gd name="T10" fmla="*/ 0 w 3"/>
                  <a:gd name="T11" fmla="*/ 0 h 9"/>
                </a:gdLst>
                <a:ahLst/>
                <a:cxnLst>
                  <a:cxn ang="0">
                    <a:pos x="T0" y="T1"/>
                  </a:cxn>
                  <a:cxn ang="0">
                    <a:pos x="T2" y="T3"/>
                  </a:cxn>
                  <a:cxn ang="0">
                    <a:pos x="T4" y="T5"/>
                  </a:cxn>
                  <a:cxn ang="0">
                    <a:pos x="T6" y="T7"/>
                  </a:cxn>
                  <a:cxn ang="0">
                    <a:pos x="T8" y="T9"/>
                  </a:cxn>
                  <a:cxn ang="0">
                    <a:pos x="T10" y="T11"/>
                  </a:cxn>
                </a:cxnLst>
                <a:rect l="0" t="0" r="r" b="b"/>
                <a:pathLst>
                  <a:path w="3" h="9">
                    <a:moveTo>
                      <a:pt x="0" y="0"/>
                    </a:moveTo>
                    <a:cubicBezTo>
                      <a:pt x="0" y="3"/>
                      <a:pt x="0" y="6"/>
                      <a:pt x="0" y="7"/>
                    </a:cubicBezTo>
                    <a:cubicBezTo>
                      <a:pt x="0" y="8"/>
                      <a:pt x="1" y="9"/>
                      <a:pt x="2" y="9"/>
                    </a:cubicBezTo>
                    <a:cubicBezTo>
                      <a:pt x="2" y="9"/>
                      <a:pt x="3" y="9"/>
                      <a:pt x="3" y="9"/>
                    </a:cubicBezTo>
                    <a:cubicBezTo>
                      <a:pt x="3" y="6"/>
                      <a:pt x="2" y="4"/>
                      <a:pt x="1" y="2"/>
                    </a:cubicBezTo>
                    <a:cubicBezTo>
                      <a:pt x="0" y="1"/>
                      <a:pt x="0" y="1"/>
                      <a:pt x="0"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17" name="Freeform 1635"/>
              <p:cNvSpPr>
                <a:spLocks/>
              </p:cNvSpPr>
              <p:nvPr/>
            </p:nvSpPr>
            <p:spPr bwMode="auto">
              <a:xfrm>
                <a:off x="22729826" y="2755901"/>
                <a:ext cx="101600" cy="176213"/>
              </a:xfrm>
              <a:custGeom>
                <a:avLst/>
                <a:gdLst>
                  <a:gd name="T0" fmla="*/ 22 w 27"/>
                  <a:gd name="T1" fmla="*/ 4 h 47"/>
                  <a:gd name="T2" fmla="*/ 17 w 27"/>
                  <a:gd name="T3" fmla="*/ 0 h 47"/>
                  <a:gd name="T4" fmla="*/ 9 w 27"/>
                  <a:gd name="T5" fmla="*/ 0 h 47"/>
                  <a:gd name="T6" fmla="*/ 4 w 27"/>
                  <a:gd name="T7" fmla="*/ 4 h 47"/>
                  <a:gd name="T8" fmla="*/ 0 w 27"/>
                  <a:gd name="T9" fmla="*/ 18 h 47"/>
                  <a:gd name="T10" fmla="*/ 1 w 27"/>
                  <a:gd name="T11" fmla="*/ 20 h 47"/>
                  <a:gd name="T12" fmla="*/ 3 w 27"/>
                  <a:gd name="T13" fmla="*/ 19 h 47"/>
                  <a:gd name="T14" fmla="*/ 7 w 27"/>
                  <a:gd name="T15" fmla="*/ 6 h 47"/>
                  <a:gd name="T16" fmla="*/ 8 w 27"/>
                  <a:gd name="T17" fmla="*/ 6 h 47"/>
                  <a:gd name="T18" fmla="*/ 2 w 27"/>
                  <a:gd name="T19" fmla="*/ 28 h 47"/>
                  <a:gd name="T20" fmla="*/ 8 w 27"/>
                  <a:gd name="T21" fmla="*/ 28 h 47"/>
                  <a:gd name="T22" fmla="*/ 8 w 27"/>
                  <a:gd name="T23" fmla="*/ 44 h 47"/>
                  <a:gd name="T24" fmla="*/ 10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4 w 27"/>
                  <a:gd name="T41" fmla="*/ 28 h 47"/>
                  <a:gd name="T42" fmla="*/ 18 w 27"/>
                  <a:gd name="T43" fmla="*/ 6 h 47"/>
                  <a:gd name="T44" fmla="*/ 19 w 27"/>
                  <a:gd name="T45" fmla="*/ 6 h 47"/>
                  <a:gd name="T46" fmla="*/ 23 w 27"/>
                  <a:gd name="T47" fmla="*/ 19 h 47"/>
                  <a:gd name="T48" fmla="*/ 25 w 27"/>
                  <a:gd name="T49" fmla="*/ 20 h 47"/>
                  <a:gd name="T50" fmla="*/ 26 w 27"/>
                  <a:gd name="T51" fmla="*/ 18 h 47"/>
                  <a:gd name="T52" fmla="*/ 22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4"/>
                    </a:move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5"/>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18" name="Oval 1636"/>
              <p:cNvSpPr>
                <a:spLocks noChangeArrowheads="1"/>
              </p:cNvSpPr>
              <p:nvPr/>
            </p:nvSpPr>
            <p:spPr bwMode="auto">
              <a:xfrm>
                <a:off x="22864763" y="2947988"/>
                <a:ext cx="38100"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19" name="Oval 1637"/>
              <p:cNvSpPr>
                <a:spLocks noChangeArrowheads="1"/>
              </p:cNvSpPr>
              <p:nvPr/>
            </p:nvSpPr>
            <p:spPr bwMode="auto">
              <a:xfrm>
                <a:off x="22658388" y="2947988"/>
                <a:ext cx="33338"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20" name="Oval 1638"/>
              <p:cNvSpPr>
                <a:spLocks noChangeArrowheads="1"/>
              </p:cNvSpPr>
              <p:nvPr/>
            </p:nvSpPr>
            <p:spPr bwMode="auto">
              <a:xfrm>
                <a:off x="22864763" y="2714626"/>
                <a:ext cx="38100"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21" name="Freeform 1639"/>
              <p:cNvSpPr>
                <a:spLocks/>
              </p:cNvSpPr>
              <p:nvPr/>
            </p:nvSpPr>
            <p:spPr bwMode="auto">
              <a:xfrm>
                <a:off x="22631401" y="2755901"/>
                <a:ext cx="87313" cy="173038"/>
              </a:xfrm>
              <a:custGeom>
                <a:avLst/>
                <a:gdLst>
                  <a:gd name="T0" fmla="*/ 21 w 23"/>
                  <a:gd name="T1" fmla="*/ 22 h 46"/>
                  <a:gd name="T2" fmla="*/ 23 w 23"/>
                  <a:gd name="T3" fmla="*/ 20 h 46"/>
                  <a:gd name="T4" fmla="*/ 23 w 23"/>
                  <a:gd name="T5" fmla="*/ 6 h 46"/>
                  <a:gd name="T6" fmla="*/ 17 w 23"/>
                  <a:gd name="T7" fmla="*/ 0 h 46"/>
                  <a:gd name="T8" fmla="*/ 6 w 23"/>
                  <a:gd name="T9" fmla="*/ 0 h 46"/>
                  <a:gd name="T10" fmla="*/ 0 w 23"/>
                  <a:gd name="T11" fmla="*/ 6 h 46"/>
                  <a:gd name="T12" fmla="*/ 0 w 23"/>
                  <a:gd name="T13" fmla="*/ 20 h 46"/>
                  <a:gd name="T14" fmla="*/ 2 w 23"/>
                  <a:gd name="T15" fmla="*/ 22 h 46"/>
                  <a:gd name="T16" fmla="*/ 4 w 23"/>
                  <a:gd name="T17" fmla="*/ 20 h 46"/>
                  <a:gd name="T18" fmla="*/ 4 w 23"/>
                  <a:gd name="T19" fmla="*/ 7 h 46"/>
                  <a:gd name="T20" fmla="*/ 5 w 23"/>
                  <a:gd name="T21" fmla="*/ 7 h 46"/>
                  <a:gd name="T22" fmla="*/ 5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8 w 23"/>
                  <a:gd name="T37" fmla="*/ 44 h 46"/>
                  <a:gd name="T38" fmla="*/ 18 w 23"/>
                  <a:gd name="T39" fmla="*/ 7 h 46"/>
                  <a:gd name="T40" fmla="*/ 19 w 23"/>
                  <a:gd name="T41" fmla="*/ 7 h 46"/>
                  <a:gd name="T42" fmla="*/ 19 w 23"/>
                  <a:gd name="T43" fmla="*/ 20 h 46"/>
                  <a:gd name="T44" fmla="*/ 21 w 23"/>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2"/>
                    </a:moveTo>
                    <a:cubicBezTo>
                      <a:pt x="22" y="22"/>
                      <a:pt x="23" y="22"/>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2"/>
                      <a:pt x="21" y="22"/>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22" name="Oval 1640"/>
              <p:cNvSpPr>
                <a:spLocks noChangeArrowheads="1"/>
              </p:cNvSpPr>
              <p:nvPr/>
            </p:nvSpPr>
            <p:spPr bwMode="auto">
              <a:xfrm>
                <a:off x="22658388" y="2714626"/>
                <a:ext cx="33338"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23" name="Oval 1641"/>
              <p:cNvSpPr>
                <a:spLocks noChangeArrowheads="1"/>
              </p:cNvSpPr>
              <p:nvPr/>
            </p:nvSpPr>
            <p:spPr bwMode="auto">
              <a:xfrm>
                <a:off x="22658388" y="2481263"/>
                <a:ext cx="33338"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24" name="Freeform 1642"/>
              <p:cNvSpPr>
                <a:spLocks/>
              </p:cNvSpPr>
              <p:nvPr/>
            </p:nvSpPr>
            <p:spPr bwMode="auto">
              <a:xfrm>
                <a:off x="22625051" y="2519363"/>
                <a:ext cx="101600" cy="176213"/>
              </a:xfrm>
              <a:custGeom>
                <a:avLst/>
                <a:gdLst>
                  <a:gd name="T0" fmla="*/ 23 w 27"/>
                  <a:gd name="T1" fmla="*/ 20 h 47"/>
                  <a:gd name="T2" fmla="*/ 25 w 27"/>
                  <a:gd name="T3" fmla="*/ 21 h 47"/>
                  <a:gd name="T4" fmla="*/ 27 w 27"/>
                  <a:gd name="T5" fmla="*/ 19 h 47"/>
                  <a:gd name="T6" fmla="*/ 23 w 27"/>
                  <a:gd name="T7" fmla="*/ 5 h 47"/>
                  <a:gd name="T8" fmla="*/ 17 w 27"/>
                  <a:gd name="T9" fmla="*/ 0 h 47"/>
                  <a:gd name="T10" fmla="*/ 10 w 27"/>
                  <a:gd name="T11" fmla="*/ 0 h 47"/>
                  <a:gd name="T12" fmla="*/ 4 w 27"/>
                  <a:gd name="T13" fmla="*/ 5 h 47"/>
                  <a:gd name="T14" fmla="*/ 0 w 27"/>
                  <a:gd name="T15" fmla="*/ 19 h 47"/>
                  <a:gd name="T16" fmla="*/ 1 w 27"/>
                  <a:gd name="T17" fmla="*/ 21 h 47"/>
                  <a:gd name="T18" fmla="*/ 4 w 27"/>
                  <a:gd name="T19" fmla="*/ 20 h 47"/>
                  <a:gd name="T20" fmla="*/ 8 w 27"/>
                  <a:gd name="T21" fmla="*/ 7 h 47"/>
                  <a:gd name="T22" fmla="*/ 9 w 27"/>
                  <a:gd name="T23" fmla="*/ 7 h 47"/>
                  <a:gd name="T24" fmla="*/ 2 w 27"/>
                  <a:gd name="T25" fmla="*/ 28 h 47"/>
                  <a:gd name="T26" fmla="*/ 8 w 27"/>
                  <a:gd name="T27" fmla="*/ 28 h 47"/>
                  <a:gd name="T28" fmla="*/ 8 w 27"/>
                  <a:gd name="T29" fmla="*/ 45 h 47"/>
                  <a:gd name="T30" fmla="*/ 11 w 27"/>
                  <a:gd name="T31" fmla="*/ 47 h 47"/>
                  <a:gd name="T32" fmla="*/ 13 w 27"/>
                  <a:gd name="T33" fmla="*/ 45 h 47"/>
                  <a:gd name="T34" fmla="*/ 13 w 27"/>
                  <a:gd name="T35" fmla="*/ 28 h 47"/>
                  <a:gd name="T36" fmla="*/ 14 w 27"/>
                  <a:gd name="T37" fmla="*/ 28 h 47"/>
                  <a:gd name="T38" fmla="*/ 14 w 27"/>
                  <a:gd name="T39" fmla="*/ 45 h 47"/>
                  <a:gd name="T40" fmla="*/ 16 w 27"/>
                  <a:gd name="T41" fmla="*/ 47 h 47"/>
                  <a:gd name="T42" fmla="*/ 18 w 27"/>
                  <a:gd name="T43" fmla="*/ 45 h 47"/>
                  <a:gd name="T44" fmla="*/ 18 w 27"/>
                  <a:gd name="T45" fmla="*/ 28 h 47"/>
                  <a:gd name="T46" fmla="*/ 25 w 27"/>
                  <a:gd name="T47" fmla="*/ 28 h 47"/>
                  <a:gd name="T48" fmla="*/ 18 w 27"/>
                  <a:gd name="T49" fmla="*/ 7 h 47"/>
                  <a:gd name="T50" fmla="*/ 19 w 27"/>
                  <a:gd name="T51" fmla="*/ 7 h 47"/>
                  <a:gd name="T52" fmla="*/ 23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20"/>
                    </a:moveTo>
                    <a:cubicBezTo>
                      <a:pt x="23" y="21"/>
                      <a:pt x="24" y="21"/>
                      <a:pt x="25"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2" y="11"/>
                      <a:pt x="0" y="18"/>
                      <a:pt x="0" y="19"/>
                    </a:cubicBezTo>
                    <a:cubicBezTo>
                      <a:pt x="0" y="20"/>
                      <a:pt x="0" y="21"/>
                      <a:pt x="1" y="21"/>
                    </a:cubicBezTo>
                    <a:cubicBezTo>
                      <a:pt x="2" y="21"/>
                      <a:pt x="3" y="21"/>
                      <a:pt x="4" y="20"/>
                    </a:cubicBezTo>
                    <a:cubicBezTo>
                      <a:pt x="4" y="18"/>
                      <a:pt x="8" y="7"/>
                      <a:pt x="8"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25" name="Freeform 1643"/>
              <p:cNvSpPr>
                <a:spLocks/>
              </p:cNvSpPr>
              <p:nvPr/>
            </p:nvSpPr>
            <p:spPr bwMode="auto">
              <a:xfrm>
                <a:off x="22831426" y="2519363"/>
                <a:ext cx="101600" cy="176213"/>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4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1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1" y="19"/>
                    </a:cubicBezTo>
                    <a:cubicBezTo>
                      <a:pt x="0" y="20"/>
                      <a:pt x="1" y="21"/>
                      <a:pt x="2" y="21"/>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26" name="Oval 1644"/>
              <p:cNvSpPr>
                <a:spLocks noChangeArrowheads="1"/>
              </p:cNvSpPr>
              <p:nvPr/>
            </p:nvSpPr>
            <p:spPr bwMode="auto">
              <a:xfrm>
                <a:off x="22759988" y="2714626"/>
                <a:ext cx="38100"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27" name="Oval 1645"/>
              <p:cNvSpPr>
                <a:spLocks noChangeArrowheads="1"/>
              </p:cNvSpPr>
              <p:nvPr/>
            </p:nvSpPr>
            <p:spPr bwMode="auto">
              <a:xfrm>
                <a:off x="22759988" y="2481263"/>
                <a:ext cx="38100"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28" name="Oval 1646"/>
              <p:cNvSpPr>
                <a:spLocks noChangeArrowheads="1"/>
              </p:cNvSpPr>
              <p:nvPr/>
            </p:nvSpPr>
            <p:spPr bwMode="auto">
              <a:xfrm>
                <a:off x="22864763" y="2481263"/>
                <a:ext cx="38100"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29" name="Freeform 1647"/>
              <p:cNvSpPr>
                <a:spLocks/>
              </p:cNvSpPr>
              <p:nvPr/>
            </p:nvSpPr>
            <p:spPr bwMode="auto">
              <a:xfrm>
                <a:off x="22737763" y="2519363"/>
                <a:ext cx="82550" cy="176213"/>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8 w 22"/>
                  <a:gd name="T13" fmla="*/ 47 h 47"/>
                  <a:gd name="T14" fmla="*/ 11 w 22"/>
                  <a:gd name="T15" fmla="*/ 44 h 47"/>
                  <a:gd name="T16" fmla="*/ 11 w 22"/>
                  <a:gd name="T17" fmla="*/ 23 h 47"/>
                  <a:gd name="T18" fmla="*/ 12 w 22"/>
                  <a:gd name="T19" fmla="*/ 23 h 47"/>
                  <a:gd name="T20" fmla="*/ 12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6 h 47"/>
                  <a:gd name="T38" fmla="*/ 16 w 22"/>
                  <a:gd name="T39" fmla="*/ 0 h 47"/>
                  <a:gd name="T40" fmla="*/ 6 w 22"/>
                  <a:gd name="T41" fmla="*/ 0 h 47"/>
                  <a:gd name="T42" fmla="*/ 0 w 22"/>
                  <a:gd name="T43" fmla="*/ 6 h 47"/>
                  <a:gd name="T44" fmla="*/ 0 w 22"/>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30" name="Freeform 1648"/>
              <p:cNvSpPr>
                <a:spLocks/>
              </p:cNvSpPr>
              <p:nvPr/>
            </p:nvSpPr>
            <p:spPr bwMode="auto">
              <a:xfrm>
                <a:off x="22842538" y="2755901"/>
                <a:ext cx="82550" cy="173038"/>
              </a:xfrm>
              <a:custGeom>
                <a:avLst/>
                <a:gdLst>
                  <a:gd name="T0" fmla="*/ 20 w 22"/>
                  <a:gd name="T1" fmla="*/ 22 h 46"/>
                  <a:gd name="T2" fmla="*/ 22 w 22"/>
                  <a:gd name="T3" fmla="*/ 20 h 46"/>
                  <a:gd name="T4" fmla="*/ 22 w 22"/>
                  <a:gd name="T5" fmla="*/ 6 h 46"/>
                  <a:gd name="T6" fmla="*/ 16 w 22"/>
                  <a:gd name="T7" fmla="*/ 0 h 46"/>
                  <a:gd name="T8" fmla="*/ 6 w 22"/>
                  <a:gd name="T9" fmla="*/ 0 h 46"/>
                  <a:gd name="T10" fmla="*/ 0 w 22"/>
                  <a:gd name="T11" fmla="*/ 6 h 46"/>
                  <a:gd name="T12" fmla="*/ 0 w 22"/>
                  <a:gd name="T13" fmla="*/ 20 h 46"/>
                  <a:gd name="T14" fmla="*/ 2 w 22"/>
                  <a:gd name="T15" fmla="*/ 22 h 46"/>
                  <a:gd name="T16" fmla="*/ 4 w 22"/>
                  <a:gd name="T17" fmla="*/ 20 h 46"/>
                  <a:gd name="T18" fmla="*/ 4 w 22"/>
                  <a:gd name="T19" fmla="*/ 7 h 46"/>
                  <a:gd name="T20" fmla="*/ 5 w 22"/>
                  <a:gd name="T21" fmla="*/ 7 h 46"/>
                  <a:gd name="T22" fmla="*/ 5 w 22"/>
                  <a:gd name="T23" fmla="*/ 44 h 46"/>
                  <a:gd name="T24" fmla="*/ 8 w 22"/>
                  <a:gd name="T25" fmla="*/ 46 h 46"/>
                  <a:gd name="T26" fmla="*/ 10 w 22"/>
                  <a:gd name="T27" fmla="*/ 44 h 46"/>
                  <a:gd name="T28" fmla="*/ 10 w 22"/>
                  <a:gd name="T29" fmla="*/ 23 h 46"/>
                  <a:gd name="T30" fmla="*/ 11 w 22"/>
                  <a:gd name="T31" fmla="*/ 23 h 46"/>
                  <a:gd name="T32" fmla="*/ 11 w 22"/>
                  <a:gd name="T33" fmla="*/ 44 h 46"/>
                  <a:gd name="T34" fmla="*/ 14 w 22"/>
                  <a:gd name="T35" fmla="*/ 46 h 46"/>
                  <a:gd name="T36" fmla="*/ 17 w 22"/>
                  <a:gd name="T37" fmla="*/ 44 h 46"/>
                  <a:gd name="T38" fmla="*/ 17 w 22"/>
                  <a:gd name="T39" fmla="*/ 7 h 46"/>
                  <a:gd name="T40" fmla="*/ 18 w 22"/>
                  <a:gd name="T41" fmla="*/ 7 h 46"/>
                  <a:gd name="T42" fmla="*/ 18 w 22"/>
                  <a:gd name="T43" fmla="*/ 20 h 46"/>
                  <a:gd name="T44" fmla="*/ 20 w 22"/>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0" y="22"/>
                    </a:moveTo>
                    <a:cubicBezTo>
                      <a:pt x="21" y="22"/>
                      <a:pt x="22" y="22"/>
                      <a:pt x="22" y="20"/>
                    </a:cubicBezTo>
                    <a:cubicBezTo>
                      <a:pt x="22" y="19"/>
                      <a:pt x="22" y="7"/>
                      <a:pt x="22" y="6"/>
                    </a:cubicBezTo>
                    <a:cubicBezTo>
                      <a:pt x="22" y="2"/>
                      <a:pt x="19" y="0"/>
                      <a:pt x="16" y="0"/>
                    </a:cubicBezTo>
                    <a:cubicBezTo>
                      <a:pt x="14" y="0"/>
                      <a:pt x="7" y="0"/>
                      <a:pt x="6" y="0"/>
                    </a:cubicBezTo>
                    <a:cubicBezTo>
                      <a:pt x="2" y="0"/>
                      <a:pt x="0" y="2"/>
                      <a:pt x="0" y="6"/>
                    </a:cubicBezTo>
                    <a:cubicBezTo>
                      <a:pt x="0" y="7"/>
                      <a:pt x="0" y="19"/>
                      <a:pt x="0" y="20"/>
                    </a:cubicBezTo>
                    <a:cubicBezTo>
                      <a:pt x="0" y="22"/>
                      <a:pt x="0" y="22"/>
                      <a:pt x="2" y="22"/>
                    </a:cubicBezTo>
                    <a:cubicBezTo>
                      <a:pt x="3" y="22"/>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1" y="23"/>
                    </a:cubicBezTo>
                    <a:cubicBezTo>
                      <a:pt x="11" y="23"/>
                      <a:pt x="11" y="41"/>
                      <a:pt x="11" y="44"/>
                    </a:cubicBezTo>
                    <a:cubicBezTo>
                      <a:pt x="11"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2"/>
                      <a:pt x="20" y="22"/>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31" name="Oval 1649"/>
              <p:cNvSpPr>
                <a:spLocks noChangeArrowheads="1"/>
              </p:cNvSpPr>
              <p:nvPr/>
            </p:nvSpPr>
            <p:spPr bwMode="auto">
              <a:xfrm>
                <a:off x="21726526" y="2481263"/>
                <a:ext cx="33338"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32" name="Freeform 1650"/>
              <p:cNvSpPr>
                <a:spLocks/>
              </p:cNvSpPr>
              <p:nvPr/>
            </p:nvSpPr>
            <p:spPr bwMode="auto">
              <a:xfrm>
                <a:off x="21907501" y="2989263"/>
                <a:ext cx="85725" cy="173038"/>
              </a:xfrm>
              <a:custGeom>
                <a:avLst/>
                <a:gdLst>
                  <a:gd name="T0" fmla="*/ 4 w 23"/>
                  <a:gd name="T1" fmla="*/ 20 h 46"/>
                  <a:gd name="T2" fmla="*/ 4 w 23"/>
                  <a:gd name="T3" fmla="*/ 7 h 46"/>
                  <a:gd name="T4" fmla="*/ 6 w 23"/>
                  <a:gd name="T5" fmla="*/ 7 h 46"/>
                  <a:gd name="T6" fmla="*/ 6 w 23"/>
                  <a:gd name="T7" fmla="*/ 44 h 46"/>
                  <a:gd name="T8" fmla="*/ 8 w 23"/>
                  <a:gd name="T9" fmla="*/ 46 h 46"/>
                  <a:gd name="T10" fmla="*/ 11 w 23"/>
                  <a:gd name="T11" fmla="*/ 44 h 46"/>
                  <a:gd name="T12" fmla="*/ 11 w 23"/>
                  <a:gd name="T13" fmla="*/ 22 h 46"/>
                  <a:gd name="T14" fmla="*/ 12 w 23"/>
                  <a:gd name="T15" fmla="*/ 22 h 46"/>
                  <a:gd name="T16" fmla="*/ 12 w 23"/>
                  <a:gd name="T17" fmla="*/ 44 h 46"/>
                  <a:gd name="T18" fmla="*/ 15 w 23"/>
                  <a:gd name="T19" fmla="*/ 46 h 46"/>
                  <a:gd name="T20" fmla="*/ 18 w 23"/>
                  <a:gd name="T21" fmla="*/ 44 h 46"/>
                  <a:gd name="T22" fmla="*/ 18 w 23"/>
                  <a:gd name="T23" fmla="*/ 7 h 46"/>
                  <a:gd name="T24" fmla="*/ 19 w 23"/>
                  <a:gd name="T25" fmla="*/ 7 h 46"/>
                  <a:gd name="T26" fmla="*/ 19 w 23"/>
                  <a:gd name="T27" fmla="*/ 20 h 46"/>
                  <a:gd name="T28" fmla="*/ 21 w 23"/>
                  <a:gd name="T29" fmla="*/ 22 h 46"/>
                  <a:gd name="T30" fmla="*/ 23 w 23"/>
                  <a:gd name="T31" fmla="*/ 20 h 46"/>
                  <a:gd name="T32" fmla="*/ 23 w 23"/>
                  <a:gd name="T33" fmla="*/ 6 h 46"/>
                  <a:gd name="T34" fmla="*/ 17 w 23"/>
                  <a:gd name="T35" fmla="*/ 0 h 46"/>
                  <a:gd name="T36" fmla="*/ 6 w 23"/>
                  <a:gd name="T37" fmla="*/ 0 h 46"/>
                  <a:gd name="T38" fmla="*/ 0 w 23"/>
                  <a:gd name="T39" fmla="*/ 6 h 46"/>
                  <a:gd name="T40" fmla="*/ 0 w 23"/>
                  <a:gd name="T41" fmla="*/ 20 h 46"/>
                  <a:gd name="T42" fmla="*/ 2 w 23"/>
                  <a:gd name="T43" fmla="*/ 22 h 46"/>
                  <a:gd name="T44" fmla="*/ 4 w 23"/>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4" y="20"/>
                    </a:moveTo>
                    <a:cubicBezTo>
                      <a:pt x="4" y="19"/>
                      <a:pt x="4" y="7"/>
                      <a:pt x="4" y="7"/>
                    </a:cubicBezTo>
                    <a:cubicBezTo>
                      <a:pt x="4" y="7"/>
                      <a:pt x="4" y="7"/>
                      <a:pt x="6" y="7"/>
                    </a:cubicBezTo>
                    <a:cubicBezTo>
                      <a:pt x="6" y="7"/>
                      <a:pt x="6" y="41"/>
                      <a:pt x="6" y="44"/>
                    </a:cubicBezTo>
                    <a:cubicBezTo>
                      <a:pt x="6" y="45"/>
                      <a:pt x="7" y="46"/>
                      <a:pt x="8" y="46"/>
                    </a:cubicBezTo>
                    <a:cubicBezTo>
                      <a:pt x="10" y="46"/>
                      <a:pt x="11" y="45"/>
                      <a:pt x="11" y="44"/>
                    </a:cubicBezTo>
                    <a:cubicBezTo>
                      <a:pt x="11" y="41"/>
                      <a:pt x="11" y="22"/>
                      <a:pt x="11" y="22"/>
                    </a:cubicBezTo>
                    <a:cubicBezTo>
                      <a:pt x="11" y="22"/>
                      <a:pt x="11" y="22"/>
                      <a:pt x="12" y="22"/>
                    </a:cubicBezTo>
                    <a:cubicBezTo>
                      <a:pt x="12" y="22"/>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1"/>
                      <a:pt x="20" y="22"/>
                      <a:pt x="21" y="22"/>
                    </a:cubicBezTo>
                    <a:cubicBezTo>
                      <a:pt x="22" y="22"/>
                      <a:pt x="23" y="21"/>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1"/>
                      <a:pt x="1" y="22"/>
                      <a:pt x="2" y="22"/>
                    </a:cubicBezTo>
                    <a:cubicBezTo>
                      <a:pt x="4" y="22"/>
                      <a:pt x="4" y="21"/>
                      <a:pt x="4" y="2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33" name="Freeform 1651"/>
              <p:cNvSpPr>
                <a:spLocks/>
              </p:cNvSpPr>
              <p:nvPr/>
            </p:nvSpPr>
            <p:spPr bwMode="auto">
              <a:xfrm>
                <a:off x="21699538" y="2519363"/>
                <a:ext cx="87313" cy="176213"/>
              </a:xfrm>
              <a:custGeom>
                <a:avLst/>
                <a:gdLst>
                  <a:gd name="T0" fmla="*/ 0 w 23"/>
                  <a:gd name="T1" fmla="*/ 21 h 47"/>
                  <a:gd name="T2" fmla="*/ 2 w 23"/>
                  <a:gd name="T3" fmla="*/ 23 h 47"/>
                  <a:gd name="T4" fmla="*/ 4 w 23"/>
                  <a:gd name="T5" fmla="*/ 21 h 47"/>
                  <a:gd name="T6" fmla="*/ 4 w 23"/>
                  <a:gd name="T7" fmla="*/ 8 h 47"/>
                  <a:gd name="T8" fmla="*/ 5 w 23"/>
                  <a:gd name="T9" fmla="*/ 8 h 47"/>
                  <a:gd name="T10" fmla="*/ 5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7 w 23"/>
                  <a:gd name="T25" fmla="*/ 44 h 47"/>
                  <a:gd name="T26" fmla="*/ 17 w 23"/>
                  <a:gd name="T27" fmla="*/ 8 h 47"/>
                  <a:gd name="T28" fmla="*/ 18 w 23"/>
                  <a:gd name="T29" fmla="*/ 8 h 47"/>
                  <a:gd name="T30" fmla="*/ 18 w 23"/>
                  <a:gd name="T31" fmla="*/ 21 h 47"/>
                  <a:gd name="T32" fmla="*/ 21 w 23"/>
                  <a:gd name="T33" fmla="*/ 23 h 47"/>
                  <a:gd name="T34" fmla="*/ 23 w 23"/>
                  <a:gd name="T35" fmla="*/ 21 h 47"/>
                  <a:gd name="T36" fmla="*/ 23 w 23"/>
                  <a:gd name="T37" fmla="*/ 6 h 47"/>
                  <a:gd name="T38" fmla="*/ 17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34" name="Oval 1652"/>
              <p:cNvSpPr>
                <a:spLocks noChangeArrowheads="1"/>
              </p:cNvSpPr>
              <p:nvPr/>
            </p:nvSpPr>
            <p:spPr bwMode="auto">
              <a:xfrm>
                <a:off x="21726526" y="2714626"/>
                <a:ext cx="33338"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35" name="Oval 1653"/>
              <p:cNvSpPr>
                <a:spLocks noChangeArrowheads="1"/>
              </p:cNvSpPr>
              <p:nvPr/>
            </p:nvSpPr>
            <p:spPr bwMode="auto">
              <a:xfrm>
                <a:off x="21932901" y="2714626"/>
                <a:ext cx="34925"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36" name="Oval 1654"/>
              <p:cNvSpPr>
                <a:spLocks noChangeArrowheads="1"/>
              </p:cNvSpPr>
              <p:nvPr/>
            </p:nvSpPr>
            <p:spPr bwMode="auto">
              <a:xfrm>
                <a:off x="21932901" y="2481263"/>
                <a:ext cx="34925"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37" name="Freeform 1655"/>
              <p:cNvSpPr>
                <a:spLocks/>
              </p:cNvSpPr>
              <p:nvPr/>
            </p:nvSpPr>
            <p:spPr bwMode="auto">
              <a:xfrm>
                <a:off x="21899563" y="2755901"/>
                <a:ext cx="101600" cy="176213"/>
              </a:xfrm>
              <a:custGeom>
                <a:avLst/>
                <a:gdLst>
                  <a:gd name="T0" fmla="*/ 23 w 27"/>
                  <a:gd name="T1" fmla="*/ 4 h 47"/>
                  <a:gd name="T2" fmla="*/ 18 w 27"/>
                  <a:gd name="T3" fmla="*/ 0 h 47"/>
                  <a:gd name="T4" fmla="*/ 10 w 27"/>
                  <a:gd name="T5" fmla="*/ 0 h 47"/>
                  <a:gd name="T6" fmla="*/ 5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7 w 27"/>
                  <a:gd name="T35" fmla="*/ 47 h 47"/>
                  <a:gd name="T36" fmla="*/ 19 w 27"/>
                  <a:gd name="T37" fmla="*/ 44 h 47"/>
                  <a:gd name="T38" fmla="*/ 19 w 27"/>
                  <a:gd name="T39" fmla="*/ 28 h 47"/>
                  <a:gd name="T40" fmla="*/ 25 w 27"/>
                  <a:gd name="T41" fmla="*/ 28 h 47"/>
                  <a:gd name="T42" fmla="*/ 18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38" name="Oval 1656"/>
              <p:cNvSpPr>
                <a:spLocks noChangeArrowheads="1"/>
              </p:cNvSpPr>
              <p:nvPr/>
            </p:nvSpPr>
            <p:spPr bwMode="auto">
              <a:xfrm>
                <a:off x="21932901" y="2947988"/>
                <a:ext cx="34925"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39" name="Freeform 1657"/>
              <p:cNvSpPr>
                <a:spLocks/>
              </p:cNvSpPr>
              <p:nvPr/>
            </p:nvSpPr>
            <p:spPr bwMode="auto">
              <a:xfrm>
                <a:off x="21907501" y="2519363"/>
                <a:ext cx="85725" cy="176213"/>
              </a:xfrm>
              <a:custGeom>
                <a:avLst/>
                <a:gdLst>
                  <a:gd name="T0" fmla="*/ 0 w 23"/>
                  <a:gd name="T1" fmla="*/ 21 h 47"/>
                  <a:gd name="T2" fmla="*/ 2 w 23"/>
                  <a:gd name="T3" fmla="*/ 23 h 47"/>
                  <a:gd name="T4" fmla="*/ 4 w 23"/>
                  <a:gd name="T5" fmla="*/ 21 h 47"/>
                  <a:gd name="T6" fmla="*/ 4 w 23"/>
                  <a:gd name="T7" fmla="*/ 8 h 47"/>
                  <a:gd name="T8" fmla="*/ 6 w 23"/>
                  <a:gd name="T9" fmla="*/ 8 h 47"/>
                  <a:gd name="T10" fmla="*/ 6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8 w 23"/>
                  <a:gd name="T25" fmla="*/ 44 h 47"/>
                  <a:gd name="T26" fmla="*/ 18 w 23"/>
                  <a:gd name="T27" fmla="*/ 8 h 47"/>
                  <a:gd name="T28" fmla="*/ 19 w 23"/>
                  <a:gd name="T29" fmla="*/ 8 h 47"/>
                  <a:gd name="T30" fmla="*/ 19 w 23"/>
                  <a:gd name="T31" fmla="*/ 21 h 47"/>
                  <a:gd name="T32" fmla="*/ 21 w 23"/>
                  <a:gd name="T33" fmla="*/ 23 h 47"/>
                  <a:gd name="T34" fmla="*/ 23 w 23"/>
                  <a:gd name="T35" fmla="*/ 21 h 47"/>
                  <a:gd name="T36" fmla="*/ 23 w 23"/>
                  <a:gd name="T37" fmla="*/ 6 h 47"/>
                  <a:gd name="T38" fmla="*/ 17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4"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40" name="Freeform 1658"/>
              <p:cNvSpPr>
                <a:spLocks/>
              </p:cNvSpPr>
              <p:nvPr/>
            </p:nvSpPr>
            <p:spPr bwMode="auto">
              <a:xfrm>
                <a:off x="21794788" y="2989263"/>
                <a:ext cx="101600" cy="173038"/>
              </a:xfrm>
              <a:custGeom>
                <a:avLst/>
                <a:gdLst>
                  <a:gd name="T0" fmla="*/ 4 w 27"/>
                  <a:gd name="T1" fmla="*/ 19 h 46"/>
                  <a:gd name="T2" fmla="*/ 8 w 27"/>
                  <a:gd name="T3" fmla="*/ 6 h 46"/>
                  <a:gd name="T4" fmla="*/ 9 w 27"/>
                  <a:gd name="T5" fmla="*/ 6 h 46"/>
                  <a:gd name="T6" fmla="*/ 3 w 27"/>
                  <a:gd name="T7" fmla="*/ 28 h 46"/>
                  <a:gd name="T8" fmla="*/ 9 w 27"/>
                  <a:gd name="T9" fmla="*/ 28 h 46"/>
                  <a:gd name="T10" fmla="*/ 9 w 27"/>
                  <a:gd name="T11" fmla="*/ 44 h 46"/>
                  <a:gd name="T12" fmla="*/ 11 w 27"/>
                  <a:gd name="T13" fmla="*/ 46 h 46"/>
                  <a:gd name="T14" fmla="*/ 14 w 27"/>
                  <a:gd name="T15" fmla="*/ 44 h 46"/>
                  <a:gd name="T16" fmla="*/ 14 w 27"/>
                  <a:gd name="T17" fmla="*/ 28 h 46"/>
                  <a:gd name="T18" fmla="*/ 15 w 27"/>
                  <a:gd name="T19" fmla="*/ 28 h 46"/>
                  <a:gd name="T20" fmla="*/ 15 w 27"/>
                  <a:gd name="T21" fmla="*/ 44 h 46"/>
                  <a:gd name="T22" fmla="*/ 17 w 27"/>
                  <a:gd name="T23" fmla="*/ 46 h 46"/>
                  <a:gd name="T24" fmla="*/ 19 w 27"/>
                  <a:gd name="T25" fmla="*/ 44 h 46"/>
                  <a:gd name="T26" fmla="*/ 19 w 27"/>
                  <a:gd name="T27" fmla="*/ 28 h 46"/>
                  <a:gd name="T28" fmla="*/ 25 w 27"/>
                  <a:gd name="T29" fmla="*/ 28 h 46"/>
                  <a:gd name="T30" fmla="*/ 19 w 27"/>
                  <a:gd name="T31" fmla="*/ 6 h 46"/>
                  <a:gd name="T32" fmla="*/ 20 w 27"/>
                  <a:gd name="T33" fmla="*/ 6 h 46"/>
                  <a:gd name="T34" fmla="*/ 24 w 27"/>
                  <a:gd name="T35" fmla="*/ 19 h 46"/>
                  <a:gd name="T36" fmla="*/ 26 w 27"/>
                  <a:gd name="T37" fmla="*/ 20 h 46"/>
                  <a:gd name="T38" fmla="*/ 27 w 27"/>
                  <a:gd name="T39" fmla="*/ 18 h 46"/>
                  <a:gd name="T40" fmla="*/ 23 w 27"/>
                  <a:gd name="T41" fmla="*/ 4 h 46"/>
                  <a:gd name="T42" fmla="*/ 18 w 27"/>
                  <a:gd name="T43" fmla="*/ 0 h 46"/>
                  <a:gd name="T44" fmla="*/ 10 w 27"/>
                  <a:gd name="T45" fmla="*/ 0 h 46"/>
                  <a:gd name="T46" fmla="*/ 5 w 27"/>
                  <a:gd name="T47" fmla="*/ 4 h 46"/>
                  <a:gd name="T48" fmla="*/ 1 w 27"/>
                  <a:gd name="T49" fmla="*/ 18 h 46"/>
                  <a:gd name="T50" fmla="*/ 2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5"/>
                      <a:pt x="10" y="46"/>
                      <a:pt x="11" y="46"/>
                    </a:cubicBezTo>
                    <a:cubicBezTo>
                      <a:pt x="12" y="46"/>
                      <a:pt x="14" y="45"/>
                      <a:pt x="14" y="44"/>
                    </a:cubicBezTo>
                    <a:cubicBezTo>
                      <a:pt x="14" y="42"/>
                      <a:pt x="14" y="28"/>
                      <a:pt x="14" y="28"/>
                    </a:cubicBezTo>
                    <a:cubicBezTo>
                      <a:pt x="15" y="28"/>
                      <a:pt x="15" y="28"/>
                      <a:pt x="15" y="28"/>
                    </a:cubicBezTo>
                    <a:cubicBezTo>
                      <a:pt x="15" y="28"/>
                      <a:pt x="15" y="42"/>
                      <a:pt x="15" y="44"/>
                    </a:cubicBezTo>
                    <a:cubicBezTo>
                      <a:pt x="15" y="45"/>
                      <a:pt x="16" y="46"/>
                      <a:pt x="17" y="46"/>
                    </a:cubicBezTo>
                    <a:cubicBezTo>
                      <a:pt x="18" y="46"/>
                      <a:pt x="19" y="45"/>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ubicBezTo>
                      <a:pt x="23"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41" name="Freeform 1659"/>
              <p:cNvSpPr>
                <a:spLocks/>
              </p:cNvSpPr>
              <p:nvPr/>
            </p:nvSpPr>
            <p:spPr bwMode="auto">
              <a:xfrm>
                <a:off x="22323426" y="2519363"/>
                <a:ext cx="87313" cy="176213"/>
              </a:xfrm>
              <a:custGeom>
                <a:avLst/>
                <a:gdLst>
                  <a:gd name="T0" fmla="*/ 0 w 23"/>
                  <a:gd name="T1" fmla="*/ 21 h 47"/>
                  <a:gd name="T2" fmla="*/ 2 w 23"/>
                  <a:gd name="T3" fmla="*/ 23 h 47"/>
                  <a:gd name="T4" fmla="*/ 4 w 23"/>
                  <a:gd name="T5" fmla="*/ 21 h 47"/>
                  <a:gd name="T6" fmla="*/ 4 w 23"/>
                  <a:gd name="T7" fmla="*/ 8 h 47"/>
                  <a:gd name="T8" fmla="*/ 5 w 23"/>
                  <a:gd name="T9" fmla="*/ 8 h 47"/>
                  <a:gd name="T10" fmla="*/ 5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8 w 23"/>
                  <a:gd name="T25" fmla="*/ 44 h 47"/>
                  <a:gd name="T26" fmla="*/ 18 w 23"/>
                  <a:gd name="T27" fmla="*/ 8 h 47"/>
                  <a:gd name="T28" fmla="*/ 19 w 23"/>
                  <a:gd name="T29" fmla="*/ 8 h 47"/>
                  <a:gd name="T30" fmla="*/ 19 w 23"/>
                  <a:gd name="T31" fmla="*/ 21 h 47"/>
                  <a:gd name="T32" fmla="*/ 21 w 23"/>
                  <a:gd name="T33" fmla="*/ 23 h 47"/>
                  <a:gd name="T34" fmla="*/ 23 w 23"/>
                  <a:gd name="T35" fmla="*/ 21 h 47"/>
                  <a:gd name="T36" fmla="*/ 23 w 23"/>
                  <a:gd name="T37" fmla="*/ 6 h 47"/>
                  <a:gd name="T38" fmla="*/ 17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42" name="Freeform 1660"/>
              <p:cNvSpPr>
                <a:spLocks/>
              </p:cNvSpPr>
              <p:nvPr/>
            </p:nvSpPr>
            <p:spPr bwMode="auto">
              <a:xfrm>
                <a:off x="22421851" y="2989263"/>
                <a:ext cx="101600" cy="173038"/>
              </a:xfrm>
              <a:custGeom>
                <a:avLst/>
                <a:gdLst>
                  <a:gd name="T0" fmla="*/ 3 w 27"/>
                  <a:gd name="T1" fmla="*/ 19 h 46"/>
                  <a:gd name="T2" fmla="*/ 7 w 27"/>
                  <a:gd name="T3" fmla="*/ 6 h 46"/>
                  <a:gd name="T4" fmla="*/ 8 w 27"/>
                  <a:gd name="T5" fmla="*/ 6 h 46"/>
                  <a:gd name="T6" fmla="*/ 2 w 27"/>
                  <a:gd name="T7" fmla="*/ 28 h 46"/>
                  <a:gd name="T8" fmla="*/ 8 w 27"/>
                  <a:gd name="T9" fmla="*/ 28 h 46"/>
                  <a:gd name="T10" fmla="*/ 8 w 27"/>
                  <a:gd name="T11" fmla="*/ 44 h 46"/>
                  <a:gd name="T12" fmla="*/ 10 w 27"/>
                  <a:gd name="T13" fmla="*/ 46 h 46"/>
                  <a:gd name="T14" fmla="*/ 13 w 27"/>
                  <a:gd name="T15" fmla="*/ 44 h 46"/>
                  <a:gd name="T16" fmla="*/ 13 w 27"/>
                  <a:gd name="T17" fmla="*/ 28 h 46"/>
                  <a:gd name="T18" fmla="*/ 14 w 27"/>
                  <a:gd name="T19" fmla="*/ 28 h 46"/>
                  <a:gd name="T20" fmla="*/ 14 w 27"/>
                  <a:gd name="T21" fmla="*/ 44 h 46"/>
                  <a:gd name="T22" fmla="*/ 16 w 27"/>
                  <a:gd name="T23" fmla="*/ 46 h 46"/>
                  <a:gd name="T24" fmla="*/ 18 w 27"/>
                  <a:gd name="T25" fmla="*/ 44 h 46"/>
                  <a:gd name="T26" fmla="*/ 18 w 27"/>
                  <a:gd name="T27" fmla="*/ 28 h 46"/>
                  <a:gd name="T28" fmla="*/ 24 w 27"/>
                  <a:gd name="T29" fmla="*/ 28 h 46"/>
                  <a:gd name="T30" fmla="*/ 18 w 27"/>
                  <a:gd name="T31" fmla="*/ 6 h 46"/>
                  <a:gd name="T32" fmla="*/ 19 w 27"/>
                  <a:gd name="T33" fmla="*/ 6 h 46"/>
                  <a:gd name="T34" fmla="*/ 23 w 27"/>
                  <a:gd name="T35" fmla="*/ 19 h 46"/>
                  <a:gd name="T36" fmla="*/ 25 w 27"/>
                  <a:gd name="T37" fmla="*/ 20 h 46"/>
                  <a:gd name="T38" fmla="*/ 26 w 27"/>
                  <a:gd name="T39" fmla="*/ 18 h 46"/>
                  <a:gd name="T40" fmla="*/ 22 w 27"/>
                  <a:gd name="T41" fmla="*/ 4 h 46"/>
                  <a:gd name="T42" fmla="*/ 17 w 27"/>
                  <a:gd name="T43" fmla="*/ 0 h 46"/>
                  <a:gd name="T44" fmla="*/ 9 w 27"/>
                  <a:gd name="T45" fmla="*/ 0 h 46"/>
                  <a:gd name="T46" fmla="*/ 4 w 27"/>
                  <a:gd name="T47" fmla="*/ 4 h 46"/>
                  <a:gd name="T48" fmla="*/ 0 w 27"/>
                  <a:gd name="T49" fmla="*/ 18 h 46"/>
                  <a:gd name="T50" fmla="*/ 1 w 27"/>
                  <a:gd name="T51" fmla="*/ 20 h 46"/>
                  <a:gd name="T52" fmla="*/ 3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3" y="19"/>
                    </a:moveTo>
                    <a:cubicBezTo>
                      <a:pt x="4" y="18"/>
                      <a:pt x="7" y="6"/>
                      <a:pt x="7" y="6"/>
                    </a:cubicBezTo>
                    <a:cubicBezTo>
                      <a:pt x="8" y="6"/>
                      <a:pt x="8" y="6"/>
                      <a:pt x="8" y="6"/>
                    </a:cubicBezTo>
                    <a:cubicBezTo>
                      <a:pt x="2" y="28"/>
                      <a:pt x="2" y="28"/>
                      <a:pt x="2" y="28"/>
                    </a:cubicBezTo>
                    <a:cubicBezTo>
                      <a:pt x="8" y="28"/>
                      <a:pt x="8" y="28"/>
                      <a:pt x="8" y="28"/>
                    </a:cubicBezTo>
                    <a:cubicBezTo>
                      <a:pt x="8" y="35"/>
                      <a:pt x="8" y="43"/>
                      <a:pt x="8" y="44"/>
                    </a:cubicBezTo>
                    <a:cubicBezTo>
                      <a:pt x="8" y="45"/>
                      <a:pt x="9" y="46"/>
                      <a:pt x="10"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6" y="46"/>
                    </a:cubicBezTo>
                    <a:cubicBezTo>
                      <a:pt x="17" y="46"/>
                      <a:pt x="18" y="45"/>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1"/>
                      <a:pt x="3" y="20"/>
                      <a:pt x="3" y="1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43" name="Freeform 1661"/>
              <p:cNvSpPr>
                <a:spLocks/>
              </p:cNvSpPr>
              <p:nvPr/>
            </p:nvSpPr>
            <p:spPr bwMode="auto">
              <a:xfrm>
                <a:off x="21805901" y="2755901"/>
                <a:ext cx="82550" cy="173038"/>
              </a:xfrm>
              <a:custGeom>
                <a:avLst/>
                <a:gdLst>
                  <a:gd name="T0" fmla="*/ 20 w 22"/>
                  <a:gd name="T1" fmla="*/ 22 h 46"/>
                  <a:gd name="T2" fmla="*/ 22 w 22"/>
                  <a:gd name="T3" fmla="*/ 20 h 46"/>
                  <a:gd name="T4" fmla="*/ 22 w 22"/>
                  <a:gd name="T5" fmla="*/ 6 h 46"/>
                  <a:gd name="T6" fmla="*/ 16 w 22"/>
                  <a:gd name="T7" fmla="*/ 0 h 46"/>
                  <a:gd name="T8" fmla="*/ 6 w 22"/>
                  <a:gd name="T9" fmla="*/ 0 h 46"/>
                  <a:gd name="T10" fmla="*/ 0 w 22"/>
                  <a:gd name="T11" fmla="*/ 6 h 46"/>
                  <a:gd name="T12" fmla="*/ 0 w 22"/>
                  <a:gd name="T13" fmla="*/ 20 h 46"/>
                  <a:gd name="T14" fmla="*/ 2 w 22"/>
                  <a:gd name="T15" fmla="*/ 22 h 46"/>
                  <a:gd name="T16" fmla="*/ 4 w 22"/>
                  <a:gd name="T17" fmla="*/ 20 h 46"/>
                  <a:gd name="T18" fmla="*/ 4 w 22"/>
                  <a:gd name="T19" fmla="*/ 7 h 46"/>
                  <a:gd name="T20" fmla="*/ 5 w 22"/>
                  <a:gd name="T21" fmla="*/ 7 h 46"/>
                  <a:gd name="T22" fmla="*/ 5 w 22"/>
                  <a:gd name="T23" fmla="*/ 44 h 46"/>
                  <a:gd name="T24" fmla="*/ 8 w 22"/>
                  <a:gd name="T25" fmla="*/ 46 h 46"/>
                  <a:gd name="T26" fmla="*/ 10 w 22"/>
                  <a:gd name="T27" fmla="*/ 44 h 46"/>
                  <a:gd name="T28" fmla="*/ 10 w 22"/>
                  <a:gd name="T29" fmla="*/ 23 h 46"/>
                  <a:gd name="T30" fmla="*/ 12 w 22"/>
                  <a:gd name="T31" fmla="*/ 23 h 46"/>
                  <a:gd name="T32" fmla="*/ 12 w 22"/>
                  <a:gd name="T33" fmla="*/ 44 h 46"/>
                  <a:gd name="T34" fmla="*/ 14 w 22"/>
                  <a:gd name="T35" fmla="*/ 46 h 46"/>
                  <a:gd name="T36" fmla="*/ 17 w 22"/>
                  <a:gd name="T37" fmla="*/ 44 h 46"/>
                  <a:gd name="T38" fmla="*/ 17 w 22"/>
                  <a:gd name="T39" fmla="*/ 7 h 46"/>
                  <a:gd name="T40" fmla="*/ 18 w 22"/>
                  <a:gd name="T41" fmla="*/ 7 h 46"/>
                  <a:gd name="T42" fmla="*/ 18 w 22"/>
                  <a:gd name="T43" fmla="*/ 20 h 46"/>
                  <a:gd name="T44" fmla="*/ 20 w 22"/>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0" y="22"/>
                    </a:moveTo>
                    <a:cubicBezTo>
                      <a:pt x="21" y="22"/>
                      <a:pt x="22" y="22"/>
                      <a:pt x="22" y="20"/>
                    </a:cubicBezTo>
                    <a:cubicBezTo>
                      <a:pt x="22" y="19"/>
                      <a:pt x="22" y="7"/>
                      <a:pt x="22" y="6"/>
                    </a:cubicBezTo>
                    <a:cubicBezTo>
                      <a:pt x="22" y="2"/>
                      <a:pt x="20" y="0"/>
                      <a:pt x="16" y="0"/>
                    </a:cubicBezTo>
                    <a:cubicBezTo>
                      <a:pt x="15" y="0"/>
                      <a:pt x="7" y="0"/>
                      <a:pt x="6" y="0"/>
                    </a:cubicBezTo>
                    <a:cubicBezTo>
                      <a:pt x="2"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2"/>
                      <a:pt x="20" y="22"/>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44" name="Oval 1662"/>
              <p:cNvSpPr>
                <a:spLocks noChangeArrowheads="1"/>
              </p:cNvSpPr>
              <p:nvPr/>
            </p:nvSpPr>
            <p:spPr bwMode="auto">
              <a:xfrm>
                <a:off x="22350413" y="2714626"/>
                <a:ext cx="33338"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45" name="Oval 1663"/>
              <p:cNvSpPr>
                <a:spLocks noChangeArrowheads="1"/>
              </p:cNvSpPr>
              <p:nvPr/>
            </p:nvSpPr>
            <p:spPr bwMode="auto">
              <a:xfrm>
                <a:off x="22452013" y="2947988"/>
                <a:ext cx="36513"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46" name="Oval 1664"/>
              <p:cNvSpPr>
                <a:spLocks noChangeArrowheads="1"/>
              </p:cNvSpPr>
              <p:nvPr/>
            </p:nvSpPr>
            <p:spPr bwMode="auto">
              <a:xfrm>
                <a:off x="22452013" y="2481263"/>
                <a:ext cx="36513"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47" name="Freeform 1665"/>
              <p:cNvSpPr>
                <a:spLocks/>
              </p:cNvSpPr>
              <p:nvPr/>
            </p:nvSpPr>
            <p:spPr bwMode="auto">
              <a:xfrm>
                <a:off x="22421851" y="2519363"/>
                <a:ext cx="101600" cy="176213"/>
              </a:xfrm>
              <a:custGeom>
                <a:avLst/>
                <a:gdLst>
                  <a:gd name="T0" fmla="*/ 26 w 27"/>
                  <a:gd name="T1" fmla="*/ 19 h 47"/>
                  <a:gd name="T2" fmla="*/ 22 w 27"/>
                  <a:gd name="T3" fmla="*/ 5 h 47"/>
                  <a:gd name="T4" fmla="*/ 17 w 27"/>
                  <a:gd name="T5" fmla="*/ 0 h 47"/>
                  <a:gd name="T6" fmla="*/ 9 w 27"/>
                  <a:gd name="T7" fmla="*/ 0 h 47"/>
                  <a:gd name="T8" fmla="*/ 4 w 27"/>
                  <a:gd name="T9" fmla="*/ 5 h 47"/>
                  <a:gd name="T10" fmla="*/ 0 w 27"/>
                  <a:gd name="T11" fmla="*/ 19 h 47"/>
                  <a:gd name="T12" fmla="*/ 1 w 27"/>
                  <a:gd name="T13" fmla="*/ 21 h 47"/>
                  <a:gd name="T14" fmla="*/ 3 w 27"/>
                  <a:gd name="T15" fmla="*/ 20 h 47"/>
                  <a:gd name="T16" fmla="*/ 7 w 27"/>
                  <a:gd name="T17" fmla="*/ 7 h 47"/>
                  <a:gd name="T18" fmla="*/ 8 w 27"/>
                  <a:gd name="T19" fmla="*/ 7 h 47"/>
                  <a:gd name="T20" fmla="*/ 2 w 27"/>
                  <a:gd name="T21" fmla="*/ 28 h 47"/>
                  <a:gd name="T22" fmla="*/ 8 w 27"/>
                  <a:gd name="T23" fmla="*/ 28 h 47"/>
                  <a:gd name="T24" fmla="*/ 8 w 27"/>
                  <a:gd name="T25" fmla="*/ 45 h 47"/>
                  <a:gd name="T26" fmla="*/ 10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4 w 27"/>
                  <a:gd name="T43" fmla="*/ 28 h 47"/>
                  <a:gd name="T44" fmla="*/ 18 w 27"/>
                  <a:gd name="T45" fmla="*/ 7 h 47"/>
                  <a:gd name="T46" fmla="*/ 19 w 27"/>
                  <a:gd name="T47" fmla="*/ 7 h 47"/>
                  <a:gd name="T48" fmla="*/ 23 w 27"/>
                  <a:gd name="T49" fmla="*/ 20 h 47"/>
                  <a:gd name="T50" fmla="*/ 25 w 27"/>
                  <a:gd name="T51" fmla="*/ 21 h 47"/>
                  <a:gd name="T52" fmla="*/ 26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6" y="19"/>
                    </a:moveTo>
                    <a:cubicBezTo>
                      <a:pt x="26" y="18"/>
                      <a:pt x="24" y="11"/>
                      <a:pt x="22" y="5"/>
                    </a:cubicBez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48" name="Oval 1666"/>
              <p:cNvSpPr>
                <a:spLocks noChangeArrowheads="1"/>
              </p:cNvSpPr>
              <p:nvPr/>
            </p:nvSpPr>
            <p:spPr bwMode="auto">
              <a:xfrm>
                <a:off x="22452013" y="2714626"/>
                <a:ext cx="36513"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49" name="Freeform 1667"/>
              <p:cNvSpPr>
                <a:spLocks/>
              </p:cNvSpPr>
              <p:nvPr/>
            </p:nvSpPr>
            <p:spPr bwMode="auto">
              <a:xfrm>
                <a:off x="22317076" y="2755901"/>
                <a:ext cx="100013" cy="176213"/>
              </a:xfrm>
              <a:custGeom>
                <a:avLst/>
                <a:gdLst>
                  <a:gd name="T0" fmla="*/ 23 w 27"/>
                  <a:gd name="T1" fmla="*/ 4 h 47"/>
                  <a:gd name="T2" fmla="*/ 17 w 27"/>
                  <a:gd name="T3" fmla="*/ 0 h 47"/>
                  <a:gd name="T4" fmla="*/ 10 w 27"/>
                  <a:gd name="T5" fmla="*/ 0 h 47"/>
                  <a:gd name="T6" fmla="*/ 4 w 27"/>
                  <a:gd name="T7" fmla="*/ 4 h 47"/>
                  <a:gd name="T8" fmla="*/ 0 w 27"/>
                  <a:gd name="T9" fmla="*/ 18 h 47"/>
                  <a:gd name="T10" fmla="*/ 1 w 27"/>
                  <a:gd name="T11" fmla="*/ 20 h 47"/>
                  <a:gd name="T12" fmla="*/ 4 w 27"/>
                  <a:gd name="T13" fmla="*/ 19 h 47"/>
                  <a:gd name="T14" fmla="*/ 8 w 27"/>
                  <a:gd name="T15" fmla="*/ 6 h 47"/>
                  <a:gd name="T16" fmla="*/ 9 w 27"/>
                  <a:gd name="T17" fmla="*/ 6 h 47"/>
                  <a:gd name="T18" fmla="*/ 2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9 w 27"/>
                  <a:gd name="T37" fmla="*/ 44 h 47"/>
                  <a:gd name="T38" fmla="*/ 19 w 27"/>
                  <a:gd name="T39" fmla="*/ 28 h 47"/>
                  <a:gd name="T40" fmla="*/ 25 w 27"/>
                  <a:gd name="T41" fmla="*/ 28 h 47"/>
                  <a:gd name="T42" fmla="*/ 18 w 27"/>
                  <a:gd name="T43" fmla="*/ 6 h 47"/>
                  <a:gd name="T44" fmla="*/ 19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7" y="0"/>
                    </a:cubicBezTo>
                    <a:cubicBezTo>
                      <a:pt x="16" y="0"/>
                      <a:pt x="11" y="0"/>
                      <a:pt x="10" y="0"/>
                    </a:cubicBezTo>
                    <a:cubicBezTo>
                      <a:pt x="7" y="0"/>
                      <a:pt x="5" y="2"/>
                      <a:pt x="4" y="4"/>
                    </a:cubicBezTo>
                    <a:cubicBezTo>
                      <a:pt x="3" y="10"/>
                      <a:pt x="0" y="17"/>
                      <a:pt x="0" y="18"/>
                    </a:cubicBezTo>
                    <a:cubicBezTo>
                      <a:pt x="0" y="19"/>
                      <a:pt x="0" y="20"/>
                      <a:pt x="1" y="20"/>
                    </a:cubicBezTo>
                    <a:cubicBezTo>
                      <a:pt x="2" y="21"/>
                      <a:pt x="3" y="20"/>
                      <a:pt x="4" y="19"/>
                    </a:cubicBezTo>
                    <a:cubicBezTo>
                      <a:pt x="4" y="18"/>
                      <a:pt x="8" y="6"/>
                      <a:pt x="8" y="6"/>
                    </a:cubicBezTo>
                    <a:cubicBezTo>
                      <a:pt x="9" y="6"/>
                      <a:pt x="9" y="6"/>
                      <a:pt x="9" y="6"/>
                    </a:cubicBezTo>
                    <a:cubicBezTo>
                      <a:pt x="2" y="28"/>
                      <a:pt x="2" y="28"/>
                      <a:pt x="2"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6" y="20"/>
                    </a:cubicBezTo>
                    <a:cubicBezTo>
                      <a:pt x="27" y="20"/>
                      <a:pt x="27" y="19"/>
                      <a:pt x="27" y="18"/>
                    </a:cubicBezTo>
                    <a:cubicBezTo>
                      <a:pt x="27" y="17"/>
                      <a:pt x="24" y="10"/>
                      <a:pt x="23" y="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50" name="Freeform 1668"/>
              <p:cNvSpPr>
                <a:spLocks/>
              </p:cNvSpPr>
              <p:nvPr/>
            </p:nvSpPr>
            <p:spPr bwMode="auto">
              <a:xfrm>
                <a:off x="22117051" y="2989263"/>
                <a:ext cx="82550" cy="173038"/>
              </a:xfrm>
              <a:custGeom>
                <a:avLst/>
                <a:gdLst>
                  <a:gd name="T0" fmla="*/ 0 w 22"/>
                  <a:gd name="T1" fmla="*/ 6 h 46"/>
                  <a:gd name="T2" fmla="*/ 0 w 22"/>
                  <a:gd name="T3" fmla="*/ 20 h 46"/>
                  <a:gd name="T4" fmla="*/ 2 w 22"/>
                  <a:gd name="T5" fmla="*/ 22 h 46"/>
                  <a:gd name="T6" fmla="*/ 4 w 22"/>
                  <a:gd name="T7" fmla="*/ 20 h 46"/>
                  <a:gd name="T8" fmla="*/ 4 w 22"/>
                  <a:gd name="T9" fmla="*/ 7 h 46"/>
                  <a:gd name="T10" fmla="*/ 5 w 22"/>
                  <a:gd name="T11" fmla="*/ 7 h 46"/>
                  <a:gd name="T12" fmla="*/ 5 w 22"/>
                  <a:gd name="T13" fmla="*/ 44 h 46"/>
                  <a:gd name="T14" fmla="*/ 8 w 22"/>
                  <a:gd name="T15" fmla="*/ 46 h 46"/>
                  <a:gd name="T16" fmla="*/ 11 w 22"/>
                  <a:gd name="T17" fmla="*/ 44 h 46"/>
                  <a:gd name="T18" fmla="*/ 11 w 22"/>
                  <a:gd name="T19" fmla="*/ 22 h 46"/>
                  <a:gd name="T20" fmla="*/ 12 w 22"/>
                  <a:gd name="T21" fmla="*/ 22 h 46"/>
                  <a:gd name="T22" fmla="*/ 12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2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7"/>
                      <a:pt x="0" y="19"/>
                      <a:pt x="0" y="20"/>
                    </a:cubicBezTo>
                    <a:cubicBezTo>
                      <a:pt x="0" y="21"/>
                      <a:pt x="1" y="22"/>
                      <a:pt x="2" y="22"/>
                    </a:cubicBezTo>
                    <a:cubicBezTo>
                      <a:pt x="3" y="22"/>
                      <a:pt x="4" y="21"/>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2"/>
                      <a:pt x="11" y="22"/>
                    </a:cubicBezTo>
                    <a:cubicBezTo>
                      <a:pt x="11" y="22"/>
                      <a:pt x="11" y="22"/>
                      <a:pt x="12" y="22"/>
                    </a:cubicBezTo>
                    <a:cubicBezTo>
                      <a:pt x="12" y="22"/>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1"/>
                      <a:pt x="19" y="22"/>
                      <a:pt x="20" y="22"/>
                    </a:cubicBezTo>
                    <a:cubicBezTo>
                      <a:pt x="21" y="22"/>
                      <a:pt x="22" y="21"/>
                      <a:pt x="22" y="20"/>
                    </a:cubicBezTo>
                    <a:cubicBezTo>
                      <a:pt x="22" y="19"/>
                      <a:pt x="22" y="7"/>
                      <a:pt x="22" y="6"/>
                    </a:cubicBezTo>
                    <a:cubicBezTo>
                      <a:pt x="22" y="2"/>
                      <a:pt x="20" y="0"/>
                      <a:pt x="16" y="0"/>
                    </a:cubicBezTo>
                    <a:cubicBezTo>
                      <a:pt x="15" y="0"/>
                      <a:pt x="7" y="0"/>
                      <a:pt x="6" y="0"/>
                    </a:cubicBezTo>
                    <a:cubicBezTo>
                      <a:pt x="2" y="0"/>
                      <a:pt x="0" y="2"/>
                      <a:pt x="0" y="6"/>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51" name="Oval 1669"/>
              <p:cNvSpPr>
                <a:spLocks noChangeArrowheads="1"/>
              </p:cNvSpPr>
              <p:nvPr/>
            </p:nvSpPr>
            <p:spPr bwMode="auto">
              <a:xfrm>
                <a:off x="22139276" y="2947988"/>
                <a:ext cx="38100"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52" name="Freeform 1670"/>
              <p:cNvSpPr>
                <a:spLocks/>
              </p:cNvSpPr>
              <p:nvPr/>
            </p:nvSpPr>
            <p:spPr bwMode="auto">
              <a:xfrm>
                <a:off x="22109113" y="2755901"/>
                <a:ext cx="101600" cy="176213"/>
              </a:xfrm>
              <a:custGeom>
                <a:avLst/>
                <a:gdLst>
                  <a:gd name="T0" fmla="*/ 3 w 27"/>
                  <a:gd name="T1" fmla="*/ 19 h 47"/>
                  <a:gd name="T2" fmla="*/ 7 w 27"/>
                  <a:gd name="T3" fmla="*/ 6 h 47"/>
                  <a:gd name="T4" fmla="*/ 8 w 27"/>
                  <a:gd name="T5" fmla="*/ 6 h 47"/>
                  <a:gd name="T6" fmla="*/ 2 w 27"/>
                  <a:gd name="T7" fmla="*/ 28 h 47"/>
                  <a:gd name="T8" fmla="*/ 8 w 27"/>
                  <a:gd name="T9" fmla="*/ 28 h 47"/>
                  <a:gd name="T10" fmla="*/ 8 w 27"/>
                  <a:gd name="T11" fmla="*/ 44 h 47"/>
                  <a:gd name="T12" fmla="*/ 10 w 27"/>
                  <a:gd name="T13" fmla="*/ 47 h 47"/>
                  <a:gd name="T14" fmla="*/ 13 w 27"/>
                  <a:gd name="T15" fmla="*/ 44 h 47"/>
                  <a:gd name="T16" fmla="*/ 13 w 27"/>
                  <a:gd name="T17" fmla="*/ 28 h 47"/>
                  <a:gd name="T18" fmla="*/ 14 w 27"/>
                  <a:gd name="T19" fmla="*/ 28 h 47"/>
                  <a:gd name="T20" fmla="*/ 14 w 27"/>
                  <a:gd name="T21" fmla="*/ 44 h 47"/>
                  <a:gd name="T22" fmla="*/ 16 w 27"/>
                  <a:gd name="T23" fmla="*/ 47 h 47"/>
                  <a:gd name="T24" fmla="*/ 18 w 27"/>
                  <a:gd name="T25" fmla="*/ 44 h 47"/>
                  <a:gd name="T26" fmla="*/ 18 w 27"/>
                  <a:gd name="T27" fmla="*/ 28 h 47"/>
                  <a:gd name="T28" fmla="*/ 24 w 27"/>
                  <a:gd name="T29" fmla="*/ 28 h 47"/>
                  <a:gd name="T30" fmla="*/ 18 w 27"/>
                  <a:gd name="T31" fmla="*/ 6 h 47"/>
                  <a:gd name="T32" fmla="*/ 19 w 27"/>
                  <a:gd name="T33" fmla="*/ 6 h 47"/>
                  <a:gd name="T34" fmla="*/ 23 w 27"/>
                  <a:gd name="T35" fmla="*/ 19 h 47"/>
                  <a:gd name="T36" fmla="*/ 25 w 27"/>
                  <a:gd name="T37" fmla="*/ 20 h 47"/>
                  <a:gd name="T38" fmla="*/ 26 w 27"/>
                  <a:gd name="T39" fmla="*/ 18 h 47"/>
                  <a:gd name="T40" fmla="*/ 22 w 27"/>
                  <a:gd name="T41" fmla="*/ 4 h 47"/>
                  <a:gd name="T42" fmla="*/ 17 w 27"/>
                  <a:gd name="T43" fmla="*/ 0 h 47"/>
                  <a:gd name="T44" fmla="*/ 9 w 27"/>
                  <a:gd name="T45" fmla="*/ 0 h 47"/>
                  <a:gd name="T46" fmla="*/ 4 w 27"/>
                  <a:gd name="T47" fmla="*/ 4 h 47"/>
                  <a:gd name="T48" fmla="*/ 0 w 27"/>
                  <a:gd name="T49" fmla="*/ 18 h 47"/>
                  <a:gd name="T50" fmla="*/ 1 w 27"/>
                  <a:gd name="T51" fmla="*/ 20 h 47"/>
                  <a:gd name="T52" fmla="*/ 3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3" y="19"/>
                    </a:moveTo>
                    <a:cubicBezTo>
                      <a:pt x="4" y="18"/>
                      <a:pt x="7" y="6"/>
                      <a:pt x="7" y="6"/>
                    </a:cubicBezTo>
                    <a:cubicBezTo>
                      <a:pt x="8" y="6"/>
                      <a:pt x="8" y="6"/>
                      <a:pt x="8" y="6"/>
                    </a:cubicBezTo>
                    <a:cubicBezTo>
                      <a:pt x="2" y="28"/>
                      <a:pt x="2" y="28"/>
                      <a:pt x="2" y="28"/>
                    </a:cubicBezTo>
                    <a:cubicBezTo>
                      <a:pt x="8" y="28"/>
                      <a:pt x="8" y="28"/>
                      <a:pt x="8" y="28"/>
                    </a:cubicBezTo>
                    <a:cubicBezTo>
                      <a:pt x="8" y="35"/>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1"/>
                      <a:pt x="3" y="20"/>
                      <a:pt x="3" y="1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53" name="Freeform 1671"/>
              <p:cNvSpPr>
                <a:spLocks/>
              </p:cNvSpPr>
              <p:nvPr/>
            </p:nvSpPr>
            <p:spPr bwMode="auto">
              <a:xfrm>
                <a:off x="22210713" y="2989263"/>
                <a:ext cx="101600" cy="173038"/>
              </a:xfrm>
              <a:custGeom>
                <a:avLst/>
                <a:gdLst>
                  <a:gd name="T0" fmla="*/ 4 w 27"/>
                  <a:gd name="T1" fmla="*/ 19 h 46"/>
                  <a:gd name="T2" fmla="*/ 8 w 27"/>
                  <a:gd name="T3" fmla="*/ 6 h 46"/>
                  <a:gd name="T4" fmla="*/ 9 w 27"/>
                  <a:gd name="T5" fmla="*/ 6 h 46"/>
                  <a:gd name="T6" fmla="*/ 3 w 27"/>
                  <a:gd name="T7" fmla="*/ 28 h 46"/>
                  <a:gd name="T8" fmla="*/ 9 w 27"/>
                  <a:gd name="T9" fmla="*/ 28 h 46"/>
                  <a:gd name="T10" fmla="*/ 9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7 w 27"/>
                  <a:gd name="T23" fmla="*/ 46 h 46"/>
                  <a:gd name="T24" fmla="*/ 19 w 27"/>
                  <a:gd name="T25" fmla="*/ 44 h 46"/>
                  <a:gd name="T26" fmla="*/ 19 w 27"/>
                  <a:gd name="T27" fmla="*/ 28 h 46"/>
                  <a:gd name="T28" fmla="*/ 25 w 27"/>
                  <a:gd name="T29" fmla="*/ 28 h 46"/>
                  <a:gd name="T30" fmla="*/ 19 w 27"/>
                  <a:gd name="T31" fmla="*/ 6 h 46"/>
                  <a:gd name="T32" fmla="*/ 20 w 27"/>
                  <a:gd name="T33" fmla="*/ 6 h 46"/>
                  <a:gd name="T34" fmla="*/ 23 w 27"/>
                  <a:gd name="T35" fmla="*/ 19 h 46"/>
                  <a:gd name="T36" fmla="*/ 26 w 27"/>
                  <a:gd name="T37" fmla="*/ 20 h 46"/>
                  <a:gd name="T38" fmla="*/ 27 w 27"/>
                  <a:gd name="T39" fmla="*/ 18 h 46"/>
                  <a:gd name="T40" fmla="*/ 23 w 27"/>
                  <a:gd name="T41" fmla="*/ 4 h 46"/>
                  <a:gd name="T42" fmla="*/ 18 w 27"/>
                  <a:gd name="T43" fmla="*/ 0 h 46"/>
                  <a:gd name="T44" fmla="*/ 10 w 27"/>
                  <a:gd name="T45" fmla="*/ 0 h 46"/>
                  <a:gd name="T46" fmla="*/ 5 w 27"/>
                  <a:gd name="T47" fmla="*/ 4 h 46"/>
                  <a:gd name="T48" fmla="*/ 0 w 27"/>
                  <a:gd name="T49" fmla="*/ 18 h 46"/>
                  <a:gd name="T50" fmla="*/ 2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5"/>
                      <a:pt x="10"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7" y="46"/>
                    </a:cubicBezTo>
                    <a:cubicBezTo>
                      <a:pt x="18" y="46"/>
                      <a:pt x="19" y="45"/>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54" name="Freeform 1672"/>
              <p:cNvSpPr>
                <a:spLocks/>
              </p:cNvSpPr>
              <p:nvPr/>
            </p:nvSpPr>
            <p:spPr bwMode="auto">
              <a:xfrm>
                <a:off x="22004338" y="2989263"/>
                <a:ext cx="101600" cy="173038"/>
              </a:xfrm>
              <a:custGeom>
                <a:avLst/>
                <a:gdLst>
                  <a:gd name="T0" fmla="*/ 4 w 27"/>
                  <a:gd name="T1" fmla="*/ 19 h 46"/>
                  <a:gd name="T2" fmla="*/ 7 w 27"/>
                  <a:gd name="T3" fmla="*/ 6 h 46"/>
                  <a:gd name="T4" fmla="*/ 9 w 27"/>
                  <a:gd name="T5" fmla="*/ 6 h 46"/>
                  <a:gd name="T6" fmla="*/ 2 w 27"/>
                  <a:gd name="T7" fmla="*/ 28 h 46"/>
                  <a:gd name="T8" fmla="*/ 8 w 27"/>
                  <a:gd name="T9" fmla="*/ 28 h 46"/>
                  <a:gd name="T10" fmla="*/ 8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6 w 27"/>
                  <a:gd name="T23" fmla="*/ 46 h 46"/>
                  <a:gd name="T24" fmla="*/ 18 w 27"/>
                  <a:gd name="T25" fmla="*/ 44 h 46"/>
                  <a:gd name="T26" fmla="*/ 18 w 27"/>
                  <a:gd name="T27" fmla="*/ 28 h 46"/>
                  <a:gd name="T28" fmla="*/ 25 w 27"/>
                  <a:gd name="T29" fmla="*/ 28 h 46"/>
                  <a:gd name="T30" fmla="*/ 18 w 27"/>
                  <a:gd name="T31" fmla="*/ 6 h 46"/>
                  <a:gd name="T32" fmla="*/ 19 w 27"/>
                  <a:gd name="T33" fmla="*/ 6 h 46"/>
                  <a:gd name="T34" fmla="*/ 23 w 27"/>
                  <a:gd name="T35" fmla="*/ 19 h 46"/>
                  <a:gd name="T36" fmla="*/ 25 w 27"/>
                  <a:gd name="T37" fmla="*/ 20 h 46"/>
                  <a:gd name="T38" fmla="*/ 27 w 27"/>
                  <a:gd name="T39" fmla="*/ 18 h 46"/>
                  <a:gd name="T40" fmla="*/ 23 w 27"/>
                  <a:gd name="T41" fmla="*/ 4 h 46"/>
                  <a:gd name="T42" fmla="*/ 17 w 27"/>
                  <a:gd name="T43" fmla="*/ 0 h 46"/>
                  <a:gd name="T44" fmla="*/ 10 w 27"/>
                  <a:gd name="T45" fmla="*/ 0 h 46"/>
                  <a:gd name="T46" fmla="*/ 4 w 27"/>
                  <a:gd name="T47" fmla="*/ 4 h 46"/>
                  <a:gd name="T48" fmla="*/ 0 w 27"/>
                  <a:gd name="T49" fmla="*/ 18 h 46"/>
                  <a:gd name="T50" fmla="*/ 1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4" y="18"/>
                      <a:pt x="7" y="6"/>
                      <a:pt x="7" y="6"/>
                    </a:cubicBezTo>
                    <a:cubicBezTo>
                      <a:pt x="9" y="6"/>
                      <a:pt x="9" y="6"/>
                      <a:pt x="9" y="6"/>
                    </a:cubicBezTo>
                    <a:cubicBezTo>
                      <a:pt x="2" y="28"/>
                      <a:pt x="2" y="28"/>
                      <a:pt x="2" y="28"/>
                    </a:cubicBezTo>
                    <a:cubicBezTo>
                      <a:pt x="8" y="28"/>
                      <a:pt x="8" y="28"/>
                      <a:pt x="8" y="28"/>
                    </a:cubicBezTo>
                    <a:cubicBezTo>
                      <a:pt x="8" y="35"/>
                      <a:pt x="8" y="43"/>
                      <a:pt x="8" y="44"/>
                    </a:cubicBezTo>
                    <a:cubicBezTo>
                      <a:pt x="8" y="45"/>
                      <a:pt x="9"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6" y="46"/>
                    </a:cubicBezTo>
                    <a:cubicBezTo>
                      <a:pt x="17" y="46"/>
                      <a:pt x="18" y="45"/>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3" y="4"/>
                    </a:cubicBezTo>
                    <a:cubicBezTo>
                      <a:pt x="22" y="2"/>
                      <a:pt x="19"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55" name="Oval 1673"/>
              <p:cNvSpPr>
                <a:spLocks noChangeArrowheads="1"/>
              </p:cNvSpPr>
              <p:nvPr/>
            </p:nvSpPr>
            <p:spPr bwMode="auto">
              <a:xfrm>
                <a:off x="22350413" y="2481263"/>
                <a:ext cx="33338"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56" name="Oval 1674"/>
              <p:cNvSpPr>
                <a:spLocks noChangeArrowheads="1"/>
              </p:cNvSpPr>
              <p:nvPr/>
            </p:nvSpPr>
            <p:spPr bwMode="auto">
              <a:xfrm>
                <a:off x="22350413" y="2947988"/>
                <a:ext cx="33338"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57" name="Freeform 1675"/>
              <p:cNvSpPr>
                <a:spLocks/>
              </p:cNvSpPr>
              <p:nvPr/>
            </p:nvSpPr>
            <p:spPr bwMode="auto">
              <a:xfrm>
                <a:off x="22323426" y="2989263"/>
                <a:ext cx="87313" cy="173038"/>
              </a:xfrm>
              <a:custGeom>
                <a:avLst/>
                <a:gdLst>
                  <a:gd name="T0" fmla="*/ 4 w 23"/>
                  <a:gd name="T1" fmla="*/ 20 h 46"/>
                  <a:gd name="T2" fmla="*/ 4 w 23"/>
                  <a:gd name="T3" fmla="*/ 7 h 46"/>
                  <a:gd name="T4" fmla="*/ 5 w 23"/>
                  <a:gd name="T5" fmla="*/ 7 h 46"/>
                  <a:gd name="T6" fmla="*/ 5 w 23"/>
                  <a:gd name="T7" fmla="*/ 44 h 46"/>
                  <a:gd name="T8" fmla="*/ 8 w 23"/>
                  <a:gd name="T9" fmla="*/ 46 h 46"/>
                  <a:gd name="T10" fmla="*/ 11 w 23"/>
                  <a:gd name="T11" fmla="*/ 44 h 46"/>
                  <a:gd name="T12" fmla="*/ 11 w 23"/>
                  <a:gd name="T13" fmla="*/ 22 h 46"/>
                  <a:gd name="T14" fmla="*/ 12 w 23"/>
                  <a:gd name="T15" fmla="*/ 22 h 46"/>
                  <a:gd name="T16" fmla="*/ 12 w 23"/>
                  <a:gd name="T17" fmla="*/ 44 h 46"/>
                  <a:gd name="T18" fmla="*/ 15 w 23"/>
                  <a:gd name="T19" fmla="*/ 46 h 46"/>
                  <a:gd name="T20" fmla="*/ 18 w 23"/>
                  <a:gd name="T21" fmla="*/ 44 h 46"/>
                  <a:gd name="T22" fmla="*/ 18 w 23"/>
                  <a:gd name="T23" fmla="*/ 7 h 46"/>
                  <a:gd name="T24" fmla="*/ 19 w 23"/>
                  <a:gd name="T25" fmla="*/ 7 h 46"/>
                  <a:gd name="T26" fmla="*/ 19 w 23"/>
                  <a:gd name="T27" fmla="*/ 20 h 46"/>
                  <a:gd name="T28" fmla="*/ 21 w 23"/>
                  <a:gd name="T29" fmla="*/ 22 h 46"/>
                  <a:gd name="T30" fmla="*/ 23 w 23"/>
                  <a:gd name="T31" fmla="*/ 20 h 46"/>
                  <a:gd name="T32" fmla="*/ 23 w 23"/>
                  <a:gd name="T33" fmla="*/ 6 h 46"/>
                  <a:gd name="T34" fmla="*/ 17 w 23"/>
                  <a:gd name="T35" fmla="*/ 0 h 46"/>
                  <a:gd name="T36" fmla="*/ 6 w 23"/>
                  <a:gd name="T37" fmla="*/ 0 h 46"/>
                  <a:gd name="T38" fmla="*/ 0 w 23"/>
                  <a:gd name="T39" fmla="*/ 6 h 46"/>
                  <a:gd name="T40" fmla="*/ 0 w 23"/>
                  <a:gd name="T41" fmla="*/ 20 h 46"/>
                  <a:gd name="T42" fmla="*/ 2 w 23"/>
                  <a:gd name="T43" fmla="*/ 22 h 46"/>
                  <a:gd name="T44" fmla="*/ 4 w 23"/>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4" y="20"/>
                    </a:move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2"/>
                      <a:pt x="11" y="22"/>
                    </a:cubicBezTo>
                    <a:cubicBezTo>
                      <a:pt x="11" y="22"/>
                      <a:pt x="11" y="22"/>
                      <a:pt x="12" y="22"/>
                    </a:cubicBezTo>
                    <a:cubicBezTo>
                      <a:pt x="12" y="22"/>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1"/>
                      <a:pt x="20" y="22"/>
                      <a:pt x="21" y="22"/>
                    </a:cubicBezTo>
                    <a:cubicBezTo>
                      <a:pt x="22" y="22"/>
                      <a:pt x="23" y="21"/>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1"/>
                      <a:pt x="1" y="22"/>
                      <a:pt x="2" y="22"/>
                    </a:cubicBezTo>
                    <a:cubicBezTo>
                      <a:pt x="3" y="22"/>
                      <a:pt x="4" y="21"/>
                      <a:pt x="4" y="2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58" name="Freeform 1676"/>
              <p:cNvSpPr>
                <a:spLocks/>
              </p:cNvSpPr>
              <p:nvPr/>
            </p:nvSpPr>
            <p:spPr bwMode="auto">
              <a:xfrm>
                <a:off x="22429788" y="2755901"/>
                <a:ext cx="82550" cy="173038"/>
              </a:xfrm>
              <a:custGeom>
                <a:avLst/>
                <a:gdLst>
                  <a:gd name="T0" fmla="*/ 20 w 22"/>
                  <a:gd name="T1" fmla="*/ 22 h 46"/>
                  <a:gd name="T2" fmla="*/ 22 w 22"/>
                  <a:gd name="T3" fmla="*/ 20 h 46"/>
                  <a:gd name="T4" fmla="*/ 22 w 22"/>
                  <a:gd name="T5" fmla="*/ 6 h 46"/>
                  <a:gd name="T6" fmla="*/ 16 w 22"/>
                  <a:gd name="T7" fmla="*/ 0 h 46"/>
                  <a:gd name="T8" fmla="*/ 6 w 22"/>
                  <a:gd name="T9" fmla="*/ 0 h 46"/>
                  <a:gd name="T10" fmla="*/ 0 w 22"/>
                  <a:gd name="T11" fmla="*/ 6 h 46"/>
                  <a:gd name="T12" fmla="*/ 0 w 22"/>
                  <a:gd name="T13" fmla="*/ 20 h 46"/>
                  <a:gd name="T14" fmla="*/ 2 w 22"/>
                  <a:gd name="T15" fmla="*/ 22 h 46"/>
                  <a:gd name="T16" fmla="*/ 4 w 22"/>
                  <a:gd name="T17" fmla="*/ 20 h 46"/>
                  <a:gd name="T18" fmla="*/ 4 w 22"/>
                  <a:gd name="T19" fmla="*/ 7 h 46"/>
                  <a:gd name="T20" fmla="*/ 5 w 22"/>
                  <a:gd name="T21" fmla="*/ 7 h 46"/>
                  <a:gd name="T22" fmla="*/ 5 w 22"/>
                  <a:gd name="T23" fmla="*/ 44 h 46"/>
                  <a:gd name="T24" fmla="*/ 8 w 22"/>
                  <a:gd name="T25" fmla="*/ 46 h 46"/>
                  <a:gd name="T26" fmla="*/ 11 w 22"/>
                  <a:gd name="T27" fmla="*/ 44 h 46"/>
                  <a:gd name="T28" fmla="*/ 11 w 22"/>
                  <a:gd name="T29" fmla="*/ 23 h 46"/>
                  <a:gd name="T30" fmla="*/ 12 w 22"/>
                  <a:gd name="T31" fmla="*/ 23 h 46"/>
                  <a:gd name="T32" fmla="*/ 12 w 22"/>
                  <a:gd name="T33" fmla="*/ 44 h 46"/>
                  <a:gd name="T34" fmla="*/ 15 w 22"/>
                  <a:gd name="T35" fmla="*/ 46 h 46"/>
                  <a:gd name="T36" fmla="*/ 17 w 22"/>
                  <a:gd name="T37" fmla="*/ 44 h 46"/>
                  <a:gd name="T38" fmla="*/ 17 w 22"/>
                  <a:gd name="T39" fmla="*/ 7 h 46"/>
                  <a:gd name="T40" fmla="*/ 18 w 22"/>
                  <a:gd name="T41" fmla="*/ 7 h 46"/>
                  <a:gd name="T42" fmla="*/ 18 w 22"/>
                  <a:gd name="T43" fmla="*/ 20 h 46"/>
                  <a:gd name="T44" fmla="*/ 20 w 22"/>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20" y="22"/>
                    </a:moveTo>
                    <a:cubicBezTo>
                      <a:pt x="22" y="22"/>
                      <a:pt x="22" y="22"/>
                      <a:pt x="22" y="20"/>
                    </a:cubicBezTo>
                    <a:cubicBezTo>
                      <a:pt x="22" y="19"/>
                      <a:pt x="22" y="7"/>
                      <a:pt x="22" y="6"/>
                    </a:cubicBezTo>
                    <a:cubicBezTo>
                      <a:pt x="22" y="2"/>
                      <a:pt x="20" y="0"/>
                      <a:pt x="16" y="0"/>
                    </a:cubicBezTo>
                    <a:cubicBezTo>
                      <a:pt x="15" y="0"/>
                      <a:pt x="8" y="0"/>
                      <a:pt x="6" y="0"/>
                    </a:cubicBezTo>
                    <a:cubicBezTo>
                      <a:pt x="3"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2"/>
                      <a:pt x="20" y="22"/>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59" name="Oval 1677"/>
              <p:cNvSpPr>
                <a:spLocks noChangeArrowheads="1"/>
              </p:cNvSpPr>
              <p:nvPr/>
            </p:nvSpPr>
            <p:spPr bwMode="auto">
              <a:xfrm>
                <a:off x="22139276" y="2481263"/>
                <a:ext cx="38100"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60" name="Oval 1678"/>
              <p:cNvSpPr>
                <a:spLocks noChangeArrowheads="1"/>
              </p:cNvSpPr>
              <p:nvPr/>
            </p:nvSpPr>
            <p:spPr bwMode="auto">
              <a:xfrm>
                <a:off x="21828126" y="2481263"/>
                <a:ext cx="38100"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61" name="Freeform 1679"/>
              <p:cNvSpPr>
                <a:spLocks/>
              </p:cNvSpPr>
              <p:nvPr/>
            </p:nvSpPr>
            <p:spPr bwMode="auto">
              <a:xfrm>
                <a:off x="22117051" y="2519363"/>
                <a:ext cx="82550" cy="176213"/>
              </a:xfrm>
              <a:custGeom>
                <a:avLst/>
                <a:gdLst>
                  <a:gd name="T0" fmla="*/ 20 w 22"/>
                  <a:gd name="T1" fmla="*/ 23 h 47"/>
                  <a:gd name="T2" fmla="*/ 22 w 22"/>
                  <a:gd name="T3" fmla="*/ 21 h 47"/>
                  <a:gd name="T4" fmla="*/ 22 w 22"/>
                  <a:gd name="T5" fmla="*/ 6 h 47"/>
                  <a:gd name="T6" fmla="*/ 16 w 22"/>
                  <a:gd name="T7" fmla="*/ 0 h 47"/>
                  <a:gd name="T8" fmla="*/ 6 w 22"/>
                  <a:gd name="T9" fmla="*/ 0 h 47"/>
                  <a:gd name="T10" fmla="*/ 0 w 22"/>
                  <a:gd name="T11" fmla="*/ 6 h 47"/>
                  <a:gd name="T12" fmla="*/ 0 w 22"/>
                  <a:gd name="T13" fmla="*/ 21 h 47"/>
                  <a:gd name="T14" fmla="*/ 2 w 22"/>
                  <a:gd name="T15" fmla="*/ 23 h 47"/>
                  <a:gd name="T16" fmla="*/ 4 w 22"/>
                  <a:gd name="T17" fmla="*/ 21 h 47"/>
                  <a:gd name="T18" fmla="*/ 4 w 22"/>
                  <a:gd name="T19" fmla="*/ 8 h 47"/>
                  <a:gd name="T20" fmla="*/ 5 w 22"/>
                  <a:gd name="T21" fmla="*/ 8 h 47"/>
                  <a:gd name="T22" fmla="*/ 5 w 22"/>
                  <a:gd name="T23" fmla="*/ 44 h 47"/>
                  <a:gd name="T24" fmla="*/ 8 w 22"/>
                  <a:gd name="T25" fmla="*/ 47 h 47"/>
                  <a:gd name="T26" fmla="*/ 11 w 22"/>
                  <a:gd name="T27" fmla="*/ 44 h 47"/>
                  <a:gd name="T28" fmla="*/ 11 w 22"/>
                  <a:gd name="T29" fmla="*/ 23 h 47"/>
                  <a:gd name="T30" fmla="*/ 12 w 22"/>
                  <a:gd name="T31" fmla="*/ 23 h 47"/>
                  <a:gd name="T32" fmla="*/ 12 w 22"/>
                  <a:gd name="T33" fmla="*/ 44 h 47"/>
                  <a:gd name="T34" fmla="*/ 14 w 22"/>
                  <a:gd name="T35" fmla="*/ 47 h 47"/>
                  <a:gd name="T36" fmla="*/ 17 w 22"/>
                  <a:gd name="T37" fmla="*/ 44 h 47"/>
                  <a:gd name="T38" fmla="*/ 17 w 22"/>
                  <a:gd name="T39" fmla="*/ 8 h 47"/>
                  <a:gd name="T40" fmla="*/ 18 w 22"/>
                  <a:gd name="T41" fmla="*/ 8 h 47"/>
                  <a:gd name="T42" fmla="*/ 18 w 22"/>
                  <a:gd name="T43" fmla="*/ 21 h 47"/>
                  <a:gd name="T44" fmla="*/ 20 w 22"/>
                  <a:gd name="T4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20" y="23"/>
                    </a:move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62" name="Oval 1680"/>
              <p:cNvSpPr>
                <a:spLocks noChangeArrowheads="1"/>
              </p:cNvSpPr>
              <p:nvPr/>
            </p:nvSpPr>
            <p:spPr bwMode="auto">
              <a:xfrm>
                <a:off x="22139276" y="2714626"/>
                <a:ext cx="38100"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63" name="Oval 1681"/>
              <p:cNvSpPr>
                <a:spLocks noChangeArrowheads="1"/>
              </p:cNvSpPr>
              <p:nvPr/>
            </p:nvSpPr>
            <p:spPr bwMode="auto">
              <a:xfrm>
                <a:off x="22037676" y="2481263"/>
                <a:ext cx="34925"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64" name="Oval 1682"/>
              <p:cNvSpPr>
                <a:spLocks noChangeArrowheads="1"/>
              </p:cNvSpPr>
              <p:nvPr/>
            </p:nvSpPr>
            <p:spPr bwMode="auto">
              <a:xfrm>
                <a:off x="22245638" y="2481263"/>
                <a:ext cx="36513"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65" name="Oval 1683"/>
              <p:cNvSpPr>
                <a:spLocks noChangeArrowheads="1"/>
              </p:cNvSpPr>
              <p:nvPr/>
            </p:nvSpPr>
            <p:spPr bwMode="auto">
              <a:xfrm>
                <a:off x="22037676" y="2947988"/>
                <a:ext cx="34925"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66" name="Freeform 1684"/>
              <p:cNvSpPr>
                <a:spLocks/>
              </p:cNvSpPr>
              <p:nvPr/>
            </p:nvSpPr>
            <p:spPr bwMode="auto">
              <a:xfrm>
                <a:off x="22004338" y="2519363"/>
                <a:ext cx="101600" cy="176213"/>
              </a:xfrm>
              <a:custGeom>
                <a:avLst/>
                <a:gdLst>
                  <a:gd name="T0" fmla="*/ 27 w 27"/>
                  <a:gd name="T1" fmla="*/ 19 h 47"/>
                  <a:gd name="T2" fmla="*/ 23 w 27"/>
                  <a:gd name="T3" fmla="*/ 5 h 47"/>
                  <a:gd name="T4" fmla="*/ 17 w 27"/>
                  <a:gd name="T5" fmla="*/ 0 h 47"/>
                  <a:gd name="T6" fmla="*/ 10 w 27"/>
                  <a:gd name="T7" fmla="*/ 0 h 47"/>
                  <a:gd name="T8" fmla="*/ 4 w 27"/>
                  <a:gd name="T9" fmla="*/ 5 h 47"/>
                  <a:gd name="T10" fmla="*/ 0 w 27"/>
                  <a:gd name="T11" fmla="*/ 19 h 47"/>
                  <a:gd name="T12" fmla="*/ 1 w 27"/>
                  <a:gd name="T13" fmla="*/ 21 h 47"/>
                  <a:gd name="T14" fmla="*/ 4 w 27"/>
                  <a:gd name="T15" fmla="*/ 20 h 47"/>
                  <a:gd name="T16" fmla="*/ 7 w 27"/>
                  <a:gd name="T17" fmla="*/ 7 h 47"/>
                  <a:gd name="T18" fmla="*/ 9 w 27"/>
                  <a:gd name="T19" fmla="*/ 7 h 47"/>
                  <a:gd name="T20" fmla="*/ 2 w 27"/>
                  <a:gd name="T21" fmla="*/ 28 h 47"/>
                  <a:gd name="T22" fmla="*/ 8 w 27"/>
                  <a:gd name="T23" fmla="*/ 28 h 47"/>
                  <a:gd name="T24" fmla="*/ 8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8 w 27"/>
                  <a:gd name="T39" fmla="*/ 45 h 47"/>
                  <a:gd name="T40" fmla="*/ 18 w 27"/>
                  <a:gd name="T41" fmla="*/ 28 h 47"/>
                  <a:gd name="T42" fmla="*/ 25 w 27"/>
                  <a:gd name="T43" fmla="*/ 28 h 47"/>
                  <a:gd name="T44" fmla="*/ 18 w 27"/>
                  <a:gd name="T45" fmla="*/ 7 h 47"/>
                  <a:gd name="T46" fmla="*/ 19 w 27"/>
                  <a:gd name="T47" fmla="*/ 7 h 47"/>
                  <a:gd name="T48" fmla="*/ 23 w 27"/>
                  <a:gd name="T49" fmla="*/ 20 h 47"/>
                  <a:gd name="T50" fmla="*/ 25 w 27"/>
                  <a:gd name="T51" fmla="*/ 21 h 47"/>
                  <a:gd name="T52" fmla="*/ 27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9"/>
                    </a:moveTo>
                    <a:cubicBezTo>
                      <a:pt x="26" y="18"/>
                      <a:pt x="24" y="11"/>
                      <a:pt x="23" y="5"/>
                    </a:cubicBezTo>
                    <a:cubicBezTo>
                      <a:pt x="22" y="3"/>
                      <a:pt x="19" y="0"/>
                      <a:pt x="17" y="0"/>
                    </a:cubicBezTo>
                    <a:cubicBezTo>
                      <a:pt x="16" y="0"/>
                      <a:pt x="11" y="0"/>
                      <a:pt x="10" y="0"/>
                    </a:cubicBezTo>
                    <a:cubicBezTo>
                      <a:pt x="7" y="0"/>
                      <a:pt x="5" y="3"/>
                      <a:pt x="4" y="5"/>
                    </a:cubicBezTo>
                    <a:cubicBezTo>
                      <a:pt x="2" y="11"/>
                      <a:pt x="0" y="18"/>
                      <a:pt x="0" y="19"/>
                    </a:cubicBezTo>
                    <a:cubicBezTo>
                      <a:pt x="0" y="20"/>
                      <a:pt x="0" y="21"/>
                      <a:pt x="1" y="21"/>
                    </a:cubicBezTo>
                    <a:cubicBezTo>
                      <a:pt x="2" y="21"/>
                      <a:pt x="3" y="21"/>
                      <a:pt x="4" y="20"/>
                    </a:cubicBezTo>
                    <a:cubicBezTo>
                      <a:pt x="4" y="18"/>
                      <a:pt x="7" y="7"/>
                      <a:pt x="7"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67" name="Oval 1685"/>
              <p:cNvSpPr>
                <a:spLocks noChangeArrowheads="1"/>
              </p:cNvSpPr>
              <p:nvPr/>
            </p:nvSpPr>
            <p:spPr bwMode="auto">
              <a:xfrm>
                <a:off x="22245638" y="2714626"/>
                <a:ext cx="36513"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68" name="Freeform 1686"/>
              <p:cNvSpPr>
                <a:spLocks/>
              </p:cNvSpPr>
              <p:nvPr/>
            </p:nvSpPr>
            <p:spPr bwMode="auto">
              <a:xfrm>
                <a:off x="22012276" y="2755901"/>
                <a:ext cx="85725" cy="173038"/>
              </a:xfrm>
              <a:custGeom>
                <a:avLst/>
                <a:gdLst>
                  <a:gd name="T0" fmla="*/ 21 w 23"/>
                  <a:gd name="T1" fmla="*/ 22 h 46"/>
                  <a:gd name="T2" fmla="*/ 23 w 23"/>
                  <a:gd name="T3" fmla="*/ 20 h 46"/>
                  <a:gd name="T4" fmla="*/ 23 w 23"/>
                  <a:gd name="T5" fmla="*/ 6 h 46"/>
                  <a:gd name="T6" fmla="*/ 17 w 23"/>
                  <a:gd name="T7" fmla="*/ 0 h 46"/>
                  <a:gd name="T8" fmla="*/ 6 w 23"/>
                  <a:gd name="T9" fmla="*/ 0 h 46"/>
                  <a:gd name="T10" fmla="*/ 0 w 23"/>
                  <a:gd name="T11" fmla="*/ 6 h 46"/>
                  <a:gd name="T12" fmla="*/ 0 w 23"/>
                  <a:gd name="T13" fmla="*/ 20 h 46"/>
                  <a:gd name="T14" fmla="*/ 2 w 23"/>
                  <a:gd name="T15" fmla="*/ 22 h 46"/>
                  <a:gd name="T16" fmla="*/ 4 w 23"/>
                  <a:gd name="T17" fmla="*/ 20 h 46"/>
                  <a:gd name="T18" fmla="*/ 4 w 23"/>
                  <a:gd name="T19" fmla="*/ 7 h 46"/>
                  <a:gd name="T20" fmla="*/ 5 w 23"/>
                  <a:gd name="T21" fmla="*/ 7 h 46"/>
                  <a:gd name="T22" fmla="*/ 5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7 w 23"/>
                  <a:gd name="T37" fmla="*/ 44 h 46"/>
                  <a:gd name="T38" fmla="*/ 17 w 23"/>
                  <a:gd name="T39" fmla="*/ 7 h 46"/>
                  <a:gd name="T40" fmla="*/ 19 w 23"/>
                  <a:gd name="T41" fmla="*/ 7 h 46"/>
                  <a:gd name="T42" fmla="*/ 19 w 23"/>
                  <a:gd name="T43" fmla="*/ 20 h 46"/>
                  <a:gd name="T44" fmla="*/ 21 w 23"/>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2"/>
                    </a:moveTo>
                    <a:cubicBezTo>
                      <a:pt x="22" y="22"/>
                      <a:pt x="23" y="22"/>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20" y="22"/>
                      <a:pt x="21" y="22"/>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69" name="Oval 1687"/>
              <p:cNvSpPr>
                <a:spLocks noChangeArrowheads="1"/>
              </p:cNvSpPr>
              <p:nvPr/>
            </p:nvSpPr>
            <p:spPr bwMode="auto">
              <a:xfrm>
                <a:off x="22037676" y="2714626"/>
                <a:ext cx="34925"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70" name="Freeform 1688"/>
              <p:cNvSpPr>
                <a:spLocks/>
              </p:cNvSpPr>
              <p:nvPr/>
            </p:nvSpPr>
            <p:spPr bwMode="auto">
              <a:xfrm>
                <a:off x="21794788" y="2519363"/>
                <a:ext cx="101600" cy="176213"/>
              </a:xfrm>
              <a:custGeom>
                <a:avLst/>
                <a:gdLst>
                  <a:gd name="T0" fmla="*/ 24 w 27"/>
                  <a:gd name="T1" fmla="*/ 20 h 47"/>
                  <a:gd name="T2" fmla="*/ 26 w 27"/>
                  <a:gd name="T3" fmla="*/ 21 h 47"/>
                  <a:gd name="T4" fmla="*/ 27 w 27"/>
                  <a:gd name="T5" fmla="*/ 19 h 47"/>
                  <a:gd name="T6" fmla="*/ 23 w 27"/>
                  <a:gd name="T7" fmla="*/ 5 h 47"/>
                  <a:gd name="T8" fmla="*/ 18 w 27"/>
                  <a:gd name="T9" fmla="*/ 0 h 47"/>
                  <a:gd name="T10" fmla="*/ 10 w 27"/>
                  <a:gd name="T11" fmla="*/ 0 h 47"/>
                  <a:gd name="T12" fmla="*/ 5 w 27"/>
                  <a:gd name="T13" fmla="*/ 5 h 47"/>
                  <a:gd name="T14" fmla="*/ 1 w 27"/>
                  <a:gd name="T15" fmla="*/ 19 h 47"/>
                  <a:gd name="T16" fmla="*/ 2 w 27"/>
                  <a:gd name="T17" fmla="*/ 21 h 47"/>
                  <a:gd name="T18" fmla="*/ 4 w 27"/>
                  <a:gd name="T19" fmla="*/ 20 h 47"/>
                  <a:gd name="T20" fmla="*/ 8 w 27"/>
                  <a:gd name="T21" fmla="*/ 7 h 47"/>
                  <a:gd name="T22" fmla="*/ 9 w 27"/>
                  <a:gd name="T23" fmla="*/ 7 h 47"/>
                  <a:gd name="T24" fmla="*/ 3 w 27"/>
                  <a:gd name="T25" fmla="*/ 28 h 47"/>
                  <a:gd name="T26" fmla="*/ 9 w 27"/>
                  <a:gd name="T27" fmla="*/ 28 h 47"/>
                  <a:gd name="T28" fmla="*/ 9 w 27"/>
                  <a:gd name="T29" fmla="*/ 45 h 47"/>
                  <a:gd name="T30" fmla="*/ 11 w 27"/>
                  <a:gd name="T31" fmla="*/ 47 h 47"/>
                  <a:gd name="T32" fmla="*/ 14 w 27"/>
                  <a:gd name="T33" fmla="*/ 45 h 47"/>
                  <a:gd name="T34" fmla="*/ 14 w 27"/>
                  <a:gd name="T35" fmla="*/ 28 h 47"/>
                  <a:gd name="T36" fmla="*/ 15 w 27"/>
                  <a:gd name="T37" fmla="*/ 28 h 47"/>
                  <a:gd name="T38" fmla="*/ 15 w 27"/>
                  <a:gd name="T39" fmla="*/ 45 h 47"/>
                  <a:gd name="T40" fmla="*/ 17 w 27"/>
                  <a:gd name="T41" fmla="*/ 47 h 47"/>
                  <a:gd name="T42" fmla="*/ 19 w 27"/>
                  <a:gd name="T43" fmla="*/ 45 h 47"/>
                  <a:gd name="T44" fmla="*/ 19 w 27"/>
                  <a:gd name="T45" fmla="*/ 28 h 47"/>
                  <a:gd name="T46" fmla="*/ 25 w 27"/>
                  <a:gd name="T47" fmla="*/ 28 h 47"/>
                  <a:gd name="T48" fmla="*/ 19 w 27"/>
                  <a:gd name="T49" fmla="*/ 7 h 47"/>
                  <a:gd name="T50" fmla="*/ 20 w 27"/>
                  <a:gd name="T51" fmla="*/ 7 h 47"/>
                  <a:gd name="T52" fmla="*/ 24 w 27"/>
                  <a:gd name="T53" fmla="*/ 2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4" y="20"/>
                    </a:moveTo>
                    <a:cubicBezTo>
                      <a:pt x="24" y="21"/>
                      <a:pt x="25" y="21"/>
                      <a:pt x="26" y="21"/>
                    </a:cubicBezTo>
                    <a:cubicBezTo>
                      <a:pt x="27" y="21"/>
                      <a:pt x="27" y="20"/>
                      <a:pt x="27" y="19"/>
                    </a:cubicBezTo>
                    <a:cubicBezTo>
                      <a:pt x="27" y="18"/>
                      <a:pt x="25" y="11"/>
                      <a:pt x="23" y="5"/>
                    </a:cubicBezTo>
                    <a:cubicBezTo>
                      <a:pt x="23"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71" name="Oval 1689"/>
              <p:cNvSpPr>
                <a:spLocks noChangeArrowheads="1"/>
              </p:cNvSpPr>
              <p:nvPr/>
            </p:nvSpPr>
            <p:spPr bwMode="auto">
              <a:xfrm>
                <a:off x="21828126" y="2714626"/>
                <a:ext cx="38100"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72" name="Freeform 1690"/>
              <p:cNvSpPr>
                <a:spLocks/>
              </p:cNvSpPr>
              <p:nvPr/>
            </p:nvSpPr>
            <p:spPr bwMode="auto">
              <a:xfrm>
                <a:off x="22210713" y="2519363"/>
                <a:ext cx="101600" cy="176213"/>
              </a:xfrm>
              <a:custGeom>
                <a:avLst/>
                <a:gdLst>
                  <a:gd name="T0" fmla="*/ 2 w 27"/>
                  <a:gd name="T1" fmla="*/ 21 h 47"/>
                  <a:gd name="T2" fmla="*/ 4 w 27"/>
                  <a:gd name="T3" fmla="*/ 20 h 47"/>
                  <a:gd name="T4" fmla="*/ 8 w 27"/>
                  <a:gd name="T5" fmla="*/ 7 h 47"/>
                  <a:gd name="T6" fmla="*/ 9 w 27"/>
                  <a:gd name="T7" fmla="*/ 7 h 47"/>
                  <a:gd name="T8" fmla="*/ 3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7 w 27"/>
                  <a:gd name="T25" fmla="*/ 47 h 47"/>
                  <a:gd name="T26" fmla="*/ 19 w 27"/>
                  <a:gd name="T27" fmla="*/ 45 h 47"/>
                  <a:gd name="T28" fmla="*/ 19 w 27"/>
                  <a:gd name="T29" fmla="*/ 28 h 47"/>
                  <a:gd name="T30" fmla="*/ 25 w 27"/>
                  <a:gd name="T31" fmla="*/ 28 h 47"/>
                  <a:gd name="T32" fmla="*/ 19 w 27"/>
                  <a:gd name="T33" fmla="*/ 7 h 47"/>
                  <a:gd name="T34" fmla="*/ 20 w 27"/>
                  <a:gd name="T35" fmla="*/ 7 h 47"/>
                  <a:gd name="T36" fmla="*/ 23 w 27"/>
                  <a:gd name="T37" fmla="*/ 20 h 47"/>
                  <a:gd name="T38" fmla="*/ 26 w 27"/>
                  <a:gd name="T39" fmla="*/ 21 h 47"/>
                  <a:gd name="T40" fmla="*/ 27 w 27"/>
                  <a:gd name="T41" fmla="*/ 19 h 47"/>
                  <a:gd name="T42" fmla="*/ 23 w 27"/>
                  <a:gd name="T43" fmla="*/ 5 h 47"/>
                  <a:gd name="T44" fmla="*/ 18 w 27"/>
                  <a:gd name="T45" fmla="*/ 0 h 47"/>
                  <a:gd name="T46" fmla="*/ 10 w 27"/>
                  <a:gd name="T47" fmla="*/ 0 h 47"/>
                  <a:gd name="T48" fmla="*/ 5 w 27"/>
                  <a:gd name="T49" fmla="*/ 5 h 47"/>
                  <a:gd name="T50" fmla="*/ 0 w 27"/>
                  <a:gd name="T51" fmla="*/ 19 h 47"/>
                  <a:gd name="T52" fmla="*/ 2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 y="21"/>
                    </a:move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ubicBezTo>
                      <a:pt x="22" y="3"/>
                      <a:pt x="20" y="0"/>
                      <a:pt x="18" y="0"/>
                    </a:cubicBezTo>
                    <a:cubicBezTo>
                      <a:pt x="16" y="0"/>
                      <a:pt x="11" y="0"/>
                      <a:pt x="10" y="0"/>
                    </a:cubicBezTo>
                    <a:cubicBezTo>
                      <a:pt x="8" y="0"/>
                      <a:pt x="5" y="3"/>
                      <a:pt x="5" y="5"/>
                    </a:cubicBezTo>
                    <a:cubicBezTo>
                      <a:pt x="3" y="11"/>
                      <a:pt x="1" y="18"/>
                      <a:pt x="0" y="19"/>
                    </a:cubicBezTo>
                    <a:cubicBezTo>
                      <a:pt x="0" y="20"/>
                      <a:pt x="1" y="21"/>
                      <a:pt x="2" y="21"/>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73" name="Oval 1691"/>
              <p:cNvSpPr>
                <a:spLocks noChangeArrowheads="1"/>
              </p:cNvSpPr>
              <p:nvPr/>
            </p:nvSpPr>
            <p:spPr bwMode="auto">
              <a:xfrm>
                <a:off x="21726526" y="2947988"/>
                <a:ext cx="33338"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74" name="Oval 1692"/>
              <p:cNvSpPr>
                <a:spLocks noChangeArrowheads="1"/>
              </p:cNvSpPr>
              <p:nvPr/>
            </p:nvSpPr>
            <p:spPr bwMode="auto">
              <a:xfrm>
                <a:off x="21828126" y="2947988"/>
                <a:ext cx="38100"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75" name="Freeform 1693"/>
              <p:cNvSpPr>
                <a:spLocks/>
              </p:cNvSpPr>
              <p:nvPr/>
            </p:nvSpPr>
            <p:spPr bwMode="auto">
              <a:xfrm>
                <a:off x="21699538" y="2989263"/>
                <a:ext cx="87313" cy="173038"/>
              </a:xfrm>
              <a:custGeom>
                <a:avLst/>
                <a:gdLst>
                  <a:gd name="T0" fmla="*/ 4 w 23"/>
                  <a:gd name="T1" fmla="*/ 20 h 46"/>
                  <a:gd name="T2" fmla="*/ 4 w 23"/>
                  <a:gd name="T3" fmla="*/ 7 h 46"/>
                  <a:gd name="T4" fmla="*/ 5 w 23"/>
                  <a:gd name="T5" fmla="*/ 7 h 46"/>
                  <a:gd name="T6" fmla="*/ 5 w 23"/>
                  <a:gd name="T7" fmla="*/ 44 h 46"/>
                  <a:gd name="T8" fmla="*/ 8 w 23"/>
                  <a:gd name="T9" fmla="*/ 46 h 46"/>
                  <a:gd name="T10" fmla="*/ 11 w 23"/>
                  <a:gd name="T11" fmla="*/ 44 h 46"/>
                  <a:gd name="T12" fmla="*/ 11 w 23"/>
                  <a:gd name="T13" fmla="*/ 22 h 46"/>
                  <a:gd name="T14" fmla="*/ 12 w 23"/>
                  <a:gd name="T15" fmla="*/ 22 h 46"/>
                  <a:gd name="T16" fmla="*/ 12 w 23"/>
                  <a:gd name="T17" fmla="*/ 44 h 46"/>
                  <a:gd name="T18" fmla="*/ 15 w 23"/>
                  <a:gd name="T19" fmla="*/ 46 h 46"/>
                  <a:gd name="T20" fmla="*/ 17 w 23"/>
                  <a:gd name="T21" fmla="*/ 44 h 46"/>
                  <a:gd name="T22" fmla="*/ 17 w 23"/>
                  <a:gd name="T23" fmla="*/ 7 h 46"/>
                  <a:gd name="T24" fmla="*/ 18 w 23"/>
                  <a:gd name="T25" fmla="*/ 7 h 46"/>
                  <a:gd name="T26" fmla="*/ 18 w 23"/>
                  <a:gd name="T27" fmla="*/ 20 h 46"/>
                  <a:gd name="T28" fmla="*/ 21 w 23"/>
                  <a:gd name="T29" fmla="*/ 22 h 46"/>
                  <a:gd name="T30" fmla="*/ 23 w 23"/>
                  <a:gd name="T31" fmla="*/ 20 h 46"/>
                  <a:gd name="T32" fmla="*/ 23 w 23"/>
                  <a:gd name="T33" fmla="*/ 6 h 46"/>
                  <a:gd name="T34" fmla="*/ 17 w 23"/>
                  <a:gd name="T35" fmla="*/ 0 h 46"/>
                  <a:gd name="T36" fmla="*/ 6 w 23"/>
                  <a:gd name="T37" fmla="*/ 0 h 46"/>
                  <a:gd name="T38" fmla="*/ 0 w 23"/>
                  <a:gd name="T39" fmla="*/ 6 h 46"/>
                  <a:gd name="T40" fmla="*/ 0 w 23"/>
                  <a:gd name="T41" fmla="*/ 20 h 46"/>
                  <a:gd name="T42" fmla="*/ 2 w 23"/>
                  <a:gd name="T43" fmla="*/ 22 h 46"/>
                  <a:gd name="T44" fmla="*/ 4 w 23"/>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4" y="20"/>
                    </a:moveTo>
                    <a:cubicBezTo>
                      <a:pt x="4" y="19"/>
                      <a:pt x="4" y="7"/>
                      <a:pt x="4" y="7"/>
                    </a:cubicBezTo>
                    <a:cubicBezTo>
                      <a:pt x="4" y="7"/>
                      <a:pt x="4" y="7"/>
                      <a:pt x="5" y="7"/>
                    </a:cubicBezTo>
                    <a:cubicBezTo>
                      <a:pt x="5" y="7"/>
                      <a:pt x="5" y="41"/>
                      <a:pt x="5" y="44"/>
                    </a:cubicBezTo>
                    <a:cubicBezTo>
                      <a:pt x="5" y="45"/>
                      <a:pt x="6" y="46"/>
                      <a:pt x="8" y="46"/>
                    </a:cubicBezTo>
                    <a:cubicBezTo>
                      <a:pt x="9" y="46"/>
                      <a:pt x="11" y="45"/>
                      <a:pt x="11" y="44"/>
                    </a:cubicBezTo>
                    <a:cubicBezTo>
                      <a:pt x="11" y="41"/>
                      <a:pt x="11" y="22"/>
                      <a:pt x="11" y="22"/>
                    </a:cubicBezTo>
                    <a:cubicBezTo>
                      <a:pt x="11" y="22"/>
                      <a:pt x="11" y="22"/>
                      <a:pt x="12" y="22"/>
                    </a:cubicBezTo>
                    <a:cubicBezTo>
                      <a:pt x="12" y="22"/>
                      <a:pt x="12" y="41"/>
                      <a:pt x="12" y="44"/>
                    </a:cubicBezTo>
                    <a:cubicBezTo>
                      <a:pt x="12" y="45"/>
                      <a:pt x="13" y="46"/>
                      <a:pt x="15" y="46"/>
                    </a:cubicBezTo>
                    <a:cubicBezTo>
                      <a:pt x="16" y="46"/>
                      <a:pt x="17" y="45"/>
                      <a:pt x="17" y="44"/>
                    </a:cubicBezTo>
                    <a:cubicBezTo>
                      <a:pt x="17" y="41"/>
                      <a:pt x="17" y="7"/>
                      <a:pt x="17" y="7"/>
                    </a:cubicBezTo>
                    <a:cubicBezTo>
                      <a:pt x="17" y="7"/>
                      <a:pt x="17" y="7"/>
                      <a:pt x="18" y="7"/>
                    </a:cubicBezTo>
                    <a:cubicBezTo>
                      <a:pt x="18" y="7"/>
                      <a:pt x="18" y="19"/>
                      <a:pt x="18" y="20"/>
                    </a:cubicBezTo>
                    <a:cubicBezTo>
                      <a:pt x="18" y="21"/>
                      <a:pt x="19" y="22"/>
                      <a:pt x="21" y="22"/>
                    </a:cubicBezTo>
                    <a:cubicBezTo>
                      <a:pt x="22" y="22"/>
                      <a:pt x="23" y="21"/>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1"/>
                      <a:pt x="1" y="22"/>
                      <a:pt x="2" y="22"/>
                    </a:cubicBezTo>
                    <a:cubicBezTo>
                      <a:pt x="3" y="22"/>
                      <a:pt x="4" y="21"/>
                      <a:pt x="4" y="2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76" name="Freeform 1694"/>
              <p:cNvSpPr>
                <a:spLocks/>
              </p:cNvSpPr>
              <p:nvPr/>
            </p:nvSpPr>
            <p:spPr bwMode="auto">
              <a:xfrm>
                <a:off x="21693188" y="2755901"/>
                <a:ext cx="101600" cy="176213"/>
              </a:xfrm>
              <a:custGeom>
                <a:avLst/>
                <a:gdLst>
                  <a:gd name="T0" fmla="*/ 23 w 27"/>
                  <a:gd name="T1" fmla="*/ 4 h 47"/>
                  <a:gd name="T2" fmla="*/ 17 w 27"/>
                  <a:gd name="T3" fmla="*/ 0 h 47"/>
                  <a:gd name="T4" fmla="*/ 10 w 27"/>
                  <a:gd name="T5" fmla="*/ 0 h 47"/>
                  <a:gd name="T6" fmla="*/ 4 w 27"/>
                  <a:gd name="T7" fmla="*/ 4 h 47"/>
                  <a:gd name="T8" fmla="*/ 0 w 27"/>
                  <a:gd name="T9" fmla="*/ 18 h 47"/>
                  <a:gd name="T10" fmla="*/ 1 w 27"/>
                  <a:gd name="T11" fmla="*/ 20 h 47"/>
                  <a:gd name="T12" fmla="*/ 4 w 27"/>
                  <a:gd name="T13" fmla="*/ 19 h 47"/>
                  <a:gd name="T14" fmla="*/ 8 w 27"/>
                  <a:gd name="T15" fmla="*/ 6 h 47"/>
                  <a:gd name="T16" fmla="*/ 9 w 27"/>
                  <a:gd name="T17" fmla="*/ 6 h 47"/>
                  <a:gd name="T18" fmla="*/ 2 w 27"/>
                  <a:gd name="T19" fmla="*/ 28 h 47"/>
                  <a:gd name="T20" fmla="*/ 8 w 27"/>
                  <a:gd name="T21" fmla="*/ 28 h 47"/>
                  <a:gd name="T22" fmla="*/ 8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5 w 27"/>
                  <a:gd name="T41" fmla="*/ 28 h 47"/>
                  <a:gd name="T42" fmla="*/ 18 w 27"/>
                  <a:gd name="T43" fmla="*/ 6 h 47"/>
                  <a:gd name="T44" fmla="*/ 19 w 27"/>
                  <a:gd name="T45" fmla="*/ 6 h 47"/>
                  <a:gd name="T46" fmla="*/ 23 w 27"/>
                  <a:gd name="T47" fmla="*/ 19 h 47"/>
                  <a:gd name="T48" fmla="*/ 25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ubicBezTo>
                      <a:pt x="4" y="18"/>
                      <a:pt x="8" y="6"/>
                      <a:pt x="8"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3" y="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77" name="Oval 1695"/>
              <p:cNvSpPr>
                <a:spLocks noChangeArrowheads="1"/>
              </p:cNvSpPr>
              <p:nvPr/>
            </p:nvSpPr>
            <p:spPr bwMode="auto">
              <a:xfrm>
                <a:off x="22245638" y="2947988"/>
                <a:ext cx="36513"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78" name="Freeform 1696"/>
              <p:cNvSpPr>
                <a:spLocks/>
              </p:cNvSpPr>
              <p:nvPr/>
            </p:nvSpPr>
            <p:spPr bwMode="auto">
              <a:xfrm>
                <a:off x="22218651" y="2755901"/>
                <a:ext cx="85725" cy="173038"/>
              </a:xfrm>
              <a:custGeom>
                <a:avLst/>
                <a:gdLst>
                  <a:gd name="T0" fmla="*/ 21 w 23"/>
                  <a:gd name="T1" fmla="*/ 22 h 46"/>
                  <a:gd name="T2" fmla="*/ 23 w 23"/>
                  <a:gd name="T3" fmla="*/ 20 h 46"/>
                  <a:gd name="T4" fmla="*/ 23 w 23"/>
                  <a:gd name="T5" fmla="*/ 6 h 46"/>
                  <a:gd name="T6" fmla="*/ 17 w 23"/>
                  <a:gd name="T7" fmla="*/ 0 h 46"/>
                  <a:gd name="T8" fmla="*/ 7 w 23"/>
                  <a:gd name="T9" fmla="*/ 0 h 46"/>
                  <a:gd name="T10" fmla="*/ 0 w 23"/>
                  <a:gd name="T11" fmla="*/ 6 h 46"/>
                  <a:gd name="T12" fmla="*/ 0 w 23"/>
                  <a:gd name="T13" fmla="*/ 20 h 46"/>
                  <a:gd name="T14" fmla="*/ 3 w 23"/>
                  <a:gd name="T15" fmla="*/ 22 h 46"/>
                  <a:gd name="T16" fmla="*/ 5 w 23"/>
                  <a:gd name="T17" fmla="*/ 20 h 46"/>
                  <a:gd name="T18" fmla="*/ 5 w 23"/>
                  <a:gd name="T19" fmla="*/ 7 h 46"/>
                  <a:gd name="T20" fmla="*/ 6 w 23"/>
                  <a:gd name="T21" fmla="*/ 7 h 46"/>
                  <a:gd name="T22" fmla="*/ 6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8 w 23"/>
                  <a:gd name="T37" fmla="*/ 44 h 46"/>
                  <a:gd name="T38" fmla="*/ 18 w 23"/>
                  <a:gd name="T39" fmla="*/ 7 h 46"/>
                  <a:gd name="T40" fmla="*/ 19 w 23"/>
                  <a:gd name="T41" fmla="*/ 7 h 46"/>
                  <a:gd name="T42" fmla="*/ 19 w 23"/>
                  <a:gd name="T43" fmla="*/ 20 h 46"/>
                  <a:gd name="T44" fmla="*/ 21 w 23"/>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2"/>
                    </a:moveTo>
                    <a:cubicBezTo>
                      <a:pt x="22" y="22"/>
                      <a:pt x="23" y="22"/>
                      <a:pt x="23" y="20"/>
                    </a:cubicBezTo>
                    <a:cubicBezTo>
                      <a:pt x="23" y="19"/>
                      <a:pt x="23" y="7"/>
                      <a:pt x="23" y="6"/>
                    </a:cubicBezTo>
                    <a:cubicBezTo>
                      <a:pt x="23" y="2"/>
                      <a:pt x="20" y="0"/>
                      <a:pt x="17" y="0"/>
                    </a:cubicBezTo>
                    <a:cubicBezTo>
                      <a:pt x="15" y="0"/>
                      <a:pt x="8" y="0"/>
                      <a:pt x="7" y="0"/>
                    </a:cubicBezTo>
                    <a:cubicBezTo>
                      <a:pt x="3" y="0"/>
                      <a:pt x="0" y="2"/>
                      <a:pt x="0" y="6"/>
                    </a:cubicBezTo>
                    <a:cubicBezTo>
                      <a:pt x="0" y="7"/>
                      <a:pt x="0" y="19"/>
                      <a:pt x="0" y="20"/>
                    </a:cubicBezTo>
                    <a:cubicBezTo>
                      <a:pt x="0" y="22"/>
                      <a:pt x="1" y="22"/>
                      <a:pt x="3" y="22"/>
                    </a:cubicBezTo>
                    <a:cubicBezTo>
                      <a:pt x="4" y="22"/>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4"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2"/>
                      <a:pt x="20" y="22"/>
                      <a:pt x="21" y="22"/>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79" name="Freeform 1697"/>
              <p:cNvSpPr>
                <a:spLocks/>
              </p:cNvSpPr>
              <p:nvPr/>
            </p:nvSpPr>
            <p:spPr bwMode="auto">
              <a:xfrm>
                <a:off x="20874038" y="2989263"/>
                <a:ext cx="74613" cy="52388"/>
              </a:xfrm>
              <a:custGeom>
                <a:avLst/>
                <a:gdLst>
                  <a:gd name="T0" fmla="*/ 6 w 20"/>
                  <a:gd name="T1" fmla="*/ 0 h 14"/>
                  <a:gd name="T2" fmla="*/ 0 w 20"/>
                  <a:gd name="T3" fmla="*/ 6 h 14"/>
                  <a:gd name="T4" fmla="*/ 0 w 20"/>
                  <a:gd name="T5" fmla="*/ 14 h 14"/>
                  <a:gd name="T6" fmla="*/ 4 w 20"/>
                  <a:gd name="T7" fmla="*/ 12 h 14"/>
                  <a:gd name="T8" fmla="*/ 4 w 20"/>
                  <a:gd name="T9" fmla="*/ 7 h 14"/>
                  <a:gd name="T10" fmla="*/ 5 w 20"/>
                  <a:gd name="T11" fmla="*/ 7 h 14"/>
                  <a:gd name="T12" fmla="*/ 5 w 20"/>
                  <a:gd name="T13" fmla="*/ 12 h 14"/>
                  <a:gd name="T14" fmla="*/ 20 w 20"/>
                  <a:gd name="T15" fmla="*/ 1 h 14"/>
                  <a:gd name="T16" fmla="*/ 16 w 20"/>
                  <a:gd name="T17" fmla="*/ 0 h 14"/>
                  <a:gd name="T18" fmla="*/ 6 w 20"/>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14">
                    <a:moveTo>
                      <a:pt x="6" y="0"/>
                    </a:moveTo>
                    <a:cubicBezTo>
                      <a:pt x="2" y="0"/>
                      <a:pt x="0" y="2"/>
                      <a:pt x="0" y="6"/>
                    </a:cubicBezTo>
                    <a:cubicBezTo>
                      <a:pt x="0" y="7"/>
                      <a:pt x="0" y="10"/>
                      <a:pt x="0" y="14"/>
                    </a:cubicBezTo>
                    <a:cubicBezTo>
                      <a:pt x="1" y="14"/>
                      <a:pt x="2" y="13"/>
                      <a:pt x="4" y="12"/>
                    </a:cubicBezTo>
                    <a:cubicBezTo>
                      <a:pt x="4" y="9"/>
                      <a:pt x="4" y="7"/>
                      <a:pt x="4" y="7"/>
                    </a:cubicBezTo>
                    <a:cubicBezTo>
                      <a:pt x="4" y="7"/>
                      <a:pt x="4" y="7"/>
                      <a:pt x="5" y="7"/>
                    </a:cubicBezTo>
                    <a:cubicBezTo>
                      <a:pt x="5" y="7"/>
                      <a:pt x="5" y="9"/>
                      <a:pt x="5" y="12"/>
                    </a:cubicBezTo>
                    <a:cubicBezTo>
                      <a:pt x="10" y="9"/>
                      <a:pt x="15" y="5"/>
                      <a:pt x="20" y="1"/>
                    </a:cubicBezTo>
                    <a:cubicBezTo>
                      <a:pt x="19" y="0"/>
                      <a:pt x="17" y="0"/>
                      <a:pt x="16" y="0"/>
                    </a:cubicBezTo>
                    <a:cubicBezTo>
                      <a:pt x="14" y="0"/>
                      <a:pt x="7" y="0"/>
                      <a:pt x="6"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80" name="Freeform 1698"/>
              <p:cNvSpPr>
                <a:spLocks/>
              </p:cNvSpPr>
              <p:nvPr/>
            </p:nvSpPr>
            <p:spPr bwMode="auto">
              <a:xfrm>
                <a:off x="21207413" y="2947988"/>
                <a:ext cx="38100" cy="33338"/>
              </a:xfrm>
              <a:custGeom>
                <a:avLst/>
                <a:gdLst>
                  <a:gd name="T0" fmla="*/ 10 w 10"/>
                  <a:gd name="T1" fmla="*/ 5 h 9"/>
                  <a:gd name="T2" fmla="*/ 5 w 10"/>
                  <a:gd name="T3" fmla="*/ 0 h 9"/>
                  <a:gd name="T4" fmla="*/ 0 w 10"/>
                  <a:gd name="T5" fmla="*/ 5 h 9"/>
                  <a:gd name="T6" fmla="*/ 0 w 10"/>
                  <a:gd name="T7" fmla="*/ 5 h 9"/>
                  <a:gd name="T8" fmla="*/ 6 w 10"/>
                  <a:gd name="T9" fmla="*/ 9 h 9"/>
                  <a:gd name="T10" fmla="*/ 10 w 10"/>
                  <a:gd name="T11" fmla="*/ 5 h 9"/>
                </a:gdLst>
                <a:ahLst/>
                <a:cxnLst>
                  <a:cxn ang="0">
                    <a:pos x="T0" y="T1"/>
                  </a:cxn>
                  <a:cxn ang="0">
                    <a:pos x="T2" y="T3"/>
                  </a:cxn>
                  <a:cxn ang="0">
                    <a:pos x="T4" y="T5"/>
                  </a:cxn>
                  <a:cxn ang="0">
                    <a:pos x="T6" y="T7"/>
                  </a:cxn>
                  <a:cxn ang="0">
                    <a:pos x="T8" y="T9"/>
                  </a:cxn>
                  <a:cxn ang="0">
                    <a:pos x="T10" y="T11"/>
                  </a:cxn>
                </a:cxnLst>
                <a:rect l="0" t="0" r="r" b="b"/>
                <a:pathLst>
                  <a:path w="10" h="9">
                    <a:moveTo>
                      <a:pt x="10" y="5"/>
                    </a:moveTo>
                    <a:cubicBezTo>
                      <a:pt x="10" y="2"/>
                      <a:pt x="8" y="0"/>
                      <a:pt x="5" y="0"/>
                    </a:cubicBezTo>
                    <a:cubicBezTo>
                      <a:pt x="2" y="0"/>
                      <a:pt x="0" y="2"/>
                      <a:pt x="0" y="5"/>
                    </a:cubicBezTo>
                    <a:cubicBezTo>
                      <a:pt x="0" y="5"/>
                      <a:pt x="0" y="5"/>
                      <a:pt x="0" y="5"/>
                    </a:cubicBezTo>
                    <a:cubicBezTo>
                      <a:pt x="2" y="6"/>
                      <a:pt x="4" y="8"/>
                      <a:pt x="6" y="9"/>
                    </a:cubicBezTo>
                    <a:cubicBezTo>
                      <a:pt x="8" y="9"/>
                      <a:pt x="10" y="7"/>
                      <a:pt x="10" y="5"/>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81" name="Freeform 1699"/>
              <p:cNvSpPr>
                <a:spLocks/>
              </p:cNvSpPr>
              <p:nvPr/>
            </p:nvSpPr>
            <p:spPr bwMode="auto">
              <a:xfrm>
                <a:off x="21072476" y="2755901"/>
                <a:ext cx="101600" cy="176213"/>
              </a:xfrm>
              <a:custGeom>
                <a:avLst/>
                <a:gdLst>
                  <a:gd name="T0" fmla="*/ 13 w 27"/>
                  <a:gd name="T1" fmla="*/ 44 h 47"/>
                  <a:gd name="T2" fmla="*/ 13 w 27"/>
                  <a:gd name="T3" fmla="*/ 28 h 47"/>
                  <a:gd name="T4" fmla="*/ 14 w 27"/>
                  <a:gd name="T5" fmla="*/ 28 h 47"/>
                  <a:gd name="T6" fmla="*/ 14 w 27"/>
                  <a:gd name="T7" fmla="*/ 44 h 47"/>
                  <a:gd name="T8" fmla="*/ 16 w 27"/>
                  <a:gd name="T9" fmla="*/ 47 h 47"/>
                  <a:gd name="T10" fmla="*/ 18 w 27"/>
                  <a:gd name="T11" fmla="*/ 44 h 47"/>
                  <a:gd name="T12" fmla="*/ 18 w 27"/>
                  <a:gd name="T13" fmla="*/ 28 h 47"/>
                  <a:gd name="T14" fmla="*/ 25 w 27"/>
                  <a:gd name="T15" fmla="*/ 28 h 47"/>
                  <a:gd name="T16" fmla="*/ 18 w 27"/>
                  <a:gd name="T17" fmla="*/ 6 h 47"/>
                  <a:gd name="T18" fmla="*/ 19 w 27"/>
                  <a:gd name="T19" fmla="*/ 6 h 47"/>
                  <a:gd name="T20" fmla="*/ 23 w 27"/>
                  <a:gd name="T21" fmla="*/ 19 h 47"/>
                  <a:gd name="T22" fmla="*/ 25 w 27"/>
                  <a:gd name="T23" fmla="*/ 20 h 47"/>
                  <a:gd name="T24" fmla="*/ 26 w 27"/>
                  <a:gd name="T25" fmla="*/ 18 h 47"/>
                  <a:gd name="T26" fmla="*/ 23 w 27"/>
                  <a:gd name="T27" fmla="*/ 4 h 47"/>
                  <a:gd name="T28" fmla="*/ 17 w 27"/>
                  <a:gd name="T29" fmla="*/ 0 h 47"/>
                  <a:gd name="T30" fmla="*/ 10 w 27"/>
                  <a:gd name="T31" fmla="*/ 0 h 47"/>
                  <a:gd name="T32" fmla="*/ 4 w 27"/>
                  <a:gd name="T33" fmla="*/ 4 h 47"/>
                  <a:gd name="T34" fmla="*/ 0 w 27"/>
                  <a:gd name="T35" fmla="*/ 18 h 47"/>
                  <a:gd name="T36" fmla="*/ 1 w 27"/>
                  <a:gd name="T37" fmla="*/ 20 h 47"/>
                  <a:gd name="T38" fmla="*/ 4 w 27"/>
                  <a:gd name="T39" fmla="*/ 19 h 47"/>
                  <a:gd name="T40" fmla="*/ 7 w 27"/>
                  <a:gd name="T41" fmla="*/ 6 h 47"/>
                  <a:gd name="T42" fmla="*/ 9 w 27"/>
                  <a:gd name="T43" fmla="*/ 6 h 47"/>
                  <a:gd name="T44" fmla="*/ 2 w 27"/>
                  <a:gd name="T45" fmla="*/ 28 h 47"/>
                  <a:gd name="T46" fmla="*/ 8 w 27"/>
                  <a:gd name="T47" fmla="*/ 28 h 47"/>
                  <a:gd name="T48" fmla="*/ 8 w 27"/>
                  <a:gd name="T49" fmla="*/ 44 h 47"/>
                  <a:gd name="T50" fmla="*/ 9 w 27"/>
                  <a:gd name="T51" fmla="*/ 46 h 47"/>
                  <a:gd name="T52" fmla="*/ 11 w 27"/>
                  <a:gd name="T53" fmla="*/ 47 h 47"/>
                  <a:gd name="T54" fmla="*/ 13 w 27"/>
                  <a:gd name="T55"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 h="47">
                    <a:moveTo>
                      <a:pt x="13" y="44"/>
                    </a:move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6" y="18"/>
                    </a:cubicBezTo>
                    <a:cubicBezTo>
                      <a:pt x="26" y="17"/>
                      <a:pt x="24" y="10"/>
                      <a:pt x="23" y="4"/>
                    </a:cubicBezTo>
                    <a:cubicBezTo>
                      <a:pt x="22" y="2"/>
                      <a:pt x="19"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ubicBezTo>
                      <a:pt x="4" y="18"/>
                      <a:pt x="7" y="6"/>
                      <a:pt x="7" y="6"/>
                    </a:cubicBezTo>
                    <a:cubicBezTo>
                      <a:pt x="9" y="6"/>
                      <a:pt x="9" y="6"/>
                      <a:pt x="9" y="6"/>
                    </a:cubicBezTo>
                    <a:cubicBezTo>
                      <a:pt x="2" y="28"/>
                      <a:pt x="2" y="28"/>
                      <a:pt x="2" y="28"/>
                    </a:cubicBezTo>
                    <a:cubicBezTo>
                      <a:pt x="8" y="28"/>
                      <a:pt x="8" y="28"/>
                      <a:pt x="8" y="28"/>
                    </a:cubicBezTo>
                    <a:cubicBezTo>
                      <a:pt x="8" y="35"/>
                      <a:pt x="8" y="43"/>
                      <a:pt x="8" y="44"/>
                    </a:cubicBezTo>
                    <a:cubicBezTo>
                      <a:pt x="8" y="45"/>
                      <a:pt x="9" y="46"/>
                      <a:pt x="9" y="46"/>
                    </a:cubicBezTo>
                    <a:cubicBezTo>
                      <a:pt x="10" y="46"/>
                      <a:pt x="11" y="46"/>
                      <a:pt x="11" y="47"/>
                    </a:cubicBezTo>
                    <a:cubicBezTo>
                      <a:pt x="12" y="46"/>
                      <a:pt x="13" y="45"/>
                      <a:pt x="13" y="4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82" name="Freeform 1700"/>
              <p:cNvSpPr>
                <a:spLocks/>
              </p:cNvSpPr>
              <p:nvPr/>
            </p:nvSpPr>
            <p:spPr bwMode="auto">
              <a:xfrm>
                <a:off x="21599526" y="2755901"/>
                <a:ext cx="85725" cy="173038"/>
              </a:xfrm>
              <a:custGeom>
                <a:avLst/>
                <a:gdLst>
                  <a:gd name="T0" fmla="*/ 21 w 23"/>
                  <a:gd name="T1" fmla="*/ 22 h 46"/>
                  <a:gd name="T2" fmla="*/ 23 w 23"/>
                  <a:gd name="T3" fmla="*/ 20 h 46"/>
                  <a:gd name="T4" fmla="*/ 23 w 23"/>
                  <a:gd name="T5" fmla="*/ 6 h 46"/>
                  <a:gd name="T6" fmla="*/ 17 w 23"/>
                  <a:gd name="T7" fmla="*/ 0 h 46"/>
                  <a:gd name="T8" fmla="*/ 7 w 23"/>
                  <a:gd name="T9" fmla="*/ 0 h 46"/>
                  <a:gd name="T10" fmla="*/ 0 w 23"/>
                  <a:gd name="T11" fmla="*/ 6 h 46"/>
                  <a:gd name="T12" fmla="*/ 0 w 23"/>
                  <a:gd name="T13" fmla="*/ 20 h 46"/>
                  <a:gd name="T14" fmla="*/ 3 w 23"/>
                  <a:gd name="T15" fmla="*/ 22 h 46"/>
                  <a:gd name="T16" fmla="*/ 5 w 23"/>
                  <a:gd name="T17" fmla="*/ 20 h 46"/>
                  <a:gd name="T18" fmla="*/ 5 w 23"/>
                  <a:gd name="T19" fmla="*/ 7 h 46"/>
                  <a:gd name="T20" fmla="*/ 6 w 23"/>
                  <a:gd name="T21" fmla="*/ 7 h 46"/>
                  <a:gd name="T22" fmla="*/ 6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8 w 23"/>
                  <a:gd name="T37" fmla="*/ 44 h 46"/>
                  <a:gd name="T38" fmla="*/ 18 w 23"/>
                  <a:gd name="T39" fmla="*/ 7 h 46"/>
                  <a:gd name="T40" fmla="*/ 19 w 23"/>
                  <a:gd name="T41" fmla="*/ 7 h 46"/>
                  <a:gd name="T42" fmla="*/ 19 w 23"/>
                  <a:gd name="T43" fmla="*/ 20 h 46"/>
                  <a:gd name="T44" fmla="*/ 21 w 23"/>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2"/>
                    </a:moveTo>
                    <a:cubicBezTo>
                      <a:pt x="22" y="22"/>
                      <a:pt x="23" y="22"/>
                      <a:pt x="23" y="20"/>
                    </a:cubicBezTo>
                    <a:cubicBezTo>
                      <a:pt x="23" y="19"/>
                      <a:pt x="23" y="7"/>
                      <a:pt x="23" y="6"/>
                    </a:cubicBezTo>
                    <a:cubicBezTo>
                      <a:pt x="23" y="2"/>
                      <a:pt x="20" y="0"/>
                      <a:pt x="17" y="0"/>
                    </a:cubicBezTo>
                    <a:cubicBezTo>
                      <a:pt x="15" y="0"/>
                      <a:pt x="8" y="0"/>
                      <a:pt x="7" y="0"/>
                    </a:cubicBezTo>
                    <a:cubicBezTo>
                      <a:pt x="3" y="0"/>
                      <a:pt x="0" y="2"/>
                      <a:pt x="0" y="6"/>
                    </a:cubicBezTo>
                    <a:cubicBezTo>
                      <a:pt x="0" y="7"/>
                      <a:pt x="0" y="19"/>
                      <a:pt x="0" y="20"/>
                    </a:cubicBezTo>
                    <a:cubicBezTo>
                      <a:pt x="0" y="22"/>
                      <a:pt x="1" y="22"/>
                      <a:pt x="3" y="22"/>
                    </a:cubicBezTo>
                    <a:cubicBezTo>
                      <a:pt x="4" y="22"/>
                      <a:pt x="5" y="22"/>
                      <a:pt x="5" y="20"/>
                    </a:cubicBezTo>
                    <a:cubicBezTo>
                      <a:pt x="5" y="19"/>
                      <a:pt x="5" y="7"/>
                      <a:pt x="5" y="7"/>
                    </a:cubicBezTo>
                    <a:cubicBezTo>
                      <a:pt x="5" y="7"/>
                      <a:pt x="5" y="7"/>
                      <a:pt x="6" y="7"/>
                    </a:cubicBezTo>
                    <a:cubicBezTo>
                      <a:pt x="6" y="7"/>
                      <a:pt x="6" y="41"/>
                      <a:pt x="6" y="44"/>
                    </a:cubicBezTo>
                    <a:cubicBezTo>
                      <a:pt x="6"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4" y="46"/>
                      <a:pt x="15" y="46"/>
                    </a:cubicBezTo>
                    <a:cubicBezTo>
                      <a:pt x="17" y="46"/>
                      <a:pt x="18" y="45"/>
                      <a:pt x="18" y="44"/>
                    </a:cubicBezTo>
                    <a:cubicBezTo>
                      <a:pt x="18" y="41"/>
                      <a:pt x="18" y="7"/>
                      <a:pt x="18" y="7"/>
                    </a:cubicBezTo>
                    <a:cubicBezTo>
                      <a:pt x="18" y="7"/>
                      <a:pt x="18" y="7"/>
                      <a:pt x="19" y="7"/>
                    </a:cubicBezTo>
                    <a:cubicBezTo>
                      <a:pt x="19" y="7"/>
                      <a:pt x="19" y="19"/>
                      <a:pt x="19" y="20"/>
                    </a:cubicBezTo>
                    <a:cubicBezTo>
                      <a:pt x="19" y="22"/>
                      <a:pt x="20" y="22"/>
                      <a:pt x="21" y="22"/>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83" name="Oval 1701"/>
              <p:cNvSpPr>
                <a:spLocks noChangeArrowheads="1"/>
              </p:cNvSpPr>
              <p:nvPr/>
            </p:nvSpPr>
            <p:spPr bwMode="auto">
              <a:xfrm>
                <a:off x="20896263" y="2714626"/>
                <a:ext cx="38100"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84" name="Freeform 1702"/>
              <p:cNvSpPr>
                <a:spLocks/>
              </p:cNvSpPr>
              <p:nvPr/>
            </p:nvSpPr>
            <p:spPr bwMode="auto">
              <a:xfrm>
                <a:off x="21391563" y="2755901"/>
                <a:ext cx="87313" cy="173038"/>
              </a:xfrm>
              <a:custGeom>
                <a:avLst/>
                <a:gdLst>
                  <a:gd name="T0" fmla="*/ 21 w 23"/>
                  <a:gd name="T1" fmla="*/ 22 h 46"/>
                  <a:gd name="T2" fmla="*/ 23 w 23"/>
                  <a:gd name="T3" fmla="*/ 20 h 46"/>
                  <a:gd name="T4" fmla="*/ 23 w 23"/>
                  <a:gd name="T5" fmla="*/ 6 h 46"/>
                  <a:gd name="T6" fmla="*/ 17 w 23"/>
                  <a:gd name="T7" fmla="*/ 0 h 46"/>
                  <a:gd name="T8" fmla="*/ 6 w 23"/>
                  <a:gd name="T9" fmla="*/ 0 h 46"/>
                  <a:gd name="T10" fmla="*/ 0 w 23"/>
                  <a:gd name="T11" fmla="*/ 6 h 46"/>
                  <a:gd name="T12" fmla="*/ 0 w 23"/>
                  <a:gd name="T13" fmla="*/ 20 h 46"/>
                  <a:gd name="T14" fmla="*/ 2 w 23"/>
                  <a:gd name="T15" fmla="*/ 22 h 46"/>
                  <a:gd name="T16" fmla="*/ 4 w 23"/>
                  <a:gd name="T17" fmla="*/ 20 h 46"/>
                  <a:gd name="T18" fmla="*/ 4 w 23"/>
                  <a:gd name="T19" fmla="*/ 7 h 46"/>
                  <a:gd name="T20" fmla="*/ 5 w 23"/>
                  <a:gd name="T21" fmla="*/ 7 h 46"/>
                  <a:gd name="T22" fmla="*/ 5 w 23"/>
                  <a:gd name="T23" fmla="*/ 44 h 46"/>
                  <a:gd name="T24" fmla="*/ 8 w 23"/>
                  <a:gd name="T25" fmla="*/ 46 h 46"/>
                  <a:gd name="T26" fmla="*/ 11 w 23"/>
                  <a:gd name="T27" fmla="*/ 44 h 46"/>
                  <a:gd name="T28" fmla="*/ 11 w 23"/>
                  <a:gd name="T29" fmla="*/ 23 h 46"/>
                  <a:gd name="T30" fmla="*/ 12 w 23"/>
                  <a:gd name="T31" fmla="*/ 23 h 46"/>
                  <a:gd name="T32" fmla="*/ 12 w 23"/>
                  <a:gd name="T33" fmla="*/ 44 h 46"/>
                  <a:gd name="T34" fmla="*/ 15 w 23"/>
                  <a:gd name="T35" fmla="*/ 46 h 46"/>
                  <a:gd name="T36" fmla="*/ 17 w 23"/>
                  <a:gd name="T37" fmla="*/ 44 h 46"/>
                  <a:gd name="T38" fmla="*/ 17 w 23"/>
                  <a:gd name="T39" fmla="*/ 7 h 46"/>
                  <a:gd name="T40" fmla="*/ 19 w 23"/>
                  <a:gd name="T41" fmla="*/ 7 h 46"/>
                  <a:gd name="T42" fmla="*/ 19 w 23"/>
                  <a:gd name="T43" fmla="*/ 20 h 46"/>
                  <a:gd name="T44" fmla="*/ 21 w 23"/>
                  <a:gd name="T4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21" y="22"/>
                    </a:moveTo>
                    <a:cubicBezTo>
                      <a:pt x="22" y="22"/>
                      <a:pt x="23" y="22"/>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19" y="22"/>
                      <a:pt x="21" y="22"/>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85" name="Oval 1703"/>
              <p:cNvSpPr>
                <a:spLocks noChangeArrowheads="1"/>
              </p:cNvSpPr>
              <p:nvPr/>
            </p:nvSpPr>
            <p:spPr bwMode="auto">
              <a:xfrm>
                <a:off x="21624926" y="2714626"/>
                <a:ext cx="38100"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86" name="Oval 1704"/>
              <p:cNvSpPr>
                <a:spLocks noChangeArrowheads="1"/>
              </p:cNvSpPr>
              <p:nvPr/>
            </p:nvSpPr>
            <p:spPr bwMode="auto">
              <a:xfrm>
                <a:off x="20896263" y="2947988"/>
                <a:ext cx="38100"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87" name="Oval 1705"/>
              <p:cNvSpPr>
                <a:spLocks noChangeArrowheads="1"/>
              </p:cNvSpPr>
              <p:nvPr/>
            </p:nvSpPr>
            <p:spPr bwMode="auto">
              <a:xfrm>
                <a:off x="21624926" y="2481263"/>
                <a:ext cx="38100"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88" name="Freeform 1706"/>
              <p:cNvSpPr>
                <a:spLocks/>
              </p:cNvSpPr>
              <p:nvPr/>
            </p:nvSpPr>
            <p:spPr bwMode="auto">
              <a:xfrm>
                <a:off x="21385213" y="2519363"/>
                <a:ext cx="101600" cy="176213"/>
              </a:xfrm>
              <a:custGeom>
                <a:avLst/>
                <a:gdLst>
                  <a:gd name="T0" fmla="*/ 1 w 27"/>
                  <a:gd name="T1" fmla="*/ 21 h 47"/>
                  <a:gd name="T2" fmla="*/ 4 w 27"/>
                  <a:gd name="T3" fmla="*/ 20 h 47"/>
                  <a:gd name="T4" fmla="*/ 7 w 27"/>
                  <a:gd name="T5" fmla="*/ 7 h 47"/>
                  <a:gd name="T6" fmla="*/ 9 w 27"/>
                  <a:gd name="T7" fmla="*/ 7 h 47"/>
                  <a:gd name="T8" fmla="*/ 2 w 27"/>
                  <a:gd name="T9" fmla="*/ 28 h 47"/>
                  <a:gd name="T10" fmla="*/ 8 w 27"/>
                  <a:gd name="T11" fmla="*/ 28 h 47"/>
                  <a:gd name="T12" fmla="*/ 8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8 w 27"/>
                  <a:gd name="T27" fmla="*/ 45 h 47"/>
                  <a:gd name="T28" fmla="*/ 18 w 27"/>
                  <a:gd name="T29" fmla="*/ 28 h 47"/>
                  <a:gd name="T30" fmla="*/ 25 w 27"/>
                  <a:gd name="T31" fmla="*/ 28 h 47"/>
                  <a:gd name="T32" fmla="*/ 18 w 27"/>
                  <a:gd name="T33" fmla="*/ 7 h 47"/>
                  <a:gd name="T34" fmla="*/ 19 w 27"/>
                  <a:gd name="T35" fmla="*/ 7 h 47"/>
                  <a:gd name="T36" fmla="*/ 23 w 27"/>
                  <a:gd name="T37" fmla="*/ 20 h 47"/>
                  <a:gd name="T38" fmla="*/ 25 w 27"/>
                  <a:gd name="T39" fmla="*/ 21 h 47"/>
                  <a:gd name="T40" fmla="*/ 27 w 27"/>
                  <a:gd name="T41" fmla="*/ 19 h 47"/>
                  <a:gd name="T42" fmla="*/ 22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7" y="7"/>
                      <a:pt x="7"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2" y="5"/>
                    </a:cubicBezTo>
                    <a:cubicBezTo>
                      <a:pt x="22" y="3"/>
                      <a:pt x="20" y="0"/>
                      <a:pt x="17" y="0"/>
                    </a:cubicBezTo>
                    <a:cubicBezTo>
                      <a:pt x="16" y="0"/>
                      <a:pt x="11" y="0"/>
                      <a:pt x="10" y="0"/>
                    </a:cubicBezTo>
                    <a:cubicBezTo>
                      <a:pt x="7" y="0"/>
                      <a:pt x="5" y="3"/>
                      <a:pt x="4" y="5"/>
                    </a:cubicBezTo>
                    <a:cubicBezTo>
                      <a:pt x="2" y="11"/>
                      <a:pt x="0" y="18"/>
                      <a:pt x="0" y="19"/>
                    </a:cubicBezTo>
                    <a:cubicBezTo>
                      <a:pt x="0" y="20"/>
                      <a:pt x="0" y="21"/>
                      <a:pt x="1" y="21"/>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89" name="Oval 1707"/>
              <p:cNvSpPr>
                <a:spLocks noChangeArrowheads="1"/>
              </p:cNvSpPr>
              <p:nvPr/>
            </p:nvSpPr>
            <p:spPr bwMode="auto">
              <a:xfrm>
                <a:off x="21418551" y="2481263"/>
                <a:ext cx="33338"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90" name="Freeform 1708"/>
              <p:cNvSpPr>
                <a:spLocks/>
              </p:cNvSpPr>
              <p:nvPr/>
            </p:nvSpPr>
            <p:spPr bwMode="auto">
              <a:xfrm>
                <a:off x="20862926" y="2755901"/>
                <a:ext cx="104775" cy="176213"/>
              </a:xfrm>
              <a:custGeom>
                <a:avLst/>
                <a:gdLst>
                  <a:gd name="T0" fmla="*/ 23 w 28"/>
                  <a:gd name="T1" fmla="*/ 4 h 47"/>
                  <a:gd name="T2" fmla="*/ 18 w 28"/>
                  <a:gd name="T3" fmla="*/ 0 h 47"/>
                  <a:gd name="T4" fmla="*/ 10 w 28"/>
                  <a:gd name="T5" fmla="*/ 0 h 47"/>
                  <a:gd name="T6" fmla="*/ 5 w 28"/>
                  <a:gd name="T7" fmla="*/ 4 h 47"/>
                  <a:gd name="T8" fmla="*/ 1 w 28"/>
                  <a:gd name="T9" fmla="*/ 18 h 47"/>
                  <a:gd name="T10" fmla="*/ 2 w 28"/>
                  <a:gd name="T11" fmla="*/ 20 h 47"/>
                  <a:gd name="T12" fmla="*/ 4 w 28"/>
                  <a:gd name="T13" fmla="*/ 19 h 47"/>
                  <a:gd name="T14" fmla="*/ 8 w 28"/>
                  <a:gd name="T15" fmla="*/ 6 h 47"/>
                  <a:gd name="T16" fmla="*/ 9 w 28"/>
                  <a:gd name="T17" fmla="*/ 6 h 47"/>
                  <a:gd name="T18" fmla="*/ 3 w 28"/>
                  <a:gd name="T19" fmla="*/ 28 h 47"/>
                  <a:gd name="T20" fmla="*/ 9 w 28"/>
                  <a:gd name="T21" fmla="*/ 28 h 47"/>
                  <a:gd name="T22" fmla="*/ 9 w 28"/>
                  <a:gd name="T23" fmla="*/ 44 h 47"/>
                  <a:gd name="T24" fmla="*/ 11 w 28"/>
                  <a:gd name="T25" fmla="*/ 47 h 47"/>
                  <a:gd name="T26" fmla="*/ 13 w 28"/>
                  <a:gd name="T27" fmla="*/ 44 h 47"/>
                  <a:gd name="T28" fmla="*/ 13 w 28"/>
                  <a:gd name="T29" fmla="*/ 28 h 47"/>
                  <a:gd name="T30" fmla="*/ 14 w 28"/>
                  <a:gd name="T31" fmla="*/ 28 h 47"/>
                  <a:gd name="T32" fmla="*/ 14 w 28"/>
                  <a:gd name="T33" fmla="*/ 44 h 47"/>
                  <a:gd name="T34" fmla="*/ 17 w 28"/>
                  <a:gd name="T35" fmla="*/ 47 h 47"/>
                  <a:gd name="T36" fmla="*/ 19 w 28"/>
                  <a:gd name="T37" fmla="*/ 44 h 47"/>
                  <a:gd name="T38" fmla="*/ 19 w 28"/>
                  <a:gd name="T39" fmla="*/ 28 h 47"/>
                  <a:gd name="T40" fmla="*/ 25 w 28"/>
                  <a:gd name="T41" fmla="*/ 28 h 47"/>
                  <a:gd name="T42" fmla="*/ 19 w 28"/>
                  <a:gd name="T43" fmla="*/ 6 h 47"/>
                  <a:gd name="T44" fmla="*/ 20 w 28"/>
                  <a:gd name="T45" fmla="*/ 6 h 47"/>
                  <a:gd name="T46" fmla="*/ 24 w 28"/>
                  <a:gd name="T47" fmla="*/ 19 h 47"/>
                  <a:gd name="T48" fmla="*/ 26 w 28"/>
                  <a:gd name="T49" fmla="*/ 20 h 47"/>
                  <a:gd name="T50" fmla="*/ 27 w 28"/>
                  <a:gd name="T51" fmla="*/ 18 h 47"/>
                  <a:gd name="T52" fmla="*/ 23 w 28"/>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47">
                    <a:moveTo>
                      <a:pt x="23" y="4"/>
                    </a:moveTo>
                    <a:cubicBezTo>
                      <a:pt x="22"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8" y="19"/>
                      <a:pt x="27" y="18"/>
                    </a:cubicBezTo>
                    <a:cubicBezTo>
                      <a:pt x="27" y="17"/>
                      <a:pt x="25" y="10"/>
                      <a:pt x="23" y="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91" name="Freeform 1709"/>
              <p:cNvSpPr>
                <a:spLocks/>
              </p:cNvSpPr>
              <p:nvPr/>
            </p:nvSpPr>
            <p:spPr bwMode="auto">
              <a:xfrm>
                <a:off x="20967701" y="2519363"/>
                <a:ext cx="101600" cy="176213"/>
              </a:xfrm>
              <a:custGeom>
                <a:avLst/>
                <a:gdLst>
                  <a:gd name="T0" fmla="*/ 23 w 27"/>
                  <a:gd name="T1" fmla="*/ 5 h 47"/>
                  <a:gd name="T2" fmla="*/ 17 w 27"/>
                  <a:gd name="T3" fmla="*/ 0 h 47"/>
                  <a:gd name="T4" fmla="*/ 10 w 27"/>
                  <a:gd name="T5" fmla="*/ 0 h 47"/>
                  <a:gd name="T6" fmla="*/ 4 w 27"/>
                  <a:gd name="T7" fmla="*/ 5 h 47"/>
                  <a:gd name="T8" fmla="*/ 0 w 27"/>
                  <a:gd name="T9" fmla="*/ 19 h 47"/>
                  <a:gd name="T10" fmla="*/ 2 w 27"/>
                  <a:gd name="T11" fmla="*/ 21 h 47"/>
                  <a:gd name="T12" fmla="*/ 4 w 27"/>
                  <a:gd name="T13" fmla="*/ 20 h 47"/>
                  <a:gd name="T14" fmla="*/ 8 w 27"/>
                  <a:gd name="T15" fmla="*/ 7 h 47"/>
                  <a:gd name="T16" fmla="*/ 9 w 27"/>
                  <a:gd name="T17" fmla="*/ 7 h 47"/>
                  <a:gd name="T18" fmla="*/ 2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9 w 27"/>
                  <a:gd name="T37" fmla="*/ 45 h 47"/>
                  <a:gd name="T38" fmla="*/ 19 w 27"/>
                  <a:gd name="T39" fmla="*/ 28 h 47"/>
                  <a:gd name="T40" fmla="*/ 25 w 27"/>
                  <a:gd name="T41" fmla="*/ 28 h 47"/>
                  <a:gd name="T42" fmla="*/ 18 w 27"/>
                  <a:gd name="T43" fmla="*/ 7 h 47"/>
                  <a:gd name="T44" fmla="*/ 20 w 27"/>
                  <a:gd name="T45" fmla="*/ 7 h 47"/>
                  <a:gd name="T46" fmla="*/ 23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7" y="0"/>
                      <a:pt x="5" y="3"/>
                      <a:pt x="4"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20" y="7"/>
                      <a:pt x="20" y="7"/>
                      <a:pt x="20" y="7"/>
                    </a:cubicBezTo>
                    <a:cubicBezTo>
                      <a:pt x="20" y="7"/>
                      <a:pt x="23" y="18"/>
                      <a:pt x="23" y="20"/>
                    </a:cubicBezTo>
                    <a:cubicBezTo>
                      <a:pt x="24" y="21"/>
                      <a:pt x="25" y="21"/>
                      <a:pt x="26" y="21"/>
                    </a:cubicBezTo>
                    <a:cubicBezTo>
                      <a:pt x="27" y="21"/>
                      <a:pt x="27" y="20"/>
                      <a:pt x="27" y="19"/>
                    </a:cubicBezTo>
                    <a:cubicBezTo>
                      <a:pt x="27" y="18"/>
                      <a:pt x="25" y="11"/>
                      <a:pt x="23" y="5"/>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92" name="Oval 1710"/>
              <p:cNvSpPr>
                <a:spLocks noChangeArrowheads="1"/>
              </p:cNvSpPr>
              <p:nvPr/>
            </p:nvSpPr>
            <p:spPr bwMode="auto">
              <a:xfrm>
                <a:off x="21624926" y="2947988"/>
                <a:ext cx="38100"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93" name="Oval 1711"/>
              <p:cNvSpPr>
                <a:spLocks noChangeArrowheads="1"/>
              </p:cNvSpPr>
              <p:nvPr/>
            </p:nvSpPr>
            <p:spPr bwMode="auto">
              <a:xfrm>
                <a:off x="21001038" y="2714626"/>
                <a:ext cx="34925"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94" name="Oval 1712"/>
              <p:cNvSpPr>
                <a:spLocks noChangeArrowheads="1"/>
              </p:cNvSpPr>
              <p:nvPr/>
            </p:nvSpPr>
            <p:spPr bwMode="auto">
              <a:xfrm>
                <a:off x="20896263" y="2481263"/>
                <a:ext cx="38100"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95" name="Oval 1713"/>
              <p:cNvSpPr>
                <a:spLocks noChangeArrowheads="1"/>
              </p:cNvSpPr>
              <p:nvPr/>
            </p:nvSpPr>
            <p:spPr bwMode="auto">
              <a:xfrm>
                <a:off x="21001038" y="2481263"/>
                <a:ext cx="34925"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96" name="Freeform 1714"/>
              <p:cNvSpPr>
                <a:spLocks/>
              </p:cNvSpPr>
              <p:nvPr/>
            </p:nvSpPr>
            <p:spPr bwMode="auto">
              <a:xfrm>
                <a:off x="20874038" y="2519363"/>
                <a:ext cx="82550" cy="176213"/>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8 w 22"/>
                  <a:gd name="T13" fmla="*/ 47 h 47"/>
                  <a:gd name="T14" fmla="*/ 10 w 22"/>
                  <a:gd name="T15" fmla="*/ 44 h 47"/>
                  <a:gd name="T16" fmla="*/ 10 w 22"/>
                  <a:gd name="T17" fmla="*/ 23 h 47"/>
                  <a:gd name="T18" fmla="*/ 11 w 22"/>
                  <a:gd name="T19" fmla="*/ 23 h 47"/>
                  <a:gd name="T20" fmla="*/ 11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6 h 47"/>
                  <a:gd name="T38" fmla="*/ 16 w 22"/>
                  <a:gd name="T39" fmla="*/ 0 h 47"/>
                  <a:gd name="T40" fmla="*/ 6 w 22"/>
                  <a:gd name="T41" fmla="*/ 0 h 47"/>
                  <a:gd name="T42" fmla="*/ 0 w 22"/>
                  <a:gd name="T43" fmla="*/ 6 h 47"/>
                  <a:gd name="T44" fmla="*/ 0 w 22"/>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21"/>
                    </a:moveTo>
                    <a:cubicBezTo>
                      <a:pt x="0" y="22"/>
                      <a:pt x="0"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19" y="0"/>
                      <a:pt x="16" y="0"/>
                    </a:cubicBezTo>
                    <a:cubicBezTo>
                      <a:pt x="14" y="0"/>
                      <a:pt x="7" y="0"/>
                      <a:pt x="6" y="0"/>
                    </a:cubicBezTo>
                    <a:cubicBezTo>
                      <a:pt x="2" y="0"/>
                      <a:pt x="0" y="3"/>
                      <a:pt x="0" y="6"/>
                    </a:cubicBezTo>
                    <a:cubicBezTo>
                      <a:pt x="0" y="8"/>
                      <a:pt x="0" y="20"/>
                      <a:pt x="0" y="21"/>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97" name="Freeform 1715"/>
              <p:cNvSpPr>
                <a:spLocks/>
              </p:cNvSpPr>
              <p:nvPr/>
            </p:nvSpPr>
            <p:spPr bwMode="auto">
              <a:xfrm>
                <a:off x="20975638" y="2755901"/>
                <a:ext cx="85725" cy="173038"/>
              </a:xfrm>
              <a:custGeom>
                <a:avLst/>
                <a:gdLst>
                  <a:gd name="T0" fmla="*/ 17 w 23"/>
                  <a:gd name="T1" fmla="*/ 0 h 46"/>
                  <a:gd name="T2" fmla="*/ 6 w 23"/>
                  <a:gd name="T3" fmla="*/ 0 h 46"/>
                  <a:gd name="T4" fmla="*/ 0 w 23"/>
                  <a:gd name="T5" fmla="*/ 6 h 46"/>
                  <a:gd name="T6" fmla="*/ 0 w 23"/>
                  <a:gd name="T7" fmla="*/ 20 h 46"/>
                  <a:gd name="T8" fmla="*/ 2 w 23"/>
                  <a:gd name="T9" fmla="*/ 22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8 w 23"/>
                  <a:gd name="T31" fmla="*/ 44 h 46"/>
                  <a:gd name="T32" fmla="*/ 18 w 23"/>
                  <a:gd name="T33" fmla="*/ 7 h 46"/>
                  <a:gd name="T34" fmla="*/ 19 w 23"/>
                  <a:gd name="T35" fmla="*/ 7 h 46"/>
                  <a:gd name="T36" fmla="*/ 19 w 23"/>
                  <a:gd name="T37" fmla="*/ 20 h 46"/>
                  <a:gd name="T38" fmla="*/ 21 w 23"/>
                  <a:gd name="T39" fmla="*/ 22 h 46"/>
                  <a:gd name="T40" fmla="*/ 23 w 23"/>
                  <a:gd name="T41" fmla="*/ 20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7"/>
                      <a:pt x="0" y="19"/>
                      <a:pt x="0" y="20"/>
                    </a:cubicBezTo>
                    <a:cubicBezTo>
                      <a:pt x="0" y="22"/>
                      <a:pt x="1" y="22"/>
                      <a:pt x="2" y="22"/>
                    </a:cubicBezTo>
                    <a:cubicBezTo>
                      <a:pt x="4" y="22"/>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2"/>
                      <a:pt x="21" y="22"/>
                    </a:cubicBezTo>
                    <a:cubicBezTo>
                      <a:pt x="22" y="22"/>
                      <a:pt x="23" y="22"/>
                      <a:pt x="23" y="20"/>
                    </a:cubicBezTo>
                    <a:cubicBezTo>
                      <a:pt x="23" y="19"/>
                      <a:pt x="23" y="7"/>
                      <a:pt x="23" y="6"/>
                    </a:cubicBezTo>
                    <a:cubicBezTo>
                      <a:pt x="23" y="2"/>
                      <a:pt x="20" y="0"/>
                      <a:pt x="17"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98" name="Freeform 1716"/>
              <p:cNvSpPr>
                <a:spLocks/>
              </p:cNvSpPr>
              <p:nvPr/>
            </p:nvSpPr>
            <p:spPr bwMode="auto">
              <a:xfrm>
                <a:off x="21234401" y="2989263"/>
                <a:ext cx="30163" cy="30163"/>
              </a:xfrm>
              <a:custGeom>
                <a:avLst/>
                <a:gdLst>
                  <a:gd name="T0" fmla="*/ 2 w 8"/>
                  <a:gd name="T1" fmla="*/ 0 h 8"/>
                  <a:gd name="T2" fmla="*/ 0 w 8"/>
                  <a:gd name="T3" fmla="*/ 0 h 8"/>
                  <a:gd name="T4" fmla="*/ 8 w 8"/>
                  <a:gd name="T5" fmla="*/ 8 h 8"/>
                  <a:gd name="T6" fmla="*/ 7 w 8"/>
                  <a:gd name="T7" fmla="*/ 4 h 8"/>
                  <a:gd name="T8" fmla="*/ 2 w 8"/>
                  <a:gd name="T9" fmla="*/ 0 h 8"/>
                </a:gdLst>
                <a:ahLst/>
                <a:cxnLst>
                  <a:cxn ang="0">
                    <a:pos x="T0" y="T1"/>
                  </a:cxn>
                  <a:cxn ang="0">
                    <a:pos x="T2" y="T3"/>
                  </a:cxn>
                  <a:cxn ang="0">
                    <a:pos x="T4" y="T5"/>
                  </a:cxn>
                  <a:cxn ang="0">
                    <a:pos x="T6" y="T7"/>
                  </a:cxn>
                  <a:cxn ang="0">
                    <a:pos x="T8" y="T9"/>
                  </a:cxn>
                </a:cxnLst>
                <a:rect l="0" t="0" r="r" b="b"/>
                <a:pathLst>
                  <a:path w="8" h="8">
                    <a:moveTo>
                      <a:pt x="2" y="0"/>
                    </a:moveTo>
                    <a:cubicBezTo>
                      <a:pt x="2" y="0"/>
                      <a:pt x="1" y="0"/>
                      <a:pt x="0" y="0"/>
                    </a:cubicBezTo>
                    <a:cubicBezTo>
                      <a:pt x="3" y="2"/>
                      <a:pt x="6" y="5"/>
                      <a:pt x="8" y="8"/>
                    </a:cubicBezTo>
                    <a:cubicBezTo>
                      <a:pt x="8" y="7"/>
                      <a:pt x="8" y="5"/>
                      <a:pt x="7" y="4"/>
                    </a:cubicBezTo>
                    <a:cubicBezTo>
                      <a:pt x="6" y="2"/>
                      <a:pt x="4" y="0"/>
                      <a:pt x="2"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599" name="Freeform 1717"/>
              <p:cNvSpPr>
                <a:spLocks/>
              </p:cNvSpPr>
              <p:nvPr/>
            </p:nvSpPr>
            <p:spPr bwMode="auto">
              <a:xfrm>
                <a:off x="21591588" y="2519363"/>
                <a:ext cx="101600" cy="176213"/>
              </a:xfrm>
              <a:custGeom>
                <a:avLst/>
                <a:gdLst>
                  <a:gd name="T0" fmla="*/ 27 w 27"/>
                  <a:gd name="T1" fmla="*/ 19 h 47"/>
                  <a:gd name="T2" fmla="*/ 23 w 27"/>
                  <a:gd name="T3" fmla="*/ 5 h 47"/>
                  <a:gd name="T4" fmla="*/ 17 w 27"/>
                  <a:gd name="T5" fmla="*/ 0 h 47"/>
                  <a:gd name="T6" fmla="*/ 10 w 27"/>
                  <a:gd name="T7" fmla="*/ 0 h 47"/>
                  <a:gd name="T8" fmla="*/ 5 w 27"/>
                  <a:gd name="T9" fmla="*/ 5 h 47"/>
                  <a:gd name="T10" fmla="*/ 0 w 27"/>
                  <a:gd name="T11" fmla="*/ 19 h 47"/>
                  <a:gd name="T12" fmla="*/ 2 w 27"/>
                  <a:gd name="T13" fmla="*/ 21 h 47"/>
                  <a:gd name="T14" fmla="*/ 4 w 27"/>
                  <a:gd name="T15" fmla="*/ 20 h 47"/>
                  <a:gd name="T16" fmla="*/ 8 w 27"/>
                  <a:gd name="T17" fmla="*/ 7 h 47"/>
                  <a:gd name="T18" fmla="*/ 9 w 27"/>
                  <a:gd name="T19" fmla="*/ 7 h 47"/>
                  <a:gd name="T20" fmla="*/ 3 w 27"/>
                  <a:gd name="T21" fmla="*/ 28 h 47"/>
                  <a:gd name="T22" fmla="*/ 9 w 27"/>
                  <a:gd name="T23" fmla="*/ 28 h 47"/>
                  <a:gd name="T24" fmla="*/ 9 w 27"/>
                  <a:gd name="T25" fmla="*/ 45 h 47"/>
                  <a:gd name="T26" fmla="*/ 11 w 27"/>
                  <a:gd name="T27" fmla="*/ 47 h 47"/>
                  <a:gd name="T28" fmla="*/ 13 w 27"/>
                  <a:gd name="T29" fmla="*/ 45 h 47"/>
                  <a:gd name="T30" fmla="*/ 13 w 27"/>
                  <a:gd name="T31" fmla="*/ 28 h 47"/>
                  <a:gd name="T32" fmla="*/ 14 w 27"/>
                  <a:gd name="T33" fmla="*/ 28 h 47"/>
                  <a:gd name="T34" fmla="*/ 14 w 27"/>
                  <a:gd name="T35" fmla="*/ 45 h 47"/>
                  <a:gd name="T36" fmla="*/ 16 w 27"/>
                  <a:gd name="T37" fmla="*/ 47 h 47"/>
                  <a:gd name="T38" fmla="*/ 19 w 27"/>
                  <a:gd name="T39" fmla="*/ 45 h 47"/>
                  <a:gd name="T40" fmla="*/ 19 w 27"/>
                  <a:gd name="T41" fmla="*/ 28 h 47"/>
                  <a:gd name="T42" fmla="*/ 25 w 27"/>
                  <a:gd name="T43" fmla="*/ 28 h 47"/>
                  <a:gd name="T44" fmla="*/ 19 w 27"/>
                  <a:gd name="T45" fmla="*/ 7 h 47"/>
                  <a:gd name="T46" fmla="*/ 20 w 27"/>
                  <a:gd name="T47" fmla="*/ 7 h 47"/>
                  <a:gd name="T48" fmla="*/ 23 w 27"/>
                  <a:gd name="T49" fmla="*/ 20 h 47"/>
                  <a:gd name="T50" fmla="*/ 26 w 27"/>
                  <a:gd name="T51" fmla="*/ 21 h 47"/>
                  <a:gd name="T52" fmla="*/ 27 w 27"/>
                  <a:gd name="T53"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7" y="19"/>
                    </a:moveTo>
                    <a:cubicBezTo>
                      <a:pt x="27" y="18"/>
                      <a:pt x="25" y="11"/>
                      <a:pt x="23" y="5"/>
                    </a:cubicBezTo>
                    <a:cubicBezTo>
                      <a:pt x="22" y="3"/>
                      <a:pt x="20" y="0"/>
                      <a:pt x="17" y="0"/>
                    </a:cubicBezTo>
                    <a:cubicBezTo>
                      <a:pt x="16" y="0"/>
                      <a:pt x="11" y="0"/>
                      <a:pt x="10" y="0"/>
                    </a:cubicBezTo>
                    <a:cubicBezTo>
                      <a:pt x="8" y="0"/>
                      <a:pt x="5" y="3"/>
                      <a:pt x="5" y="5"/>
                    </a:cubicBezTo>
                    <a:cubicBezTo>
                      <a:pt x="3" y="11"/>
                      <a:pt x="1" y="18"/>
                      <a:pt x="0" y="19"/>
                    </a:cubicBezTo>
                    <a:cubicBezTo>
                      <a:pt x="0" y="20"/>
                      <a:pt x="1" y="21"/>
                      <a:pt x="2" y="21"/>
                    </a:cubicBezTo>
                    <a:cubicBezTo>
                      <a:pt x="3" y="21"/>
                      <a:pt x="4" y="21"/>
                      <a:pt x="4" y="20"/>
                    </a:cubicBezTo>
                    <a:cubicBezTo>
                      <a:pt x="4"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3" y="20"/>
                    </a:cubicBezTo>
                    <a:cubicBezTo>
                      <a:pt x="24" y="21"/>
                      <a:pt x="25" y="21"/>
                      <a:pt x="26" y="21"/>
                    </a:cubicBezTo>
                    <a:cubicBezTo>
                      <a:pt x="27" y="21"/>
                      <a:pt x="27" y="20"/>
                      <a:pt x="27" y="1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00" name="Freeform 1718"/>
              <p:cNvSpPr>
                <a:spLocks/>
              </p:cNvSpPr>
              <p:nvPr/>
            </p:nvSpPr>
            <p:spPr bwMode="auto">
              <a:xfrm>
                <a:off x="21591588" y="2989263"/>
                <a:ext cx="101600" cy="173038"/>
              </a:xfrm>
              <a:custGeom>
                <a:avLst/>
                <a:gdLst>
                  <a:gd name="T0" fmla="*/ 4 w 27"/>
                  <a:gd name="T1" fmla="*/ 19 h 46"/>
                  <a:gd name="T2" fmla="*/ 8 w 27"/>
                  <a:gd name="T3" fmla="*/ 6 h 46"/>
                  <a:gd name="T4" fmla="*/ 9 w 27"/>
                  <a:gd name="T5" fmla="*/ 6 h 46"/>
                  <a:gd name="T6" fmla="*/ 3 w 27"/>
                  <a:gd name="T7" fmla="*/ 28 h 46"/>
                  <a:gd name="T8" fmla="*/ 9 w 27"/>
                  <a:gd name="T9" fmla="*/ 28 h 46"/>
                  <a:gd name="T10" fmla="*/ 9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6 w 27"/>
                  <a:gd name="T23" fmla="*/ 46 h 46"/>
                  <a:gd name="T24" fmla="*/ 19 w 27"/>
                  <a:gd name="T25" fmla="*/ 44 h 46"/>
                  <a:gd name="T26" fmla="*/ 19 w 27"/>
                  <a:gd name="T27" fmla="*/ 28 h 46"/>
                  <a:gd name="T28" fmla="*/ 25 w 27"/>
                  <a:gd name="T29" fmla="*/ 28 h 46"/>
                  <a:gd name="T30" fmla="*/ 19 w 27"/>
                  <a:gd name="T31" fmla="*/ 6 h 46"/>
                  <a:gd name="T32" fmla="*/ 20 w 27"/>
                  <a:gd name="T33" fmla="*/ 6 h 46"/>
                  <a:gd name="T34" fmla="*/ 23 w 27"/>
                  <a:gd name="T35" fmla="*/ 19 h 46"/>
                  <a:gd name="T36" fmla="*/ 26 w 27"/>
                  <a:gd name="T37" fmla="*/ 20 h 46"/>
                  <a:gd name="T38" fmla="*/ 27 w 27"/>
                  <a:gd name="T39" fmla="*/ 18 h 46"/>
                  <a:gd name="T40" fmla="*/ 23 w 27"/>
                  <a:gd name="T41" fmla="*/ 4 h 46"/>
                  <a:gd name="T42" fmla="*/ 17 w 27"/>
                  <a:gd name="T43" fmla="*/ 0 h 46"/>
                  <a:gd name="T44" fmla="*/ 10 w 27"/>
                  <a:gd name="T45" fmla="*/ 0 h 46"/>
                  <a:gd name="T46" fmla="*/ 5 w 27"/>
                  <a:gd name="T47" fmla="*/ 4 h 46"/>
                  <a:gd name="T48" fmla="*/ 0 w 27"/>
                  <a:gd name="T49" fmla="*/ 18 h 46"/>
                  <a:gd name="T50" fmla="*/ 2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5"/>
                      <a:pt x="10"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6" y="46"/>
                    </a:cubicBezTo>
                    <a:cubicBezTo>
                      <a:pt x="18" y="46"/>
                      <a:pt x="19" y="45"/>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ubicBezTo>
                      <a:pt x="22" y="2"/>
                      <a:pt x="20" y="0"/>
                      <a:pt x="17"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01" name="Oval 1719"/>
              <p:cNvSpPr>
                <a:spLocks noChangeArrowheads="1"/>
              </p:cNvSpPr>
              <p:nvPr/>
            </p:nvSpPr>
            <p:spPr bwMode="auto">
              <a:xfrm>
                <a:off x="21520151" y="2947988"/>
                <a:ext cx="38100"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02" name="Oval 1720"/>
              <p:cNvSpPr>
                <a:spLocks noChangeArrowheads="1"/>
              </p:cNvSpPr>
              <p:nvPr/>
            </p:nvSpPr>
            <p:spPr bwMode="auto">
              <a:xfrm>
                <a:off x="21418551" y="2714626"/>
                <a:ext cx="33338"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03" name="Freeform 1721"/>
              <p:cNvSpPr>
                <a:spLocks/>
              </p:cNvSpPr>
              <p:nvPr/>
            </p:nvSpPr>
            <p:spPr bwMode="auto">
              <a:xfrm>
                <a:off x="21497926" y="2989263"/>
                <a:ext cx="82550" cy="173038"/>
              </a:xfrm>
              <a:custGeom>
                <a:avLst/>
                <a:gdLst>
                  <a:gd name="T0" fmla="*/ 4 w 22"/>
                  <a:gd name="T1" fmla="*/ 20 h 46"/>
                  <a:gd name="T2" fmla="*/ 4 w 22"/>
                  <a:gd name="T3" fmla="*/ 7 h 46"/>
                  <a:gd name="T4" fmla="*/ 5 w 22"/>
                  <a:gd name="T5" fmla="*/ 7 h 46"/>
                  <a:gd name="T6" fmla="*/ 5 w 22"/>
                  <a:gd name="T7" fmla="*/ 44 h 46"/>
                  <a:gd name="T8" fmla="*/ 8 w 22"/>
                  <a:gd name="T9" fmla="*/ 46 h 46"/>
                  <a:gd name="T10" fmla="*/ 10 w 22"/>
                  <a:gd name="T11" fmla="*/ 44 h 46"/>
                  <a:gd name="T12" fmla="*/ 10 w 22"/>
                  <a:gd name="T13" fmla="*/ 22 h 46"/>
                  <a:gd name="T14" fmla="*/ 12 w 22"/>
                  <a:gd name="T15" fmla="*/ 22 h 46"/>
                  <a:gd name="T16" fmla="*/ 12 w 22"/>
                  <a:gd name="T17" fmla="*/ 44 h 46"/>
                  <a:gd name="T18" fmla="*/ 14 w 22"/>
                  <a:gd name="T19" fmla="*/ 46 h 46"/>
                  <a:gd name="T20" fmla="*/ 17 w 22"/>
                  <a:gd name="T21" fmla="*/ 44 h 46"/>
                  <a:gd name="T22" fmla="*/ 17 w 22"/>
                  <a:gd name="T23" fmla="*/ 7 h 46"/>
                  <a:gd name="T24" fmla="*/ 18 w 22"/>
                  <a:gd name="T25" fmla="*/ 7 h 46"/>
                  <a:gd name="T26" fmla="*/ 18 w 22"/>
                  <a:gd name="T27" fmla="*/ 20 h 46"/>
                  <a:gd name="T28" fmla="*/ 20 w 22"/>
                  <a:gd name="T29" fmla="*/ 22 h 46"/>
                  <a:gd name="T30" fmla="*/ 22 w 22"/>
                  <a:gd name="T31" fmla="*/ 20 h 46"/>
                  <a:gd name="T32" fmla="*/ 22 w 22"/>
                  <a:gd name="T33" fmla="*/ 6 h 46"/>
                  <a:gd name="T34" fmla="*/ 16 w 22"/>
                  <a:gd name="T35" fmla="*/ 0 h 46"/>
                  <a:gd name="T36" fmla="*/ 6 w 22"/>
                  <a:gd name="T37" fmla="*/ 0 h 46"/>
                  <a:gd name="T38" fmla="*/ 0 w 22"/>
                  <a:gd name="T39" fmla="*/ 6 h 46"/>
                  <a:gd name="T40" fmla="*/ 0 w 22"/>
                  <a:gd name="T41" fmla="*/ 20 h 46"/>
                  <a:gd name="T42" fmla="*/ 2 w 22"/>
                  <a:gd name="T43" fmla="*/ 22 h 46"/>
                  <a:gd name="T44" fmla="*/ 4 w 22"/>
                  <a:gd name="T45" fmla="*/ 2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4" y="20"/>
                    </a:move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2"/>
                      <a:pt x="10" y="22"/>
                    </a:cubicBezTo>
                    <a:cubicBezTo>
                      <a:pt x="10" y="22"/>
                      <a:pt x="10" y="22"/>
                      <a:pt x="12" y="22"/>
                    </a:cubicBezTo>
                    <a:cubicBezTo>
                      <a:pt x="12" y="22"/>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1"/>
                      <a:pt x="19" y="22"/>
                      <a:pt x="20" y="22"/>
                    </a:cubicBezTo>
                    <a:cubicBezTo>
                      <a:pt x="21" y="22"/>
                      <a:pt x="22" y="21"/>
                      <a:pt x="22" y="20"/>
                    </a:cubicBezTo>
                    <a:cubicBezTo>
                      <a:pt x="22" y="19"/>
                      <a:pt x="22" y="7"/>
                      <a:pt x="22" y="6"/>
                    </a:cubicBezTo>
                    <a:cubicBezTo>
                      <a:pt x="22" y="2"/>
                      <a:pt x="20" y="0"/>
                      <a:pt x="16" y="0"/>
                    </a:cubicBezTo>
                    <a:cubicBezTo>
                      <a:pt x="15" y="0"/>
                      <a:pt x="7" y="0"/>
                      <a:pt x="6" y="0"/>
                    </a:cubicBezTo>
                    <a:cubicBezTo>
                      <a:pt x="2" y="0"/>
                      <a:pt x="0" y="2"/>
                      <a:pt x="0" y="6"/>
                    </a:cubicBezTo>
                    <a:cubicBezTo>
                      <a:pt x="0" y="7"/>
                      <a:pt x="0" y="19"/>
                      <a:pt x="0" y="20"/>
                    </a:cubicBezTo>
                    <a:cubicBezTo>
                      <a:pt x="0" y="21"/>
                      <a:pt x="1" y="22"/>
                      <a:pt x="2" y="22"/>
                    </a:cubicBezTo>
                    <a:cubicBezTo>
                      <a:pt x="3" y="22"/>
                      <a:pt x="4" y="21"/>
                      <a:pt x="4" y="2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04" name="Freeform 1722"/>
              <p:cNvSpPr>
                <a:spLocks/>
              </p:cNvSpPr>
              <p:nvPr/>
            </p:nvSpPr>
            <p:spPr bwMode="auto">
              <a:xfrm>
                <a:off x="21385213" y="2989263"/>
                <a:ext cx="101600" cy="173038"/>
              </a:xfrm>
              <a:custGeom>
                <a:avLst/>
                <a:gdLst>
                  <a:gd name="T0" fmla="*/ 4 w 27"/>
                  <a:gd name="T1" fmla="*/ 19 h 46"/>
                  <a:gd name="T2" fmla="*/ 7 w 27"/>
                  <a:gd name="T3" fmla="*/ 6 h 46"/>
                  <a:gd name="T4" fmla="*/ 9 w 27"/>
                  <a:gd name="T5" fmla="*/ 6 h 46"/>
                  <a:gd name="T6" fmla="*/ 2 w 27"/>
                  <a:gd name="T7" fmla="*/ 28 h 46"/>
                  <a:gd name="T8" fmla="*/ 8 w 27"/>
                  <a:gd name="T9" fmla="*/ 28 h 46"/>
                  <a:gd name="T10" fmla="*/ 8 w 27"/>
                  <a:gd name="T11" fmla="*/ 44 h 46"/>
                  <a:gd name="T12" fmla="*/ 11 w 27"/>
                  <a:gd name="T13" fmla="*/ 46 h 46"/>
                  <a:gd name="T14" fmla="*/ 13 w 27"/>
                  <a:gd name="T15" fmla="*/ 44 h 46"/>
                  <a:gd name="T16" fmla="*/ 13 w 27"/>
                  <a:gd name="T17" fmla="*/ 28 h 46"/>
                  <a:gd name="T18" fmla="*/ 14 w 27"/>
                  <a:gd name="T19" fmla="*/ 28 h 46"/>
                  <a:gd name="T20" fmla="*/ 14 w 27"/>
                  <a:gd name="T21" fmla="*/ 44 h 46"/>
                  <a:gd name="T22" fmla="*/ 16 w 27"/>
                  <a:gd name="T23" fmla="*/ 46 h 46"/>
                  <a:gd name="T24" fmla="*/ 18 w 27"/>
                  <a:gd name="T25" fmla="*/ 44 h 46"/>
                  <a:gd name="T26" fmla="*/ 18 w 27"/>
                  <a:gd name="T27" fmla="*/ 28 h 46"/>
                  <a:gd name="T28" fmla="*/ 25 w 27"/>
                  <a:gd name="T29" fmla="*/ 28 h 46"/>
                  <a:gd name="T30" fmla="*/ 18 w 27"/>
                  <a:gd name="T31" fmla="*/ 6 h 46"/>
                  <a:gd name="T32" fmla="*/ 19 w 27"/>
                  <a:gd name="T33" fmla="*/ 6 h 46"/>
                  <a:gd name="T34" fmla="*/ 23 w 27"/>
                  <a:gd name="T35" fmla="*/ 19 h 46"/>
                  <a:gd name="T36" fmla="*/ 25 w 27"/>
                  <a:gd name="T37" fmla="*/ 20 h 46"/>
                  <a:gd name="T38" fmla="*/ 27 w 27"/>
                  <a:gd name="T39" fmla="*/ 18 h 46"/>
                  <a:gd name="T40" fmla="*/ 22 w 27"/>
                  <a:gd name="T41" fmla="*/ 4 h 46"/>
                  <a:gd name="T42" fmla="*/ 17 w 27"/>
                  <a:gd name="T43" fmla="*/ 0 h 46"/>
                  <a:gd name="T44" fmla="*/ 10 w 27"/>
                  <a:gd name="T45" fmla="*/ 0 h 46"/>
                  <a:gd name="T46" fmla="*/ 4 w 27"/>
                  <a:gd name="T47" fmla="*/ 4 h 46"/>
                  <a:gd name="T48" fmla="*/ 0 w 27"/>
                  <a:gd name="T49" fmla="*/ 18 h 46"/>
                  <a:gd name="T50" fmla="*/ 1 w 27"/>
                  <a:gd name="T51" fmla="*/ 20 h 46"/>
                  <a:gd name="T52" fmla="*/ 4 w 27"/>
                  <a:gd name="T53"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4" y="19"/>
                    </a:moveTo>
                    <a:cubicBezTo>
                      <a:pt x="4" y="18"/>
                      <a:pt x="7" y="6"/>
                      <a:pt x="7" y="6"/>
                    </a:cubicBezTo>
                    <a:cubicBezTo>
                      <a:pt x="9" y="6"/>
                      <a:pt x="9" y="6"/>
                      <a:pt x="9" y="6"/>
                    </a:cubicBezTo>
                    <a:cubicBezTo>
                      <a:pt x="2" y="28"/>
                      <a:pt x="2" y="28"/>
                      <a:pt x="2" y="28"/>
                    </a:cubicBezTo>
                    <a:cubicBezTo>
                      <a:pt x="8" y="28"/>
                      <a:pt x="8" y="28"/>
                      <a:pt x="8" y="28"/>
                    </a:cubicBezTo>
                    <a:cubicBezTo>
                      <a:pt x="8" y="35"/>
                      <a:pt x="8" y="43"/>
                      <a:pt x="8" y="44"/>
                    </a:cubicBezTo>
                    <a:cubicBezTo>
                      <a:pt x="8" y="45"/>
                      <a:pt x="9" y="46"/>
                      <a:pt x="11" y="46"/>
                    </a:cubicBezTo>
                    <a:cubicBezTo>
                      <a:pt x="12" y="46"/>
                      <a:pt x="13" y="45"/>
                      <a:pt x="13" y="44"/>
                    </a:cubicBezTo>
                    <a:cubicBezTo>
                      <a:pt x="13" y="42"/>
                      <a:pt x="13" y="28"/>
                      <a:pt x="13" y="28"/>
                    </a:cubicBezTo>
                    <a:cubicBezTo>
                      <a:pt x="14" y="28"/>
                      <a:pt x="14" y="28"/>
                      <a:pt x="14" y="28"/>
                    </a:cubicBezTo>
                    <a:cubicBezTo>
                      <a:pt x="14" y="28"/>
                      <a:pt x="14" y="42"/>
                      <a:pt x="14" y="44"/>
                    </a:cubicBezTo>
                    <a:cubicBezTo>
                      <a:pt x="14" y="45"/>
                      <a:pt x="15" y="46"/>
                      <a:pt x="16" y="46"/>
                    </a:cubicBezTo>
                    <a:cubicBezTo>
                      <a:pt x="17" y="46"/>
                      <a:pt x="18" y="45"/>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2" y="4"/>
                    </a:cubicBezTo>
                    <a:cubicBezTo>
                      <a:pt x="22" y="2"/>
                      <a:pt x="20"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05" name="Oval 1723"/>
              <p:cNvSpPr>
                <a:spLocks noChangeArrowheads="1"/>
              </p:cNvSpPr>
              <p:nvPr/>
            </p:nvSpPr>
            <p:spPr bwMode="auto">
              <a:xfrm>
                <a:off x="21520151" y="2714626"/>
                <a:ext cx="38100"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06" name="Freeform 1724"/>
              <p:cNvSpPr>
                <a:spLocks/>
              </p:cNvSpPr>
              <p:nvPr/>
            </p:nvSpPr>
            <p:spPr bwMode="auto">
              <a:xfrm>
                <a:off x="21489988" y="2755901"/>
                <a:ext cx="101600" cy="176213"/>
              </a:xfrm>
              <a:custGeom>
                <a:avLst/>
                <a:gdLst>
                  <a:gd name="T0" fmla="*/ 22 w 27"/>
                  <a:gd name="T1" fmla="*/ 4 h 47"/>
                  <a:gd name="T2" fmla="*/ 17 w 27"/>
                  <a:gd name="T3" fmla="*/ 0 h 47"/>
                  <a:gd name="T4" fmla="*/ 9 w 27"/>
                  <a:gd name="T5" fmla="*/ 0 h 47"/>
                  <a:gd name="T6" fmla="*/ 4 w 27"/>
                  <a:gd name="T7" fmla="*/ 4 h 47"/>
                  <a:gd name="T8" fmla="*/ 0 w 27"/>
                  <a:gd name="T9" fmla="*/ 18 h 47"/>
                  <a:gd name="T10" fmla="*/ 1 w 27"/>
                  <a:gd name="T11" fmla="*/ 20 h 47"/>
                  <a:gd name="T12" fmla="*/ 3 w 27"/>
                  <a:gd name="T13" fmla="*/ 19 h 47"/>
                  <a:gd name="T14" fmla="*/ 7 w 27"/>
                  <a:gd name="T15" fmla="*/ 6 h 47"/>
                  <a:gd name="T16" fmla="*/ 8 w 27"/>
                  <a:gd name="T17" fmla="*/ 6 h 47"/>
                  <a:gd name="T18" fmla="*/ 2 w 27"/>
                  <a:gd name="T19" fmla="*/ 28 h 47"/>
                  <a:gd name="T20" fmla="*/ 8 w 27"/>
                  <a:gd name="T21" fmla="*/ 28 h 47"/>
                  <a:gd name="T22" fmla="*/ 8 w 27"/>
                  <a:gd name="T23" fmla="*/ 44 h 47"/>
                  <a:gd name="T24" fmla="*/ 10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4 w 27"/>
                  <a:gd name="T41" fmla="*/ 28 h 47"/>
                  <a:gd name="T42" fmla="*/ 18 w 27"/>
                  <a:gd name="T43" fmla="*/ 6 h 47"/>
                  <a:gd name="T44" fmla="*/ 19 w 27"/>
                  <a:gd name="T45" fmla="*/ 6 h 47"/>
                  <a:gd name="T46" fmla="*/ 23 w 27"/>
                  <a:gd name="T47" fmla="*/ 19 h 47"/>
                  <a:gd name="T48" fmla="*/ 25 w 27"/>
                  <a:gd name="T49" fmla="*/ 20 h 47"/>
                  <a:gd name="T50" fmla="*/ 26 w 27"/>
                  <a:gd name="T51" fmla="*/ 18 h 47"/>
                  <a:gd name="T52" fmla="*/ 22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4"/>
                    </a:moveTo>
                    <a:cubicBezTo>
                      <a:pt x="22" y="2"/>
                      <a:pt x="19" y="0"/>
                      <a:pt x="17" y="0"/>
                    </a:cubicBezTo>
                    <a:cubicBezTo>
                      <a:pt x="16" y="0"/>
                      <a:pt x="10" y="0"/>
                      <a:pt x="9" y="0"/>
                    </a:cubicBezTo>
                    <a:cubicBezTo>
                      <a:pt x="7" y="0"/>
                      <a:pt x="5" y="2"/>
                      <a:pt x="4" y="4"/>
                    </a:cubicBezTo>
                    <a:cubicBezTo>
                      <a:pt x="2" y="10"/>
                      <a:pt x="0" y="17"/>
                      <a:pt x="0" y="18"/>
                    </a:cubicBezTo>
                    <a:cubicBezTo>
                      <a:pt x="0" y="19"/>
                      <a:pt x="0" y="20"/>
                      <a:pt x="1" y="20"/>
                    </a:cubicBezTo>
                    <a:cubicBezTo>
                      <a:pt x="2" y="21"/>
                      <a:pt x="3" y="20"/>
                      <a:pt x="3" y="19"/>
                    </a:cubicBezTo>
                    <a:cubicBezTo>
                      <a:pt x="4" y="18"/>
                      <a:pt x="7" y="6"/>
                      <a:pt x="7" y="6"/>
                    </a:cubicBezTo>
                    <a:cubicBezTo>
                      <a:pt x="8" y="6"/>
                      <a:pt x="8" y="6"/>
                      <a:pt x="8" y="6"/>
                    </a:cubicBezTo>
                    <a:cubicBezTo>
                      <a:pt x="2" y="28"/>
                      <a:pt x="2" y="28"/>
                      <a:pt x="2" y="28"/>
                    </a:cubicBezTo>
                    <a:cubicBezTo>
                      <a:pt x="8" y="28"/>
                      <a:pt x="8" y="28"/>
                      <a:pt x="8" y="28"/>
                    </a:cubicBezTo>
                    <a:cubicBezTo>
                      <a:pt x="8" y="35"/>
                      <a:pt x="8" y="43"/>
                      <a:pt x="8" y="44"/>
                    </a:cubicBezTo>
                    <a:cubicBezTo>
                      <a:pt x="8" y="46"/>
                      <a:pt x="9" y="47"/>
                      <a:pt x="10"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4" y="28"/>
                      <a:pt x="24" y="28"/>
                      <a:pt x="24" y="28"/>
                    </a:cubicBezTo>
                    <a:cubicBezTo>
                      <a:pt x="18" y="6"/>
                      <a:pt x="18" y="6"/>
                      <a:pt x="18" y="6"/>
                    </a:cubicBezTo>
                    <a:cubicBezTo>
                      <a:pt x="19" y="6"/>
                      <a:pt x="19" y="6"/>
                      <a:pt x="19" y="6"/>
                    </a:cubicBezTo>
                    <a:cubicBezTo>
                      <a:pt x="19" y="6"/>
                      <a:pt x="22" y="18"/>
                      <a:pt x="23" y="19"/>
                    </a:cubicBezTo>
                    <a:cubicBezTo>
                      <a:pt x="23" y="20"/>
                      <a:pt x="24" y="21"/>
                      <a:pt x="25" y="20"/>
                    </a:cubicBezTo>
                    <a:cubicBezTo>
                      <a:pt x="26" y="20"/>
                      <a:pt x="27" y="19"/>
                      <a:pt x="26" y="18"/>
                    </a:cubicBezTo>
                    <a:cubicBezTo>
                      <a:pt x="26" y="17"/>
                      <a:pt x="24" y="10"/>
                      <a:pt x="22" y="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07" name="Freeform 1725"/>
              <p:cNvSpPr>
                <a:spLocks/>
              </p:cNvSpPr>
              <p:nvPr/>
            </p:nvSpPr>
            <p:spPr bwMode="auto">
              <a:xfrm>
                <a:off x="21497926" y="2519363"/>
                <a:ext cx="82550" cy="176213"/>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8 w 22"/>
                  <a:gd name="T13" fmla="*/ 47 h 47"/>
                  <a:gd name="T14" fmla="*/ 10 w 22"/>
                  <a:gd name="T15" fmla="*/ 44 h 47"/>
                  <a:gd name="T16" fmla="*/ 10 w 22"/>
                  <a:gd name="T17" fmla="*/ 23 h 47"/>
                  <a:gd name="T18" fmla="*/ 12 w 22"/>
                  <a:gd name="T19" fmla="*/ 23 h 47"/>
                  <a:gd name="T20" fmla="*/ 12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6 h 47"/>
                  <a:gd name="T38" fmla="*/ 16 w 22"/>
                  <a:gd name="T39" fmla="*/ 0 h 47"/>
                  <a:gd name="T40" fmla="*/ 6 w 22"/>
                  <a:gd name="T41" fmla="*/ 0 h 47"/>
                  <a:gd name="T42" fmla="*/ 0 w 22"/>
                  <a:gd name="T43" fmla="*/ 6 h 47"/>
                  <a:gd name="T44" fmla="*/ 0 w 22"/>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0" y="46"/>
                      <a:pt x="10" y="44"/>
                    </a:cubicBezTo>
                    <a:cubicBezTo>
                      <a:pt x="10" y="42"/>
                      <a:pt x="10" y="23"/>
                      <a:pt x="10" y="23"/>
                    </a:cubicBezTo>
                    <a:cubicBezTo>
                      <a:pt x="10" y="23"/>
                      <a:pt x="10"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20" y="0"/>
                      <a:pt x="16" y="0"/>
                    </a:cubicBezTo>
                    <a:cubicBezTo>
                      <a:pt x="15" y="0"/>
                      <a:pt x="7" y="0"/>
                      <a:pt x="6" y="0"/>
                    </a:cubicBezTo>
                    <a:cubicBezTo>
                      <a:pt x="2" y="0"/>
                      <a:pt x="0" y="3"/>
                      <a:pt x="0" y="6"/>
                    </a:cubicBezTo>
                    <a:cubicBezTo>
                      <a:pt x="0" y="8"/>
                      <a:pt x="0" y="20"/>
                      <a:pt x="0" y="21"/>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08" name="Freeform 1726"/>
              <p:cNvSpPr>
                <a:spLocks/>
              </p:cNvSpPr>
              <p:nvPr/>
            </p:nvSpPr>
            <p:spPr bwMode="auto">
              <a:xfrm>
                <a:off x="21286788" y="2989263"/>
                <a:ext cx="87313" cy="173038"/>
              </a:xfrm>
              <a:custGeom>
                <a:avLst/>
                <a:gdLst>
                  <a:gd name="T0" fmla="*/ 11 w 23"/>
                  <a:gd name="T1" fmla="*/ 44 h 46"/>
                  <a:gd name="T2" fmla="*/ 11 w 23"/>
                  <a:gd name="T3" fmla="*/ 22 h 46"/>
                  <a:gd name="T4" fmla="*/ 12 w 23"/>
                  <a:gd name="T5" fmla="*/ 22 h 46"/>
                  <a:gd name="T6" fmla="*/ 12 w 23"/>
                  <a:gd name="T7" fmla="*/ 44 h 46"/>
                  <a:gd name="T8" fmla="*/ 15 w 23"/>
                  <a:gd name="T9" fmla="*/ 46 h 46"/>
                  <a:gd name="T10" fmla="*/ 18 w 23"/>
                  <a:gd name="T11" fmla="*/ 44 h 46"/>
                  <a:gd name="T12" fmla="*/ 18 w 23"/>
                  <a:gd name="T13" fmla="*/ 7 h 46"/>
                  <a:gd name="T14" fmla="*/ 19 w 23"/>
                  <a:gd name="T15" fmla="*/ 7 h 46"/>
                  <a:gd name="T16" fmla="*/ 19 w 23"/>
                  <a:gd name="T17" fmla="*/ 20 h 46"/>
                  <a:gd name="T18" fmla="*/ 21 w 23"/>
                  <a:gd name="T19" fmla="*/ 22 h 46"/>
                  <a:gd name="T20" fmla="*/ 23 w 23"/>
                  <a:gd name="T21" fmla="*/ 20 h 46"/>
                  <a:gd name="T22" fmla="*/ 23 w 23"/>
                  <a:gd name="T23" fmla="*/ 6 h 46"/>
                  <a:gd name="T24" fmla="*/ 17 w 23"/>
                  <a:gd name="T25" fmla="*/ 0 h 46"/>
                  <a:gd name="T26" fmla="*/ 6 w 23"/>
                  <a:gd name="T27" fmla="*/ 0 h 46"/>
                  <a:gd name="T28" fmla="*/ 0 w 23"/>
                  <a:gd name="T29" fmla="*/ 6 h 46"/>
                  <a:gd name="T30" fmla="*/ 0 w 23"/>
                  <a:gd name="T31" fmla="*/ 18 h 46"/>
                  <a:gd name="T32" fmla="*/ 2 w 23"/>
                  <a:gd name="T33" fmla="*/ 22 h 46"/>
                  <a:gd name="T34" fmla="*/ 2 w 23"/>
                  <a:gd name="T35" fmla="*/ 22 h 46"/>
                  <a:gd name="T36" fmla="*/ 4 w 23"/>
                  <a:gd name="T37" fmla="*/ 20 h 46"/>
                  <a:gd name="T38" fmla="*/ 4 w 23"/>
                  <a:gd name="T39" fmla="*/ 7 h 46"/>
                  <a:gd name="T40" fmla="*/ 6 w 23"/>
                  <a:gd name="T41" fmla="*/ 7 h 46"/>
                  <a:gd name="T42" fmla="*/ 6 w 23"/>
                  <a:gd name="T43" fmla="*/ 35 h 46"/>
                  <a:gd name="T44" fmla="*/ 7 w 23"/>
                  <a:gd name="T45" fmla="*/ 46 h 46"/>
                  <a:gd name="T46" fmla="*/ 8 w 23"/>
                  <a:gd name="T47" fmla="*/ 46 h 46"/>
                  <a:gd name="T48" fmla="*/ 11 w 23"/>
                  <a:gd name="T49" fmla="*/ 4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 h="46">
                    <a:moveTo>
                      <a:pt x="11" y="44"/>
                    </a:moveTo>
                    <a:cubicBezTo>
                      <a:pt x="11" y="41"/>
                      <a:pt x="11" y="22"/>
                      <a:pt x="11" y="22"/>
                    </a:cubicBezTo>
                    <a:cubicBezTo>
                      <a:pt x="11" y="22"/>
                      <a:pt x="11" y="22"/>
                      <a:pt x="12" y="22"/>
                    </a:cubicBezTo>
                    <a:cubicBezTo>
                      <a:pt x="12" y="22"/>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1"/>
                      <a:pt x="20" y="22"/>
                      <a:pt x="21" y="22"/>
                    </a:cubicBezTo>
                    <a:cubicBezTo>
                      <a:pt x="22" y="22"/>
                      <a:pt x="23" y="21"/>
                      <a:pt x="23" y="20"/>
                    </a:cubicBezTo>
                    <a:cubicBezTo>
                      <a:pt x="23" y="19"/>
                      <a:pt x="23" y="7"/>
                      <a:pt x="23" y="6"/>
                    </a:cubicBezTo>
                    <a:cubicBezTo>
                      <a:pt x="23" y="2"/>
                      <a:pt x="20" y="0"/>
                      <a:pt x="17" y="0"/>
                    </a:cubicBezTo>
                    <a:cubicBezTo>
                      <a:pt x="15" y="0"/>
                      <a:pt x="8" y="0"/>
                      <a:pt x="6" y="0"/>
                    </a:cubicBezTo>
                    <a:cubicBezTo>
                      <a:pt x="3" y="0"/>
                      <a:pt x="0" y="2"/>
                      <a:pt x="0" y="6"/>
                    </a:cubicBezTo>
                    <a:cubicBezTo>
                      <a:pt x="0" y="7"/>
                      <a:pt x="0" y="15"/>
                      <a:pt x="0" y="18"/>
                    </a:cubicBezTo>
                    <a:cubicBezTo>
                      <a:pt x="1" y="20"/>
                      <a:pt x="1" y="21"/>
                      <a:pt x="2" y="22"/>
                    </a:cubicBezTo>
                    <a:cubicBezTo>
                      <a:pt x="2" y="22"/>
                      <a:pt x="2" y="22"/>
                      <a:pt x="2" y="22"/>
                    </a:cubicBezTo>
                    <a:cubicBezTo>
                      <a:pt x="4" y="22"/>
                      <a:pt x="4" y="21"/>
                      <a:pt x="4" y="20"/>
                    </a:cubicBezTo>
                    <a:cubicBezTo>
                      <a:pt x="4" y="19"/>
                      <a:pt x="4" y="7"/>
                      <a:pt x="4" y="7"/>
                    </a:cubicBezTo>
                    <a:cubicBezTo>
                      <a:pt x="4" y="7"/>
                      <a:pt x="4" y="7"/>
                      <a:pt x="6" y="7"/>
                    </a:cubicBezTo>
                    <a:cubicBezTo>
                      <a:pt x="6" y="7"/>
                      <a:pt x="6" y="24"/>
                      <a:pt x="6" y="35"/>
                    </a:cubicBezTo>
                    <a:cubicBezTo>
                      <a:pt x="6" y="39"/>
                      <a:pt x="7" y="42"/>
                      <a:pt x="7" y="46"/>
                    </a:cubicBezTo>
                    <a:cubicBezTo>
                      <a:pt x="7" y="46"/>
                      <a:pt x="8" y="46"/>
                      <a:pt x="8" y="46"/>
                    </a:cubicBezTo>
                    <a:cubicBezTo>
                      <a:pt x="10" y="46"/>
                      <a:pt x="11" y="45"/>
                      <a:pt x="11" y="4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09" name="Oval 1727"/>
              <p:cNvSpPr>
                <a:spLocks noChangeArrowheads="1"/>
              </p:cNvSpPr>
              <p:nvPr/>
            </p:nvSpPr>
            <p:spPr bwMode="auto">
              <a:xfrm>
                <a:off x="21418551" y="2947988"/>
                <a:ext cx="33338"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10" name="Oval 1728"/>
              <p:cNvSpPr>
                <a:spLocks noChangeArrowheads="1"/>
              </p:cNvSpPr>
              <p:nvPr/>
            </p:nvSpPr>
            <p:spPr bwMode="auto">
              <a:xfrm>
                <a:off x="21313776" y="2714626"/>
                <a:ext cx="33338"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11" name="Oval 1729"/>
              <p:cNvSpPr>
                <a:spLocks noChangeArrowheads="1"/>
              </p:cNvSpPr>
              <p:nvPr/>
            </p:nvSpPr>
            <p:spPr bwMode="auto">
              <a:xfrm>
                <a:off x="21313776" y="2947988"/>
                <a:ext cx="33338"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12" name="Oval 1730"/>
              <p:cNvSpPr>
                <a:spLocks noChangeArrowheads="1"/>
              </p:cNvSpPr>
              <p:nvPr/>
            </p:nvSpPr>
            <p:spPr bwMode="auto">
              <a:xfrm>
                <a:off x="21107401" y="2714626"/>
                <a:ext cx="33338"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13" name="Freeform 1731"/>
              <p:cNvSpPr>
                <a:spLocks/>
              </p:cNvSpPr>
              <p:nvPr/>
            </p:nvSpPr>
            <p:spPr bwMode="auto">
              <a:xfrm>
                <a:off x="21278851" y="2755901"/>
                <a:ext cx="101600" cy="176213"/>
              </a:xfrm>
              <a:custGeom>
                <a:avLst/>
                <a:gdLst>
                  <a:gd name="T0" fmla="*/ 23 w 27"/>
                  <a:gd name="T1" fmla="*/ 4 h 47"/>
                  <a:gd name="T2" fmla="*/ 18 w 27"/>
                  <a:gd name="T3" fmla="*/ 0 h 47"/>
                  <a:gd name="T4" fmla="*/ 10 w 27"/>
                  <a:gd name="T5" fmla="*/ 0 h 47"/>
                  <a:gd name="T6" fmla="*/ 5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7 w 27"/>
                  <a:gd name="T35" fmla="*/ 47 h 47"/>
                  <a:gd name="T36" fmla="*/ 19 w 27"/>
                  <a:gd name="T37" fmla="*/ 44 h 47"/>
                  <a:gd name="T38" fmla="*/ 19 w 27"/>
                  <a:gd name="T39" fmla="*/ 28 h 47"/>
                  <a:gd name="T40" fmla="*/ 25 w 27"/>
                  <a:gd name="T41" fmla="*/ 28 h 47"/>
                  <a:gd name="T42" fmla="*/ 18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6" y="0"/>
                      <a:pt x="11" y="0"/>
                      <a:pt x="10" y="0"/>
                    </a:cubicBezTo>
                    <a:cubicBezTo>
                      <a:pt x="8" y="0"/>
                      <a:pt x="5" y="2"/>
                      <a:pt x="5"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7" y="47"/>
                    </a:cubicBezTo>
                    <a:cubicBezTo>
                      <a:pt x="18" y="47"/>
                      <a:pt x="19" y="46"/>
                      <a:pt x="19" y="44"/>
                    </a:cubicBezTo>
                    <a:cubicBezTo>
                      <a:pt x="19" y="43"/>
                      <a:pt x="19" y="35"/>
                      <a:pt x="19" y="28"/>
                    </a:cubicBezTo>
                    <a:cubicBezTo>
                      <a:pt x="25" y="28"/>
                      <a:pt x="25" y="28"/>
                      <a:pt x="25" y="28"/>
                    </a:cubicBezTo>
                    <a:cubicBezTo>
                      <a:pt x="18" y="6"/>
                      <a:pt x="18" y="6"/>
                      <a:pt x="18"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14" name="Freeform 1732"/>
              <p:cNvSpPr>
                <a:spLocks/>
              </p:cNvSpPr>
              <p:nvPr/>
            </p:nvSpPr>
            <p:spPr bwMode="auto">
              <a:xfrm>
                <a:off x="21286788" y="2519363"/>
                <a:ext cx="87313" cy="176213"/>
              </a:xfrm>
              <a:custGeom>
                <a:avLst/>
                <a:gdLst>
                  <a:gd name="T0" fmla="*/ 0 w 23"/>
                  <a:gd name="T1" fmla="*/ 21 h 47"/>
                  <a:gd name="T2" fmla="*/ 2 w 23"/>
                  <a:gd name="T3" fmla="*/ 23 h 47"/>
                  <a:gd name="T4" fmla="*/ 4 w 23"/>
                  <a:gd name="T5" fmla="*/ 21 h 47"/>
                  <a:gd name="T6" fmla="*/ 4 w 23"/>
                  <a:gd name="T7" fmla="*/ 8 h 47"/>
                  <a:gd name="T8" fmla="*/ 6 w 23"/>
                  <a:gd name="T9" fmla="*/ 8 h 47"/>
                  <a:gd name="T10" fmla="*/ 6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8 w 23"/>
                  <a:gd name="T25" fmla="*/ 44 h 47"/>
                  <a:gd name="T26" fmla="*/ 18 w 23"/>
                  <a:gd name="T27" fmla="*/ 8 h 47"/>
                  <a:gd name="T28" fmla="*/ 19 w 23"/>
                  <a:gd name="T29" fmla="*/ 8 h 47"/>
                  <a:gd name="T30" fmla="*/ 19 w 23"/>
                  <a:gd name="T31" fmla="*/ 21 h 47"/>
                  <a:gd name="T32" fmla="*/ 21 w 23"/>
                  <a:gd name="T33" fmla="*/ 23 h 47"/>
                  <a:gd name="T34" fmla="*/ 23 w 23"/>
                  <a:gd name="T35" fmla="*/ 21 h 47"/>
                  <a:gd name="T36" fmla="*/ 23 w 23"/>
                  <a:gd name="T37" fmla="*/ 6 h 47"/>
                  <a:gd name="T38" fmla="*/ 17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4"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15" name="Oval 1733"/>
              <p:cNvSpPr>
                <a:spLocks noChangeArrowheads="1"/>
              </p:cNvSpPr>
              <p:nvPr/>
            </p:nvSpPr>
            <p:spPr bwMode="auto">
              <a:xfrm>
                <a:off x="21207413" y="2481263"/>
                <a:ext cx="38100"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16" name="Oval 1734"/>
              <p:cNvSpPr>
                <a:spLocks noChangeArrowheads="1"/>
              </p:cNvSpPr>
              <p:nvPr/>
            </p:nvSpPr>
            <p:spPr bwMode="auto">
              <a:xfrm>
                <a:off x="21313776" y="2481263"/>
                <a:ext cx="33338"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17" name="Oval 1735"/>
              <p:cNvSpPr>
                <a:spLocks noChangeArrowheads="1"/>
              </p:cNvSpPr>
              <p:nvPr/>
            </p:nvSpPr>
            <p:spPr bwMode="auto">
              <a:xfrm>
                <a:off x="21520151" y="2481263"/>
                <a:ext cx="38100"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18" name="Freeform 1736"/>
              <p:cNvSpPr>
                <a:spLocks/>
              </p:cNvSpPr>
              <p:nvPr/>
            </p:nvSpPr>
            <p:spPr bwMode="auto">
              <a:xfrm>
                <a:off x="21185188" y="2755901"/>
                <a:ext cx="82550" cy="173038"/>
              </a:xfrm>
              <a:custGeom>
                <a:avLst/>
                <a:gdLst>
                  <a:gd name="T0" fmla="*/ 16 w 22"/>
                  <a:gd name="T1" fmla="*/ 0 h 46"/>
                  <a:gd name="T2" fmla="*/ 6 w 22"/>
                  <a:gd name="T3" fmla="*/ 0 h 46"/>
                  <a:gd name="T4" fmla="*/ 0 w 22"/>
                  <a:gd name="T5" fmla="*/ 6 h 46"/>
                  <a:gd name="T6" fmla="*/ 0 w 22"/>
                  <a:gd name="T7" fmla="*/ 20 h 46"/>
                  <a:gd name="T8" fmla="*/ 2 w 22"/>
                  <a:gd name="T9" fmla="*/ 22 h 46"/>
                  <a:gd name="T10" fmla="*/ 4 w 22"/>
                  <a:gd name="T11" fmla="*/ 20 h 46"/>
                  <a:gd name="T12" fmla="*/ 4 w 22"/>
                  <a:gd name="T13" fmla="*/ 7 h 46"/>
                  <a:gd name="T14" fmla="*/ 5 w 22"/>
                  <a:gd name="T15" fmla="*/ 7 h 46"/>
                  <a:gd name="T16" fmla="*/ 5 w 22"/>
                  <a:gd name="T17" fmla="*/ 44 h 46"/>
                  <a:gd name="T18" fmla="*/ 8 w 22"/>
                  <a:gd name="T19" fmla="*/ 46 h 46"/>
                  <a:gd name="T20" fmla="*/ 10 w 22"/>
                  <a:gd name="T21" fmla="*/ 44 h 46"/>
                  <a:gd name="T22" fmla="*/ 10 w 22"/>
                  <a:gd name="T23" fmla="*/ 23 h 46"/>
                  <a:gd name="T24" fmla="*/ 12 w 22"/>
                  <a:gd name="T25" fmla="*/ 23 h 46"/>
                  <a:gd name="T26" fmla="*/ 12 w 22"/>
                  <a:gd name="T27" fmla="*/ 44 h 46"/>
                  <a:gd name="T28" fmla="*/ 14 w 22"/>
                  <a:gd name="T29" fmla="*/ 46 h 46"/>
                  <a:gd name="T30" fmla="*/ 17 w 22"/>
                  <a:gd name="T31" fmla="*/ 44 h 46"/>
                  <a:gd name="T32" fmla="*/ 17 w 22"/>
                  <a:gd name="T33" fmla="*/ 7 h 46"/>
                  <a:gd name="T34" fmla="*/ 18 w 22"/>
                  <a:gd name="T35" fmla="*/ 7 h 46"/>
                  <a:gd name="T36" fmla="*/ 18 w 22"/>
                  <a:gd name="T37" fmla="*/ 20 h 46"/>
                  <a:gd name="T38" fmla="*/ 20 w 22"/>
                  <a:gd name="T39" fmla="*/ 22 h 46"/>
                  <a:gd name="T40" fmla="*/ 22 w 22"/>
                  <a:gd name="T41" fmla="*/ 20 h 46"/>
                  <a:gd name="T42" fmla="*/ 22 w 22"/>
                  <a:gd name="T43" fmla="*/ 6 h 46"/>
                  <a:gd name="T44" fmla="*/ 16 w 22"/>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16" y="0"/>
                    </a:moveTo>
                    <a:cubicBezTo>
                      <a:pt x="15" y="0"/>
                      <a:pt x="7" y="0"/>
                      <a:pt x="6" y="0"/>
                    </a:cubicBezTo>
                    <a:cubicBezTo>
                      <a:pt x="2" y="0"/>
                      <a:pt x="0" y="2"/>
                      <a:pt x="0" y="6"/>
                    </a:cubicBezTo>
                    <a:cubicBezTo>
                      <a:pt x="0" y="7"/>
                      <a:pt x="0" y="19"/>
                      <a:pt x="0" y="20"/>
                    </a:cubicBezTo>
                    <a:cubicBezTo>
                      <a:pt x="0" y="22"/>
                      <a:pt x="1" y="22"/>
                      <a:pt x="2" y="22"/>
                    </a:cubicBezTo>
                    <a:cubicBezTo>
                      <a:pt x="3" y="22"/>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2" y="23"/>
                    </a:cubicBezTo>
                    <a:cubicBezTo>
                      <a:pt x="12" y="23"/>
                      <a:pt x="12" y="41"/>
                      <a:pt x="12" y="44"/>
                    </a:cubicBezTo>
                    <a:cubicBezTo>
                      <a:pt x="12"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2"/>
                      <a:pt x="20" y="22"/>
                    </a:cubicBezTo>
                    <a:cubicBezTo>
                      <a:pt x="21" y="22"/>
                      <a:pt x="22" y="22"/>
                      <a:pt x="22" y="20"/>
                    </a:cubicBezTo>
                    <a:cubicBezTo>
                      <a:pt x="22" y="19"/>
                      <a:pt x="22" y="7"/>
                      <a:pt x="22" y="6"/>
                    </a:cubicBezTo>
                    <a:cubicBezTo>
                      <a:pt x="22" y="2"/>
                      <a:pt x="20" y="0"/>
                      <a:pt x="16"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19" name="Freeform 1737"/>
              <p:cNvSpPr>
                <a:spLocks/>
              </p:cNvSpPr>
              <p:nvPr/>
            </p:nvSpPr>
            <p:spPr bwMode="auto">
              <a:xfrm>
                <a:off x="21174076" y="2519363"/>
                <a:ext cx="101600" cy="176213"/>
              </a:xfrm>
              <a:custGeom>
                <a:avLst/>
                <a:gdLst>
                  <a:gd name="T0" fmla="*/ 23 w 27"/>
                  <a:gd name="T1" fmla="*/ 5 h 47"/>
                  <a:gd name="T2" fmla="*/ 18 w 27"/>
                  <a:gd name="T3" fmla="*/ 0 h 47"/>
                  <a:gd name="T4" fmla="*/ 10 w 27"/>
                  <a:gd name="T5" fmla="*/ 0 h 47"/>
                  <a:gd name="T6" fmla="*/ 5 w 27"/>
                  <a:gd name="T7" fmla="*/ 5 h 47"/>
                  <a:gd name="T8" fmla="*/ 1 w 27"/>
                  <a:gd name="T9" fmla="*/ 19 h 47"/>
                  <a:gd name="T10" fmla="*/ 2 w 27"/>
                  <a:gd name="T11" fmla="*/ 21 h 47"/>
                  <a:gd name="T12" fmla="*/ 4 w 27"/>
                  <a:gd name="T13" fmla="*/ 20 h 47"/>
                  <a:gd name="T14" fmla="*/ 8 w 27"/>
                  <a:gd name="T15" fmla="*/ 7 h 47"/>
                  <a:gd name="T16" fmla="*/ 9 w 27"/>
                  <a:gd name="T17" fmla="*/ 7 h 47"/>
                  <a:gd name="T18" fmla="*/ 3 w 27"/>
                  <a:gd name="T19" fmla="*/ 28 h 47"/>
                  <a:gd name="T20" fmla="*/ 9 w 27"/>
                  <a:gd name="T21" fmla="*/ 28 h 47"/>
                  <a:gd name="T22" fmla="*/ 9 w 27"/>
                  <a:gd name="T23" fmla="*/ 45 h 47"/>
                  <a:gd name="T24" fmla="*/ 11 w 27"/>
                  <a:gd name="T25" fmla="*/ 47 h 47"/>
                  <a:gd name="T26" fmla="*/ 14 w 27"/>
                  <a:gd name="T27" fmla="*/ 45 h 47"/>
                  <a:gd name="T28" fmla="*/ 14 w 27"/>
                  <a:gd name="T29" fmla="*/ 28 h 47"/>
                  <a:gd name="T30" fmla="*/ 15 w 27"/>
                  <a:gd name="T31" fmla="*/ 28 h 47"/>
                  <a:gd name="T32" fmla="*/ 15 w 27"/>
                  <a:gd name="T33" fmla="*/ 45 h 47"/>
                  <a:gd name="T34" fmla="*/ 17 w 27"/>
                  <a:gd name="T35" fmla="*/ 47 h 47"/>
                  <a:gd name="T36" fmla="*/ 19 w 27"/>
                  <a:gd name="T37" fmla="*/ 45 h 47"/>
                  <a:gd name="T38" fmla="*/ 19 w 27"/>
                  <a:gd name="T39" fmla="*/ 28 h 47"/>
                  <a:gd name="T40" fmla="*/ 25 w 27"/>
                  <a:gd name="T41" fmla="*/ 28 h 47"/>
                  <a:gd name="T42" fmla="*/ 19 w 27"/>
                  <a:gd name="T43" fmla="*/ 7 h 47"/>
                  <a:gd name="T44" fmla="*/ 20 w 27"/>
                  <a:gd name="T45" fmla="*/ 7 h 47"/>
                  <a:gd name="T46" fmla="*/ 24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4" y="46"/>
                      <a:pt x="14" y="45"/>
                    </a:cubicBezTo>
                    <a:cubicBezTo>
                      <a:pt x="14" y="43"/>
                      <a:pt x="14" y="28"/>
                      <a:pt x="14" y="28"/>
                    </a:cubicBezTo>
                    <a:cubicBezTo>
                      <a:pt x="15" y="28"/>
                      <a:pt x="15" y="28"/>
                      <a:pt x="15" y="28"/>
                    </a:cubicBezTo>
                    <a:cubicBezTo>
                      <a:pt x="15" y="28"/>
                      <a:pt x="15" y="43"/>
                      <a:pt x="15" y="45"/>
                    </a:cubicBezTo>
                    <a:cubicBezTo>
                      <a:pt x="15" y="46"/>
                      <a:pt x="16"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20" name="Oval 1738"/>
              <p:cNvSpPr>
                <a:spLocks noChangeArrowheads="1"/>
              </p:cNvSpPr>
              <p:nvPr/>
            </p:nvSpPr>
            <p:spPr bwMode="auto">
              <a:xfrm>
                <a:off x="21107401" y="2481263"/>
                <a:ext cx="33338"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21" name="Oval 1739"/>
              <p:cNvSpPr>
                <a:spLocks noChangeArrowheads="1"/>
              </p:cNvSpPr>
              <p:nvPr/>
            </p:nvSpPr>
            <p:spPr bwMode="auto">
              <a:xfrm>
                <a:off x="21207413" y="2714626"/>
                <a:ext cx="38100"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22" name="Freeform 1740"/>
              <p:cNvSpPr>
                <a:spLocks/>
              </p:cNvSpPr>
              <p:nvPr/>
            </p:nvSpPr>
            <p:spPr bwMode="auto">
              <a:xfrm>
                <a:off x="21080413" y="2519363"/>
                <a:ext cx="85725" cy="176213"/>
              </a:xfrm>
              <a:custGeom>
                <a:avLst/>
                <a:gdLst>
                  <a:gd name="T0" fmla="*/ 16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7 w 23"/>
                  <a:gd name="T31" fmla="*/ 44 h 47"/>
                  <a:gd name="T32" fmla="*/ 17 w 23"/>
                  <a:gd name="T33" fmla="*/ 8 h 47"/>
                  <a:gd name="T34" fmla="*/ 18 w 23"/>
                  <a:gd name="T35" fmla="*/ 8 h 47"/>
                  <a:gd name="T36" fmla="*/ 18 w 23"/>
                  <a:gd name="T37" fmla="*/ 21 h 47"/>
                  <a:gd name="T38" fmla="*/ 21 w 23"/>
                  <a:gd name="T39" fmla="*/ 23 h 47"/>
                  <a:gd name="T40" fmla="*/ 23 w 23"/>
                  <a:gd name="T41" fmla="*/ 21 h 47"/>
                  <a:gd name="T42" fmla="*/ 23 w 23"/>
                  <a:gd name="T43" fmla="*/ 6 h 47"/>
                  <a:gd name="T44" fmla="*/ 16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6" y="0"/>
                    </a:move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1" y="23"/>
                    </a:cubicBezTo>
                    <a:cubicBezTo>
                      <a:pt x="22" y="23"/>
                      <a:pt x="23" y="22"/>
                      <a:pt x="23" y="21"/>
                    </a:cubicBezTo>
                    <a:cubicBezTo>
                      <a:pt x="23" y="20"/>
                      <a:pt x="23" y="8"/>
                      <a:pt x="23" y="6"/>
                    </a:cubicBezTo>
                    <a:cubicBezTo>
                      <a:pt x="23" y="3"/>
                      <a:pt x="20" y="0"/>
                      <a:pt x="16"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23" name="Freeform 1741"/>
              <p:cNvSpPr>
                <a:spLocks/>
              </p:cNvSpPr>
              <p:nvPr/>
            </p:nvSpPr>
            <p:spPr bwMode="auto">
              <a:xfrm>
                <a:off x="20659726" y="2755901"/>
                <a:ext cx="101600" cy="176213"/>
              </a:xfrm>
              <a:custGeom>
                <a:avLst/>
                <a:gdLst>
                  <a:gd name="T0" fmla="*/ 23 w 27"/>
                  <a:gd name="T1" fmla="*/ 4 h 47"/>
                  <a:gd name="T2" fmla="*/ 18 w 27"/>
                  <a:gd name="T3" fmla="*/ 0 h 47"/>
                  <a:gd name="T4" fmla="*/ 10 w 27"/>
                  <a:gd name="T5" fmla="*/ 0 h 47"/>
                  <a:gd name="T6" fmla="*/ 4 w 27"/>
                  <a:gd name="T7" fmla="*/ 4 h 47"/>
                  <a:gd name="T8" fmla="*/ 0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9 w 27"/>
                  <a:gd name="T37" fmla="*/ 44 h 47"/>
                  <a:gd name="T38" fmla="*/ 19 w 27"/>
                  <a:gd name="T39" fmla="*/ 28 h 47"/>
                  <a:gd name="T40" fmla="*/ 25 w 27"/>
                  <a:gd name="T41" fmla="*/ 28 h 47"/>
                  <a:gd name="T42" fmla="*/ 19 w 27"/>
                  <a:gd name="T43" fmla="*/ 6 h 47"/>
                  <a:gd name="T44" fmla="*/ 20 w 27"/>
                  <a:gd name="T45" fmla="*/ 6 h 47"/>
                  <a:gd name="T46" fmla="*/ 23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6" y="0"/>
                      <a:pt x="11" y="0"/>
                      <a:pt x="10" y="0"/>
                    </a:cubicBezTo>
                    <a:cubicBezTo>
                      <a:pt x="8" y="0"/>
                      <a:pt x="5" y="2"/>
                      <a:pt x="4" y="4"/>
                    </a:cubicBezTo>
                    <a:cubicBezTo>
                      <a:pt x="3" y="10"/>
                      <a:pt x="1" y="17"/>
                      <a:pt x="0" y="18"/>
                    </a:cubicBezTo>
                    <a:cubicBezTo>
                      <a:pt x="0" y="19"/>
                      <a:pt x="1" y="20"/>
                      <a:pt x="2" y="20"/>
                    </a:cubicBezTo>
                    <a:cubicBezTo>
                      <a:pt x="3" y="21"/>
                      <a:pt x="4" y="20"/>
                      <a:pt x="4" y="19"/>
                    </a:cubicBezTo>
                    <a:cubicBezTo>
                      <a:pt x="4"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3" y="19"/>
                    </a:cubicBezTo>
                    <a:cubicBezTo>
                      <a:pt x="24" y="20"/>
                      <a:pt x="25" y="21"/>
                      <a:pt x="26" y="20"/>
                    </a:cubicBezTo>
                    <a:cubicBezTo>
                      <a:pt x="27" y="20"/>
                      <a:pt x="27" y="19"/>
                      <a:pt x="27" y="18"/>
                    </a:cubicBezTo>
                    <a:cubicBezTo>
                      <a:pt x="27" y="17"/>
                      <a:pt x="25" y="10"/>
                      <a:pt x="23" y="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24" name="Oval 1742"/>
              <p:cNvSpPr>
                <a:spLocks noChangeArrowheads="1"/>
              </p:cNvSpPr>
              <p:nvPr/>
            </p:nvSpPr>
            <p:spPr bwMode="auto">
              <a:xfrm>
                <a:off x="20693063" y="2947988"/>
                <a:ext cx="34925"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25" name="Oval 1743"/>
              <p:cNvSpPr>
                <a:spLocks noChangeArrowheads="1"/>
              </p:cNvSpPr>
              <p:nvPr/>
            </p:nvSpPr>
            <p:spPr bwMode="auto">
              <a:xfrm>
                <a:off x="20799426" y="2714626"/>
                <a:ext cx="33338"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26" name="Freeform 1744"/>
              <p:cNvSpPr>
                <a:spLocks/>
              </p:cNvSpPr>
              <p:nvPr/>
            </p:nvSpPr>
            <p:spPr bwMode="auto">
              <a:xfrm>
                <a:off x="20772438" y="2755901"/>
                <a:ext cx="85725" cy="173038"/>
              </a:xfrm>
              <a:custGeom>
                <a:avLst/>
                <a:gdLst>
                  <a:gd name="T0" fmla="*/ 17 w 23"/>
                  <a:gd name="T1" fmla="*/ 0 h 46"/>
                  <a:gd name="T2" fmla="*/ 6 w 23"/>
                  <a:gd name="T3" fmla="*/ 0 h 46"/>
                  <a:gd name="T4" fmla="*/ 0 w 23"/>
                  <a:gd name="T5" fmla="*/ 6 h 46"/>
                  <a:gd name="T6" fmla="*/ 0 w 23"/>
                  <a:gd name="T7" fmla="*/ 20 h 46"/>
                  <a:gd name="T8" fmla="*/ 2 w 23"/>
                  <a:gd name="T9" fmla="*/ 23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7 w 23"/>
                  <a:gd name="T31" fmla="*/ 44 h 46"/>
                  <a:gd name="T32" fmla="*/ 17 w 23"/>
                  <a:gd name="T33" fmla="*/ 7 h 46"/>
                  <a:gd name="T34" fmla="*/ 19 w 23"/>
                  <a:gd name="T35" fmla="*/ 7 h 46"/>
                  <a:gd name="T36" fmla="*/ 19 w 23"/>
                  <a:gd name="T37" fmla="*/ 20 h 46"/>
                  <a:gd name="T38" fmla="*/ 21 w 23"/>
                  <a:gd name="T39" fmla="*/ 23 h 46"/>
                  <a:gd name="T40" fmla="*/ 23 w 23"/>
                  <a:gd name="T41" fmla="*/ 20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9" y="7"/>
                    </a:cubicBezTo>
                    <a:cubicBezTo>
                      <a:pt x="19" y="7"/>
                      <a:pt x="19" y="19"/>
                      <a:pt x="19" y="20"/>
                    </a:cubicBezTo>
                    <a:cubicBezTo>
                      <a:pt x="19" y="22"/>
                      <a:pt x="19" y="23"/>
                      <a:pt x="21" y="23"/>
                    </a:cubicBezTo>
                    <a:cubicBezTo>
                      <a:pt x="22" y="23"/>
                      <a:pt x="23" y="22"/>
                      <a:pt x="23" y="20"/>
                    </a:cubicBezTo>
                    <a:cubicBezTo>
                      <a:pt x="23" y="19"/>
                      <a:pt x="23" y="7"/>
                      <a:pt x="23" y="6"/>
                    </a:cubicBezTo>
                    <a:cubicBezTo>
                      <a:pt x="23" y="2"/>
                      <a:pt x="20" y="0"/>
                      <a:pt x="17"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27" name="Freeform 1745"/>
              <p:cNvSpPr>
                <a:spLocks/>
              </p:cNvSpPr>
              <p:nvPr/>
            </p:nvSpPr>
            <p:spPr bwMode="auto">
              <a:xfrm>
                <a:off x="20764501" y="2519363"/>
                <a:ext cx="101600" cy="176213"/>
              </a:xfrm>
              <a:custGeom>
                <a:avLst/>
                <a:gdLst>
                  <a:gd name="T0" fmla="*/ 23 w 27"/>
                  <a:gd name="T1" fmla="*/ 5 h 47"/>
                  <a:gd name="T2" fmla="*/ 17 w 27"/>
                  <a:gd name="T3" fmla="*/ 0 h 47"/>
                  <a:gd name="T4" fmla="*/ 10 w 27"/>
                  <a:gd name="T5" fmla="*/ 0 h 47"/>
                  <a:gd name="T6" fmla="*/ 4 w 27"/>
                  <a:gd name="T7" fmla="*/ 5 h 47"/>
                  <a:gd name="T8" fmla="*/ 0 w 27"/>
                  <a:gd name="T9" fmla="*/ 19 h 47"/>
                  <a:gd name="T10" fmla="*/ 1 w 27"/>
                  <a:gd name="T11" fmla="*/ 21 h 47"/>
                  <a:gd name="T12" fmla="*/ 4 w 27"/>
                  <a:gd name="T13" fmla="*/ 20 h 47"/>
                  <a:gd name="T14" fmla="*/ 7 w 27"/>
                  <a:gd name="T15" fmla="*/ 7 h 47"/>
                  <a:gd name="T16" fmla="*/ 9 w 27"/>
                  <a:gd name="T17" fmla="*/ 7 h 47"/>
                  <a:gd name="T18" fmla="*/ 2 w 27"/>
                  <a:gd name="T19" fmla="*/ 28 h 47"/>
                  <a:gd name="T20" fmla="*/ 8 w 27"/>
                  <a:gd name="T21" fmla="*/ 28 h 47"/>
                  <a:gd name="T22" fmla="*/ 8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8 w 27"/>
                  <a:gd name="T37" fmla="*/ 45 h 47"/>
                  <a:gd name="T38" fmla="*/ 18 w 27"/>
                  <a:gd name="T39" fmla="*/ 28 h 47"/>
                  <a:gd name="T40" fmla="*/ 25 w 27"/>
                  <a:gd name="T41" fmla="*/ 28 h 47"/>
                  <a:gd name="T42" fmla="*/ 18 w 27"/>
                  <a:gd name="T43" fmla="*/ 7 h 47"/>
                  <a:gd name="T44" fmla="*/ 19 w 27"/>
                  <a:gd name="T45" fmla="*/ 7 h 47"/>
                  <a:gd name="T46" fmla="*/ 23 w 27"/>
                  <a:gd name="T47" fmla="*/ 20 h 47"/>
                  <a:gd name="T48" fmla="*/ 25 w 27"/>
                  <a:gd name="T49" fmla="*/ 21 h 47"/>
                  <a:gd name="T50" fmla="*/ 26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7" y="0"/>
                      <a:pt x="5" y="3"/>
                      <a:pt x="4" y="5"/>
                    </a:cubicBezTo>
                    <a:cubicBezTo>
                      <a:pt x="2" y="11"/>
                      <a:pt x="0" y="18"/>
                      <a:pt x="0" y="19"/>
                    </a:cubicBezTo>
                    <a:cubicBezTo>
                      <a:pt x="0" y="20"/>
                      <a:pt x="0" y="21"/>
                      <a:pt x="1" y="21"/>
                    </a:cubicBezTo>
                    <a:cubicBezTo>
                      <a:pt x="2" y="21"/>
                      <a:pt x="3" y="21"/>
                      <a:pt x="4" y="20"/>
                    </a:cubicBezTo>
                    <a:cubicBezTo>
                      <a:pt x="4" y="18"/>
                      <a:pt x="7" y="7"/>
                      <a:pt x="7" y="7"/>
                    </a:cubicBezTo>
                    <a:cubicBezTo>
                      <a:pt x="9" y="7"/>
                      <a:pt x="9" y="7"/>
                      <a:pt x="9" y="7"/>
                    </a:cubicBezTo>
                    <a:cubicBezTo>
                      <a:pt x="2" y="28"/>
                      <a:pt x="2" y="28"/>
                      <a:pt x="2" y="28"/>
                    </a:cubicBezTo>
                    <a:cubicBezTo>
                      <a:pt x="8" y="28"/>
                      <a:pt x="8" y="28"/>
                      <a:pt x="8" y="28"/>
                    </a:cubicBezTo>
                    <a:cubicBezTo>
                      <a:pt x="8" y="36"/>
                      <a:pt x="8" y="44"/>
                      <a:pt x="8" y="45"/>
                    </a:cubicBezTo>
                    <a:cubicBezTo>
                      <a:pt x="8"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6" y="19"/>
                    </a:cubicBezTo>
                    <a:cubicBezTo>
                      <a:pt x="26" y="18"/>
                      <a:pt x="24" y="11"/>
                      <a:pt x="23" y="5"/>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28" name="Oval 1746"/>
              <p:cNvSpPr>
                <a:spLocks noChangeArrowheads="1"/>
              </p:cNvSpPr>
              <p:nvPr/>
            </p:nvSpPr>
            <p:spPr bwMode="auto">
              <a:xfrm>
                <a:off x="20693063" y="2481263"/>
                <a:ext cx="34925"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29" name="Oval 1747"/>
              <p:cNvSpPr>
                <a:spLocks noChangeArrowheads="1"/>
              </p:cNvSpPr>
              <p:nvPr/>
            </p:nvSpPr>
            <p:spPr bwMode="auto">
              <a:xfrm>
                <a:off x="20799426" y="2947988"/>
                <a:ext cx="33338"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30" name="Oval 1748"/>
              <p:cNvSpPr>
                <a:spLocks noChangeArrowheads="1"/>
              </p:cNvSpPr>
              <p:nvPr/>
            </p:nvSpPr>
            <p:spPr bwMode="auto">
              <a:xfrm>
                <a:off x="20693063" y="2714626"/>
                <a:ext cx="34925"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31" name="Freeform 1749"/>
              <p:cNvSpPr>
                <a:spLocks/>
              </p:cNvSpPr>
              <p:nvPr/>
            </p:nvSpPr>
            <p:spPr bwMode="auto">
              <a:xfrm>
                <a:off x="20667663" y="2519363"/>
                <a:ext cx="85725" cy="176213"/>
              </a:xfrm>
              <a:custGeom>
                <a:avLst/>
                <a:gdLst>
                  <a:gd name="T0" fmla="*/ 0 w 23"/>
                  <a:gd name="T1" fmla="*/ 21 h 47"/>
                  <a:gd name="T2" fmla="*/ 2 w 23"/>
                  <a:gd name="T3" fmla="*/ 23 h 47"/>
                  <a:gd name="T4" fmla="*/ 4 w 23"/>
                  <a:gd name="T5" fmla="*/ 21 h 47"/>
                  <a:gd name="T6" fmla="*/ 4 w 23"/>
                  <a:gd name="T7" fmla="*/ 8 h 47"/>
                  <a:gd name="T8" fmla="*/ 6 w 23"/>
                  <a:gd name="T9" fmla="*/ 8 h 47"/>
                  <a:gd name="T10" fmla="*/ 6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8 w 23"/>
                  <a:gd name="T25" fmla="*/ 44 h 47"/>
                  <a:gd name="T26" fmla="*/ 18 w 23"/>
                  <a:gd name="T27" fmla="*/ 8 h 47"/>
                  <a:gd name="T28" fmla="*/ 19 w 23"/>
                  <a:gd name="T29" fmla="*/ 8 h 47"/>
                  <a:gd name="T30" fmla="*/ 19 w 23"/>
                  <a:gd name="T31" fmla="*/ 21 h 47"/>
                  <a:gd name="T32" fmla="*/ 21 w 23"/>
                  <a:gd name="T33" fmla="*/ 23 h 47"/>
                  <a:gd name="T34" fmla="*/ 23 w 23"/>
                  <a:gd name="T35" fmla="*/ 21 h 47"/>
                  <a:gd name="T36" fmla="*/ 23 w 23"/>
                  <a:gd name="T37" fmla="*/ 6 h 47"/>
                  <a:gd name="T38" fmla="*/ 17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3" y="23"/>
                      <a:pt x="4" y="22"/>
                      <a:pt x="4" y="21"/>
                    </a:cubicBezTo>
                    <a:cubicBezTo>
                      <a:pt x="4" y="20"/>
                      <a:pt x="4" y="8"/>
                      <a:pt x="4" y="8"/>
                    </a:cubicBezTo>
                    <a:cubicBezTo>
                      <a:pt x="4" y="8"/>
                      <a:pt x="4" y="8"/>
                      <a:pt x="6" y="8"/>
                    </a:cubicBezTo>
                    <a:cubicBezTo>
                      <a:pt x="6" y="8"/>
                      <a:pt x="6" y="42"/>
                      <a:pt x="6" y="44"/>
                    </a:cubicBezTo>
                    <a:cubicBezTo>
                      <a:pt x="6"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ubicBezTo>
                      <a:pt x="15" y="0"/>
                      <a:pt x="8" y="0"/>
                      <a:pt x="6" y="0"/>
                    </a:cubicBezTo>
                    <a:cubicBezTo>
                      <a:pt x="3" y="0"/>
                      <a:pt x="0" y="3"/>
                      <a:pt x="0" y="6"/>
                    </a:cubicBezTo>
                    <a:cubicBezTo>
                      <a:pt x="0" y="8"/>
                      <a:pt x="0" y="20"/>
                      <a:pt x="0" y="21"/>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32" name="Freeform 1750"/>
              <p:cNvSpPr>
                <a:spLocks/>
              </p:cNvSpPr>
              <p:nvPr/>
            </p:nvSpPr>
            <p:spPr bwMode="auto">
              <a:xfrm>
                <a:off x="20039013" y="2755901"/>
                <a:ext cx="98425" cy="112713"/>
              </a:xfrm>
              <a:custGeom>
                <a:avLst/>
                <a:gdLst>
                  <a:gd name="T0" fmla="*/ 24 w 26"/>
                  <a:gd name="T1" fmla="*/ 28 h 30"/>
                  <a:gd name="T2" fmla="*/ 17 w 26"/>
                  <a:gd name="T3" fmla="*/ 6 h 30"/>
                  <a:gd name="T4" fmla="*/ 18 w 26"/>
                  <a:gd name="T5" fmla="*/ 6 h 30"/>
                  <a:gd name="T6" fmla="*/ 22 w 26"/>
                  <a:gd name="T7" fmla="*/ 19 h 30"/>
                  <a:gd name="T8" fmla="*/ 25 w 26"/>
                  <a:gd name="T9" fmla="*/ 20 h 30"/>
                  <a:gd name="T10" fmla="*/ 26 w 26"/>
                  <a:gd name="T11" fmla="*/ 18 h 30"/>
                  <a:gd name="T12" fmla="*/ 22 w 26"/>
                  <a:gd name="T13" fmla="*/ 4 h 30"/>
                  <a:gd name="T14" fmla="*/ 16 w 26"/>
                  <a:gd name="T15" fmla="*/ 0 h 30"/>
                  <a:gd name="T16" fmla="*/ 9 w 26"/>
                  <a:gd name="T17" fmla="*/ 0 h 30"/>
                  <a:gd name="T18" fmla="*/ 3 w 26"/>
                  <a:gd name="T19" fmla="*/ 4 h 30"/>
                  <a:gd name="T20" fmla="*/ 0 w 26"/>
                  <a:gd name="T21" fmla="*/ 15 h 30"/>
                  <a:gd name="T22" fmla="*/ 3 w 26"/>
                  <a:gd name="T23" fmla="*/ 18 h 30"/>
                  <a:gd name="T24" fmla="*/ 7 w 26"/>
                  <a:gd name="T25" fmla="*/ 6 h 30"/>
                  <a:gd name="T26" fmla="*/ 8 w 26"/>
                  <a:gd name="T27" fmla="*/ 6 h 30"/>
                  <a:gd name="T28" fmla="*/ 4 w 26"/>
                  <a:gd name="T29" fmla="*/ 19 h 30"/>
                  <a:gd name="T30" fmla="*/ 18 w 26"/>
                  <a:gd name="T31" fmla="*/ 30 h 30"/>
                  <a:gd name="T32" fmla="*/ 18 w 26"/>
                  <a:gd name="T33" fmla="*/ 28 h 30"/>
                  <a:gd name="T34" fmla="*/ 24 w 26"/>
                  <a:gd name="T35"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30">
                    <a:moveTo>
                      <a:pt x="24" y="28"/>
                    </a:moveTo>
                    <a:cubicBezTo>
                      <a:pt x="17" y="6"/>
                      <a:pt x="17" y="6"/>
                      <a:pt x="17" y="6"/>
                    </a:cubicBezTo>
                    <a:cubicBezTo>
                      <a:pt x="18" y="6"/>
                      <a:pt x="18" y="6"/>
                      <a:pt x="18" y="6"/>
                    </a:cubicBezTo>
                    <a:cubicBezTo>
                      <a:pt x="18" y="6"/>
                      <a:pt x="22" y="18"/>
                      <a:pt x="22" y="19"/>
                    </a:cubicBezTo>
                    <a:cubicBezTo>
                      <a:pt x="23" y="20"/>
                      <a:pt x="24" y="21"/>
                      <a:pt x="25" y="20"/>
                    </a:cubicBezTo>
                    <a:cubicBezTo>
                      <a:pt x="26" y="20"/>
                      <a:pt x="26" y="19"/>
                      <a:pt x="26" y="18"/>
                    </a:cubicBezTo>
                    <a:cubicBezTo>
                      <a:pt x="25" y="17"/>
                      <a:pt x="23" y="10"/>
                      <a:pt x="22" y="4"/>
                    </a:cubicBezTo>
                    <a:cubicBezTo>
                      <a:pt x="21" y="2"/>
                      <a:pt x="19" y="0"/>
                      <a:pt x="16" y="0"/>
                    </a:cubicBezTo>
                    <a:cubicBezTo>
                      <a:pt x="15" y="0"/>
                      <a:pt x="10" y="0"/>
                      <a:pt x="9" y="0"/>
                    </a:cubicBezTo>
                    <a:cubicBezTo>
                      <a:pt x="6" y="0"/>
                      <a:pt x="4" y="2"/>
                      <a:pt x="3" y="4"/>
                    </a:cubicBezTo>
                    <a:cubicBezTo>
                      <a:pt x="2" y="8"/>
                      <a:pt x="1" y="12"/>
                      <a:pt x="0" y="15"/>
                    </a:cubicBezTo>
                    <a:cubicBezTo>
                      <a:pt x="1" y="16"/>
                      <a:pt x="2" y="17"/>
                      <a:pt x="3" y="18"/>
                    </a:cubicBezTo>
                    <a:cubicBezTo>
                      <a:pt x="4" y="14"/>
                      <a:pt x="7" y="6"/>
                      <a:pt x="7" y="6"/>
                    </a:cubicBezTo>
                    <a:cubicBezTo>
                      <a:pt x="8" y="6"/>
                      <a:pt x="8" y="6"/>
                      <a:pt x="8" y="6"/>
                    </a:cubicBezTo>
                    <a:cubicBezTo>
                      <a:pt x="6" y="12"/>
                      <a:pt x="5" y="16"/>
                      <a:pt x="4" y="19"/>
                    </a:cubicBezTo>
                    <a:cubicBezTo>
                      <a:pt x="9" y="22"/>
                      <a:pt x="13" y="26"/>
                      <a:pt x="18" y="30"/>
                    </a:cubicBezTo>
                    <a:cubicBezTo>
                      <a:pt x="18" y="29"/>
                      <a:pt x="18" y="29"/>
                      <a:pt x="18" y="28"/>
                    </a:cubicBezTo>
                    <a:cubicBezTo>
                      <a:pt x="24" y="28"/>
                      <a:pt x="24" y="28"/>
                      <a:pt x="24" y="28"/>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33" name="Freeform 1751"/>
              <p:cNvSpPr>
                <a:spLocks/>
              </p:cNvSpPr>
              <p:nvPr/>
            </p:nvSpPr>
            <p:spPr bwMode="auto">
              <a:xfrm>
                <a:off x="20566063" y="2989263"/>
                <a:ext cx="85725" cy="49213"/>
              </a:xfrm>
              <a:custGeom>
                <a:avLst/>
                <a:gdLst>
                  <a:gd name="T0" fmla="*/ 15 w 23"/>
                  <a:gd name="T1" fmla="*/ 0 h 13"/>
                  <a:gd name="T2" fmla="*/ 7 w 23"/>
                  <a:gd name="T3" fmla="*/ 0 h 13"/>
                  <a:gd name="T4" fmla="*/ 2 w 23"/>
                  <a:gd name="T5" fmla="*/ 4 h 13"/>
                  <a:gd name="T6" fmla="*/ 0 w 23"/>
                  <a:gd name="T7" fmla="*/ 11 h 13"/>
                  <a:gd name="T8" fmla="*/ 4 w 23"/>
                  <a:gd name="T9" fmla="*/ 11 h 13"/>
                  <a:gd name="T10" fmla="*/ 5 w 23"/>
                  <a:gd name="T11" fmla="*/ 6 h 13"/>
                  <a:gd name="T12" fmla="*/ 6 w 23"/>
                  <a:gd name="T13" fmla="*/ 6 h 13"/>
                  <a:gd name="T14" fmla="*/ 5 w 23"/>
                  <a:gd name="T15" fmla="*/ 11 h 13"/>
                  <a:gd name="T16" fmla="*/ 18 w 23"/>
                  <a:gd name="T17" fmla="*/ 12 h 13"/>
                  <a:gd name="T18" fmla="*/ 16 w 23"/>
                  <a:gd name="T19" fmla="*/ 6 h 13"/>
                  <a:gd name="T20" fmla="*/ 17 w 23"/>
                  <a:gd name="T21" fmla="*/ 6 h 13"/>
                  <a:gd name="T22" fmla="*/ 19 w 23"/>
                  <a:gd name="T23" fmla="*/ 13 h 13"/>
                  <a:gd name="T24" fmla="*/ 23 w 23"/>
                  <a:gd name="T25" fmla="*/ 13 h 13"/>
                  <a:gd name="T26" fmla="*/ 20 w 23"/>
                  <a:gd name="T27" fmla="*/ 4 h 13"/>
                  <a:gd name="T28" fmla="*/ 15 w 23"/>
                  <a:gd name="T2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13">
                    <a:moveTo>
                      <a:pt x="15" y="0"/>
                    </a:moveTo>
                    <a:cubicBezTo>
                      <a:pt x="14" y="0"/>
                      <a:pt x="8" y="0"/>
                      <a:pt x="7" y="0"/>
                    </a:cubicBezTo>
                    <a:cubicBezTo>
                      <a:pt x="5" y="0"/>
                      <a:pt x="2" y="2"/>
                      <a:pt x="2" y="4"/>
                    </a:cubicBezTo>
                    <a:cubicBezTo>
                      <a:pt x="1" y="6"/>
                      <a:pt x="0" y="9"/>
                      <a:pt x="0" y="11"/>
                    </a:cubicBezTo>
                    <a:cubicBezTo>
                      <a:pt x="1" y="11"/>
                      <a:pt x="2" y="11"/>
                      <a:pt x="4" y="11"/>
                    </a:cubicBezTo>
                    <a:cubicBezTo>
                      <a:pt x="4" y="8"/>
                      <a:pt x="5" y="6"/>
                      <a:pt x="5" y="6"/>
                    </a:cubicBezTo>
                    <a:cubicBezTo>
                      <a:pt x="6" y="6"/>
                      <a:pt x="6" y="6"/>
                      <a:pt x="6" y="6"/>
                    </a:cubicBezTo>
                    <a:cubicBezTo>
                      <a:pt x="6" y="8"/>
                      <a:pt x="5" y="10"/>
                      <a:pt x="5" y="11"/>
                    </a:cubicBezTo>
                    <a:cubicBezTo>
                      <a:pt x="9" y="11"/>
                      <a:pt x="13" y="12"/>
                      <a:pt x="18" y="12"/>
                    </a:cubicBezTo>
                    <a:cubicBezTo>
                      <a:pt x="16" y="6"/>
                      <a:pt x="16" y="6"/>
                      <a:pt x="16" y="6"/>
                    </a:cubicBezTo>
                    <a:cubicBezTo>
                      <a:pt x="17" y="6"/>
                      <a:pt x="17" y="6"/>
                      <a:pt x="17" y="6"/>
                    </a:cubicBezTo>
                    <a:cubicBezTo>
                      <a:pt x="17" y="6"/>
                      <a:pt x="18" y="9"/>
                      <a:pt x="19" y="13"/>
                    </a:cubicBezTo>
                    <a:cubicBezTo>
                      <a:pt x="20" y="13"/>
                      <a:pt x="21" y="13"/>
                      <a:pt x="23" y="13"/>
                    </a:cubicBezTo>
                    <a:cubicBezTo>
                      <a:pt x="22" y="10"/>
                      <a:pt x="21" y="7"/>
                      <a:pt x="20" y="4"/>
                    </a:cubicBezTo>
                    <a:cubicBezTo>
                      <a:pt x="19" y="2"/>
                      <a:pt x="17" y="0"/>
                      <a:pt x="15"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34" name="Oval 1752"/>
              <p:cNvSpPr>
                <a:spLocks noChangeArrowheads="1"/>
              </p:cNvSpPr>
              <p:nvPr/>
            </p:nvSpPr>
            <p:spPr bwMode="auto">
              <a:xfrm>
                <a:off x="20381913" y="2947988"/>
                <a:ext cx="33338"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35" name="Oval 1753"/>
              <p:cNvSpPr>
                <a:spLocks noChangeArrowheads="1"/>
              </p:cNvSpPr>
              <p:nvPr/>
            </p:nvSpPr>
            <p:spPr bwMode="auto">
              <a:xfrm>
                <a:off x="20277138" y="2714626"/>
                <a:ext cx="36513"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36" name="Oval 1754"/>
              <p:cNvSpPr>
                <a:spLocks noChangeArrowheads="1"/>
              </p:cNvSpPr>
              <p:nvPr/>
            </p:nvSpPr>
            <p:spPr bwMode="auto">
              <a:xfrm>
                <a:off x="20277138" y="2481263"/>
                <a:ext cx="36513"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37" name="Freeform 1755"/>
              <p:cNvSpPr>
                <a:spLocks/>
              </p:cNvSpPr>
              <p:nvPr/>
            </p:nvSpPr>
            <p:spPr bwMode="auto">
              <a:xfrm>
                <a:off x="20253326" y="2519363"/>
                <a:ext cx="82550" cy="176213"/>
              </a:xfrm>
              <a:custGeom>
                <a:avLst/>
                <a:gdLst>
                  <a:gd name="T0" fmla="*/ 0 w 22"/>
                  <a:gd name="T1" fmla="*/ 21 h 47"/>
                  <a:gd name="T2" fmla="*/ 2 w 22"/>
                  <a:gd name="T3" fmla="*/ 23 h 47"/>
                  <a:gd name="T4" fmla="*/ 4 w 22"/>
                  <a:gd name="T5" fmla="*/ 21 h 47"/>
                  <a:gd name="T6" fmla="*/ 4 w 22"/>
                  <a:gd name="T7" fmla="*/ 8 h 47"/>
                  <a:gd name="T8" fmla="*/ 5 w 22"/>
                  <a:gd name="T9" fmla="*/ 8 h 47"/>
                  <a:gd name="T10" fmla="*/ 5 w 22"/>
                  <a:gd name="T11" fmla="*/ 44 h 47"/>
                  <a:gd name="T12" fmla="*/ 7 w 22"/>
                  <a:gd name="T13" fmla="*/ 47 h 47"/>
                  <a:gd name="T14" fmla="*/ 10 w 22"/>
                  <a:gd name="T15" fmla="*/ 44 h 47"/>
                  <a:gd name="T16" fmla="*/ 10 w 22"/>
                  <a:gd name="T17" fmla="*/ 23 h 47"/>
                  <a:gd name="T18" fmla="*/ 11 w 22"/>
                  <a:gd name="T19" fmla="*/ 23 h 47"/>
                  <a:gd name="T20" fmla="*/ 11 w 22"/>
                  <a:gd name="T21" fmla="*/ 44 h 47"/>
                  <a:gd name="T22" fmla="*/ 14 w 22"/>
                  <a:gd name="T23" fmla="*/ 47 h 47"/>
                  <a:gd name="T24" fmla="*/ 17 w 22"/>
                  <a:gd name="T25" fmla="*/ 44 h 47"/>
                  <a:gd name="T26" fmla="*/ 17 w 22"/>
                  <a:gd name="T27" fmla="*/ 8 h 47"/>
                  <a:gd name="T28" fmla="*/ 18 w 22"/>
                  <a:gd name="T29" fmla="*/ 8 h 47"/>
                  <a:gd name="T30" fmla="*/ 18 w 22"/>
                  <a:gd name="T31" fmla="*/ 21 h 47"/>
                  <a:gd name="T32" fmla="*/ 20 w 22"/>
                  <a:gd name="T33" fmla="*/ 23 h 47"/>
                  <a:gd name="T34" fmla="*/ 22 w 22"/>
                  <a:gd name="T35" fmla="*/ 21 h 47"/>
                  <a:gd name="T36" fmla="*/ 22 w 22"/>
                  <a:gd name="T37" fmla="*/ 6 h 47"/>
                  <a:gd name="T38" fmla="*/ 16 w 22"/>
                  <a:gd name="T39" fmla="*/ 0 h 47"/>
                  <a:gd name="T40" fmla="*/ 6 w 22"/>
                  <a:gd name="T41" fmla="*/ 0 h 47"/>
                  <a:gd name="T42" fmla="*/ 0 w 22"/>
                  <a:gd name="T43" fmla="*/ 6 h 47"/>
                  <a:gd name="T44" fmla="*/ 0 w 22"/>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7">
                    <a:moveTo>
                      <a:pt x="0" y="21"/>
                    </a:moveTo>
                    <a:cubicBezTo>
                      <a:pt x="0" y="22"/>
                      <a:pt x="0"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7" y="47"/>
                    </a:cubicBezTo>
                    <a:cubicBezTo>
                      <a:pt x="9" y="47"/>
                      <a:pt x="10" y="46"/>
                      <a:pt x="10" y="44"/>
                    </a:cubicBezTo>
                    <a:cubicBezTo>
                      <a:pt x="10" y="42"/>
                      <a:pt x="10" y="23"/>
                      <a:pt x="10" y="23"/>
                    </a:cubicBezTo>
                    <a:cubicBezTo>
                      <a:pt x="10" y="23"/>
                      <a:pt x="10" y="23"/>
                      <a:pt x="11" y="23"/>
                    </a:cubicBezTo>
                    <a:cubicBezTo>
                      <a:pt x="11" y="23"/>
                      <a:pt x="11" y="42"/>
                      <a:pt x="11" y="44"/>
                    </a:cubicBezTo>
                    <a:cubicBezTo>
                      <a:pt x="11"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1" y="23"/>
                      <a:pt x="22" y="22"/>
                      <a:pt x="22" y="21"/>
                    </a:cubicBezTo>
                    <a:cubicBezTo>
                      <a:pt x="22" y="20"/>
                      <a:pt x="22" y="8"/>
                      <a:pt x="22" y="6"/>
                    </a:cubicBezTo>
                    <a:cubicBezTo>
                      <a:pt x="22" y="3"/>
                      <a:pt x="19" y="0"/>
                      <a:pt x="16" y="0"/>
                    </a:cubicBezTo>
                    <a:cubicBezTo>
                      <a:pt x="14" y="0"/>
                      <a:pt x="7" y="0"/>
                      <a:pt x="6" y="0"/>
                    </a:cubicBezTo>
                    <a:cubicBezTo>
                      <a:pt x="2" y="0"/>
                      <a:pt x="0" y="3"/>
                      <a:pt x="0" y="6"/>
                    </a:cubicBezTo>
                    <a:cubicBezTo>
                      <a:pt x="0" y="8"/>
                      <a:pt x="0" y="20"/>
                      <a:pt x="0" y="21"/>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38" name="Freeform 1756"/>
              <p:cNvSpPr>
                <a:spLocks/>
              </p:cNvSpPr>
              <p:nvPr/>
            </p:nvSpPr>
            <p:spPr bwMode="auto">
              <a:xfrm>
                <a:off x="20354926" y="2755901"/>
                <a:ext cx="87313" cy="173038"/>
              </a:xfrm>
              <a:custGeom>
                <a:avLst/>
                <a:gdLst>
                  <a:gd name="T0" fmla="*/ 17 w 23"/>
                  <a:gd name="T1" fmla="*/ 0 h 46"/>
                  <a:gd name="T2" fmla="*/ 6 w 23"/>
                  <a:gd name="T3" fmla="*/ 0 h 46"/>
                  <a:gd name="T4" fmla="*/ 0 w 23"/>
                  <a:gd name="T5" fmla="*/ 6 h 46"/>
                  <a:gd name="T6" fmla="*/ 0 w 23"/>
                  <a:gd name="T7" fmla="*/ 20 h 46"/>
                  <a:gd name="T8" fmla="*/ 2 w 23"/>
                  <a:gd name="T9" fmla="*/ 23 h 46"/>
                  <a:gd name="T10" fmla="*/ 4 w 23"/>
                  <a:gd name="T11" fmla="*/ 20 h 46"/>
                  <a:gd name="T12" fmla="*/ 4 w 23"/>
                  <a:gd name="T13" fmla="*/ 7 h 46"/>
                  <a:gd name="T14" fmla="*/ 5 w 23"/>
                  <a:gd name="T15" fmla="*/ 7 h 46"/>
                  <a:gd name="T16" fmla="*/ 5 w 23"/>
                  <a:gd name="T17" fmla="*/ 44 h 46"/>
                  <a:gd name="T18" fmla="*/ 8 w 23"/>
                  <a:gd name="T19" fmla="*/ 46 h 46"/>
                  <a:gd name="T20" fmla="*/ 11 w 23"/>
                  <a:gd name="T21" fmla="*/ 44 h 46"/>
                  <a:gd name="T22" fmla="*/ 11 w 23"/>
                  <a:gd name="T23" fmla="*/ 23 h 46"/>
                  <a:gd name="T24" fmla="*/ 12 w 23"/>
                  <a:gd name="T25" fmla="*/ 23 h 46"/>
                  <a:gd name="T26" fmla="*/ 12 w 23"/>
                  <a:gd name="T27" fmla="*/ 44 h 46"/>
                  <a:gd name="T28" fmla="*/ 15 w 23"/>
                  <a:gd name="T29" fmla="*/ 46 h 46"/>
                  <a:gd name="T30" fmla="*/ 18 w 23"/>
                  <a:gd name="T31" fmla="*/ 44 h 46"/>
                  <a:gd name="T32" fmla="*/ 18 w 23"/>
                  <a:gd name="T33" fmla="*/ 7 h 46"/>
                  <a:gd name="T34" fmla="*/ 19 w 23"/>
                  <a:gd name="T35" fmla="*/ 7 h 46"/>
                  <a:gd name="T36" fmla="*/ 19 w 23"/>
                  <a:gd name="T37" fmla="*/ 20 h 46"/>
                  <a:gd name="T38" fmla="*/ 21 w 23"/>
                  <a:gd name="T39" fmla="*/ 23 h 46"/>
                  <a:gd name="T40" fmla="*/ 23 w 23"/>
                  <a:gd name="T41" fmla="*/ 20 h 46"/>
                  <a:gd name="T42" fmla="*/ 23 w 23"/>
                  <a:gd name="T43" fmla="*/ 6 h 46"/>
                  <a:gd name="T44" fmla="*/ 17 w 23"/>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6">
                    <a:moveTo>
                      <a:pt x="17" y="0"/>
                    </a:moveTo>
                    <a:cubicBezTo>
                      <a:pt x="15" y="0"/>
                      <a:pt x="8" y="0"/>
                      <a:pt x="6" y="0"/>
                    </a:cubicBezTo>
                    <a:cubicBezTo>
                      <a:pt x="3" y="0"/>
                      <a:pt x="0" y="2"/>
                      <a:pt x="0" y="6"/>
                    </a:cubicBezTo>
                    <a:cubicBezTo>
                      <a:pt x="0" y="7"/>
                      <a:pt x="0" y="19"/>
                      <a:pt x="0" y="20"/>
                    </a:cubicBezTo>
                    <a:cubicBezTo>
                      <a:pt x="0" y="22"/>
                      <a:pt x="1" y="23"/>
                      <a:pt x="2" y="23"/>
                    </a:cubicBezTo>
                    <a:cubicBezTo>
                      <a:pt x="4" y="23"/>
                      <a:pt x="4" y="22"/>
                      <a:pt x="4" y="20"/>
                    </a:cubicBezTo>
                    <a:cubicBezTo>
                      <a:pt x="4" y="19"/>
                      <a:pt x="4" y="7"/>
                      <a:pt x="4" y="7"/>
                    </a:cubicBezTo>
                    <a:cubicBezTo>
                      <a:pt x="4" y="7"/>
                      <a:pt x="4" y="7"/>
                      <a:pt x="5" y="7"/>
                    </a:cubicBezTo>
                    <a:cubicBezTo>
                      <a:pt x="5" y="7"/>
                      <a:pt x="5" y="41"/>
                      <a:pt x="5" y="44"/>
                    </a:cubicBezTo>
                    <a:cubicBezTo>
                      <a:pt x="5" y="45"/>
                      <a:pt x="7" y="46"/>
                      <a:pt x="8" y="46"/>
                    </a:cubicBezTo>
                    <a:cubicBezTo>
                      <a:pt x="10" y="46"/>
                      <a:pt x="11" y="45"/>
                      <a:pt x="11" y="44"/>
                    </a:cubicBezTo>
                    <a:cubicBezTo>
                      <a:pt x="11" y="41"/>
                      <a:pt x="11" y="23"/>
                      <a:pt x="11" y="23"/>
                    </a:cubicBezTo>
                    <a:cubicBezTo>
                      <a:pt x="11" y="23"/>
                      <a:pt x="11" y="23"/>
                      <a:pt x="12" y="23"/>
                    </a:cubicBezTo>
                    <a:cubicBezTo>
                      <a:pt x="12" y="23"/>
                      <a:pt x="12" y="41"/>
                      <a:pt x="12" y="44"/>
                    </a:cubicBezTo>
                    <a:cubicBezTo>
                      <a:pt x="12" y="45"/>
                      <a:pt x="13" y="46"/>
                      <a:pt x="15" y="46"/>
                    </a:cubicBezTo>
                    <a:cubicBezTo>
                      <a:pt x="16" y="46"/>
                      <a:pt x="18" y="45"/>
                      <a:pt x="18" y="44"/>
                    </a:cubicBezTo>
                    <a:cubicBezTo>
                      <a:pt x="18" y="41"/>
                      <a:pt x="18" y="7"/>
                      <a:pt x="18" y="7"/>
                    </a:cubicBezTo>
                    <a:cubicBezTo>
                      <a:pt x="18" y="7"/>
                      <a:pt x="18" y="7"/>
                      <a:pt x="19" y="7"/>
                    </a:cubicBezTo>
                    <a:cubicBezTo>
                      <a:pt x="19" y="7"/>
                      <a:pt x="19" y="19"/>
                      <a:pt x="19" y="20"/>
                    </a:cubicBezTo>
                    <a:cubicBezTo>
                      <a:pt x="19" y="22"/>
                      <a:pt x="20" y="23"/>
                      <a:pt x="21" y="23"/>
                    </a:cubicBezTo>
                    <a:cubicBezTo>
                      <a:pt x="22" y="23"/>
                      <a:pt x="23" y="22"/>
                      <a:pt x="23" y="20"/>
                    </a:cubicBezTo>
                    <a:cubicBezTo>
                      <a:pt x="23" y="19"/>
                      <a:pt x="23" y="7"/>
                      <a:pt x="23" y="6"/>
                    </a:cubicBezTo>
                    <a:cubicBezTo>
                      <a:pt x="23" y="2"/>
                      <a:pt x="20" y="0"/>
                      <a:pt x="17"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39" name="Freeform 1757"/>
              <p:cNvSpPr>
                <a:spLocks/>
              </p:cNvSpPr>
              <p:nvPr/>
            </p:nvSpPr>
            <p:spPr bwMode="auto">
              <a:xfrm>
                <a:off x="20348576" y="2519363"/>
                <a:ext cx="100013" cy="176213"/>
              </a:xfrm>
              <a:custGeom>
                <a:avLst/>
                <a:gdLst>
                  <a:gd name="T0" fmla="*/ 23 w 27"/>
                  <a:gd name="T1" fmla="*/ 5 h 47"/>
                  <a:gd name="T2" fmla="*/ 17 w 27"/>
                  <a:gd name="T3" fmla="*/ 0 h 47"/>
                  <a:gd name="T4" fmla="*/ 10 w 27"/>
                  <a:gd name="T5" fmla="*/ 0 h 47"/>
                  <a:gd name="T6" fmla="*/ 4 w 27"/>
                  <a:gd name="T7" fmla="*/ 5 h 47"/>
                  <a:gd name="T8" fmla="*/ 0 w 27"/>
                  <a:gd name="T9" fmla="*/ 19 h 47"/>
                  <a:gd name="T10" fmla="*/ 1 w 27"/>
                  <a:gd name="T11" fmla="*/ 21 h 47"/>
                  <a:gd name="T12" fmla="*/ 4 w 27"/>
                  <a:gd name="T13" fmla="*/ 20 h 47"/>
                  <a:gd name="T14" fmla="*/ 8 w 27"/>
                  <a:gd name="T15" fmla="*/ 7 h 47"/>
                  <a:gd name="T16" fmla="*/ 9 w 27"/>
                  <a:gd name="T17" fmla="*/ 7 h 47"/>
                  <a:gd name="T18" fmla="*/ 2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9 w 27"/>
                  <a:gd name="T37" fmla="*/ 45 h 47"/>
                  <a:gd name="T38" fmla="*/ 19 w 27"/>
                  <a:gd name="T39" fmla="*/ 28 h 47"/>
                  <a:gd name="T40" fmla="*/ 25 w 27"/>
                  <a:gd name="T41" fmla="*/ 28 h 47"/>
                  <a:gd name="T42" fmla="*/ 18 w 27"/>
                  <a:gd name="T43" fmla="*/ 7 h 47"/>
                  <a:gd name="T44" fmla="*/ 19 w 27"/>
                  <a:gd name="T45" fmla="*/ 7 h 47"/>
                  <a:gd name="T46" fmla="*/ 23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7" y="0"/>
                    </a:cubicBezTo>
                    <a:cubicBezTo>
                      <a:pt x="16" y="0"/>
                      <a:pt x="11" y="0"/>
                      <a:pt x="10" y="0"/>
                    </a:cubicBezTo>
                    <a:cubicBezTo>
                      <a:pt x="7" y="0"/>
                      <a:pt x="5" y="3"/>
                      <a:pt x="4" y="5"/>
                    </a:cubicBezTo>
                    <a:cubicBezTo>
                      <a:pt x="3" y="11"/>
                      <a:pt x="0" y="18"/>
                      <a:pt x="0" y="19"/>
                    </a:cubicBezTo>
                    <a:cubicBezTo>
                      <a:pt x="0" y="20"/>
                      <a:pt x="1" y="21"/>
                      <a:pt x="1" y="21"/>
                    </a:cubicBezTo>
                    <a:cubicBezTo>
                      <a:pt x="2" y="21"/>
                      <a:pt x="4" y="21"/>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19" y="7"/>
                      <a:pt x="19" y="7"/>
                      <a:pt x="19" y="7"/>
                    </a:cubicBezTo>
                    <a:cubicBezTo>
                      <a:pt x="19" y="7"/>
                      <a:pt x="23" y="18"/>
                      <a:pt x="23" y="20"/>
                    </a:cubicBezTo>
                    <a:cubicBezTo>
                      <a:pt x="24" y="21"/>
                      <a:pt x="25" y="21"/>
                      <a:pt x="26" y="21"/>
                    </a:cubicBezTo>
                    <a:cubicBezTo>
                      <a:pt x="27" y="21"/>
                      <a:pt x="27" y="20"/>
                      <a:pt x="27" y="19"/>
                    </a:cubicBezTo>
                    <a:cubicBezTo>
                      <a:pt x="27" y="18"/>
                      <a:pt x="25" y="11"/>
                      <a:pt x="23" y="5"/>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40" name="Oval 1758"/>
              <p:cNvSpPr>
                <a:spLocks noChangeArrowheads="1"/>
              </p:cNvSpPr>
              <p:nvPr/>
            </p:nvSpPr>
            <p:spPr bwMode="auto">
              <a:xfrm>
                <a:off x="20381913" y="2714626"/>
                <a:ext cx="33338"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41" name="Oval 1759"/>
              <p:cNvSpPr>
                <a:spLocks noChangeArrowheads="1"/>
              </p:cNvSpPr>
              <p:nvPr/>
            </p:nvSpPr>
            <p:spPr bwMode="auto">
              <a:xfrm>
                <a:off x="20170776" y="2481263"/>
                <a:ext cx="38100"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42" name="Oval 1760"/>
              <p:cNvSpPr>
                <a:spLocks noChangeArrowheads="1"/>
              </p:cNvSpPr>
              <p:nvPr/>
            </p:nvSpPr>
            <p:spPr bwMode="auto">
              <a:xfrm>
                <a:off x="20069176" y="2481263"/>
                <a:ext cx="34925"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43" name="Freeform 1761"/>
              <p:cNvSpPr>
                <a:spLocks/>
              </p:cNvSpPr>
              <p:nvPr/>
            </p:nvSpPr>
            <p:spPr bwMode="auto">
              <a:xfrm>
                <a:off x="20043776" y="2519363"/>
                <a:ext cx="85725" cy="176213"/>
              </a:xfrm>
              <a:custGeom>
                <a:avLst/>
                <a:gdLst>
                  <a:gd name="T0" fmla="*/ 17 w 23"/>
                  <a:gd name="T1" fmla="*/ 0 h 47"/>
                  <a:gd name="T2" fmla="*/ 6 w 23"/>
                  <a:gd name="T3" fmla="*/ 0 h 47"/>
                  <a:gd name="T4" fmla="*/ 0 w 23"/>
                  <a:gd name="T5" fmla="*/ 6 h 47"/>
                  <a:gd name="T6" fmla="*/ 0 w 23"/>
                  <a:gd name="T7" fmla="*/ 21 h 47"/>
                  <a:gd name="T8" fmla="*/ 2 w 23"/>
                  <a:gd name="T9" fmla="*/ 23 h 47"/>
                  <a:gd name="T10" fmla="*/ 4 w 23"/>
                  <a:gd name="T11" fmla="*/ 21 h 47"/>
                  <a:gd name="T12" fmla="*/ 4 w 23"/>
                  <a:gd name="T13" fmla="*/ 8 h 47"/>
                  <a:gd name="T14" fmla="*/ 5 w 23"/>
                  <a:gd name="T15" fmla="*/ 8 h 47"/>
                  <a:gd name="T16" fmla="*/ 5 w 23"/>
                  <a:gd name="T17" fmla="*/ 44 h 47"/>
                  <a:gd name="T18" fmla="*/ 8 w 23"/>
                  <a:gd name="T19" fmla="*/ 47 h 47"/>
                  <a:gd name="T20" fmla="*/ 11 w 23"/>
                  <a:gd name="T21" fmla="*/ 44 h 47"/>
                  <a:gd name="T22" fmla="*/ 11 w 23"/>
                  <a:gd name="T23" fmla="*/ 23 h 47"/>
                  <a:gd name="T24" fmla="*/ 12 w 23"/>
                  <a:gd name="T25" fmla="*/ 23 h 47"/>
                  <a:gd name="T26" fmla="*/ 12 w 23"/>
                  <a:gd name="T27" fmla="*/ 44 h 47"/>
                  <a:gd name="T28" fmla="*/ 15 w 23"/>
                  <a:gd name="T29" fmla="*/ 47 h 47"/>
                  <a:gd name="T30" fmla="*/ 18 w 23"/>
                  <a:gd name="T31" fmla="*/ 44 h 47"/>
                  <a:gd name="T32" fmla="*/ 18 w 23"/>
                  <a:gd name="T33" fmla="*/ 8 h 47"/>
                  <a:gd name="T34" fmla="*/ 19 w 23"/>
                  <a:gd name="T35" fmla="*/ 8 h 47"/>
                  <a:gd name="T36" fmla="*/ 19 w 23"/>
                  <a:gd name="T37" fmla="*/ 21 h 47"/>
                  <a:gd name="T38" fmla="*/ 21 w 23"/>
                  <a:gd name="T39" fmla="*/ 23 h 47"/>
                  <a:gd name="T40" fmla="*/ 23 w 23"/>
                  <a:gd name="T41" fmla="*/ 21 h 47"/>
                  <a:gd name="T42" fmla="*/ 23 w 23"/>
                  <a:gd name="T43" fmla="*/ 6 h 47"/>
                  <a:gd name="T44" fmla="*/ 17 w 23"/>
                  <a:gd name="T4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17" y="0"/>
                    </a:moveTo>
                    <a:cubicBezTo>
                      <a:pt x="15" y="0"/>
                      <a:pt x="8" y="0"/>
                      <a:pt x="6" y="0"/>
                    </a:cubicBezTo>
                    <a:cubicBezTo>
                      <a:pt x="3" y="0"/>
                      <a:pt x="0" y="3"/>
                      <a:pt x="0" y="6"/>
                    </a:cubicBezTo>
                    <a:cubicBezTo>
                      <a:pt x="0" y="8"/>
                      <a:pt x="0" y="20"/>
                      <a:pt x="0" y="21"/>
                    </a:cubicBez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7" y="47"/>
                      <a:pt x="8" y="47"/>
                    </a:cubicBezTo>
                    <a:cubicBezTo>
                      <a:pt x="10"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8" y="46"/>
                      <a:pt x="18" y="44"/>
                    </a:cubicBezTo>
                    <a:cubicBezTo>
                      <a:pt x="18" y="42"/>
                      <a:pt x="18" y="8"/>
                      <a:pt x="18" y="8"/>
                    </a:cubicBezTo>
                    <a:cubicBezTo>
                      <a:pt x="18" y="8"/>
                      <a:pt x="18" y="8"/>
                      <a:pt x="19" y="8"/>
                    </a:cubicBezTo>
                    <a:cubicBezTo>
                      <a:pt x="19" y="8"/>
                      <a:pt x="19" y="20"/>
                      <a:pt x="19" y="21"/>
                    </a:cubicBezTo>
                    <a:cubicBezTo>
                      <a:pt x="19" y="22"/>
                      <a:pt x="20" y="23"/>
                      <a:pt x="21" y="23"/>
                    </a:cubicBezTo>
                    <a:cubicBezTo>
                      <a:pt x="22" y="23"/>
                      <a:pt x="23" y="22"/>
                      <a:pt x="23" y="21"/>
                    </a:cubicBezTo>
                    <a:cubicBezTo>
                      <a:pt x="23" y="20"/>
                      <a:pt x="23" y="8"/>
                      <a:pt x="23" y="6"/>
                    </a:cubicBezTo>
                    <a:cubicBezTo>
                      <a:pt x="23" y="3"/>
                      <a:pt x="20" y="0"/>
                      <a:pt x="17"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44" name="Oval 1762"/>
              <p:cNvSpPr>
                <a:spLocks noChangeArrowheads="1"/>
              </p:cNvSpPr>
              <p:nvPr/>
            </p:nvSpPr>
            <p:spPr bwMode="auto">
              <a:xfrm>
                <a:off x="20069176" y="2714626"/>
                <a:ext cx="34925"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45" name="Oval 1763"/>
              <p:cNvSpPr>
                <a:spLocks noChangeArrowheads="1"/>
              </p:cNvSpPr>
              <p:nvPr/>
            </p:nvSpPr>
            <p:spPr bwMode="auto">
              <a:xfrm>
                <a:off x="20170776" y="2714626"/>
                <a:ext cx="38100"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46" name="Freeform 1764"/>
              <p:cNvSpPr>
                <a:spLocks/>
              </p:cNvSpPr>
              <p:nvPr/>
            </p:nvSpPr>
            <p:spPr bwMode="auto">
              <a:xfrm>
                <a:off x="20764501" y="2989263"/>
                <a:ext cx="98425" cy="63500"/>
              </a:xfrm>
              <a:custGeom>
                <a:avLst/>
                <a:gdLst>
                  <a:gd name="T0" fmla="*/ 17 w 26"/>
                  <a:gd name="T1" fmla="*/ 0 h 17"/>
                  <a:gd name="T2" fmla="*/ 10 w 26"/>
                  <a:gd name="T3" fmla="*/ 0 h 17"/>
                  <a:gd name="T4" fmla="*/ 4 w 26"/>
                  <a:gd name="T5" fmla="*/ 4 h 17"/>
                  <a:gd name="T6" fmla="*/ 0 w 26"/>
                  <a:gd name="T7" fmla="*/ 17 h 17"/>
                  <a:gd name="T8" fmla="*/ 4 w 26"/>
                  <a:gd name="T9" fmla="*/ 17 h 17"/>
                  <a:gd name="T10" fmla="*/ 7 w 26"/>
                  <a:gd name="T11" fmla="*/ 6 h 17"/>
                  <a:gd name="T12" fmla="*/ 9 w 26"/>
                  <a:gd name="T13" fmla="*/ 6 h 17"/>
                  <a:gd name="T14" fmla="*/ 5 w 26"/>
                  <a:gd name="T15" fmla="*/ 17 h 17"/>
                  <a:gd name="T16" fmla="*/ 21 w 26"/>
                  <a:gd name="T17" fmla="*/ 16 h 17"/>
                  <a:gd name="T18" fmla="*/ 18 w 26"/>
                  <a:gd name="T19" fmla="*/ 6 h 17"/>
                  <a:gd name="T20" fmla="*/ 19 w 26"/>
                  <a:gd name="T21" fmla="*/ 6 h 17"/>
                  <a:gd name="T22" fmla="*/ 22 w 26"/>
                  <a:gd name="T23" fmla="*/ 16 h 17"/>
                  <a:gd name="T24" fmla="*/ 26 w 26"/>
                  <a:gd name="T25" fmla="*/ 15 h 17"/>
                  <a:gd name="T26" fmla="*/ 23 w 26"/>
                  <a:gd name="T27" fmla="*/ 4 h 17"/>
                  <a:gd name="T28" fmla="*/ 17 w 26"/>
                  <a:gd name="T2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17">
                    <a:moveTo>
                      <a:pt x="17" y="0"/>
                    </a:moveTo>
                    <a:cubicBezTo>
                      <a:pt x="16" y="0"/>
                      <a:pt x="11" y="0"/>
                      <a:pt x="10" y="0"/>
                    </a:cubicBezTo>
                    <a:cubicBezTo>
                      <a:pt x="7" y="0"/>
                      <a:pt x="5" y="2"/>
                      <a:pt x="4" y="4"/>
                    </a:cubicBezTo>
                    <a:cubicBezTo>
                      <a:pt x="3" y="9"/>
                      <a:pt x="1" y="15"/>
                      <a:pt x="0" y="17"/>
                    </a:cubicBezTo>
                    <a:cubicBezTo>
                      <a:pt x="2" y="17"/>
                      <a:pt x="3" y="17"/>
                      <a:pt x="4" y="17"/>
                    </a:cubicBezTo>
                    <a:cubicBezTo>
                      <a:pt x="5" y="14"/>
                      <a:pt x="7" y="6"/>
                      <a:pt x="7" y="6"/>
                    </a:cubicBezTo>
                    <a:cubicBezTo>
                      <a:pt x="9" y="6"/>
                      <a:pt x="9" y="6"/>
                      <a:pt x="9" y="6"/>
                    </a:cubicBezTo>
                    <a:cubicBezTo>
                      <a:pt x="7" y="11"/>
                      <a:pt x="6" y="14"/>
                      <a:pt x="5" y="17"/>
                    </a:cubicBezTo>
                    <a:cubicBezTo>
                      <a:pt x="11" y="17"/>
                      <a:pt x="16" y="17"/>
                      <a:pt x="21" y="16"/>
                    </a:cubicBezTo>
                    <a:cubicBezTo>
                      <a:pt x="18" y="6"/>
                      <a:pt x="18" y="6"/>
                      <a:pt x="18" y="6"/>
                    </a:cubicBezTo>
                    <a:cubicBezTo>
                      <a:pt x="19" y="6"/>
                      <a:pt x="19" y="6"/>
                      <a:pt x="19" y="6"/>
                    </a:cubicBezTo>
                    <a:cubicBezTo>
                      <a:pt x="19" y="6"/>
                      <a:pt x="21" y="12"/>
                      <a:pt x="22" y="16"/>
                    </a:cubicBezTo>
                    <a:cubicBezTo>
                      <a:pt x="23" y="16"/>
                      <a:pt x="24" y="15"/>
                      <a:pt x="26" y="15"/>
                    </a:cubicBezTo>
                    <a:cubicBezTo>
                      <a:pt x="25" y="12"/>
                      <a:pt x="24" y="8"/>
                      <a:pt x="23" y="4"/>
                    </a:cubicBezTo>
                    <a:cubicBezTo>
                      <a:pt x="22" y="2"/>
                      <a:pt x="20" y="0"/>
                      <a:pt x="17"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47" name="Oval 1765"/>
              <p:cNvSpPr>
                <a:spLocks noChangeArrowheads="1"/>
              </p:cNvSpPr>
              <p:nvPr/>
            </p:nvSpPr>
            <p:spPr bwMode="auto">
              <a:xfrm>
                <a:off x="20381913" y="2481263"/>
                <a:ext cx="33338"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48" name="Freeform 1766"/>
              <p:cNvSpPr>
                <a:spLocks/>
              </p:cNvSpPr>
              <p:nvPr/>
            </p:nvSpPr>
            <p:spPr bwMode="auto">
              <a:xfrm>
                <a:off x="20667663" y="2989263"/>
                <a:ext cx="85725" cy="63500"/>
              </a:xfrm>
              <a:custGeom>
                <a:avLst/>
                <a:gdLst>
                  <a:gd name="T0" fmla="*/ 17 w 23"/>
                  <a:gd name="T1" fmla="*/ 0 h 17"/>
                  <a:gd name="T2" fmla="*/ 6 w 23"/>
                  <a:gd name="T3" fmla="*/ 0 h 17"/>
                  <a:gd name="T4" fmla="*/ 0 w 23"/>
                  <a:gd name="T5" fmla="*/ 6 h 17"/>
                  <a:gd name="T6" fmla="*/ 0 w 23"/>
                  <a:gd name="T7" fmla="*/ 14 h 17"/>
                  <a:gd name="T8" fmla="*/ 4 w 23"/>
                  <a:gd name="T9" fmla="*/ 14 h 17"/>
                  <a:gd name="T10" fmla="*/ 4 w 23"/>
                  <a:gd name="T11" fmla="*/ 7 h 17"/>
                  <a:gd name="T12" fmla="*/ 6 w 23"/>
                  <a:gd name="T13" fmla="*/ 7 h 17"/>
                  <a:gd name="T14" fmla="*/ 6 w 23"/>
                  <a:gd name="T15" fmla="*/ 15 h 17"/>
                  <a:gd name="T16" fmla="*/ 18 w 23"/>
                  <a:gd name="T17" fmla="*/ 16 h 17"/>
                  <a:gd name="T18" fmla="*/ 18 w 23"/>
                  <a:gd name="T19" fmla="*/ 7 h 17"/>
                  <a:gd name="T20" fmla="*/ 19 w 23"/>
                  <a:gd name="T21" fmla="*/ 7 h 17"/>
                  <a:gd name="T22" fmla="*/ 19 w 23"/>
                  <a:gd name="T23" fmla="*/ 16 h 17"/>
                  <a:gd name="T24" fmla="*/ 23 w 23"/>
                  <a:gd name="T25" fmla="*/ 17 h 17"/>
                  <a:gd name="T26" fmla="*/ 23 w 23"/>
                  <a:gd name="T27" fmla="*/ 6 h 17"/>
                  <a:gd name="T28" fmla="*/ 17 w 23"/>
                  <a:gd name="T2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17">
                    <a:moveTo>
                      <a:pt x="17" y="0"/>
                    </a:moveTo>
                    <a:cubicBezTo>
                      <a:pt x="15" y="0"/>
                      <a:pt x="8" y="0"/>
                      <a:pt x="6" y="0"/>
                    </a:cubicBezTo>
                    <a:cubicBezTo>
                      <a:pt x="3" y="0"/>
                      <a:pt x="0" y="2"/>
                      <a:pt x="0" y="6"/>
                    </a:cubicBezTo>
                    <a:cubicBezTo>
                      <a:pt x="0" y="7"/>
                      <a:pt x="0" y="10"/>
                      <a:pt x="0" y="14"/>
                    </a:cubicBezTo>
                    <a:cubicBezTo>
                      <a:pt x="2" y="14"/>
                      <a:pt x="3" y="14"/>
                      <a:pt x="4" y="14"/>
                    </a:cubicBezTo>
                    <a:cubicBezTo>
                      <a:pt x="4" y="11"/>
                      <a:pt x="4" y="7"/>
                      <a:pt x="4" y="7"/>
                    </a:cubicBezTo>
                    <a:cubicBezTo>
                      <a:pt x="4" y="7"/>
                      <a:pt x="4" y="7"/>
                      <a:pt x="6" y="7"/>
                    </a:cubicBezTo>
                    <a:cubicBezTo>
                      <a:pt x="6" y="7"/>
                      <a:pt x="6" y="10"/>
                      <a:pt x="6" y="15"/>
                    </a:cubicBezTo>
                    <a:cubicBezTo>
                      <a:pt x="10" y="15"/>
                      <a:pt x="14" y="16"/>
                      <a:pt x="18" y="16"/>
                    </a:cubicBezTo>
                    <a:cubicBezTo>
                      <a:pt x="18" y="11"/>
                      <a:pt x="18" y="7"/>
                      <a:pt x="18" y="7"/>
                    </a:cubicBezTo>
                    <a:cubicBezTo>
                      <a:pt x="18" y="7"/>
                      <a:pt x="18" y="7"/>
                      <a:pt x="19" y="7"/>
                    </a:cubicBezTo>
                    <a:cubicBezTo>
                      <a:pt x="19" y="7"/>
                      <a:pt x="19" y="12"/>
                      <a:pt x="19" y="16"/>
                    </a:cubicBezTo>
                    <a:cubicBezTo>
                      <a:pt x="20" y="17"/>
                      <a:pt x="22" y="17"/>
                      <a:pt x="23" y="17"/>
                    </a:cubicBezTo>
                    <a:cubicBezTo>
                      <a:pt x="23" y="13"/>
                      <a:pt x="23" y="7"/>
                      <a:pt x="23" y="6"/>
                    </a:cubicBezTo>
                    <a:cubicBezTo>
                      <a:pt x="23" y="2"/>
                      <a:pt x="20" y="0"/>
                      <a:pt x="17"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49" name="Freeform 1767"/>
              <p:cNvSpPr>
                <a:spLocks/>
              </p:cNvSpPr>
              <p:nvPr/>
            </p:nvSpPr>
            <p:spPr bwMode="auto">
              <a:xfrm>
                <a:off x="20242213" y="2755901"/>
                <a:ext cx="101600" cy="176213"/>
              </a:xfrm>
              <a:custGeom>
                <a:avLst/>
                <a:gdLst>
                  <a:gd name="T0" fmla="*/ 23 w 27"/>
                  <a:gd name="T1" fmla="*/ 4 h 47"/>
                  <a:gd name="T2" fmla="*/ 18 w 27"/>
                  <a:gd name="T3" fmla="*/ 0 h 47"/>
                  <a:gd name="T4" fmla="*/ 10 w 27"/>
                  <a:gd name="T5" fmla="*/ 0 h 47"/>
                  <a:gd name="T6" fmla="*/ 5 w 27"/>
                  <a:gd name="T7" fmla="*/ 4 h 47"/>
                  <a:gd name="T8" fmla="*/ 1 w 27"/>
                  <a:gd name="T9" fmla="*/ 18 h 47"/>
                  <a:gd name="T10" fmla="*/ 2 w 27"/>
                  <a:gd name="T11" fmla="*/ 20 h 47"/>
                  <a:gd name="T12" fmla="*/ 4 w 27"/>
                  <a:gd name="T13" fmla="*/ 19 h 47"/>
                  <a:gd name="T14" fmla="*/ 8 w 27"/>
                  <a:gd name="T15" fmla="*/ 6 h 47"/>
                  <a:gd name="T16" fmla="*/ 9 w 27"/>
                  <a:gd name="T17" fmla="*/ 6 h 47"/>
                  <a:gd name="T18" fmla="*/ 3 w 27"/>
                  <a:gd name="T19" fmla="*/ 28 h 47"/>
                  <a:gd name="T20" fmla="*/ 9 w 27"/>
                  <a:gd name="T21" fmla="*/ 28 h 47"/>
                  <a:gd name="T22" fmla="*/ 9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7 w 27"/>
                  <a:gd name="T35" fmla="*/ 47 h 47"/>
                  <a:gd name="T36" fmla="*/ 19 w 27"/>
                  <a:gd name="T37" fmla="*/ 44 h 47"/>
                  <a:gd name="T38" fmla="*/ 19 w 27"/>
                  <a:gd name="T39" fmla="*/ 28 h 47"/>
                  <a:gd name="T40" fmla="*/ 25 w 27"/>
                  <a:gd name="T41" fmla="*/ 28 h 47"/>
                  <a:gd name="T42" fmla="*/ 19 w 27"/>
                  <a:gd name="T43" fmla="*/ 6 h 47"/>
                  <a:gd name="T44" fmla="*/ 20 w 27"/>
                  <a:gd name="T45" fmla="*/ 6 h 47"/>
                  <a:gd name="T46" fmla="*/ 24 w 27"/>
                  <a:gd name="T47" fmla="*/ 19 h 47"/>
                  <a:gd name="T48" fmla="*/ 26 w 27"/>
                  <a:gd name="T49" fmla="*/ 20 h 47"/>
                  <a:gd name="T50" fmla="*/ 27 w 27"/>
                  <a:gd name="T51" fmla="*/ 18 h 47"/>
                  <a:gd name="T52" fmla="*/ 23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4"/>
                    </a:moveTo>
                    <a:cubicBezTo>
                      <a:pt x="22" y="2"/>
                      <a:pt x="20" y="0"/>
                      <a:pt x="18" y="0"/>
                    </a:cubicBezTo>
                    <a:cubicBezTo>
                      <a:pt x="17" y="0"/>
                      <a:pt x="11" y="0"/>
                      <a:pt x="10" y="0"/>
                    </a:cubicBezTo>
                    <a:cubicBezTo>
                      <a:pt x="8" y="0"/>
                      <a:pt x="5" y="2"/>
                      <a:pt x="5" y="4"/>
                    </a:cubicBezTo>
                    <a:cubicBezTo>
                      <a:pt x="3" y="10"/>
                      <a:pt x="1" y="17"/>
                      <a:pt x="1" y="18"/>
                    </a:cubicBezTo>
                    <a:cubicBezTo>
                      <a:pt x="0" y="19"/>
                      <a:pt x="1" y="20"/>
                      <a:pt x="2" y="20"/>
                    </a:cubicBezTo>
                    <a:cubicBezTo>
                      <a:pt x="3" y="21"/>
                      <a:pt x="4" y="20"/>
                      <a:pt x="4" y="19"/>
                    </a:cubicBezTo>
                    <a:cubicBezTo>
                      <a:pt x="5" y="18"/>
                      <a:pt x="8" y="6"/>
                      <a:pt x="8" y="6"/>
                    </a:cubicBezTo>
                    <a:cubicBezTo>
                      <a:pt x="9" y="6"/>
                      <a:pt x="9" y="6"/>
                      <a:pt x="9" y="6"/>
                    </a:cubicBezTo>
                    <a:cubicBezTo>
                      <a:pt x="3" y="28"/>
                      <a:pt x="3" y="28"/>
                      <a:pt x="3" y="28"/>
                    </a:cubicBezTo>
                    <a:cubicBezTo>
                      <a:pt x="9" y="28"/>
                      <a:pt x="9" y="28"/>
                      <a:pt x="9" y="28"/>
                    </a:cubicBezTo>
                    <a:cubicBezTo>
                      <a:pt x="9" y="35"/>
                      <a:pt x="9" y="43"/>
                      <a:pt x="9" y="44"/>
                    </a:cubicBezTo>
                    <a:cubicBezTo>
                      <a:pt x="9" y="46"/>
                      <a:pt x="10"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6" y="47"/>
                      <a:pt x="17" y="47"/>
                    </a:cubicBezTo>
                    <a:cubicBezTo>
                      <a:pt x="18" y="47"/>
                      <a:pt x="19" y="46"/>
                      <a:pt x="19" y="44"/>
                    </a:cubicBezTo>
                    <a:cubicBezTo>
                      <a:pt x="19" y="43"/>
                      <a:pt x="19" y="35"/>
                      <a:pt x="19" y="28"/>
                    </a:cubicBezTo>
                    <a:cubicBezTo>
                      <a:pt x="25" y="28"/>
                      <a:pt x="25" y="28"/>
                      <a:pt x="25" y="28"/>
                    </a:cubicBezTo>
                    <a:cubicBezTo>
                      <a:pt x="19" y="6"/>
                      <a:pt x="19" y="6"/>
                      <a:pt x="19" y="6"/>
                    </a:cubicBezTo>
                    <a:cubicBezTo>
                      <a:pt x="20" y="6"/>
                      <a:pt x="20" y="6"/>
                      <a:pt x="20" y="6"/>
                    </a:cubicBezTo>
                    <a:cubicBezTo>
                      <a:pt x="20" y="6"/>
                      <a:pt x="23" y="18"/>
                      <a:pt x="24" y="19"/>
                    </a:cubicBezTo>
                    <a:cubicBezTo>
                      <a:pt x="24" y="20"/>
                      <a:pt x="25" y="21"/>
                      <a:pt x="26" y="20"/>
                    </a:cubicBezTo>
                    <a:cubicBezTo>
                      <a:pt x="27" y="20"/>
                      <a:pt x="27" y="19"/>
                      <a:pt x="27" y="18"/>
                    </a:cubicBezTo>
                    <a:cubicBezTo>
                      <a:pt x="27" y="17"/>
                      <a:pt x="25" y="10"/>
                      <a:pt x="23" y="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50" name="Freeform 1768"/>
              <p:cNvSpPr>
                <a:spLocks/>
              </p:cNvSpPr>
              <p:nvPr/>
            </p:nvSpPr>
            <p:spPr bwMode="auto">
              <a:xfrm>
                <a:off x="20140613" y="2519363"/>
                <a:ext cx="101600" cy="176213"/>
              </a:xfrm>
              <a:custGeom>
                <a:avLst/>
                <a:gdLst>
                  <a:gd name="T0" fmla="*/ 22 w 27"/>
                  <a:gd name="T1" fmla="*/ 5 h 47"/>
                  <a:gd name="T2" fmla="*/ 17 w 27"/>
                  <a:gd name="T3" fmla="*/ 0 h 47"/>
                  <a:gd name="T4" fmla="*/ 9 w 27"/>
                  <a:gd name="T5" fmla="*/ 0 h 47"/>
                  <a:gd name="T6" fmla="*/ 4 w 27"/>
                  <a:gd name="T7" fmla="*/ 5 h 47"/>
                  <a:gd name="T8" fmla="*/ 0 w 27"/>
                  <a:gd name="T9" fmla="*/ 19 h 47"/>
                  <a:gd name="T10" fmla="*/ 1 w 27"/>
                  <a:gd name="T11" fmla="*/ 21 h 47"/>
                  <a:gd name="T12" fmla="*/ 3 w 27"/>
                  <a:gd name="T13" fmla="*/ 20 h 47"/>
                  <a:gd name="T14" fmla="*/ 7 w 27"/>
                  <a:gd name="T15" fmla="*/ 7 h 47"/>
                  <a:gd name="T16" fmla="*/ 8 w 27"/>
                  <a:gd name="T17" fmla="*/ 7 h 47"/>
                  <a:gd name="T18" fmla="*/ 2 w 27"/>
                  <a:gd name="T19" fmla="*/ 28 h 47"/>
                  <a:gd name="T20" fmla="*/ 8 w 27"/>
                  <a:gd name="T21" fmla="*/ 28 h 47"/>
                  <a:gd name="T22" fmla="*/ 8 w 27"/>
                  <a:gd name="T23" fmla="*/ 45 h 47"/>
                  <a:gd name="T24" fmla="*/ 10 w 27"/>
                  <a:gd name="T25" fmla="*/ 47 h 47"/>
                  <a:gd name="T26" fmla="*/ 13 w 27"/>
                  <a:gd name="T27" fmla="*/ 45 h 47"/>
                  <a:gd name="T28" fmla="*/ 13 w 27"/>
                  <a:gd name="T29" fmla="*/ 28 h 47"/>
                  <a:gd name="T30" fmla="*/ 14 w 27"/>
                  <a:gd name="T31" fmla="*/ 28 h 47"/>
                  <a:gd name="T32" fmla="*/ 14 w 27"/>
                  <a:gd name="T33" fmla="*/ 45 h 47"/>
                  <a:gd name="T34" fmla="*/ 16 w 27"/>
                  <a:gd name="T35" fmla="*/ 47 h 47"/>
                  <a:gd name="T36" fmla="*/ 18 w 27"/>
                  <a:gd name="T37" fmla="*/ 45 h 47"/>
                  <a:gd name="T38" fmla="*/ 18 w 27"/>
                  <a:gd name="T39" fmla="*/ 28 h 47"/>
                  <a:gd name="T40" fmla="*/ 24 w 27"/>
                  <a:gd name="T41" fmla="*/ 28 h 47"/>
                  <a:gd name="T42" fmla="*/ 18 w 27"/>
                  <a:gd name="T43" fmla="*/ 7 h 47"/>
                  <a:gd name="T44" fmla="*/ 19 w 27"/>
                  <a:gd name="T45" fmla="*/ 7 h 47"/>
                  <a:gd name="T46" fmla="*/ 23 w 27"/>
                  <a:gd name="T47" fmla="*/ 20 h 47"/>
                  <a:gd name="T48" fmla="*/ 25 w 27"/>
                  <a:gd name="T49" fmla="*/ 21 h 47"/>
                  <a:gd name="T50" fmla="*/ 26 w 27"/>
                  <a:gd name="T51" fmla="*/ 19 h 47"/>
                  <a:gd name="T52" fmla="*/ 22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5"/>
                    </a:moveTo>
                    <a:cubicBezTo>
                      <a:pt x="22" y="3"/>
                      <a:pt x="19" y="0"/>
                      <a:pt x="17" y="0"/>
                    </a:cubicBezTo>
                    <a:cubicBezTo>
                      <a:pt x="16" y="0"/>
                      <a:pt x="10" y="0"/>
                      <a:pt x="9" y="0"/>
                    </a:cubicBezTo>
                    <a:cubicBezTo>
                      <a:pt x="7" y="0"/>
                      <a:pt x="5" y="3"/>
                      <a:pt x="4" y="5"/>
                    </a:cubicBezTo>
                    <a:cubicBezTo>
                      <a:pt x="2" y="11"/>
                      <a:pt x="0" y="18"/>
                      <a:pt x="0" y="19"/>
                    </a:cubicBezTo>
                    <a:cubicBezTo>
                      <a:pt x="0" y="20"/>
                      <a:pt x="0" y="21"/>
                      <a:pt x="1" y="21"/>
                    </a:cubicBezTo>
                    <a:cubicBezTo>
                      <a:pt x="2" y="21"/>
                      <a:pt x="3" y="21"/>
                      <a:pt x="3" y="20"/>
                    </a:cubicBezTo>
                    <a:cubicBezTo>
                      <a:pt x="4" y="18"/>
                      <a:pt x="7" y="7"/>
                      <a:pt x="7" y="7"/>
                    </a:cubicBezTo>
                    <a:cubicBezTo>
                      <a:pt x="8" y="7"/>
                      <a:pt x="8" y="7"/>
                      <a:pt x="8" y="7"/>
                    </a:cubicBezTo>
                    <a:cubicBezTo>
                      <a:pt x="2" y="28"/>
                      <a:pt x="2" y="28"/>
                      <a:pt x="2" y="28"/>
                    </a:cubicBezTo>
                    <a:cubicBezTo>
                      <a:pt x="8" y="28"/>
                      <a:pt x="8" y="28"/>
                      <a:pt x="8" y="28"/>
                    </a:cubicBezTo>
                    <a:cubicBezTo>
                      <a:pt x="8" y="36"/>
                      <a:pt x="8" y="44"/>
                      <a:pt x="8" y="45"/>
                    </a:cubicBezTo>
                    <a:cubicBezTo>
                      <a:pt x="8" y="46"/>
                      <a:pt x="9" y="47"/>
                      <a:pt x="10"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7" y="47"/>
                      <a:pt x="18" y="46"/>
                      <a:pt x="18" y="45"/>
                    </a:cubicBezTo>
                    <a:cubicBezTo>
                      <a:pt x="18" y="44"/>
                      <a:pt x="18" y="36"/>
                      <a:pt x="18" y="28"/>
                    </a:cubicBezTo>
                    <a:cubicBezTo>
                      <a:pt x="24" y="28"/>
                      <a:pt x="24" y="28"/>
                      <a:pt x="24" y="28"/>
                    </a:cubicBezTo>
                    <a:cubicBezTo>
                      <a:pt x="18" y="7"/>
                      <a:pt x="18" y="7"/>
                      <a:pt x="18" y="7"/>
                    </a:cubicBezTo>
                    <a:cubicBezTo>
                      <a:pt x="19" y="7"/>
                      <a:pt x="19" y="7"/>
                      <a:pt x="19" y="7"/>
                    </a:cubicBezTo>
                    <a:cubicBezTo>
                      <a:pt x="19" y="7"/>
                      <a:pt x="22" y="18"/>
                      <a:pt x="23" y="20"/>
                    </a:cubicBezTo>
                    <a:cubicBezTo>
                      <a:pt x="23" y="21"/>
                      <a:pt x="24" y="21"/>
                      <a:pt x="25" y="21"/>
                    </a:cubicBezTo>
                    <a:cubicBezTo>
                      <a:pt x="26" y="21"/>
                      <a:pt x="27" y="20"/>
                      <a:pt x="26" y="19"/>
                    </a:cubicBezTo>
                    <a:cubicBezTo>
                      <a:pt x="26" y="18"/>
                      <a:pt x="24" y="11"/>
                      <a:pt x="22" y="5"/>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51" name="Oval 1769"/>
              <p:cNvSpPr>
                <a:spLocks noChangeArrowheads="1"/>
              </p:cNvSpPr>
              <p:nvPr/>
            </p:nvSpPr>
            <p:spPr bwMode="auto">
              <a:xfrm>
                <a:off x="20588288" y="2947988"/>
                <a:ext cx="38100"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52" name="Freeform 1770"/>
              <p:cNvSpPr>
                <a:spLocks/>
              </p:cNvSpPr>
              <p:nvPr/>
            </p:nvSpPr>
            <p:spPr bwMode="auto">
              <a:xfrm>
                <a:off x="20461288" y="2519363"/>
                <a:ext cx="85725" cy="176213"/>
              </a:xfrm>
              <a:custGeom>
                <a:avLst/>
                <a:gdLst>
                  <a:gd name="T0" fmla="*/ 0 w 23"/>
                  <a:gd name="T1" fmla="*/ 21 h 47"/>
                  <a:gd name="T2" fmla="*/ 2 w 23"/>
                  <a:gd name="T3" fmla="*/ 23 h 47"/>
                  <a:gd name="T4" fmla="*/ 4 w 23"/>
                  <a:gd name="T5" fmla="*/ 21 h 47"/>
                  <a:gd name="T6" fmla="*/ 4 w 23"/>
                  <a:gd name="T7" fmla="*/ 8 h 47"/>
                  <a:gd name="T8" fmla="*/ 5 w 23"/>
                  <a:gd name="T9" fmla="*/ 8 h 47"/>
                  <a:gd name="T10" fmla="*/ 5 w 23"/>
                  <a:gd name="T11" fmla="*/ 44 h 47"/>
                  <a:gd name="T12" fmla="*/ 8 w 23"/>
                  <a:gd name="T13" fmla="*/ 47 h 47"/>
                  <a:gd name="T14" fmla="*/ 11 w 23"/>
                  <a:gd name="T15" fmla="*/ 44 h 47"/>
                  <a:gd name="T16" fmla="*/ 11 w 23"/>
                  <a:gd name="T17" fmla="*/ 23 h 47"/>
                  <a:gd name="T18" fmla="*/ 12 w 23"/>
                  <a:gd name="T19" fmla="*/ 23 h 47"/>
                  <a:gd name="T20" fmla="*/ 12 w 23"/>
                  <a:gd name="T21" fmla="*/ 44 h 47"/>
                  <a:gd name="T22" fmla="*/ 15 w 23"/>
                  <a:gd name="T23" fmla="*/ 47 h 47"/>
                  <a:gd name="T24" fmla="*/ 17 w 23"/>
                  <a:gd name="T25" fmla="*/ 44 h 47"/>
                  <a:gd name="T26" fmla="*/ 17 w 23"/>
                  <a:gd name="T27" fmla="*/ 8 h 47"/>
                  <a:gd name="T28" fmla="*/ 18 w 23"/>
                  <a:gd name="T29" fmla="*/ 8 h 47"/>
                  <a:gd name="T30" fmla="*/ 18 w 23"/>
                  <a:gd name="T31" fmla="*/ 21 h 47"/>
                  <a:gd name="T32" fmla="*/ 20 w 23"/>
                  <a:gd name="T33" fmla="*/ 23 h 47"/>
                  <a:gd name="T34" fmla="*/ 23 w 23"/>
                  <a:gd name="T35" fmla="*/ 21 h 47"/>
                  <a:gd name="T36" fmla="*/ 23 w 23"/>
                  <a:gd name="T37" fmla="*/ 6 h 47"/>
                  <a:gd name="T38" fmla="*/ 16 w 23"/>
                  <a:gd name="T39" fmla="*/ 0 h 47"/>
                  <a:gd name="T40" fmla="*/ 6 w 23"/>
                  <a:gd name="T41" fmla="*/ 0 h 47"/>
                  <a:gd name="T42" fmla="*/ 0 w 23"/>
                  <a:gd name="T43" fmla="*/ 6 h 47"/>
                  <a:gd name="T44" fmla="*/ 0 w 23"/>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7">
                    <a:moveTo>
                      <a:pt x="0" y="21"/>
                    </a:moveTo>
                    <a:cubicBezTo>
                      <a:pt x="0" y="22"/>
                      <a:pt x="1" y="23"/>
                      <a:pt x="2" y="23"/>
                    </a:cubicBezTo>
                    <a:cubicBezTo>
                      <a:pt x="3" y="23"/>
                      <a:pt x="4" y="22"/>
                      <a:pt x="4" y="21"/>
                    </a:cubicBez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5"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2" y="23"/>
                      <a:pt x="23" y="22"/>
                      <a:pt x="23" y="21"/>
                    </a:cubicBezTo>
                    <a:cubicBezTo>
                      <a:pt x="23" y="20"/>
                      <a:pt x="23" y="8"/>
                      <a:pt x="23" y="6"/>
                    </a:cubicBezTo>
                    <a:cubicBezTo>
                      <a:pt x="23" y="3"/>
                      <a:pt x="20" y="0"/>
                      <a:pt x="16" y="0"/>
                    </a:cubicBezTo>
                    <a:cubicBezTo>
                      <a:pt x="15" y="0"/>
                      <a:pt x="8" y="0"/>
                      <a:pt x="6" y="0"/>
                    </a:cubicBezTo>
                    <a:cubicBezTo>
                      <a:pt x="3" y="0"/>
                      <a:pt x="0" y="3"/>
                      <a:pt x="0" y="6"/>
                    </a:cubicBezTo>
                    <a:cubicBezTo>
                      <a:pt x="0" y="8"/>
                      <a:pt x="0" y="20"/>
                      <a:pt x="0" y="21"/>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53" name="Freeform 1771"/>
              <p:cNvSpPr>
                <a:spLocks/>
              </p:cNvSpPr>
              <p:nvPr/>
            </p:nvSpPr>
            <p:spPr bwMode="auto">
              <a:xfrm>
                <a:off x="20566063" y="2755901"/>
                <a:ext cx="82550" cy="173038"/>
              </a:xfrm>
              <a:custGeom>
                <a:avLst/>
                <a:gdLst>
                  <a:gd name="T0" fmla="*/ 16 w 22"/>
                  <a:gd name="T1" fmla="*/ 0 h 46"/>
                  <a:gd name="T2" fmla="*/ 6 w 22"/>
                  <a:gd name="T3" fmla="*/ 0 h 46"/>
                  <a:gd name="T4" fmla="*/ 0 w 22"/>
                  <a:gd name="T5" fmla="*/ 6 h 46"/>
                  <a:gd name="T6" fmla="*/ 0 w 22"/>
                  <a:gd name="T7" fmla="*/ 20 h 46"/>
                  <a:gd name="T8" fmla="*/ 2 w 22"/>
                  <a:gd name="T9" fmla="*/ 23 h 46"/>
                  <a:gd name="T10" fmla="*/ 4 w 22"/>
                  <a:gd name="T11" fmla="*/ 20 h 46"/>
                  <a:gd name="T12" fmla="*/ 4 w 22"/>
                  <a:gd name="T13" fmla="*/ 7 h 46"/>
                  <a:gd name="T14" fmla="*/ 5 w 22"/>
                  <a:gd name="T15" fmla="*/ 7 h 46"/>
                  <a:gd name="T16" fmla="*/ 5 w 22"/>
                  <a:gd name="T17" fmla="*/ 44 h 46"/>
                  <a:gd name="T18" fmla="*/ 8 w 22"/>
                  <a:gd name="T19" fmla="*/ 46 h 46"/>
                  <a:gd name="T20" fmla="*/ 10 w 22"/>
                  <a:gd name="T21" fmla="*/ 44 h 46"/>
                  <a:gd name="T22" fmla="*/ 10 w 22"/>
                  <a:gd name="T23" fmla="*/ 23 h 46"/>
                  <a:gd name="T24" fmla="*/ 11 w 22"/>
                  <a:gd name="T25" fmla="*/ 23 h 46"/>
                  <a:gd name="T26" fmla="*/ 11 w 22"/>
                  <a:gd name="T27" fmla="*/ 44 h 46"/>
                  <a:gd name="T28" fmla="*/ 14 w 22"/>
                  <a:gd name="T29" fmla="*/ 46 h 46"/>
                  <a:gd name="T30" fmla="*/ 17 w 22"/>
                  <a:gd name="T31" fmla="*/ 44 h 46"/>
                  <a:gd name="T32" fmla="*/ 17 w 22"/>
                  <a:gd name="T33" fmla="*/ 7 h 46"/>
                  <a:gd name="T34" fmla="*/ 18 w 22"/>
                  <a:gd name="T35" fmla="*/ 7 h 46"/>
                  <a:gd name="T36" fmla="*/ 18 w 22"/>
                  <a:gd name="T37" fmla="*/ 20 h 46"/>
                  <a:gd name="T38" fmla="*/ 20 w 22"/>
                  <a:gd name="T39" fmla="*/ 23 h 46"/>
                  <a:gd name="T40" fmla="*/ 22 w 22"/>
                  <a:gd name="T41" fmla="*/ 20 h 46"/>
                  <a:gd name="T42" fmla="*/ 22 w 22"/>
                  <a:gd name="T43" fmla="*/ 6 h 46"/>
                  <a:gd name="T44" fmla="*/ 16 w 22"/>
                  <a:gd name="T4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16" y="0"/>
                    </a:moveTo>
                    <a:cubicBezTo>
                      <a:pt x="15" y="0"/>
                      <a:pt x="7" y="0"/>
                      <a:pt x="6" y="0"/>
                    </a:cubicBezTo>
                    <a:cubicBezTo>
                      <a:pt x="2" y="0"/>
                      <a:pt x="0" y="2"/>
                      <a:pt x="0" y="6"/>
                    </a:cubicBez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1" y="23"/>
                    </a:cubicBezTo>
                    <a:cubicBezTo>
                      <a:pt x="11" y="23"/>
                      <a:pt x="11" y="41"/>
                      <a:pt x="11" y="44"/>
                    </a:cubicBezTo>
                    <a:cubicBezTo>
                      <a:pt x="11"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7"/>
                      <a:pt x="22" y="6"/>
                    </a:cubicBezTo>
                    <a:cubicBezTo>
                      <a:pt x="22" y="2"/>
                      <a:pt x="20" y="0"/>
                      <a:pt x="16"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54" name="Oval 1772"/>
              <p:cNvSpPr>
                <a:spLocks noChangeArrowheads="1"/>
              </p:cNvSpPr>
              <p:nvPr/>
            </p:nvSpPr>
            <p:spPr bwMode="auto">
              <a:xfrm>
                <a:off x="20486688" y="2714626"/>
                <a:ext cx="33338"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55" name="Freeform 1773"/>
              <p:cNvSpPr>
                <a:spLocks/>
              </p:cNvSpPr>
              <p:nvPr/>
            </p:nvSpPr>
            <p:spPr bwMode="auto">
              <a:xfrm>
                <a:off x="20461288" y="2989263"/>
                <a:ext cx="85725" cy="41275"/>
              </a:xfrm>
              <a:custGeom>
                <a:avLst/>
                <a:gdLst>
                  <a:gd name="T0" fmla="*/ 16 w 23"/>
                  <a:gd name="T1" fmla="*/ 0 h 11"/>
                  <a:gd name="T2" fmla="*/ 6 w 23"/>
                  <a:gd name="T3" fmla="*/ 0 h 11"/>
                  <a:gd name="T4" fmla="*/ 0 w 23"/>
                  <a:gd name="T5" fmla="*/ 6 h 11"/>
                  <a:gd name="T6" fmla="*/ 0 w 23"/>
                  <a:gd name="T7" fmla="*/ 10 h 11"/>
                  <a:gd name="T8" fmla="*/ 4 w 23"/>
                  <a:gd name="T9" fmla="*/ 11 h 11"/>
                  <a:gd name="T10" fmla="*/ 4 w 23"/>
                  <a:gd name="T11" fmla="*/ 7 h 11"/>
                  <a:gd name="T12" fmla="*/ 5 w 23"/>
                  <a:gd name="T13" fmla="*/ 7 h 11"/>
                  <a:gd name="T14" fmla="*/ 5 w 23"/>
                  <a:gd name="T15" fmla="*/ 11 h 11"/>
                  <a:gd name="T16" fmla="*/ 17 w 23"/>
                  <a:gd name="T17" fmla="*/ 11 h 11"/>
                  <a:gd name="T18" fmla="*/ 17 w 23"/>
                  <a:gd name="T19" fmla="*/ 7 h 11"/>
                  <a:gd name="T20" fmla="*/ 18 w 23"/>
                  <a:gd name="T21" fmla="*/ 7 h 11"/>
                  <a:gd name="T22" fmla="*/ 18 w 23"/>
                  <a:gd name="T23" fmla="*/ 11 h 11"/>
                  <a:gd name="T24" fmla="*/ 23 w 23"/>
                  <a:gd name="T25" fmla="*/ 11 h 11"/>
                  <a:gd name="T26" fmla="*/ 23 w 23"/>
                  <a:gd name="T27" fmla="*/ 6 h 11"/>
                  <a:gd name="T28" fmla="*/ 16 w 23"/>
                  <a:gd name="T2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11">
                    <a:moveTo>
                      <a:pt x="16" y="0"/>
                    </a:moveTo>
                    <a:cubicBezTo>
                      <a:pt x="15" y="0"/>
                      <a:pt x="8" y="0"/>
                      <a:pt x="6" y="0"/>
                    </a:cubicBezTo>
                    <a:cubicBezTo>
                      <a:pt x="3" y="0"/>
                      <a:pt x="0" y="2"/>
                      <a:pt x="0" y="6"/>
                    </a:cubicBezTo>
                    <a:cubicBezTo>
                      <a:pt x="0" y="6"/>
                      <a:pt x="0" y="8"/>
                      <a:pt x="0" y="10"/>
                    </a:cubicBezTo>
                    <a:cubicBezTo>
                      <a:pt x="1" y="11"/>
                      <a:pt x="3" y="11"/>
                      <a:pt x="4" y="11"/>
                    </a:cubicBezTo>
                    <a:cubicBezTo>
                      <a:pt x="4" y="9"/>
                      <a:pt x="4" y="7"/>
                      <a:pt x="4" y="7"/>
                    </a:cubicBezTo>
                    <a:cubicBezTo>
                      <a:pt x="4" y="7"/>
                      <a:pt x="4" y="7"/>
                      <a:pt x="5" y="7"/>
                    </a:cubicBezTo>
                    <a:cubicBezTo>
                      <a:pt x="5" y="7"/>
                      <a:pt x="5" y="9"/>
                      <a:pt x="5" y="11"/>
                    </a:cubicBezTo>
                    <a:cubicBezTo>
                      <a:pt x="9" y="11"/>
                      <a:pt x="13" y="11"/>
                      <a:pt x="17" y="11"/>
                    </a:cubicBezTo>
                    <a:cubicBezTo>
                      <a:pt x="17" y="9"/>
                      <a:pt x="17" y="7"/>
                      <a:pt x="17" y="7"/>
                    </a:cubicBezTo>
                    <a:cubicBezTo>
                      <a:pt x="17" y="7"/>
                      <a:pt x="17" y="7"/>
                      <a:pt x="18" y="7"/>
                    </a:cubicBezTo>
                    <a:cubicBezTo>
                      <a:pt x="18" y="7"/>
                      <a:pt x="18" y="9"/>
                      <a:pt x="18" y="11"/>
                    </a:cubicBezTo>
                    <a:cubicBezTo>
                      <a:pt x="20" y="11"/>
                      <a:pt x="21" y="11"/>
                      <a:pt x="23" y="11"/>
                    </a:cubicBezTo>
                    <a:cubicBezTo>
                      <a:pt x="23" y="9"/>
                      <a:pt x="23" y="6"/>
                      <a:pt x="23" y="6"/>
                    </a:cubicBezTo>
                    <a:cubicBezTo>
                      <a:pt x="23" y="2"/>
                      <a:pt x="20" y="0"/>
                      <a:pt x="16"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56" name="Oval 1774"/>
              <p:cNvSpPr>
                <a:spLocks noChangeArrowheads="1"/>
              </p:cNvSpPr>
              <p:nvPr/>
            </p:nvSpPr>
            <p:spPr bwMode="auto">
              <a:xfrm>
                <a:off x="20799426" y="2481263"/>
                <a:ext cx="33338"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57" name="Freeform 1775"/>
              <p:cNvSpPr>
                <a:spLocks/>
              </p:cNvSpPr>
              <p:nvPr/>
            </p:nvSpPr>
            <p:spPr bwMode="auto">
              <a:xfrm>
                <a:off x="20554951" y="2519363"/>
                <a:ext cx="101600" cy="176213"/>
              </a:xfrm>
              <a:custGeom>
                <a:avLst/>
                <a:gdLst>
                  <a:gd name="T0" fmla="*/ 23 w 27"/>
                  <a:gd name="T1" fmla="*/ 5 h 47"/>
                  <a:gd name="T2" fmla="*/ 18 w 27"/>
                  <a:gd name="T3" fmla="*/ 0 h 47"/>
                  <a:gd name="T4" fmla="*/ 10 w 27"/>
                  <a:gd name="T5" fmla="*/ 0 h 47"/>
                  <a:gd name="T6" fmla="*/ 5 w 27"/>
                  <a:gd name="T7" fmla="*/ 5 h 47"/>
                  <a:gd name="T8" fmla="*/ 1 w 27"/>
                  <a:gd name="T9" fmla="*/ 19 h 47"/>
                  <a:gd name="T10" fmla="*/ 2 w 27"/>
                  <a:gd name="T11" fmla="*/ 21 h 47"/>
                  <a:gd name="T12" fmla="*/ 4 w 27"/>
                  <a:gd name="T13" fmla="*/ 20 h 47"/>
                  <a:gd name="T14" fmla="*/ 8 w 27"/>
                  <a:gd name="T15" fmla="*/ 7 h 47"/>
                  <a:gd name="T16" fmla="*/ 9 w 27"/>
                  <a:gd name="T17" fmla="*/ 7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7 w 27"/>
                  <a:gd name="T35" fmla="*/ 47 h 47"/>
                  <a:gd name="T36" fmla="*/ 19 w 27"/>
                  <a:gd name="T37" fmla="*/ 45 h 47"/>
                  <a:gd name="T38" fmla="*/ 19 w 27"/>
                  <a:gd name="T39" fmla="*/ 28 h 47"/>
                  <a:gd name="T40" fmla="*/ 25 w 27"/>
                  <a:gd name="T41" fmla="*/ 28 h 47"/>
                  <a:gd name="T42" fmla="*/ 19 w 27"/>
                  <a:gd name="T43" fmla="*/ 7 h 47"/>
                  <a:gd name="T44" fmla="*/ 20 w 27"/>
                  <a:gd name="T45" fmla="*/ 7 h 47"/>
                  <a:gd name="T46" fmla="*/ 24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58" name="Oval 1776"/>
              <p:cNvSpPr>
                <a:spLocks noChangeArrowheads="1"/>
              </p:cNvSpPr>
              <p:nvPr/>
            </p:nvSpPr>
            <p:spPr bwMode="auto">
              <a:xfrm>
                <a:off x="20588288" y="2481263"/>
                <a:ext cx="38100"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59" name="Oval 1777"/>
              <p:cNvSpPr>
                <a:spLocks noChangeArrowheads="1"/>
              </p:cNvSpPr>
              <p:nvPr/>
            </p:nvSpPr>
            <p:spPr bwMode="auto">
              <a:xfrm>
                <a:off x="20588288" y="2714626"/>
                <a:ext cx="38100"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60" name="Freeform 1778"/>
              <p:cNvSpPr>
                <a:spLocks/>
              </p:cNvSpPr>
              <p:nvPr/>
            </p:nvSpPr>
            <p:spPr bwMode="auto">
              <a:xfrm>
                <a:off x="20313651" y="2989263"/>
                <a:ext cx="19050" cy="7938"/>
              </a:xfrm>
              <a:custGeom>
                <a:avLst/>
                <a:gdLst>
                  <a:gd name="T0" fmla="*/ 0 w 5"/>
                  <a:gd name="T1" fmla="*/ 0 h 2"/>
                  <a:gd name="T2" fmla="*/ 0 w 5"/>
                  <a:gd name="T3" fmla="*/ 0 h 2"/>
                  <a:gd name="T4" fmla="*/ 5 w 5"/>
                  <a:gd name="T5" fmla="*/ 2 h 2"/>
                  <a:gd name="T6" fmla="*/ 0 w 5"/>
                  <a:gd name="T7" fmla="*/ 0 h 2"/>
                </a:gdLst>
                <a:ahLst/>
                <a:cxnLst>
                  <a:cxn ang="0">
                    <a:pos x="T0" y="T1"/>
                  </a:cxn>
                  <a:cxn ang="0">
                    <a:pos x="T2" y="T3"/>
                  </a:cxn>
                  <a:cxn ang="0">
                    <a:pos x="T4" y="T5"/>
                  </a:cxn>
                  <a:cxn ang="0">
                    <a:pos x="T6" y="T7"/>
                  </a:cxn>
                </a:cxnLst>
                <a:rect l="0" t="0" r="r" b="b"/>
                <a:pathLst>
                  <a:path w="5" h="2">
                    <a:moveTo>
                      <a:pt x="0" y="0"/>
                    </a:moveTo>
                    <a:cubicBezTo>
                      <a:pt x="0" y="0"/>
                      <a:pt x="0" y="0"/>
                      <a:pt x="0" y="0"/>
                    </a:cubicBezTo>
                    <a:cubicBezTo>
                      <a:pt x="1" y="0"/>
                      <a:pt x="3" y="1"/>
                      <a:pt x="5" y="2"/>
                    </a:cubicBezTo>
                    <a:cubicBezTo>
                      <a:pt x="3" y="0"/>
                      <a:pt x="2" y="0"/>
                      <a:pt x="0"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61" name="Freeform 1779"/>
              <p:cNvSpPr>
                <a:spLocks/>
              </p:cNvSpPr>
              <p:nvPr/>
            </p:nvSpPr>
            <p:spPr bwMode="auto">
              <a:xfrm>
                <a:off x="20277138" y="2947988"/>
                <a:ext cx="36513" cy="33338"/>
              </a:xfrm>
              <a:custGeom>
                <a:avLst/>
                <a:gdLst>
                  <a:gd name="T0" fmla="*/ 10 w 10"/>
                  <a:gd name="T1" fmla="*/ 5 h 9"/>
                  <a:gd name="T2" fmla="*/ 5 w 10"/>
                  <a:gd name="T3" fmla="*/ 0 h 9"/>
                  <a:gd name="T4" fmla="*/ 0 w 10"/>
                  <a:gd name="T5" fmla="*/ 5 h 9"/>
                  <a:gd name="T6" fmla="*/ 1 w 10"/>
                  <a:gd name="T7" fmla="*/ 7 h 9"/>
                  <a:gd name="T8" fmla="*/ 6 w 10"/>
                  <a:gd name="T9" fmla="*/ 9 h 9"/>
                  <a:gd name="T10" fmla="*/ 10 w 10"/>
                  <a:gd name="T11" fmla="*/ 5 h 9"/>
                </a:gdLst>
                <a:ahLst/>
                <a:cxnLst>
                  <a:cxn ang="0">
                    <a:pos x="T0" y="T1"/>
                  </a:cxn>
                  <a:cxn ang="0">
                    <a:pos x="T2" y="T3"/>
                  </a:cxn>
                  <a:cxn ang="0">
                    <a:pos x="T4" y="T5"/>
                  </a:cxn>
                  <a:cxn ang="0">
                    <a:pos x="T6" y="T7"/>
                  </a:cxn>
                  <a:cxn ang="0">
                    <a:pos x="T8" y="T9"/>
                  </a:cxn>
                  <a:cxn ang="0">
                    <a:pos x="T10" y="T11"/>
                  </a:cxn>
                </a:cxnLst>
                <a:rect l="0" t="0" r="r" b="b"/>
                <a:pathLst>
                  <a:path w="10" h="9">
                    <a:moveTo>
                      <a:pt x="10" y="5"/>
                    </a:moveTo>
                    <a:cubicBezTo>
                      <a:pt x="10" y="2"/>
                      <a:pt x="7" y="0"/>
                      <a:pt x="5" y="0"/>
                    </a:cubicBezTo>
                    <a:cubicBezTo>
                      <a:pt x="2" y="0"/>
                      <a:pt x="0" y="2"/>
                      <a:pt x="0" y="5"/>
                    </a:cubicBezTo>
                    <a:cubicBezTo>
                      <a:pt x="0" y="5"/>
                      <a:pt x="0" y="6"/>
                      <a:pt x="1" y="7"/>
                    </a:cubicBezTo>
                    <a:cubicBezTo>
                      <a:pt x="3" y="7"/>
                      <a:pt x="4" y="8"/>
                      <a:pt x="6" y="9"/>
                    </a:cubicBezTo>
                    <a:cubicBezTo>
                      <a:pt x="8" y="9"/>
                      <a:pt x="10" y="7"/>
                      <a:pt x="10" y="5"/>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62" name="Oval 1780"/>
              <p:cNvSpPr>
                <a:spLocks noChangeArrowheads="1"/>
              </p:cNvSpPr>
              <p:nvPr/>
            </p:nvSpPr>
            <p:spPr bwMode="auto">
              <a:xfrm>
                <a:off x="20486688" y="2947988"/>
                <a:ext cx="33338" cy="33338"/>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63" name="Freeform 1781"/>
              <p:cNvSpPr>
                <a:spLocks/>
              </p:cNvSpPr>
              <p:nvPr/>
            </p:nvSpPr>
            <p:spPr bwMode="auto">
              <a:xfrm>
                <a:off x="20362863" y="2989263"/>
                <a:ext cx="74613" cy="38100"/>
              </a:xfrm>
              <a:custGeom>
                <a:avLst/>
                <a:gdLst>
                  <a:gd name="T0" fmla="*/ 13 w 20"/>
                  <a:gd name="T1" fmla="*/ 0 h 10"/>
                  <a:gd name="T2" fmla="*/ 6 w 20"/>
                  <a:gd name="T3" fmla="*/ 0 h 10"/>
                  <a:gd name="T4" fmla="*/ 0 w 20"/>
                  <a:gd name="T5" fmla="*/ 4 h 10"/>
                  <a:gd name="T6" fmla="*/ 0 w 20"/>
                  <a:gd name="T7" fmla="*/ 5 h 10"/>
                  <a:gd name="T8" fmla="*/ 4 w 20"/>
                  <a:gd name="T9" fmla="*/ 6 h 10"/>
                  <a:gd name="T10" fmla="*/ 5 w 20"/>
                  <a:gd name="T11" fmla="*/ 6 h 10"/>
                  <a:gd name="T12" fmla="*/ 5 w 20"/>
                  <a:gd name="T13" fmla="*/ 6 h 10"/>
                  <a:gd name="T14" fmla="*/ 15 w 20"/>
                  <a:gd name="T15" fmla="*/ 9 h 10"/>
                  <a:gd name="T16" fmla="*/ 14 w 20"/>
                  <a:gd name="T17" fmla="*/ 6 h 10"/>
                  <a:gd name="T18" fmla="*/ 15 w 20"/>
                  <a:gd name="T19" fmla="*/ 6 h 10"/>
                  <a:gd name="T20" fmla="*/ 16 w 20"/>
                  <a:gd name="T21" fmla="*/ 9 h 10"/>
                  <a:gd name="T22" fmla="*/ 20 w 20"/>
                  <a:gd name="T23" fmla="*/ 10 h 10"/>
                  <a:gd name="T24" fmla="*/ 19 w 20"/>
                  <a:gd name="T25" fmla="*/ 4 h 10"/>
                  <a:gd name="T26" fmla="*/ 13 w 20"/>
                  <a:gd name="T2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0">
                    <a:moveTo>
                      <a:pt x="13" y="0"/>
                    </a:moveTo>
                    <a:cubicBezTo>
                      <a:pt x="12" y="0"/>
                      <a:pt x="7" y="0"/>
                      <a:pt x="6" y="0"/>
                    </a:cubicBezTo>
                    <a:cubicBezTo>
                      <a:pt x="3" y="0"/>
                      <a:pt x="1" y="2"/>
                      <a:pt x="0" y="4"/>
                    </a:cubicBezTo>
                    <a:cubicBezTo>
                      <a:pt x="0" y="4"/>
                      <a:pt x="0" y="5"/>
                      <a:pt x="0" y="5"/>
                    </a:cubicBezTo>
                    <a:cubicBezTo>
                      <a:pt x="2" y="5"/>
                      <a:pt x="3" y="6"/>
                      <a:pt x="4" y="6"/>
                    </a:cubicBezTo>
                    <a:cubicBezTo>
                      <a:pt x="5" y="6"/>
                      <a:pt x="5" y="6"/>
                      <a:pt x="5" y="6"/>
                    </a:cubicBezTo>
                    <a:cubicBezTo>
                      <a:pt x="5" y="6"/>
                      <a:pt x="5" y="6"/>
                      <a:pt x="5" y="6"/>
                    </a:cubicBezTo>
                    <a:cubicBezTo>
                      <a:pt x="8" y="7"/>
                      <a:pt x="12" y="8"/>
                      <a:pt x="15" y="9"/>
                    </a:cubicBezTo>
                    <a:cubicBezTo>
                      <a:pt x="14" y="6"/>
                      <a:pt x="14" y="6"/>
                      <a:pt x="14" y="6"/>
                    </a:cubicBezTo>
                    <a:cubicBezTo>
                      <a:pt x="15" y="6"/>
                      <a:pt x="15" y="6"/>
                      <a:pt x="15" y="6"/>
                    </a:cubicBezTo>
                    <a:cubicBezTo>
                      <a:pt x="15" y="6"/>
                      <a:pt x="16" y="7"/>
                      <a:pt x="16" y="9"/>
                    </a:cubicBezTo>
                    <a:cubicBezTo>
                      <a:pt x="18" y="9"/>
                      <a:pt x="19" y="9"/>
                      <a:pt x="20" y="10"/>
                    </a:cubicBezTo>
                    <a:cubicBezTo>
                      <a:pt x="20" y="8"/>
                      <a:pt x="19" y="6"/>
                      <a:pt x="19" y="4"/>
                    </a:cubicBezTo>
                    <a:cubicBezTo>
                      <a:pt x="18" y="2"/>
                      <a:pt x="16" y="0"/>
                      <a:pt x="13"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64" name="Freeform 1782"/>
              <p:cNvSpPr>
                <a:spLocks/>
              </p:cNvSpPr>
              <p:nvPr/>
            </p:nvSpPr>
            <p:spPr bwMode="auto">
              <a:xfrm>
                <a:off x="20148551" y="2755901"/>
                <a:ext cx="82550" cy="173038"/>
              </a:xfrm>
              <a:custGeom>
                <a:avLst/>
                <a:gdLst>
                  <a:gd name="T0" fmla="*/ 11 w 22"/>
                  <a:gd name="T1" fmla="*/ 23 h 46"/>
                  <a:gd name="T2" fmla="*/ 12 w 22"/>
                  <a:gd name="T3" fmla="*/ 23 h 46"/>
                  <a:gd name="T4" fmla="*/ 12 w 22"/>
                  <a:gd name="T5" fmla="*/ 44 h 46"/>
                  <a:gd name="T6" fmla="*/ 15 w 22"/>
                  <a:gd name="T7" fmla="*/ 46 h 46"/>
                  <a:gd name="T8" fmla="*/ 17 w 22"/>
                  <a:gd name="T9" fmla="*/ 44 h 46"/>
                  <a:gd name="T10" fmla="*/ 17 w 22"/>
                  <a:gd name="T11" fmla="*/ 7 h 46"/>
                  <a:gd name="T12" fmla="*/ 18 w 22"/>
                  <a:gd name="T13" fmla="*/ 7 h 46"/>
                  <a:gd name="T14" fmla="*/ 18 w 22"/>
                  <a:gd name="T15" fmla="*/ 20 h 46"/>
                  <a:gd name="T16" fmla="*/ 20 w 22"/>
                  <a:gd name="T17" fmla="*/ 23 h 46"/>
                  <a:gd name="T18" fmla="*/ 22 w 22"/>
                  <a:gd name="T19" fmla="*/ 20 h 46"/>
                  <a:gd name="T20" fmla="*/ 22 w 22"/>
                  <a:gd name="T21" fmla="*/ 6 h 46"/>
                  <a:gd name="T22" fmla="*/ 16 w 22"/>
                  <a:gd name="T23" fmla="*/ 0 h 46"/>
                  <a:gd name="T24" fmla="*/ 6 w 22"/>
                  <a:gd name="T25" fmla="*/ 0 h 46"/>
                  <a:gd name="T26" fmla="*/ 0 w 22"/>
                  <a:gd name="T27" fmla="*/ 6 h 46"/>
                  <a:gd name="T28" fmla="*/ 0 w 22"/>
                  <a:gd name="T29" fmla="*/ 20 h 46"/>
                  <a:gd name="T30" fmla="*/ 2 w 22"/>
                  <a:gd name="T31" fmla="*/ 23 h 46"/>
                  <a:gd name="T32" fmla="*/ 4 w 22"/>
                  <a:gd name="T33" fmla="*/ 20 h 46"/>
                  <a:gd name="T34" fmla="*/ 4 w 22"/>
                  <a:gd name="T35" fmla="*/ 7 h 46"/>
                  <a:gd name="T36" fmla="*/ 5 w 22"/>
                  <a:gd name="T37" fmla="*/ 7 h 46"/>
                  <a:gd name="T38" fmla="*/ 5 w 22"/>
                  <a:gd name="T39" fmla="*/ 42 h 46"/>
                  <a:gd name="T40" fmla="*/ 10 w 22"/>
                  <a:gd name="T41" fmla="*/ 45 h 46"/>
                  <a:gd name="T42" fmla="*/ 11 w 22"/>
                  <a:gd name="T43" fmla="*/ 44 h 46"/>
                  <a:gd name="T44" fmla="*/ 11 w 22"/>
                  <a:gd name="T4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11" y="23"/>
                    </a:moveTo>
                    <a:cubicBezTo>
                      <a:pt x="11" y="23"/>
                      <a:pt x="11" y="23"/>
                      <a:pt x="12" y="23"/>
                    </a:cubicBezTo>
                    <a:cubicBezTo>
                      <a:pt x="12" y="23"/>
                      <a:pt x="12" y="41"/>
                      <a:pt x="12" y="44"/>
                    </a:cubicBezTo>
                    <a:cubicBezTo>
                      <a:pt x="12" y="45"/>
                      <a:pt x="13" y="46"/>
                      <a:pt x="15"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2" y="23"/>
                      <a:pt x="22" y="22"/>
                      <a:pt x="22" y="20"/>
                    </a:cubicBezTo>
                    <a:cubicBezTo>
                      <a:pt x="22" y="19"/>
                      <a:pt x="22" y="7"/>
                      <a:pt x="22" y="6"/>
                    </a:cubicBezTo>
                    <a:cubicBezTo>
                      <a:pt x="22" y="2"/>
                      <a:pt x="20" y="0"/>
                      <a:pt x="16" y="0"/>
                    </a:cubicBezTo>
                    <a:cubicBezTo>
                      <a:pt x="15" y="0"/>
                      <a:pt x="8" y="0"/>
                      <a:pt x="6" y="0"/>
                    </a:cubicBezTo>
                    <a:cubicBezTo>
                      <a:pt x="3" y="0"/>
                      <a:pt x="0" y="2"/>
                      <a:pt x="0" y="6"/>
                    </a:cubicBezTo>
                    <a:cubicBezTo>
                      <a:pt x="0" y="7"/>
                      <a:pt x="0" y="19"/>
                      <a:pt x="0" y="20"/>
                    </a:cubicBezTo>
                    <a:cubicBezTo>
                      <a:pt x="0" y="22"/>
                      <a:pt x="1" y="23"/>
                      <a:pt x="2" y="23"/>
                    </a:cubicBezTo>
                    <a:cubicBezTo>
                      <a:pt x="3" y="23"/>
                      <a:pt x="4" y="22"/>
                      <a:pt x="4" y="20"/>
                    </a:cubicBezTo>
                    <a:cubicBezTo>
                      <a:pt x="4" y="19"/>
                      <a:pt x="4" y="7"/>
                      <a:pt x="4" y="7"/>
                    </a:cubicBezTo>
                    <a:cubicBezTo>
                      <a:pt x="4" y="7"/>
                      <a:pt x="4" y="7"/>
                      <a:pt x="5" y="7"/>
                    </a:cubicBezTo>
                    <a:cubicBezTo>
                      <a:pt x="5" y="7"/>
                      <a:pt x="5" y="35"/>
                      <a:pt x="5" y="42"/>
                    </a:cubicBezTo>
                    <a:cubicBezTo>
                      <a:pt x="7" y="43"/>
                      <a:pt x="8" y="44"/>
                      <a:pt x="10" y="45"/>
                    </a:cubicBezTo>
                    <a:cubicBezTo>
                      <a:pt x="10" y="45"/>
                      <a:pt x="11" y="44"/>
                      <a:pt x="11" y="44"/>
                    </a:cubicBezTo>
                    <a:cubicBezTo>
                      <a:pt x="11" y="41"/>
                      <a:pt x="11" y="23"/>
                      <a:pt x="11" y="23"/>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65" name="Oval 1783"/>
              <p:cNvSpPr>
                <a:spLocks noChangeArrowheads="1"/>
              </p:cNvSpPr>
              <p:nvPr/>
            </p:nvSpPr>
            <p:spPr bwMode="auto">
              <a:xfrm>
                <a:off x="20486688" y="2481263"/>
                <a:ext cx="33338"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66" name="Freeform 1784"/>
              <p:cNvSpPr>
                <a:spLocks/>
              </p:cNvSpPr>
              <p:nvPr/>
            </p:nvSpPr>
            <p:spPr bwMode="auto">
              <a:xfrm>
                <a:off x="20453351" y="2755901"/>
                <a:ext cx="101600" cy="176213"/>
              </a:xfrm>
              <a:custGeom>
                <a:avLst/>
                <a:gdLst>
                  <a:gd name="T0" fmla="*/ 22 w 27"/>
                  <a:gd name="T1" fmla="*/ 4 h 47"/>
                  <a:gd name="T2" fmla="*/ 17 w 27"/>
                  <a:gd name="T3" fmla="*/ 0 h 47"/>
                  <a:gd name="T4" fmla="*/ 10 w 27"/>
                  <a:gd name="T5" fmla="*/ 0 h 47"/>
                  <a:gd name="T6" fmla="*/ 4 w 27"/>
                  <a:gd name="T7" fmla="*/ 4 h 47"/>
                  <a:gd name="T8" fmla="*/ 0 w 27"/>
                  <a:gd name="T9" fmla="*/ 18 h 47"/>
                  <a:gd name="T10" fmla="*/ 1 w 27"/>
                  <a:gd name="T11" fmla="*/ 20 h 47"/>
                  <a:gd name="T12" fmla="*/ 4 w 27"/>
                  <a:gd name="T13" fmla="*/ 19 h 47"/>
                  <a:gd name="T14" fmla="*/ 7 w 27"/>
                  <a:gd name="T15" fmla="*/ 6 h 47"/>
                  <a:gd name="T16" fmla="*/ 9 w 27"/>
                  <a:gd name="T17" fmla="*/ 6 h 47"/>
                  <a:gd name="T18" fmla="*/ 2 w 27"/>
                  <a:gd name="T19" fmla="*/ 28 h 47"/>
                  <a:gd name="T20" fmla="*/ 8 w 27"/>
                  <a:gd name="T21" fmla="*/ 28 h 47"/>
                  <a:gd name="T22" fmla="*/ 8 w 27"/>
                  <a:gd name="T23" fmla="*/ 44 h 47"/>
                  <a:gd name="T24" fmla="*/ 11 w 27"/>
                  <a:gd name="T25" fmla="*/ 47 h 47"/>
                  <a:gd name="T26" fmla="*/ 13 w 27"/>
                  <a:gd name="T27" fmla="*/ 44 h 47"/>
                  <a:gd name="T28" fmla="*/ 13 w 27"/>
                  <a:gd name="T29" fmla="*/ 28 h 47"/>
                  <a:gd name="T30" fmla="*/ 14 w 27"/>
                  <a:gd name="T31" fmla="*/ 28 h 47"/>
                  <a:gd name="T32" fmla="*/ 14 w 27"/>
                  <a:gd name="T33" fmla="*/ 44 h 47"/>
                  <a:gd name="T34" fmla="*/ 16 w 27"/>
                  <a:gd name="T35" fmla="*/ 47 h 47"/>
                  <a:gd name="T36" fmla="*/ 18 w 27"/>
                  <a:gd name="T37" fmla="*/ 44 h 47"/>
                  <a:gd name="T38" fmla="*/ 18 w 27"/>
                  <a:gd name="T39" fmla="*/ 28 h 47"/>
                  <a:gd name="T40" fmla="*/ 25 w 27"/>
                  <a:gd name="T41" fmla="*/ 28 h 47"/>
                  <a:gd name="T42" fmla="*/ 18 w 27"/>
                  <a:gd name="T43" fmla="*/ 6 h 47"/>
                  <a:gd name="T44" fmla="*/ 19 w 27"/>
                  <a:gd name="T45" fmla="*/ 6 h 47"/>
                  <a:gd name="T46" fmla="*/ 23 w 27"/>
                  <a:gd name="T47" fmla="*/ 19 h 47"/>
                  <a:gd name="T48" fmla="*/ 25 w 27"/>
                  <a:gd name="T49" fmla="*/ 20 h 47"/>
                  <a:gd name="T50" fmla="*/ 27 w 27"/>
                  <a:gd name="T51" fmla="*/ 18 h 47"/>
                  <a:gd name="T52" fmla="*/ 22 w 27"/>
                  <a:gd name="T53"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2" y="4"/>
                    </a:moveTo>
                    <a:cubicBezTo>
                      <a:pt x="22" y="2"/>
                      <a:pt x="19" y="0"/>
                      <a:pt x="17" y="0"/>
                    </a:cubicBezTo>
                    <a:cubicBezTo>
                      <a:pt x="16" y="0"/>
                      <a:pt x="11" y="0"/>
                      <a:pt x="10" y="0"/>
                    </a:cubicBezTo>
                    <a:cubicBezTo>
                      <a:pt x="7" y="0"/>
                      <a:pt x="5" y="2"/>
                      <a:pt x="4" y="4"/>
                    </a:cubicBezTo>
                    <a:cubicBezTo>
                      <a:pt x="2" y="10"/>
                      <a:pt x="0" y="17"/>
                      <a:pt x="0" y="18"/>
                    </a:cubicBezTo>
                    <a:cubicBezTo>
                      <a:pt x="0" y="19"/>
                      <a:pt x="0" y="20"/>
                      <a:pt x="1" y="20"/>
                    </a:cubicBezTo>
                    <a:cubicBezTo>
                      <a:pt x="2" y="21"/>
                      <a:pt x="3" y="20"/>
                      <a:pt x="4" y="19"/>
                    </a:cubicBezTo>
                    <a:cubicBezTo>
                      <a:pt x="4" y="18"/>
                      <a:pt x="7" y="6"/>
                      <a:pt x="7" y="6"/>
                    </a:cubicBezTo>
                    <a:cubicBezTo>
                      <a:pt x="9" y="6"/>
                      <a:pt x="9" y="6"/>
                      <a:pt x="9" y="6"/>
                    </a:cubicBezTo>
                    <a:cubicBezTo>
                      <a:pt x="2" y="28"/>
                      <a:pt x="2" y="28"/>
                      <a:pt x="2" y="28"/>
                    </a:cubicBezTo>
                    <a:cubicBezTo>
                      <a:pt x="8" y="28"/>
                      <a:pt x="8" y="28"/>
                      <a:pt x="8" y="28"/>
                    </a:cubicBezTo>
                    <a:cubicBezTo>
                      <a:pt x="8" y="35"/>
                      <a:pt x="8" y="43"/>
                      <a:pt x="8" y="44"/>
                    </a:cubicBezTo>
                    <a:cubicBezTo>
                      <a:pt x="8" y="46"/>
                      <a:pt x="9" y="47"/>
                      <a:pt x="11" y="47"/>
                    </a:cubicBezTo>
                    <a:cubicBezTo>
                      <a:pt x="12" y="47"/>
                      <a:pt x="13" y="46"/>
                      <a:pt x="13" y="44"/>
                    </a:cubicBezTo>
                    <a:cubicBezTo>
                      <a:pt x="13" y="43"/>
                      <a:pt x="13" y="28"/>
                      <a:pt x="13" y="28"/>
                    </a:cubicBezTo>
                    <a:cubicBezTo>
                      <a:pt x="14" y="28"/>
                      <a:pt x="14" y="28"/>
                      <a:pt x="14" y="28"/>
                    </a:cubicBezTo>
                    <a:cubicBezTo>
                      <a:pt x="14" y="28"/>
                      <a:pt x="14" y="43"/>
                      <a:pt x="14" y="44"/>
                    </a:cubicBezTo>
                    <a:cubicBezTo>
                      <a:pt x="14" y="46"/>
                      <a:pt x="15" y="47"/>
                      <a:pt x="16" y="47"/>
                    </a:cubicBezTo>
                    <a:cubicBezTo>
                      <a:pt x="17" y="47"/>
                      <a:pt x="18" y="46"/>
                      <a:pt x="18" y="44"/>
                    </a:cubicBezTo>
                    <a:cubicBezTo>
                      <a:pt x="18" y="43"/>
                      <a:pt x="18" y="35"/>
                      <a:pt x="18" y="28"/>
                    </a:cubicBezTo>
                    <a:cubicBezTo>
                      <a:pt x="25" y="28"/>
                      <a:pt x="25" y="28"/>
                      <a:pt x="25" y="28"/>
                    </a:cubicBezTo>
                    <a:cubicBezTo>
                      <a:pt x="18" y="6"/>
                      <a:pt x="18" y="6"/>
                      <a:pt x="18" y="6"/>
                    </a:cubicBezTo>
                    <a:cubicBezTo>
                      <a:pt x="19" y="6"/>
                      <a:pt x="19" y="6"/>
                      <a:pt x="19" y="6"/>
                    </a:cubicBezTo>
                    <a:cubicBezTo>
                      <a:pt x="19" y="6"/>
                      <a:pt x="23" y="18"/>
                      <a:pt x="23" y="19"/>
                    </a:cubicBezTo>
                    <a:cubicBezTo>
                      <a:pt x="23" y="20"/>
                      <a:pt x="24" y="21"/>
                      <a:pt x="25" y="20"/>
                    </a:cubicBezTo>
                    <a:cubicBezTo>
                      <a:pt x="26" y="20"/>
                      <a:pt x="27" y="19"/>
                      <a:pt x="27" y="18"/>
                    </a:cubicBezTo>
                    <a:cubicBezTo>
                      <a:pt x="26" y="17"/>
                      <a:pt x="24" y="10"/>
                      <a:pt x="22" y="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67" name="Oval 1785"/>
              <p:cNvSpPr>
                <a:spLocks noChangeArrowheads="1"/>
              </p:cNvSpPr>
              <p:nvPr/>
            </p:nvSpPr>
            <p:spPr bwMode="auto">
              <a:xfrm>
                <a:off x="19969163" y="2714626"/>
                <a:ext cx="36513" cy="38100"/>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68" name="Freeform 1786"/>
              <p:cNvSpPr>
                <a:spLocks/>
              </p:cNvSpPr>
              <p:nvPr/>
            </p:nvSpPr>
            <p:spPr bwMode="auto">
              <a:xfrm>
                <a:off x="19878676" y="2714626"/>
                <a:ext cx="19050" cy="11113"/>
              </a:xfrm>
              <a:custGeom>
                <a:avLst/>
                <a:gdLst>
                  <a:gd name="T0" fmla="*/ 1 w 5"/>
                  <a:gd name="T1" fmla="*/ 0 h 3"/>
                  <a:gd name="T2" fmla="*/ 0 w 5"/>
                  <a:gd name="T3" fmla="*/ 0 h 3"/>
                  <a:gd name="T4" fmla="*/ 5 w 5"/>
                  <a:gd name="T5" fmla="*/ 3 h 3"/>
                  <a:gd name="T6" fmla="*/ 1 w 5"/>
                  <a:gd name="T7" fmla="*/ 0 h 3"/>
                </a:gdLst>
                <a:ahLst/>
                <a:cxnLst>
                  <a:cxn ang="0">
                    <a:pos x="T0" y="T1"/>
                  </a:cxn>
                  <a:cxn ang="0">
                    <a:pos x="T2" y="T3"/>
                  </a:cxn>
                  <a:cxn ang="0">
                    <a:pos x="T4" y="T5"/>
                  </a:cxn>
                  <a:cxn ang="0">
                    <a:pos x="T6" y="T7"/>
                  </a:cxn>
                </a:cxnLst>
                <a:rect l="0" t="0" r="r" b="b"/>
                <a:pathLst>
                  <a:path w="5" h="3">
                    <a:moveTo>
                      <a:pt x="1" y="0"/>
                    </a:moveTo>
                    <a:cubicBezTo>
                      <a:pt x="1" y="0"/>
                      <a:pt x="0" y="0"/>
                      <a:pt x="0" y="0"/>
                    </a:cubicBezTo>
                    <a:cubicBezTo>
                      <a:pt x="2" y="1"/>
                      <a:pt x="4" y="2"/>
                      <a:pt x="5" y="3"/>
                    </a:cubicBezTo>
                    <a:cubicBezTo>
                      <a:pt x="5" y="1"/>
                      <a:pt x="3" y="0"/>
                      <a:pt x="1"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69" name="Freeform 1787"/>
              <p:cNvSpPr>
                <a:spLocks/>
              </p:cNvSpPr>
              <p:nvPr/>
            </p:nvSpPr>
            <p:spPr bwMode="auto">
              <a:xfrm>
                <a:off x="19934238" y="2519363"/>
                <a:ext cx="101600" cy="176213"/>
              </a:xfrm>
              <a:custGeom>
                <a:avLst/>
                <a:gdLst>
                  <a:gd name="T0" fmla="*/ 23 w 27"/>
                  <a:gd name="T1" fmla="*/ 5 h 47"/>
                  <a:gd name="T2" fmla="*/ 18 w 27"/>
                  <a:gd name="T3" fmla="*/ 0 h 47"/>
                  <a:gd name="T4" fmla="*/ 10 w 27"/>
                  <a:gd name="T5" fmla="*/ 0 h 47"/>
                  <a:gd name="T6" fmla="*/ 5 w 27"/>
                  <a:gd name="T7" fmla="*/ 5 h 47"/>
                  <a:gd name="T8" fmla="*/ 1 w 27"/>
                  <a:gd name="T9" fmla="*/ 19 h 47"/>
                  <a:gd name="T10" fmla="*/ 2 w 27"/>
                  <a:gd name="T11" fmla="*/ 21 h 47"/>
                  <a:gd name="T12" fmla="*/ 4 w 27"/>
                  <a:gd name="T13" fmla="*/ 20 h 47"/>
                  <a:gd name="T14" fmla="*/ 8 w 27"/>
                  <a:gd name="T15" fmla="*/ 7 h 47"/>
                  <a:gd name="T16" fmla="*/ 9 w 27"/>
                  <a:gd name="T17" fmla="*/ 7 h 47"/>
                  <a:gd name="T18" fmla="*/ 3 w 27"/>
                  <a:gd name="T19" fmla="*/ 28 h 47"/>
                  <a:gd name="T20" fmla="*/ 9 w 27"/>
                  <a:gd name="T21" fmla="*/ 28 h 47"/>
                  <a:gd name="T22" fmla="*/ 9 w 27"/>
                  <a:gd name="T23" fmla="*/ 45 h 47"/>
                  <a:gd name="T24" fmla="*/ 11 w 27"/>
                  <a:gd name="T25" fmla="*/ 47 h 47"/>
                  <a:gd name="T26" fmla="*/ 13 w 27"/>
                  <a:gd name="T27" fmla="*/ 45 h 47"/>
                  <a:gd name="T28" fmla="*/ 13 w 27"/>
                  <a:gd name="T29" fmla="*/ 28 h 47"/>
                  <a:gd name="T30" fmla="*/ 14 w 27"/>
                  <a:gd name="T31" fmla="*/ 28 h 47"/>
                  <a:gd name="T32" fmla="*/ 14 w 27"/>
                  <a:gd name="T33" fmla="*/ 45 h 47"/>
                  <a:gd name="T34" fmla="*/ 17 w 27"/>
                  <a:gd name="T35" fmla="*/ 47 h 47"/>
                  <a:gd name="T36" fmla="*/ 19 w 27"/>
                  <a:gd name="T37" fmla="*/ 45 h 47"/>
                  <a:gd name="T38" fmla="*/ 19 w 27"/>
                  <a:gd name="T39" fmla="*/ 28 h 47"/>
                  <a:gd name="T40" fmla="*/ 25 w 27"/>
                  <a:gd name="T41" fmla="*/ 28 h 47"/>
                  <a:gd name="T42" fmla="*/ 19 w 27"/>
                  <a:gd name="T43" fmla="*/ 7 h 47"/>
                  <a:gd name="T44" fmla="*/ 20 w 27"/>
                  <a:gd name="T45" fmla="*/ 7 h 47"/>
                  <a:gd name="T46" fmla="*/ 24 w 27"/>
                  <a:gd name="T47" fmla="*/ 20 h 47"/>
                  <a:gd name="T48" fmla="*/ 26 w 27"/>
                  <a:gd name="T49" fmla="*/ 21 h 47"/>
                  <a:gd name="T50" fmla="*/ 27 w 27"/>
                  <a:gd name="T51" fmla="*/ 19 h 47"/>
                  <a:gd name="T52" fmla="*/ 23 w 27"/>
                  <a:gd name="T5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23" y="5"/>
                    </a:moveTo>
                    <a:cubicBezTo>
                      <a:pt x="22" y="3"/>
                      <a:pt x="20" y="0"/>
                      <a:pt x="18" y="0"/>
                    </a:cubicBezTo>
                    <a:cubicBezTo>
                      <a:pt x="17" y="0"/>
                      <a:pt x="11" y="0"/>
                      <a:pt x="10" y="0"/>
                    </a:cubicBezTo>
                    <a:cubicBezTo>
                      <a:pt x="8" y="0"/>
                      <a:pt x="5" y="3"/>
                      <a:pt x="5" y="5"/>
                    </a:cubicBezTo>
                    <a:cubicBezTo>
                      <a:pt x="3" y="11"/>
                      <a:pt x="1" y="18"/>
                      <a:pt x="1" y="19"/>
                    </a:cubicBezTo>
                    <a:cubicBezTo>
                      <a:pt x="0" y="20"/>
                      <a:pt x="1" y="21"/>
                      <a:pt x="2" y="21"/>
                    </a:cubicBezTo>
                    <a:cubicBezTo>
                      <a:pt x="3" y="21"/>
                      <a:pt x="4" y="21"/>
                      <a:pt x="4" y="20"/>
                    </a:cubicBezTo>
                    <a:cubicBezTo>
                      <a:pt x="5" y="18"/>
                      <a:pt x="8" y="7"/>
                      <a:pt x="8" y="7"/>
                    </a:cubicBezTo>
                    <a:cubicBezTo>
                      <a:pt x="9" y="7"/>
                      <a:pt x="9" y="7"/>
                      <a:pt x="9" y="7"/>
                    </a:cubicBezTo>
                    <a:cubicBezTo>
                      <a:pt x="3" y="28"/>
                      <a:pt x="3" y="28"/>
                      <a:pt x="3" y="28"/>
                    </a:cubicBezTo>
                    <a:cubicBezTo>
                      <a:pt x="9" y="28"/>
                      <a:pt x="9" y="28"/>
                      <a:pt x="9" y="28"/>
                    </a:cubicBezTo>
                    <a:cubicBezTo>
                      <a:pt x="9" y="36"/>
                      <a:pt x="9" y="44"/>
                      <a:pt x="9" y="45"/>
                    </a:cubicBezTo>
                    <a:cubicBezTo>
                      <a:pt x="9" y="46"/>
                      <a:pt x="10"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7" y="47"/>
                    </a:cubicBezTo>
                    <a:cubicBezTo>
                      <a:pt x="18" y="47"/>
                      <a:pt x="19" y="46"/>
                      <a:pt x="19" y="45"/>
                    </a:cubicBezTo>
                    <a:cubicBezTo>
                      <a:pt x="19" y="44"/>
                      <a:pt x="19" y="36"/>
                      <a:pt x="19" y="28"/>
                    </a:cubicBezTo>
                    <a:cubicBezTo>
                      <a:pt x="25" y="28"/>
                      <a:pt x="25" y="28"/>
                      <a:pt x="25" y="28"/>
                    </a:cubicBezTo>
                    <a:cubicBezTo>
                      <a:pt x="19" y="7"/>
                      <a:pt x="19" y="7"/>
                      <a:pt x="19" y="7"/>
                    </a:cubicBezTo>
                    <a:cubicBezTo>
                      <a:pt x="20" y="7"/>
                      <a:pt x="20" y="7"/>
                      <a:pt x="20" y="7"/>
                    </a:cubicBezTo>
                    <a:cubicBezTo>
                      <a:pt x="20" y="7"/>
                      <a:pt x="23" y="18"/>
                      <a:pt x="24" y="20"/>
                    </a:cubicBezTo>
                    <a:cubicBezTo>
                      <a:pt x="24" y="21"/>
                      <a:pt x="25" y="21"/>
                      <a:pt x="26" y="21"/>
                    </a:cubicBezTo>
                    <a:cubicBezTo>
                      <a:pt x="27" y="21"/>
                      <a:pt x="27" y="20"/>
                      <a:pt x="27" y="19"/>
                    </a:cubicBezTo>
                    <a:cubicBezTo>
                      <a:pt x="27" y="18"/>
                      <a:pt x="25" y="11"/>
                      <a:pt x="23" y="5"/>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70" name="Oval 1788"/>
              <p:cNvSpPr>
                <a:spLocks noChangeArrowheads="1"/>
              </p:cNvSpPr>
              <p:nvPr/>
            </p:nvSpPr>
            <p:spPr bwMode="auto">
              <a:xfrm>
                <a:off x="19867563" y="2481263"/>
                <a:ext cx="33338"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71" name="Freeform 1789"/>
              <p:cNvSpPr>
                <a:spLocks/>
              </p:cNvSpPr>
              <p:nvPr/>
            </p:nvSpPr>
            <p:spPr bwMode="auto">
              <a:xfrm>
                <a:off x="19840576" y="2519363"/>
                <a:ext cx="82550" cy="176213"/>
              </a:xfrm>
              <a:custGeom>
                <a:avLst/>
                <a:gdLst>
                  <a:gd name="T0" fmla="*/ 4 w 22"/>
                  <a:gd name="T1" fmla="*/ 21 h 47"/>
                  <a:gd name="T2" fmla="*/ 4 w 22"/>
                  <a:gd name="T3" fmla="*/ 8 h 47"/>
                  <a:gd name="T4" fmla="*/ 5 w 22"/>
                  <a:gd name="T5" fmla="*/ 8 h 47"/>
                  <a:gd name="T6" fmla="*/ 5 w 22"/>
                  <a:gd name="T7" fmla="*/ 44 h 47"/>
                  <a:gd name="T8" fmla="*/ 8 w 22"/>
                  <a:gd name="T9" fmla="*/ 47 h 47"/>
                  <a:gd name="T10" fmla="*/ 11 w 22"/>
                  <a:gd name="T11" fmla="*/ 44 h 47"/>
                  <a:gd name="T12" fmla="*/ 11 w 22"/>
                  <a:gd name="T13" fmla="*/ 23 h 47"/>
                  <a:gd name="T14" fmla="*/ 12 w 22"/>
                  <a:gd name="T15" fmla="*/ 23 h 47"/>
                  <a:gd name="T16" fmla="*/ 12 w 22"/>
                  <a:gd name="T17" fmla="*/ 44 h 47"/>
                  <a:gd name="T18" fmla="*/ 14 w 22"/>
                  <a:gd name="T19" fmla="*/ 47 h 47"/>
                  <a:gd name="T20" fmla="*/ 17 w 22"/>
                  <a:gd name="T21" fmla="*/ 44 h 47"/>
                  <a:gd name="T22" fmla="*/ 17 w 22"/>
                  <a:gd name="T23" fmla="*/ 8 h 47"/>
                  <a:gd name="T24" fmla="*/ 18 w 22"/>
                  <a:gd name="T25" fmla="*/ 8 h 47"/>
                  <a:gd name="T26" fmla="*/ 18 w 22"/>
                  <a:gd name="T27" fmla="*/ 21 h 47"/>
                  <a:gd name="T28" fmla="*/ 20 w 22"/>
                  <a:gd name="T29" fmla="*/ 23 h 47"/>
                  <a:gd name="T30" fmla="*/ 22 w 22"/>
                  <a:gd name="T31" fmla="*/ 21 h 47"/>
                  <a:gd name="T32" fmla="*/ 22 w 22"/>
                  <a:gd name="T33" fmla="*/ 6 h 47"/>
                  <a:gd name="T34" fmla="*/ 16 w 22"/>
                  <a:gd name="T35" fmla="*/ 0 h 47"/>
                  <a:gd name="T36" fmla="*/ 6 w 22"/>
                  <a:gd name="T37" fmla="*/ 0 h 47"/>
                  <a:gd name="T38" fmla="*/ 0 w 22"/>
                  <a:gd name="T39" fmla="*/ 5 h 47"/>
                  <a:gd name="T40" fmla="*/ 1 w 22"/>
                  <a:gd name="T41" fmla="*/ 16 h 47"/>
                  <a:gd name="T42" fmla="*/ 1 w 22"/>
                  <a:gd name="T43" fmla="*/ 23 h 47"/>
                  <a:gd name="T44" fmla="*/ 2 w 22"/>
                  <a:gd name="T45" fmla="*/ 23 h 47"/>
                  <a:gd name="T46" fmla="*/ 4 w 22"/>
                  <a:gd name="T47"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47">
                    <a:moveTo>
                      <a:pt x="4" y="21"/>
                    </a:moveTo>
                    <a:cubicBezTo>
                      <a:pt x="4" y="20"/>
                      <a:pt x="4" y="8"/>
                      <a:pt x="4" y="8"/>
                    </a:cubicBezTo>
                    <a:cubicBezTo>
                      <a:pt x="4" y="8"/>
                      <a:pt x="4" y="8"/>
                      <a:pt x="5" y="8"/>
                    </a:cubicBezTo>
                    <a:cubicBezTo>
                      <a:pt x="5" y="8"/>
                      <a:pt x="5" y="42"/>
                      <a:pt x="5" y="44"/>
                    </a:cubicBezTo>
                    <a:cubicBezTo>
                      <a:pt x="5" y="46"/>
                      <a:pt x="6" y="47"/>
                      <a:pt x="8" y="47"/>
                    </a:cubicBezTo>
                    <a:cubicBezTo>
                      <a:pt x="9" y="47"/>
                      <a:pt x="11" y="46"/>
                      <a:pt x="11" y="44"/>
                    </a:cubicBezTo>
                    <a:cubicBezTo>
                      <a:pt x="11" y="42"/>
                      <a:pt x="11" y="23"/>
                      <a:pt x="11" y="23"/>
                    </a:cubicBezTo>
                    <a:cubicBezTo>
                      <a:pt x="11" y="23"/>
                      <a:pt x="11" y="23"/>
                      <a:pt x="12" y="23"/>
                    </a:cubicBezTo>
                    <a:cubicBezTo>
                      <a:pt x="12" y="23"/>
                      <a:pt x="12" y="42"/>
                      <a:pt x="12" y="44"/>
                    </a:cubicBezTo>
                    <a:cubicBezTo>
                      <a:pt x="12" y="46"/>
                      <a:pt x="13" y="47"/>
                      <a:pt x="14" y="47"/>
                    </a:cubicBezTo>
                    <a:cubicBezTo>
                      <a:pt x="16" y="47"/>
                      <a:pt x="17" y="46"/>
                      <a:pt x="17" y="44"/>
                    </a:cubicBezTo>
                    <a:cubicBezTo>
                      <a:pt x="17" y="42"/>
                      <a:pt x="17" y="8"/>
                      <a:pt x="17" y="8"/>
                    </a:cubicBezTo>
                    <a:cubicBezTo>
                      <a:pt x="17" y="8"/>
                      <a:pt x="17" y="8"/>
                      <a:pt x="18" y="8"/>
                    </a:cubicBezTo>
                    <a:cubicBezTo>
                      <a:pt x="18" y="8"/>
                      <a:pt x="18" y="20"/>
                      <a:pt x="18" y="21"/>
                    </a:cubicBezTo>
                    <a:cubicBezTo>
                      <a:pt x="18" y="22"/>
                      <a:pt x="19" y="23"/>
                      <a:pt x="20" y="23"/>
                    </a:cubicBezTo>
                    <a:cubicBezTo>
                      <a:pt x="22" y="23"/>
                      <a:pt x="22" y="22"/>
                      <a:pt x="22" y="21"/>
                    </a:cubicBezTo>
                    <a:cubicBezTo>
                      <a:pt x="22" y="20"/>
                      <a:pt x="22" y="8"/>
                      <a:pt x="22" y="6"/>
                    </a:cubicBezTo>
                    <a:cubicBezTo>
                      <a:pt x="22" y="3"/>
                      <a:pt x="20" y="0"/>
                      <a:pt x="16" y="0"/>
                    </a:cubicBezTo>
                    <a:cubicBezTo>
                      <a:pt x="15" y="0"/>
                      <a:pt x="8" y="0"/>
                      <a:pt x="6" y="0"/>
                    </a:cubicBezTo>
                    <a:cubicBezTo>
                      <a:pt x="3" y="0"/>
                      <a:pt x="0" y="3"/>
                      <a:pt x="0" y="5"/>
                    </a:cubicBezTo>
                    <a:cubicBezTo>
                      <a:pt x="1" y="9"/>
                      <a:pt x="1" y="12"/>
                      <a:pt x="1" y="16"/>
                    </a:cubicBezTo>
                    <a:cubicBezTo>
                      <a:pt x="2" y="19"/>
                      <a:pt x="1" y="21"/>
                      <a:pt x="1" y="23"/>
                    </a:cubicBezTo>
                    <a:cubicBezTo>
                      <a:pt x="1" y="23"/>
                      <a:pt x="2" y="23"/>
                      <a:pt x="2" y="23"/>
                    </a:cubicBezTo>
                    <a:cubicBezTo>
                      <a:pt x="3" y="23"/>
                      <a:pt x="4" y="22"/>
                      <a:pt x="4" y="21"/>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72" name="Freeform 1790"/>
              <p:cNvSpPr>
                <a:spLocks/>
              </p:cNvSpPr>
              <p:nvPr/>
            </p:nvSpPr>
            <p:spPr bwMode="auto">
              <a:xfrm>
                <a:off x="19969163" y="2755901"/>
                <a:ext cx="58738" cy="49213"/>
              </a:xfrm>
              <a:custGeom>
                <a:avLst/>
                <a:gdLst>
                  <a:gd name="T0" fmla="*/ 10 w 16"/>
                  <a:gd name="T1" fmla="*/ 0 h 13"/>
                  <a:gd name="T2" fmla="*/ 0 w 16"/>
                  <a:gd name="T3" fmla="*/ 0 h 13"/>
                  <a:gd name="T4" fmla="*/ 11 w 16"/>
                  <a:gd name="T5" fmla="*/ 8 h 13"/>
                  <a:gd name="T6" fmla="*/ 11 w 16"/>
                  <a:gd name="T7" fmla="*/ 7 h 13"/>
                  <a:gd name="T8" fmla="*/ 12 w 16"/>
                  <a:gd name="T9" fmla="*/ 7 h 13"/>
                  <a:gd name="T10" fmla="*/ 12 w 16"/>
                  <a:gd name="T11" fmla="*/ 9 h 13"/>
                  <a:gd name="T12" fmla="*/ 16 w 16"/>
                  <a:gd name="T13" fmla="*/ 13 h 13"/>
                  <a:gd name="T14" fmla="*/ 16 w 16"/>
                  <a:gd name="T15" fmla="*/ 6 h 13"/>
                  <a:gd name="T16" fmla="*/ 10 w 16"/>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3">
                    <a:moveTo>
                      <a:pt x="10" y="0"/>
                    </a:moveTo>
                    <a:cubicBezTo>
                      <a:pt x="8" y="0"/>
                      <a:pt x="2" y="0"/>
                      <a:pt x="0" y="0"/>
                    </a:cubicBezTo>
                    <a:cubicBezTo>
                      <a:pt x="4" y="3"/>
                      <a:pt x="7" y="5"/>
                      <a:pt x="11" y="8"/>
                    </a:cubicBezTo>
                    <a:cubicBezTo>
                      <a:pt x="11" y="8"/>
                      <a:pt x="11" y="7"/>
                      <a:pt x="11" y="7"/>
                    </a:cubicBezTo>
                    <a:cubicBezTo>
                      <a:pt x="11" y="7"/>
                      <a:pt x="11" y="7"/>
                      <a:pt x="12" y="7"/>
                    </a:cubicBezTo>
                    <a:cubicBezTo>
                      <a:pt x="12" y="7"/>
                      <a:pt x="12" y="8"/>
                      <a:pt x="12" y="9"/>
                    </a:cubicBezTo>
                    <a:cubicBezTo>
                      <a:pt x="13" y="10"/>
                      <a:pt x="15" y="12"/>
                      <a:pt x="16" y="13"/>
                    </a:cubicBezTo>
                    <a:cubicBezTo>
                      <a:pt x="16" y="10"/>
                      <a:pt x="16" y="7"/>
                      <a:pt x="16" y="6"/>
                    </a:cubicBezTo>
                    <a:cubicBezTo>
                      <a:pt x="16" y="2"/>
                      <a:pt x="14" y="0"/>
                      <a:pt x="10" y="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673" name="Oval 1791"/>
              <p:cNvSpPr>
                <a:spLocks noChangeArrowheads="1"/>
              </p:cNvSpPr>
              <p:nvPr/>
            </p:nvSpPr>
            <p:spPr bwMode="auto">
              <a:xfrm>
                <a:off x="19969163" y="2481263"/>
                <a:ext cx="36513" cy="34925"/>
              </a:xfrm>
              <a:prstGeom prst="ellipse">
                <a:avLst/>
              </a:pr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grpSp>
          <p:nvGrpSpPr>
            <p:cNvPr id="2094" name="Group 2093"/>
            <p:cNvGrpSpPr/>
            <p:nvPr/>
          </p:nvGrpSpPr>
          <p:grpSpPr>
            <a:xfrm>
              <a:off x="23049877" y="1909695"/>
              <a:ext cx="2962454" cy="1763713"/>
              <a:chOff x="23302880" y="1935508"/>
              <a:chExt cx="2962454" cy="1763713"/>
            </a:xfrm>
            <a:grpFill/>
          </p:grpSpPr>
          <p:grpSp>
            <p:nvGrpSpPr>
              <p:cNvPr id="2092" name="Group 2091"/>
              <p:cNvGrpSpPr/>
              <p:nvPr/>
            </p:nvGrpSpPr>
            <p:grpSpPr>
              <a:xfrm>
                <a:off x="23302880" y="1935508"/>
                <a:ext cx="2962454" cy="1763713"/>
                <a:chOff x="15213496" y="701676"/>
                <a:chExt cx="3413088" cy="2032000"/>
              </a:xfrm>
              <a:grpFill/>
            </p:grpSpPr>
            <p:sp>
              <p:nvSpPr>
                <p:cNvPr id="2089" name="Oval 2088"/>
                <p:cNvSpPr/>
                <p:nvPr/>
              </p:nvSpPr>
              <p:spPr bwMode="auto">
                <a:xfrm>
                  <a:off x="15915860" y="701676"/>
                  <a:ext cx="2710724" cy="2032000"/>
                </a:xfrm>
                <a:prstGeom prst="ellipse">
                  <a:avLst/>
                </a:prstGeom>
                <a:noFill/>
                <a:ln w="9525" cap="flat" cmpd="sng" algn="ctr">
                  <a:solidFill>
                    <a:schemeClr val="tx1"/>
                  </a:solidFill>
                  <a:prstDash val="sysDash"/>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39837" fontAlgn="base">
                    <a:spcBef>
                      <a:spcPct val="0"/>
                    </a:spcBef>
                    <a:spcAft>
                      <a:spcPct val="0"/>
                    </a:spcAft>
                  </a:pPr>
                  <a:endParaRPr lang="en-US" sz="1400" spc="-35"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090" name="Straight Connector 2089"/>
                <p:cNvCxnSpPr/>
                <p:nvPr/>
              </p:nvCxnSpPr>
              <p:spPr>
                <a:xfrm>
                  <a:off x="15213496" y="1741488"/>
                  <a:ext cx="702365" cy="0"/>
                </a:xfrm>
                <a:prstGeom prst="line">
                  <a:avLst/>
                </a:prstGeom>
                <a:grpFill/>
                <a:ln w="9525" cap="flat" cmpd="sng" algn="ctr">
                  <a:solidFill>
                    <a:schemeClr val="tx1"/>
                  </a:solidFill>
                  <a:prstDash val="sysDash"/>
                </a:ln>
                <a:effectLst/>
              </p:spPr>
            </p:cxnSp>
          </p:grpSp>
          <p:sp>
            <p:nvSpPr>
              <p:cNvPr id="486" name="Freeform 1961"/>
              <p:cNvSpPr>
                <a:spLocks noEditPoints="1"/>
              </p:cNvSpPr>
              <p:nvPr/>
            </p:nvSpPr>
            <p:spPr bwMode="auto">
              <a:xfrm>
                <a:off x="24720089" y="2171320"/>
                <a:ext cx="817451" cy="1306513"/>
              </a:xfrm>
              <a:custGeom>
                <a:avLst/>
                <a:gdLst>
                  <a:gd name="T0" fmla="*/ 53 w 163"/>
                  <a:gd name="T1" fmla="*/ 29 h 348"/>
                  <a:gd name="T2" fmla="*/ 81 w 163"/>
                  <a:gd name="T3" fmla="*/ 57 h 348"/>
                  <a:gd name="T4" fmla="*/ 110 w 163"/>
                  <a:gd name="T5" fmla="*/ 29 h 348"/>
                  <a:gd name="T6" fmla="*/ 81 w 163"/>
                  <a:gd name="T7" fmla="*/ 0 h 348"/>
                  <a:gd name="T8" fmla="*/ 53 w 163"/>
                  <a:gd name="T9" fmla="*/ 29 h 348"/>
                  <a:gd name="T10" fmla="*/ 161 w 163"/>
                  <a:gd name="T11" fmla="*/ 175 h 348"/>
                  <a:gd name="T12" fmla="*/ 137 w 163"/>
                  <a:gd name="T13" fmla="*/ 91 h 348"/>
                  <a:gd name="T14" fmla="*/ 104 w 163"/>
                  <a:gd name="T15" fmla="*/ 65 h 348"/>
                  <a:gd name="T16" fmla="*/ 59 w 163"/>
                  <a:gd name="T17" fmla="*/ 65 h 348"/>
                  <a:gd name="T18" fmla="*/ 26 w 163"/>
                  <a:gd name="T19" fmla="*/ 91 h 348"/>
                  <a:gd name="T20" fmla="*/ 1 w 163"/>
                  <a:gd name="T21" fmla="*/ 175 h 348"/>
                  <a:gd name="T22" fmla="*/ 9 w 163"/>
                  <a:gd name="T23" fmla="*/ 189 h 348"/>
                  <a:gd name="T24" fmla="*/ 23 w 163"/>
                  <a:gd name="T25" fmla="*/ 182 h 348"/>
                  <a:gd name="T26" fmla="*/ 46 w 163"/>
                  <a:gd name="T27" fmla="*/ 103 h 348"/>
                  <a:gd name="T28" fmla="*/ 53 w 163"/>
                  <a:gd name="T29" fmla="*/ 103 h 348"/>
                  <a:gd name="T30" fmla="*/ 14 w 163"/>
                  <a:gd name="T31" fmla="*/ 235 h 348"/>
                  <a:gd name="T32" fmla="*/ 51 w 163"/>
                  <a:gd name="T33" fmla="*/ 235 h 348"/>
                  <a:gd name="T34" fmla="*/ 51 w 163"/>
                  <a:gd name="T35" fmla="*/ 334 h 348"/>
                  <a:gd name="T36" fmla="*/ 65 w 163"/>
                  <a:gd name="T37" fmla="*/ 348 h 348"/>
                  <a:gd name="T38" fmla="*/ 78 w 163"/>
                  <a:gd name="T39" fmla="*/ 334 h 348"/>
                  <a:gd name="T40" fmla="*/ 78 w 163"/>
                  <a:gd name="T41" fmla="*/ 235 h 348"/>
                  <a:gd name="T42" fmla="*/ 85 w 163"/>
                  <a:gd name="T43" fmla="*/ 235 h 348"/>
                  <a:gd name="T44" fmla="*/ 85 w 163"/>
                  <a:gd name="T45" fmla="*/ 334 h 348"/>
                  <a:gd name="T46" fmla="*/ 98 w 163"/>
                  <a:gd name="T47" fmla="*/ 348 h 348"/>
                  <a:gd name="T48" fmla="*/ 112 w 163"/>
                  <a:gd name="T49" fmla="*/ 334 h 348"/>
                  <a:gd name="T50" fmla="*/ 112 w 163"/>
                  <a:gd name="T51" fmla="*/ 235 h 348"/>
                  <a:gd name="T52" fmla="*/ 149 w 163"/>
                  <a:gd name="T53" fmla="*/ 235 h 348"/>
                  <a:gd name="T54" fmla="*/ 110 w 163"/>
                  <a:gd name="T55" fmla="*/ 103 h 348"/>
                  <a:gd name="T56" fmla="*/ 117 w 163"/>
                  <a:gd name="T57" fmla="*/ 103 h 348"/>
                  <a:gd name="T58" fmla="*/ 140 w 163"/>
                  <a:gd name="T59" fmla="*/ 182 h 348"/>
                  <a:gd name="T60" fmla="*/ 154 w 163"/>
                  <a:gd name="T61" fmla="*/ 189 h 348"/>
                  <a:gd name="T62" fmla="*/ 161 w 163"/>
                  <a:gd name="T63" fmla="*/ 1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3" h="348">
                    <a:moveTo>
                      <a:pt x="53" y="29"/>
                    </a:moveTo>
                    <a:cubicBezTo>
                      <a:pt x="53" y="45"/>
                      <a:pt x="66" y="57"/>
                      <a:pt x="81" y="57"/>
                    </a:cubicBezTo>
                    <a:cubicBezTo>
                      <a:pt x="97" y="57"/>
                      <a:pt x="110" y="45"/>
                      <a:pt x="110" y="29"/>
                    </a:cubicBezTo>
                    <a:cubicBezTo>
                      <a:pt x="110" y="13"/>
                      <a:pt x="97" y="0"/>
                      <a:pt x="81" y="0"/>
                    </a:cubicBezTo>
                    <a:cubicBezTo>
                      <a:pt x="66" y="0"/>
                      <a:pt x="53" y="13"/>
                      <a:pt x="53" y="29"/>
                    </a:cubicBezTo>
                    <a:close/>
                    <a:moveTo>
                      <a:pt x="161" y="175"/>
                    </a:moveTo>
                    <a:cubicBezTo>
                      <a:pt x="160" y="171"/>
                      <a:pt x="147" y="127"/>
                      <a:pt x="137" y="91"/>
                    </a:cubicBezTo>
                    <a:cubicBezTo>
                      <a:pt x="133" y="78"/>
                      <a:pt x="118" y="65"/>
                      <a:pt x="104" y="65"/>
                    </a:cubicBezTo>
                    <a:cubicBezTo>
                      <a:pt x="97" y="65"/>
                      <a:pt x="65" y="65"/>
                      <a:pt x="59" y="65"/>
                    </a:cubicBezTo>
                    <a:cubicBezTo>
                      <a:pt x="44" y="65"/>
                      <a:pt x="30" y="78"/>
                      <a:pt x="26" y="91"/>
                    </a:cubicBezTo>
                    <a:cubicBezTo>
                      <a:pt x="16" y="127"/>
                      <a:pt x="3" y="171"/>
                      <a:pt x="1" y="175"/>
                    </a:cubicBezTo>
                    <a:cubicBezTo>
                      <a:pt x="0" y="182"/>
                      <a:pt x="3" y="188"/>
                      <a:pt x="9" y="189"/>
                    </a:cubicBezTo>
                    <a:cubicBezTo>
                      <a:pt x="15" y="191"/>
                      <a:pt x="21" y="188"/>
                      <a:pt x="23" y="182"/>
                    </a:cubicBezTo>
                    <a:cubicBezTo>
                      <a:pt x="26" y="173"/>
                      <a:pt x="46" y="103"/>
                      <a:pt x="46" y="103"/>
                    </a:cubicBezTo>
                    <a:cubicBezTo>
                      <a:pt x="53" y="103"/>
                      <a:pt x="53" y="103"/>
                      <a:pt x="53" y="103"/>
                    </a:cubicBezTo>
                    <a:cubicBezTo>
                      <a:pt x="14" y="235"/>
                      <a:pt x="14" y="235"/>
                      <a:pt x="14" y="235"/>
                    </a:cubicBezTo>
                    <a:cubicBezTo>
                      <a:pt x="51" y="235"/>
                      <a:pt x="51" y="235"/>
                      <a:pt x="51" y="235"/>
                    </a:cubicBezTo>
                    <a:cubicBezTo>
                      <a:pt x="51" y="280"/>
                      <a:pt x="51" y="329"/>
                      <a:pt x="51" y="334"/>
                    </a:cubicBezTo>
                    <a:cubicBezTo>
                      <a:pt x="51" y="342"/>
                      <a:pt x="57" y="348"/>
                      <a:pt x="65" y="348"/>
                    </a:cubicBezTo>
                    <a:cubicBezTo>
                      <a:pt x="72" y="348"/>
                      <a:pt x="78" y="342"/>
                      <a:pt x="78" y="334"/>
                    </a:cubicBezTo>
                    <a:cubicBezTo>
                      <a:pt x="78" y="323"/>
                      <a:pt x="78" y="235"/>
                      <a:pt x="78" y="235"/>
                    </a:cubicBezTo>
                    <a:cubicBezTo>
                      <a:pt x="85" y="235"/>
                      <a:pt x="85" y="235"/>
                      <a:pt x="85" y="235"/>
                    </a:cubicBezTo>
                    <a:cubicBezTo>
                      <a:pt x="85" y="235"/>
                      <a:pt x="85" y="323"/>
                      <a:pt x="85" y="334"/>
                    </a:cubicBezTo>
                    <a:cubicBezTo>
                      <a:pt x="85" y="342"/>
                      <a:pt x="91" y="348"/>
                      <a:pt x="98" y="348"/>
                    </a:cubicBezTo>
                    <a:cubicBezTo>
                      <a:pt x="106" y="348"/>
                      <a:pt x="112" y="342"/>
                      <a:pt x="112" y="334"/>
                    </a:cubicBezTo>
                    <a:cubicBezTo>
                      <a:pt x="112" y="329"/>
                      <a:pt x="112" y="280"/>
                      <a:pt x="112" y="235"/>
                    </a:cubicBezTo>
                    <a:cubicBezTo>
                      <a:pt x="149" y="235"/>
                      <a:pt x="149" y="235"/>
                      <a:pt x="149" y="235"/>
                    </a:cubicBezTo>
                    <a:cubicBezTo>
                      <a:pt x="110" y="103"/>
                      <a:pt x="110" y="103"/>
                      <a:pt x="110" y="103"/>
                    </a:cubicBezTo>
                    <a:cubicBezTo>
                      <a:pt x="117" y="103"/>
                      <a:pt x="117" y="103"/>
                      <a:pt x="117" y="103"/>
                    </a:cubicBezTo>
                    <a:cubicBezTo>
                      <a:pt x="117" y="103"/>
                      <a:pt x="137" y="173"/>
                      <a:pt x="140" y="182"/>
                    </a:cubicBezTo>
                    <a:cubicBezTo>
                      <a:pt x="142" y="188"/>
                      <a:pt x="148" y="191"/>
                      <a:pt x="154" y="189"/>
                    </a:cubicBezTo>
                    <a:cubicBezTo>
                      <a:pt x="160" y="188"/>
                      <a:pt x="163" y="182"/>
                      <a:pt x="161" y="175"/>
                    </a:cubicBezTo>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grpSp>
      <p:grpSp>
        <p:nvGrpSpPr>
          <p:cNvPr id="2122" name="Group 2121"/>
          <p:cNvGrpSpPr/>
          <p:nvPr/>
        </p:nvGrpSpPr>
        <p:grpSpPr>
          <a:xfrm>
            <a:off x="7296384" y="3817600"/>
            <a:ext cx="794070" cy="645134"/>
            <a:chOff x="11671300" y="927101"/>
            <a:chExt cx="882651" cy="657224"/>
          </a:xfrm>
          <a:solidFill>
            <a:srgbClr val="92D050"/>
          </a:solidFill>
        </p:grpSpPr>
        <p:sp>
          <p:nvSpPr>
            <p:cNvPr id="2100" name="Freeform 1966"/>
            <p:cNvSpPr>
              <a:spLocks/>
            </p:cNvSpPr>
            <p:nvPr/>
          </p:nvSpPr>
          <p:spPr bwMode="auto">
            <a:xfrm>
              <a:off x="11679238" y="927101"/>
              <a:ext cx="117475" cy="241300"/>
            </a:xfrm>
            <a:custGeom>
              <a:avLst/>
              <a:gdLst>
                <a:gd name="T0" fmla="*/ 2 w 74"/>
                <a:gd name="T1" fmla="*/ 152 h 152"/>
                <a:gd name="T2" fmla="*/ 2 w 74"/>
                <a:gd name="T3" fmla="*/ 130 h 152"/>
                <a:gd name="T4" fmla="*/ 24 w 74"/>
                <a:gd name="T5" fmla="*/ 130 h 152"/>
                <a:gd name="T6" fmla="*/ 24 w 74"/>
                <a:gd name="T7" fmla="*/ 29 h 152"/>
                <a:gd name="T8" fmla="*/ 0 w 74"/>
                <a:gd name="T9" fmla="*/ 34 h 152"/>
                <a:gd name="T10" fmla="*/ 0 w 74"/>
                <a:gd name="T11" fmla="*/ 12 h 152"/>
                <a:gd name="T12" fmla="*/ 50 w 74"/>
                <a:gd name="T13" fmla="*/ 0 h 152"/>
                <a:gd name="T14" fmla="*/ 50 w 74"/>
                <a:gd name="T15" fmla="*/ 130 h 152"/>
                <a:gd name="T16" fmla="*/ 74 w 74"/>
                <a:gd name="T17" fmla="*/ 130 h 152"/>
                <a:gd name="T18" fmla="*/ 74 w 74"/>
                <a:gd name="T19" fmla="*/ 152 h 152"/>
                <a:gd name="T20" fmla="*/ 2 w 74"/>
                <a:gd name="T21"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 h="152">
                  <a:moveTo>
                    <a:pt x="2" y="152"/>
                  </a:moveTo>
                  <a:lnTo>
                    <a:pt x="2" y="130"/>
                  </a:lnTo>
                  <a:lnTo>
                    <a:pt x="24" y="130"/>
                  </a:lnTo>
                  <a:lnTo>
                    <a:pt x="24" y="29"/>
                  </a:lnTo>
                  <a:lnTo>
                    <a:pt x="0" y="34"/>
                  </a:lnTo>
                  <a:lnTo>
                    <a:pt x="0" y="12"/>
                  </a:lnTo>
                  <a:lnTo>
                    <a:pt x="50" y="0"/>
                  </a:lnTo>
                  <a:lnTo>
                    <a:pt x="50" y="130"/>
                  </a:lnTo>
                  <a:lnTo>
                    <a:pt x="74" y="130"/>
                  </a:lnTo>
                  <a:lnTo>
                    <a:pt x="74" y="152"/>
                  </a:lnTo>
                  <a:lnTo>
                    <a:pt x="2"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01" name="Freeform 1967"/>
            <p:cNvSpPr>
              <a:spLocks noEditPoints="1"/>
            </p:cNvSpPr>
            <p:nvPr/>
          </p:nvSpPr>
          <p:spPr bwMode="auto">
            <a:xfrm>
              <a:off x="11820525" y="927101"/>
              <a:ext cx="131763" cy="244475"/>
            </a:xfrm>
            <a:custGeom>
              <a:avLst/>
              <a:gdLst>
                <a:gd name="T0" fmla="*/ 17 w 35"/>
                <a:gd name="T1" fmla="*/ 64 h 64"/>
                <a:gd name="T2" fmla="*/ 0 w 35"/>
                <a:gd name="T3" fmla="*/ 33 h 64"/>
                <a:gd name="T4" fmla="*/ 18 w 35"/>
                <a:gd name="T5" fmla="*/ 0 h 64"/>
                <a:gd name="T6" fmla="*/ 35 w 35"/>
                <a:gd name="T7" fmla="*/ 32 h 64"/>
                <a:gd name="T8" fmla="*/ 17 w 35"/>
                <a:gd name="T9" fmla="*/ 64 h 64"/>
                <a:gd name="T10" fmla="*/ 17 w 35"/>
                <a:gd name="T11" fmla="*/ 10 h 64"/>
                <a:gd name="T12" fmla="*/ 13 w 35"/>
                <a:gd name="T13" fmla="*/ 15 h 64"/>
                <a:gd name="T14" fmla="*/ 11 w 35"/>
                <a:gd name="T15" fmla="*/ 33 h 64"/>
                <a:gd name="T16" fmla="*/ 13 w 35"/>
                <a:gd name="T17" fmla="*/ 50 h 64"/>
                <a:gd name="T18" fmla="*/ 17 w 35"/>
                <a:gd name="T19" fmla="*/ 55 h 64"/>
                <a:gd name="T20" fmla="*/ 22 w 35"/>
                <a:gd name="T21" fmla="*/ 49 h 64"/>
                <a:gd name="T22" fmla="*/ 23 w 35"/>
                <a:gd name="T23" fmla="*/ 32 h 64"/>
                <a:gd name="T24" fmla="*/ 22 w 35"/>
                <a:gd name="T25" fmla="*/ 15 h 64"/>
                <a:gd name="T26" fmla="*/ 17 w 35"/>
                <a:gd name="T27"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64">
                  <a:moveTo>
                    <a:pt x="17" y="64"/>
                  </a:moveTo>
                  <a:cubicBezTo>
                    <a:pt x="6" y="64"/>
                    <a:pt x="0" y="54"/>
                    <a:pt x="0" y="33"/>
                  </a:cubicBezTo>
                  <a:cubicBezTo>
                    <a:pt x="0" y="11"/>
                    <a:pt x="6" y="0"/>
                    <a:pt x="18" y="0"/>
                  </a:cubicBezTo>
                  <a:cubicBezTo>
                    <a:pt x="29" y="0"/>
                    <a:pt x="35" y="11"/>
                    <a:pt x="35" y="32"/>
                  </a:cubicBezTo>
                  <a:cubicBezTo>
                    <a:pt x="35" y="53"/>
                    <a:pt x="29" y="64"/>
                    <a:pt x="17" y="64"/>
                  </a:cubicBezTo>
                  <a:close/>
                  <a:moveTo>
                    <a:pt x="17" y="10"/>
                  </a:moveTo>
                  <a:cubicBezTo>
                    <a:pt x="15" y="10"/>
                    <a:pt x="14" y="11"/>
                    <a:pt x="13" y="15"/>
                  </a:cubicBezTo>
                  <a:cubicBezTo>
                    <a:pt x="12" y="19"/>
                    <a:pt x="11" y="25"/>
                    <a:pt x="11" y="33"/>
                  </a:cubicBezTo>
                  <a:cubicBezTo>
                    <a:pt x="11" y="41"/>
                    <a:pt x="12" y="46"/>
                    <a:pt x="13" y="50"/>
                  </a:cubicBezTo>
                  <a:cubicBezTo>
                    <a:pt x="14" y="53"/>
                    <a:pt x="15" y="55"/>
                    <a:pt x="17" y="55"/>
                  </a:cubicBezTo>
                  <a:cubicBezTo>
                    <a:pt x="19" y="55"/>
                    <a:pt x="21" y="53"/>
                    <a:pt x="22" y="49"/>
                  </a:cubicBezTo>
                  <a:cubicBezTo>
                    <a:pt x="23" y="46"/>
                    <a:pt x="23" y="40"/>
                    <a:pt x="23" y="32"/>
                  </a:cubicBezTo>
                  <a:cubicBezTo>
                    <a:pt x="23" y="24"/>
                    <a:pt x="23" y="19"/>
                    <a:pt x="22" y="15"/>
                  </a:cubicBezTo>
                  <a:cubicBezTo>
                    <a:pt x="21" y="11"/>
                    <a:pt x="20" y="10"/>
                    <a:pt x="1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02" name="Freeform 1968"/>
            <p:cNvSpPr>
              <a:spLocks/>
            </p:cNvSpPr>
            <p:nvPr/>
          </p:nvSpPr>
          <p:spPr bwMode="auto">
            <a:xfrm>
              <a:off x="11979275" y="931863"/>
              <a:ext cx="201613" cy="236537"/>
            </a:xfrm>
            <a:custGeom>
              <a:avLst/>
              <a:gdLst>
                <a:gd name="T0" fmla="*/ 42 w 53"/>
                <a:gd name="T1" fmla="*/ 62 h 62"/>
                <a:gd name="T2" fmla="*/ 42 w 53"/>
                <a:gd name="T3" fmla="*/ 26 h 62"/>
                <a:gd name="T4" fmla="*/ 43 w 53"/>
                <a:gd name="T5" fmla="*/ 12 h 62"/>
                <a:gd name="T6" fmla="*/ 43 w 53"/>
                <a:gd name="T7" fmla="*/ 12 h 62"/>
                <a:gd name="T8" fmla="*/ 41 w 53"/>
                <a:gd name="T9" fmla="*/ 23 h 62"/>
                <a:gd name="T10" fmla="*/ 32 w 53"/>
                <a:gd name="T11" fmla="*/ 62 h 62"/>
                <a:gd name="T12" fmla="*/ 21 w 53"/>
                <a:gd name="T13" fmla="*/ 62 h 62"/>
                <a:gd name="T14" fmla="*/ 12 w 53"/>
                <a:gd name="T15" fmla="*/ 23 h 62"/>
                <a:gd name="T16" fmla="*/ 10 w 53"/>
                <a:gd name="T17" fmla="*/ 12 h 62"/>
                <a:gd name="T18" fmla="*/ 10 w 53"/>
                <a:gd name="T19" fmla="*/ 12 h 62"/>
                <a:gd name="T20" fmla="*/ 10 w 53"/>
                <a:gd name="T21" fmla="*/ 29 h 62"/>
                <a:gd name="T22" fmla="*/ 10 w 53"/>
                <a:gd name="T23" fmla="*/ 62 h 62"/>
                <a:gd name="T24" fmla="*/ 0 w 53"/>
                <a:gd name="T25" fmla="*/ 62 h 62"/>
                <a:gd name="T26" fmla="*/ 0 w 53"/>
                <a:gd name="T27" fmla="*/ 0 h 62"/>
                <a:gd name="T28" fmla="*/ 17 w 53"/>
                <a:gd name="T29" fmla="*/ 0 h 62"/>
                <a:gd name="T30" fmla="*/ 25 w 53"/>
                <a:gd name="T31" fmla="*/ 38 h 62"/>
                <a:gd name="T32" fmla="*/ 27 w 53"/>
                <a:gd name="T33" fmla="*/ 47 h 62"/>
                <a:gd name="T34" fmla="*/ 27 w 53"/>
                <a:gd name="T35" fmla="*/ 47 h 62"/>
                <a:gd name="T36" fmla="*/ 27 w 53"/>
                <a:gd name="T37" fmla="*/ 45 h 62"/>
                <a:gd name="T38" fmla="*/ 28 w 53"/>
                <a:gd name="T39" fmla="*/ 38 h 62"/>
                <a:gd name="T40" fmla="*/ 37 w 53"/>
                <a:gd name="T41" fmla="*/ 0 h 62"/>
                <a:gd name="T42" fmla="*/ 53 w 53"/>
                <a:gd name="T43" fmla="*/ 0 h 62"/>
                <a:gd name="T44" fmla="*/ 53 w 53"/>
                <a:gd name="T45" fmla="*/ 62 h 62"/>
                <a:gd name="T46" fmla="*/ 42 w 53"/>
                <a:gd name="T4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 h="62">
                  <a:moveTo>
                    <a:pt x="42" y="62"/>
                  </a:moveTo>
                  <a:cubicBezTo>
                    <a:pt x="42" y="26"/>
                    <a:pt x="42" y="26"/>
                    <a:pt x="42" y="26"/>
                  </a:cubicBezTo>
                  <a:cubicBezTo>
                    <a:pt x="42" y="23"/>
                    <a:pt x="43" y="18"/>
                    <a:pt x="43" y="12"/>
                  </a:cubicBezTo>
                  <a:cubicBezTo>
                    <a:pt x="43" y="12"/>
                    <a:pt x="43" y="12"/>
                    <a:pt x="43" y="12"/>
                  </a:cubicBezTo>
                  <a:cubicBezTo>
                    <a:pt x="42" y="15"/>
                    <a:pt x="42" y="18"/>
                    <a:pt x="41" y="23"/>
                  </a:cubicBezTo>
                  <a:cubicBezTo>
                    <a:pt x="32" y="62"/>
                    <a:pt x="32" y="62"/>
                    <a:pt x="32" y="62"/>
                  </a:cubicBezTo>
                  <a:cubicBezTo>
                    <a:pt x="21" y="62"/>
                    <a:pt x="21" y="62"/>
                    <a:pt x="21" y="62"/>
                  </a:cubicBezTo>
                  <a:cubicBezTo>
                    <a:pt x="12" y="23"/>
                    <a:pt x="12" y="23"/>
                    <a:pt x="12" y="23"/>
                  </a:cubicBezTo>
                  <a:cubicBezTo>
                    <a:pt x="10" y="12"/>
                    <a:pt x="10" y="12"/>
                    <a:pt x="10" y="12"/>
                  </a:cubicBezTo>
                  <a:cubicBezTo>
                    <a:pt x="10" y="12"/>
                    <a:pt x="10" y="12"/>
                    <a:pt x="10" y="12"/>
                  </a:cubicBezTo>
                  <a:cubicBezTo>
                    <a:pt x="10" y="18"/>
                    <a:pt x="10" y="24"/>
                    <a:pt x="10" y="29"/>
                  </a:cubicBezTo>
                  <a:cubicBezTo>
                    <a:pt x="10" y="62"/>
                    <a:pt x="10" y="62"/>
                    <a:pt x="10" y="62"/>
                  </a:cubicBezTo>
                  <a:cubicBezTo>
                    <a:pt x="0" y="62"/>
                    <a:pt x="0" y="62"/>
                    <a:pt x="0" y="62"/>
                  </a:cubicBezTo>
                  <a:cubicBezTo>
                    <a:pt x="0" y="0"/>
                    <a:pt x="0" y="0"/>
                    <a:pt x="0" y="0"/>
                  </a:cubicBezTo>
                  <a:cubicBezTo>
                    <a:pt x="17" y="0"/>
                    <a:pt x="17" y="0"/>
                    <a:pt x="17" y="0"/>
                  </a:cubicBezTo>
                  <a:cubicBezTo>
                    <a:pt x="25" y="38"/>
                    <a:pt x="25" y="38"/>
                    <a:pt x="25" y="38"/>
                  </a:cubicBezTo>
                  <a:cubicBezTo>
                    <a:pt x="26" y="42"/>
                    <a:pt x="27" y="45"/>
                    <a:pt x="27" y="47"/>
                  </a:cubicBezTo>
                  <a:cubicBezTo>
                    <a:pt x="27" y="47"/>
                    <a:pt x="27" y="47"/>
                    <a:pt x="27" y="47"/>
                  </a:cubicBezTo>
                  <a:cubicBezTo>
                    <a:pt x="27" y="45"/>
                    <a:pt x="27" y="45"/>
                    <a:pt x="27" y="45"/>
                  </a:cubicBezTo>
                  <a:cubicBezTo>
                    <a:pt x="28" y="42"/>
                    <a:pt x="28" y="39"/>
                    <a:pt x="28" y="38"/>
                  </a:cubicBezTo>
                  <a:cubicBezTo>
                    <a:pt x="37" y="0"/>
                    <a:pt x="37" y="0"/>
                    <a:pt x="37" y="0"/>
                  </a:cubicBezTo>
                  <a:cubicBezTo>
                    <a:pt x="53" y="0"/>
                    <a:pt x="53" y="0"/>
                    <a:pt x="53" y="0"/>
                  </a:cubicBezTo>
                  <a:cubicBezTo>
                    <a:pt x="53" y="62"/>
                    <a:pt x="53" y="62"/>
                    <a:pt x="53" y="62"/>
                  </a:cubicBezTo>
                  <a:lnTo>
                    <a:pt x="42"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03" name="Freeform 1969"/>
            <p:cNvSpPr>
              <a:spLocks noEditPoints="1"/>
            </p:cNvSpPr>
            <p:nvPr/>
          </p:nvSpPr>
          <p:spPr bwMode="auto">
            <a:xfrm>
              <a:off x="12218988" y="931863"/>
              <a:ext cx="141288" cy="236537"/>
            </a:xfrm>
            <a:custGeom>
              <a:avLst/>
              <a:gdLst>
                <a:gd name="T0" fmla="*/ 0 w 37"/>
                <a:gd name="T1" fmla="*/ 62 h 62"/>
                <a:gd name="T2" fmla="*/ 0 w 37"/>
                <a:gd name="T3" fmla="*/ 0 h 62"/>
                <a:gd name="T4" fmla="*/ 18 w 37"/>
                <a:gd name="T5" fmla="*/ 0 h 62"/>
                <a:gd name="T6" fmla="*/ 35 w 37"/>
                <a:gd name="T7" fmla="*/ 15 h 62"/>
                <a:gd name="T8" fmla="*/ 33 w 37"/>
                <a:gd name="T9" fmla="*/ 24 h 62"/>
                <a:gd name="T10" fmla="*/ 26 w 37"/>
                <a:gd name="T11" fmla="*/ 29 h 62"/>
                <a:gd name="T12" fmla="*/ 26 w 37"/>
                <a:gd name="T13" fmla="*/ 29 h 62"/>
                <a:gd name="T14" fmla="*/ 34 w 37"/>
                <a:gd name="T15" fmla="*/ 34 h 62"/>
                <a:gd name="T16" fmla="*/ 37 w 37"/>
                <a:gd name="T17" fmla="*/ 43 h 62"/>
                <a:gd name="T18" fmla="*/ 33 w 37"/>
                <a:gd name="T19" fmla="*/ 57 h 62"/>
                <a:gd name="T20" fmla="*/ 19 w 37"/>
                <a:gd name="T21" fmla="*/ 62 h 62"/>
                <a:gd name="T22" fmla="*/ 0 w 37"/>
                <a:gd name="T23" fmla="*/ 62 h 62"/>
                <a:gd name="T24" fmla="*/ 12 w 37"/>
                <a:gd name="T25" fmla="*/ 11 h 62"/>
                <a:gd name="T26" fmla="*/ 12 w 37"/>
                <a:gd name="T27" fmla="*/ 25 h 62"/>
                <a:gd name="T28" fmla="*/ 16 w 37"/>
                <a:gd name="T29" fmla="*/ 25 h 62"/>
                <a:gd name="T30" fmla="*/ 21 w 37"/>
                <a:gd name="T31" fmla="*/ 23 h 62"/>
                <a:gd name="T32" fmla="*/ 23 w 37"/>
                <a:gd name="T33" fmla="*/ 18 h 62"/>
                <a:gd name="T34" fmla="*/ 15 w 37"/>
                <a:gd name="T35" fmla="*/ 11 h 62"/>
                <a:gd name="T36" fmla="*/ 12 w 37"/>
                <a:gd name="T37" fmla="*/ 11 h 62"/>
                <a:gd name="T38" fmla="*/ 12 w 37"/>
                <a:gd name="T39" fmla="*/ 36 h 62"/>
                <a:gd name="T40" fmla="*/ 12 w 37"/>
                <a:gd name="T41" fmla="*/ 52 h 62"/>
                <a:gd name="T42" fmla="*/ 17 w 37"/>
                <a:gd name="T43" fmla="*/ 52 h 62"/>
                <a:gd name="T44" fmla="*/ 23 w 37"/>
                <a:gd name="T45" fmla="*/ 50 h 62"/>
                <a:gd name="T46" fmla="*/ 25 w 37"/>
                <a:gd name="T47" fmla="*/ 43 h 62"/>
                <a:gd name="T48" fmla="*/ 23 w 37"/>
                <a:gd name="T49" fmla="*/ 38 h 62"/>
                <a:gd name="T50" fmla="*/ 17 w 37"/>
                <a:gd name="T51" fmla="*/ 36 h 62"/>
                <a:gd name="T52" fmla="*/ 12 w 37"/>
                <a:gd name="T53" fmla="*/ 3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62">
                  <a:moveTo>
                    <a:pt x="0" y="62"/>
                  </a:moveTo>
                  <a:cubicBezTo>
                    <a:pt x="0" y="0"/>
                    <a:pt x="0" y="0"/>
                    <a:pt x="0" y="0"/>
                  </a:cubicBezTo>
                  <a:cubicBezTo>
                    <a:pt x="18" y="0"/>
                    <a:pt x="18" y="0"/>
                    <a:pt x="18" y="0"/>
                  </a:cubicBezTo>
                  <a:cubicBezTo>
                    <a:pt x="30" y="0"/>
                    <a:pt x="35" y="5"/>
                    <a:pt x="35" y="15"/>
                  </a:cubicBezTo>
                  <a:cubicBezTo>
                    <a:pt x="35" y="18"/>
                    <a:pt x="34" y="21"/>
                    <a:pt x="33" y="24"/>
                  </a:cubicBezTo>
                  <a:cubicBezTo>
                    <a:pt x="31" y="26"/>
                    <a:pt x="29" y="28"/>
                    <a:pt x="26" y="29"/>
                  </a:cubicBezTo>
                  <a:cubicBezTo>
                    <a:pt x="26" y="29"/>
                    <a:pt x="26" y="29"/>
                    <a:pt x="26" y="29"/>
                  </a:cubicBezTo>
                  <a:cubicBezTo>
                    <a:pt x="29" y="30"/>
                    <a:pt x="32" y="31"/>
                    <a:pt x="34" y="34"/>
                  </a:cubicBezTo>
                  <a:cubicBezTo>
                    <a:pt x="36" y="37"/>
                    <a:pt x="37" y="40"/>
                    <a:pt x="37" y="43"/>
                  </a:cubicBezTo>
                  <a:cubicBezTo>
                    <a:pt x="37" y="49"/>
                    <a:pt x="36" y="54"/>
                    <a:pt x="33" y="57"/>
                  </a:cubicBezTo>
                  <a:cubicBezTo>
                    <a:pt x="29" y="60"/>
                    <a:pt x="25" y="62"/>
                    <a:pt x="19" y="62"/>
                  </a:cubicBezTo>
                  <a:lnTo>
                    <a:pt x="0" y="62"/>
                  </a:lnTo>
                  <a:close/>
                  <a:moveTo>
                    <a:pt x="12" y="11"/>
                  </a:moveTo>
                  <a:cubicBezTo>
                    <a:pt x="12" y="25"/>
                    <a:pt x="12" y="25"/>
                    <a:pt x="12" y="25"/>
                  </a:cubicBezTo>
                  <a:cubicBezTo>
                    <a:pt x="16" y="25"/>
                    <a:pt x="16" y="25"/>
                    <a:pt x="16" y="25"/>
                  </a:cubicBezTo>
                  <a:cubicBezTo>
                    <a:pt x="18" y="25"/>
                    <a:pt x="20" y="25"/>
                    <a:pt x="21" y="23"/>
                  </a:cubicBezTo>
                  <a:cubicBezTo>
                    <a:pt x="23" y="22"/>
                    <a:pt x="23" y="20"/>
                    <a:pt x="23" y="18"/>
                  </a:cubicBezTo>
                  <a:cubicBezTo>
                    <a:pt x="23" y="13"/>
                    <a:pt x="21" y="11"/>
                    <a:pt x="15" y="11"/>
                  </a:cubicBezTo>
                  <a:lnTo>
                    <a:pt x="12" y="11"/>
                  </a:lnTo>
                  <a:close/>
                  <a:moveTo>
                    <a:pt x="12" y="36"/>
                  </a:moveTo>
                  <a:cubicBezTo>
                    <a:pt x="12" y="52"/>
                    <a:pt x="12" y="52"/>
                    <a:pt x="12" y="52"/>
                  </a:cubicBezTo>
                  <a:cubicBezTo>
                    <a:pt x="17" y="52"/>
                    <a:pt x="17" y="52"/>
                    <a:pt x="17" y="52"/>
                  </a:cubicBezTo>
                  <a:cubicBezTo>
                    <a:pt x="20" y="52"/>
                    <a:pt x="22" y="51"/>
                    <a:pt x="23" y="50"/>
                  </a:cubicBezTo>
                  <a:cubicBezTo>
                    <a:pt x="24" y="48"/>
                    <a:pt x="25" y="46"/>
                    <a:pt x="25" y="43"/>
                  </a:cubicBezTo>
                  <a:cubicBezTo>
                    <a:pt x="25" y="41"/>
                    <a:pt x="24" y="39"/>
                    <a:pt x="23" y="38"/>
                  </a:cubicBezTo>
                  <a:cubicBezTo>
                    <a:pt x="21" y="36"/>
                    <a:pt x="20" y="36"/>
                    <a:pt x="17" y="36"/>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04" name="Freeform 1970"/>
            <p:cNvSpPr>
              <a:spLocks/>
            </p:cNvSpPr>
            <p:nvPr/>
          </p:nvSpPr>
          <p:spPr bwMode="auto">
            <a:xfrm>
              <a:off x="12390438" y="992188"/>
              <a:ext cx="136525" cy="152400"/>
            </a:xfrm>
            <a:custGeom>
              <a:avLst/>
              <a:gdLst>
                <a:gd name="T0" fmla="*/ 52 w 86"/>
                <a:gd name="T1" fmla="*/ 58 h 96"/>
                <a:gd name="T2" fmla="*/ 52 w 86"/>
                <a:gd name="T3" fmla="*/ 96 h 96"/>
                <a:gd name="T4" fmla="*/ 36 w 86"/>
                <a:gd name="T5" fmla="*/ 96 h 96"/>
                <a:gd name="T6" fmla="*/ 36 w 86"/>
                <a:gd name="T7" fmla="*/ 58 h 96"/>
                <a:gd name="T8" fmla="*/ 0 w 86"/>
                <a:gd name="T9" fmla="*/ 58 h 96"/>
                <a:gd name="T10" fmla="*/ 0 w 86"/>
                <a:gd name="T11" fmla="*/ 41 h 96"/>
                <a:gd name="T12" fmla="*/ 36 w 86"/>
                <a:gd name="T13" fmla="*/ 41 h 96"/>
                <a:gd name="T14" fmla="*/ 36 w 86"/>
                <a:gd name="T15" fmla="*/ 0 h 96"/>
                <a:gd name="T16" fmla="*/ 52 w 86"/>
                <a:gd name="T17" fmla="*/ 0 h 96"/>
                <a:gd name="T18" fmla="*/ 52 w 86"/>
                <a:gd name="T19" fmla="*/ 41 h 96"/>
                <a:gd name="T20" fmla="*/ 86 w 86"/>
                <a:gd name="T21" fmla="*/ 41 h 96"/>
                <a:gd name="T22" fmla="*/ 86 w 86"/>
                <a:gd name="T23" fmla="*/ 58 h 96"/>
                <a:gd name="T24" fmla="*/ 52 w 86"/>
                <a:gd name="T25"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96">
                  <a:moveTo>
                    <a:pt x="52" y="58"/>
                  </a:moveTo>
                  <a:lnTo>
                    <a:pt x="52" y="96"/>
                  </a:lnTo>
                  <a:lnTo>
                    <a:pt x="36" y="96"/>
                  </a:lnTo>
                  <a:lnTo>
                    <a:pt x="36" y="58"/>
                  </a:lnTo>
                  <a:lnTo>
                    <a:pt x="0" y="58"/>
                  </a:lnTo>
                  <a:lnTo>
                    <a:pt x="0" y="41"/>
                  </a:lnTo>
                  <a:lnTo>
                    <a:pt x="36" y="41"/>
                  </a:lnTo>
                  <a:lnTo>
                    <a:pt x="36" y="0"/>
                  </a:lnTo>
                  <a:lnTo>
                    <a:pt x="52" y="0"/>
                  </a:lnTo>
                  <a:lnTo>
                    <a:pt x="52" y="41"/>
                  </a:lnTo>
                  <a:lnTo>
                    <a:pt x="86" y="41"/>
                  </a:lnTo>
                  <a:lnTo>
                    <a:pt x="86" y="58"/>
                  </a:lnTo>
                  <a:lnTo>
                    <a:pt x="5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05" name="Freeform 1971"/>
            <p:cNvSpPr>
              <a:spLocks noEditPoints="1"/>
            </p:cNvSpPr>
            <p:nvPr/>
          </p:nvSpPr>
          <p:spPr bwMode="auto">
            <a:xfrm>
              <a:off x="11671300" y="1222375"/>
              <a:ext cx="76200" cy="128587"/>
            </a:xfrm>
            <a:custGeom>
              <a:avLst/>
              <a:gdLst>
                <a:gd name="T0" fmla="*/ 6 w 20"/>
                <a:gd name="T1" fmla="*/ 23 h 34"/>
                <a:gd name="T2" fmla="*/ 6 w 20"/>
                <a:gd name="T3" fmla="*/ 34 h 34"/>
                <a:gd name="T4" fmla="*/ 0 w 20"/>
                <a:gd name="T5" fmla="*/ 34 h 34"/>
                <a:gd name="T6" fmla="*/ 0 w 20"/>
                <a:gd name="T7" fmla="*/ 0 h 34"/>
                <a:gd name="T8" fmla="*/ 10 w 20"/>
                <a:gd name="T9" fmla="*/ 0 h 34"/>
                <a:gd name="T10" fmla="*/ 17 w 20"/>
                <a:gd name="T11" fmla="*/ 3 h 34"/>
                <a:gd name="T12" fmla="*/ 20 w 20"/>
                <a:gd name="T13" fmla="*/ 11 h 34"/>
                <a:gd name="T14" fmla="*/ 17 w 20"/>
                <a:gd name="T15" fmla="*/ 19 h 34"/>
                <a:gd name="T16" fmla="*/ 9 w 20"/>
                <a:gd name="T17" fmla="*/ 23 h 34"/>
                <a:gd name="T18" fmla="*/ 6 w 20"/>
                <a:gd name="T19" fmla="*/ 23 h 34"/>
                <a:gd name="T20" fmla="*/ 6 w 20"/>
                <a:gd name="T21" fmla="*/ 6 h 34"/>
                <a:gd name="T22" fmla="*/ 6 w 20"/>
                <a:gd name="T23" fmla="*/ 17 h 34"/>
                <a:gd name="T24" fmla="*/ 9 w 20"/>
                <a:gd name="T25" fmla="*/ 17 h 34"/>
                <a:gd name="T26" fmla="*/ 13 w 20"/>
                <a:gd name="T27" fmla="*/ 11 h 34"/>
                <a:gd name="T28" fmla="*/ 12 w 20"/>
                <a:gd name="T29" fmla="*/ 7 h 34"/>
                <a:gd name="T30" fmla="*/ 8 w 20"/>
                <a:gd name="T31" fmla="*/ 6 h 34"/>
                <a:gd name="T32" fmla="*/ 6 w 20"/>
                <a:gd name="T33"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34">
                  <a:moveTo>
                    <a:pt x="6" y="23"/>
                  </a:moveTo>
                  <a:cubicBezTo>
                    <a:pt x="6" y="34"/>
                    <a:pt x="6" y="34"/>
                    <a:pt x="6" y="34"/>
                  </a:cubicBezTo>
                  <a:cubicBezTo>
                    <a:pt x="0" y="34"/>
                    <a:pt x="0" y="34"/>
                    <a:pt x="0" y="34"/>
                  </a:cubicBezTo>
                  <a:cubicBezTo>
                    <a:pt x="0" y="0"/>
                    <a:pt x="0" y="0"/>
                    <a:pt x="0" y="0"/>
                  </a:cubicBezTo>
                  <a:cubicBezTo>
                    <a:pt x="10" y="0"/>
                    <a:pt x="10" y="0"/>
                    <a:pt x="10" y="0"/>
                  </a:cubicBezTo>
                  <a:cubicBezTo>
                    <a:pt x="13" y="0"/>
                    <a:pt x="15" y="1"/>
                    <a:pt x="17" y="3"/>
                  </a:cubicBezTo>
                  <a:cubicBezTo>
                    <a:pt x="19" y="5"/>
                    <a:pt x="20" y="8"/>
                    <a:pt x="20" y="11"/>
                  </a:cubicBezTo>
                  <a:cubicBezTo>
                    <a:pt x="20" y="14"/>
                    <a:pt x="19" y="17"/>
                    <a:pt x="17" y="19"/>
                  </a:cubicBezTo>
                  <a:cubicBezTo>
                    <a:pt x="15" y="21"/>
                    <a:pt x="12" y="23"/>
                    <a:pt x="9" y="23"/>
                  </a:cubicBezTo>
                  <a:lnTo>
                    <a:pt x="6" y="23"/>
                  </a:lnTo>
                  <a:close/>
                  <a:moveTo>
                    <a:pt x="6" y="6"/>
                  </a:moveTo>
                  <a:cubicBezTo>
                    <a:pt x="6" y="17"/>
                    <a:pt x="6" y="17"/>
                    <a:pt x="6" y="17"/>
                  </a:cubicBezTo>
                  <a:cubicBezTo>
                    <a:pt x="9" y="17"/>
                    <a:pt x="9" y="17"/>
                    <a:pt x="9" y="17"/>
                  </a:cubicBezTo>
                  <a:cubicBezTo>
                    <a:pt x="11" y="17"/>
                    <a:pt x="13" y="15"/>
                    <a:pt x="13" y="11"/>
                  </a:cubicBezTo>
                  <a:cubicBezTo>
                    <a:pt x="13" y="10"/>
                    <a:pt x="13" y="8"/>
                    <a:pt x="12" y="7"/>
                  </a:cubicBezTo>
                  <a:cubicBezTo>
                    <a:pt x="11" y="6"/>
                    <a:pt x="10" y="6"/>
                    <a:pt x="8" y="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06" name="Freeform 1972"/>
            <p:cNvSpPr>
              <a:spLocks/>
            </p:cNvSpPr>
            <p:nvPr/>
          </p:nvSpPr>
          <p:spPr bwMode="auto">
            <a:xfrm>
              <a:off x="11763375" y="1222375"/>
              <a:ext cx="60325" cy="128587"/>
            </a:xfrm>
            <a:custGeom>
              <a:avLst/>
              <a:gdLst>
                <a:gd name="T0" fmla="*/ 0 w 38"/>
                <a:gd name="T1" fmla="*/ 81 h 81"/>
                <a:gd name="T2" fmla="*/ 0 w 38"/>
                <a:gd name="T3" fmla="*/ 0 h 81"/>
                <a:gd name="T4" fmla="*/ 36 w 38"/>
                <a:gd name="T5" fmla="*/ 0 h 81"/>
                <a:gd name="T6" fmla="*/ 36 w 38"/>
                <a:gd name="T7" fmla="*/ 14 h 81"/>
                <a:gd name="T8" fmla="*/ 14 w 38"/>
                <a:gd name="T9" fmla="*/ 14 h 81"/>
                <a:gd name="T10" fmla="*/ 14 w 38"/>
                <a:gd name="T11" fmla="*/ 33 h 81"/>
                <a:gd name="T12" fmla="*/ 36 w 38"/>
                <a:gd name="T13" fmla="*/ 33 h 81"/>
                <a:gd name="T14" fmla="*/ 36 w 38"/>
                <a:gd name="T15" fmla="*/ 48 h 81"/>
                <a:gd name="T16" fmla="*/ 14 w 38"/>
                <a:gd name="T17" fmla="*/ 48 h 81"/>
                <a:gd name="T18" fmla="*/ 14 w 38"/>
                <a:gd name="T19" fmla="*/ 67 h 81"/>
                <a:gd name="T20" fmla="*/ 38 w 38"/>
                <a:gd name="T21" fmla="*/ 67 h 81"/>
                <a:gd name="T22" fmla="*/ 38 w 38"/>
                <a:gd name="T23" fmla="*/ 81 h 81"/>
                <a:gd name="T24" fmla="*/ 0 w 38"/>
                <a:gd name="T25"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81">
                  <a:moveTo>
                    <a:pt x="0" y="81"/>
                  </a:moveTo>
                  <a:lnTo>
                    <a:pt x="0" y="0"/>
                  </a:lnTo>
                  <a:lnTo>
                    <a:pt x="36" y="0"/>
                  </a:lnTo>
                  <a:lnTo>
                    <a:pt x="36" y="14"/>
                  </a:lnTo>
                  <a:lnTo>
                    <a:pt x="14" y="14"/>
                  </a:lnTo>
                  <a:lnTo>
                    <a:pt x="14" y="33"/>
                  </a:lnTo>
                  <a:lnTo>
                    <a:pt x="36" y="33"/>
                  </a:lnTo>
                  <a:lnTo>
                    <a:pt x="36" y="48"/>
                  </a:lnTo>
                  <a:lnTo>
                    <a:pt x="14" y="48"/>
                  </a:lnTo>
                  <a:lnTo>
                    <a:pt x="14" y="67"/>
                  </a:lnTo>
                  <a:lnTo>
                    <a:pt x="38" y="67"/>
                  </a:lnTo>
                  <a:lnTo>
                    <a:pt x="38" y="81"/>
                  </a:lnTo>
                  <a:lnTo>
                    <a:pt x="0"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07" name="Freeform 1973"/>
            <p:cNvSpPr>
              <a:spLocks noEditPoints="1"/>
            </p:cNvSpPr>
            <p:nvPr/>
          </p:nvSpPr>
          <p:spPr bwMode="auto">
            <a:xfrm>
              <a:off x="11839575" y="1222375"/>
              <a:ext cx="79375" cy="128587"/>
            </a:xfrm>
            <a:custGeom>
              <a:avLst/>
              <a:gdLst>
                <a:gd name="T0" fmla="*/ 13 w 21"/>
                <a:gd name="T1" fmla="*/ 34 h 34"/>
                <a:gd name="T2" fmla="*/ 11 w 21"/>
                <a:gd name="T3" fmla="*/ 26 h 34"/>
                <a:gd name="T4" fmla="*/ 7 w 21"/>
                <a:gd name="T5" fmla="*/ 21 h 34"/>
                <a:gd name="T6" fmla="*/ 6 w 21"/>
                <a:gd name="T7" fmla="*/ 21 h 34"/>
                <a:gd name="T8" fmla="*/ 6 w 21"/>
                <a:gd name="T9" fmla="*/ 34 h 34"/>
                <a:gd name="T10" fmla="*/ 0 w 21"/>
                <a:gd name="T11" fmla="*/ 34 h 34"/>
                <a:gd name="T12" fmla="*/ 0 w 21"/>
                <a:gd name="T13" fmla="*/ 0 h 34"/>
                <a:gd name="T14" fmla="*/ 9 w 21"/>
                <a:gd name="T15" fmla="*/ 0 h 34"/>
                <a:gd name="T16" fmla="*/ 19 w 21"/>
                <a:gd name="T17" fmla="*/ 9 h 34"/>
                <a:gd name="T18" fmla="*/ 13 w 21"/>
                <a:gd name="T19" fmla="*/ 18 h 34"/>
                <a:gd name="T20" fmla="*/ 13 w 21"/>
                <a:gd name="T21" fmla="*/ 19 h 34"/>
                <a:gd name="T22" fmla="*/ 18 w 21"/>
                <a:gd name="T23" fmla="*/ 25 h 34"/>
                <a:gd name="T24" fmla="*/ 21 w 21"/>
                <a:gd name="T25" fmla="*/ 34 h 34"/>
                <a:gd name="T26" fmla="*/ 13 w 21"/>
                <a:gd name="T27" fmla="*/ 34 h 34"/>
                <a:gd name="T28" fmla="*/ 6 w 21"/>
                <a:gd name="T29" fmla="*/ 6 h 34"/>
                <a:gd name="T30" fmla="*/ 6 w 21"/>
                <a:gd name="T31" fmla="*/ 16 h 34"/>
                <a:gd name="T32" fmla="*/ 8 w 21"/>
                <a:gd name="T33" fmla="*/ 16 h 34"/>
                <a:gd name="T34" fmla="*/ 11 w 21"/>
                <a:gd name="T35" fmla="*/ 14 h 34"/>
                <a:gd name="T36" fmla="*/ 13 w 21"/>
                <a:gd name="T37" fmla="*/ 10 h 34"/>
                <a:gd name="T38" fmla="*/ 11 w 21"/>
                <a:gd name="T39" fmla="*/ 7 h 34"/>
                <a:gd name="T40" fmla="*/ 8 w 21"/>
                <a:gd name="T41" fmla="*/ 6 h 34"/>
                <a:gd name="T42" fmla="*/ 6 w 21"/>
                <a:gd name="T43"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4">
                  <a:moveTo>
                    <a:pt x="13" y="34"/>
                  </a:moveTo>
                  <a:cubicBezTo>
                    <a:pt x="11" y="26"/>
                    <a:pt x="11" y="26"/>
                    <a:pt x="11" y="26"/>
                  </a:cubicBezTo>
                  <a:cubicBezTo>
                    <a:pt x="10" y="23"/>
                    <a:pt x="9" y="21"/>
                    <a:pt x="7" y="21"/>
                  </a:cubicBezTo>
                  <a:cubicBezTo>
                    <a:pt x="6" y="21"/>
                    <a:pt x="6" y="21"/>
                    <a:pt x="6" y="21"/>
                  </a:cubicBezTo>
                  <a:cubicBezTo>
                    <a:pt x="6" y="34"/>
                    <a:pt x="6" y="34"/>
                    <a:pt x="6" y="34"/>
                  </a:cubicBezTo>
                  <a:cubicBezTo>
                    <a:pt x="0" y="34"/>
                    <a:pt x="0" y="34"/>
                    <a:pt x="0" y="34"/>
                  </a:cubicBezTo>
                  <a:cubicBezTo>
                    <a:pt x="0" y="0"/>
                    <a:pt x="0" y="0"/>
                    <a:pt x="0" y="0"/>
                  </a:cubicBezTo>
                  <a:cubicBezTo>
                    <a:pt x="9" y="0"/>
                    <a:pt x="9" y="0"/>
                    <a:pt x="9" y="0"/>
                  </a:cubicBezTo>
                  <a:cubicBezTo>
                    <a:pt x="16" y="0"/>
                    <a:pt x="19" y="3"/>
                    <a:pt x="19" y="9"/>
                  </a:cubicBezTo>
                  <a:cubicBezTo>
                    <a:pt x="19" y="14"/>
                    <a:pt x="17" y="17"/>
                    <a:pt x="13" y="18"/>
                  </a:cubicBezTo>
                  <a:cubicBezTo>
                    <a:pt x="13" y="19"/>
                    <a:pt x="13" y="19"/>
                    <a:pt x="13" y="19"/>
                  </a:cubicBezTo>
                  <a:cubicBezTo>
                    <a:pt x="15" y="19"/>
                    <a:pt x="16" y="21"/>
                    <a:pt x="18" y="25"/>
                  </a:cubicBezTo>
                  <a:cubicBezTo>
                    <a:pt x="21" y="34"/>
                    <a:pt x="21" y="34"/>
                    <a:pt x="21" y="34"/>
                  </a:cubicBezTo>
                  <a:lnTo>
                    <a:pt x="13" y="34"/>
                  </a:lnTo>
                  <a:close/>
                  <a:moveTo>
                    <a:pt x="6" y="6"/>
                  </a:moveTo>
                  <a:cubicBezTo>
                    <a:pt x="6" y="16"/>
                    <a:pt x="6" y="16"/>
                    <a:pt x="6" y="16"/>
                  </a:cubicBezTo>
                  <a:cubicBezTo>
                    <a:pt x="8" y="16"/>
                    <a:pt x="8" y="16"/>
                    <a:pt x="8" y="16"/>
                  </a:cubicBezTo>
                  <a:cubicBezTo>
                    <a:pt x="10" y="16"/>
                    <a:pt x="11" y="15"/>
                    <a:pt x="11" y="14"/>
                  </a:cubicBezTo>
                  <a:cubicBezTo>
                    <a:pt x="12" y="13"/>
                    <a:pt x="13" y="12"/>
                    <a:pt x="13" y="10"/>
                  </a:cubicBezTo>
                  <a:cubicBezTo>
                    <a:pt x="13" y="9"/>
                    <a:pt x="12" y="8"/>
                    <a:pt x="11" y="7"/>
                  </a:cubicBezTo>
                  <a:cubicBezTo>
                    <a:pt x="11" y="6"/>
                    <a:pt x="10" y="6"/>
                    <a:pt x="8" y="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08" name="Freeform 1974"/>
            <p:cNvSpPr>
              <a:spLocks/>
            </p:cNvSpPr>
            <p:nvPr/>
          </p:nvSpPr>
          <p:spPr bwMode="auto">
            <a:xfrm>
              <a:off x="11914188" y="1222375"/>
              <a:ext cx="73025" cy="152400"/>
            </a:xfrm>
            <a:custGeom>
              <a:avLst/>
              <a:gdLst>
                <a:gd name="T0" fmla="*/ 15 w 46"/>
                <a:gd name="T1" fmla="*/ 96 h 96"/>
                <a:gd name="T2" fmla="*/ 0 w 46"/>
                <a:gd name="T3" fmla="*/ 96 h 96"/>
                <a:gd name="T4" fmla="*/ 32 w 46"/>
                <a:gd name="T5" fmla="*/ 0 h 96"/>
                <a:gd name="T6" fmla="*/ 46 w 46"/>
                <a:gd name="T7" fmla="*/ 0 h 96"/>
                <a:gd name="T8" fmla="*/ 15 w 46"/>
                <a:gd name="T9" fmla="*/ 96 h 96"/>
              </a:gdLst>
              <a:ahLst/>
              <a:cxnLst>
                <a:cxn ang="0">
                  <a:pos x="T0" y="T1"/>
                </a:cxn>
                <a:cxn ang="0">
                  <a:pos x="T2" y="T3"/>
                </a:cxn>
                <a:cxn ang="0">
                  <a:pos x="T4" y="T5"/>
                </a:cxn>
                <a:cxn ang="0">
                  <a:pos x="T6" y="T7"/>
                </a:cxn>
                <a:cxn ang="0">
                  <a:pos x="T8" y="T9"/>
                </a:cxn>
              </a:cxnLst>
              <a:rect l="0" t="0" r="r" b="b"/>
              <a:pathLst>
                <a:path w="46" h="96">
                  <a:moveTo>
                    <a:pt x="15" y="96"/>
                  </a:moveTo>
                  <a:lnTo>
                    <a:pt x="0" y="96"/>
                  </a:lnTo>
                  <a:lnTo>
                    <a:pt x="32" y="0"/>
                  </a:lnTo>
                  <a:lnTo>
                    <a:pt x="46" y="0"/>
                  </a:lnTo>
                  <a:lnTo>
                    <a:pt x="15"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09" name="Freeform 1975"/>
            <p:cNvSpPr>
              <a:spLocks noEditPoints="1"/>
            </p:cNvSpPr>
            <p:nvPr/>
          </p:nvSpPr>
          <p:spPr bwMode="auto">
            <a:xfrm>
              <a:off x="11995150" y="1222375"/>
              <a:ext cx="76200" cy="128587"/>
            </a:xfrm>
            <a:custGeom>
              <a:avLst/>
              <a:gdLst>
                <a:gd name="T0" fmla="*/ 7 w 20"/>
                <a:gd name="T1" fmla="*/ 23 h 34"/>
                <a:gd name="T2" fmla="*/ 7 w 20"/>
                <a:gd name="T3" fmla="*/ 34 h 34"/>
                <a:gd name="T4" fmla="*/ 0 w 20"/>
                <a:gd name="T5" fmla="*/ 34 h 34"/>
                <a:gd name="T6" fmla="*/ 0 w 20"/>
                <a:gd name="T7" fmla="*/ 0 h 34"/>
                <a:gd name="T8" fmla="*/ 10 w 20"/>
                <a:gd name="T9" fmla="*/ 0 h 34"/>
                <a:gd name="T10" fmla="*/ 17 w 20"/>
                <a:gd name="T11" fmla="*/ 3 h 34"/>
                <a:gd name="T12" fmla="*/ 20 w 20"/>
                <a:gd name="T13" fmla="*/ 11 h 34"/>
                <a:gd name="T14" fmla="*/ 17 w 20"/>
                <a:gd name="T15" fmla="*/ 19 h 34"/>
                <a:gd name="T16" fmla="*/ 9 w 20"/>
                <a:gd name="T17" fmla="*/ 23 h 34"/>
                <a:gd name="T18" fmla="*/ 7 w 20"/>
                <a:gd name="T19" fmla="*/ 23 h 34"/>
                <a:gd name="T20" fmla="*/ 7 w 20"/>
                <a:gd name="T21" fmla="*/ 6 h 34"/>
                <a:gd name="T22" fmla="*/ 7 w 20"/>
                <a:gd name="T23" fmla="*/ 17 h 34"/>
                <a:gd name="T24" fmla="*/ 9 w 20"/>
                <a:gd name="T25" fmla="*/ 17 h 34"/>
                <a:gd name="T26" fmla="*/ 13 w 20"/>
                <a:gd name="T27" fmla="*/ 11 h 34"/>
                <a:gd name="T28" fmla="*/ 12 w 20"/>
                <a:gd name="T29" fmla="*/ 7 h 34"/>
                <a:gd name="T30" fmla="*/ 9 w 20"/>
                <a:gd name="T31" fmla="*/ 6 h 34"/>
                <a:gd name="T32" fmla="*/ 7 w 20"/>
                <a:gd name="T33"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34">
                  <a:moveTo>
                    <a:pt x="7" y="23"/>
                  </a:moveTo>
                  <a:cubicBezTo>
                    <a:pt x="7" y="34"/>
                    <a:pt x="7" y="34"/>
                    <a:pt x="7" y="34"/>
                  </a:cubicBezTo>
                  <a:cubicBezTo>
                    <a:pt x="0" y="34"/>
                    <a:pt x="0" y="34"/>
                    <a:pt x="0" y="34"/>
                  </a:cubicBezTo>
                  <a:cubicBezTo>
                    <a:pt x="0" y="0"/>
                    <a:pt x="0" y="0"/>
                    <a:pt x="0" y="0"/>
                  </a:cubicBezTo>
                  <a:cubicBezTo>
                    <a:pt x="10" y="0"/>
                    <a:pt x="10" y="0"/>
                    <a:pt x="10" y="0"/>
                  </a:cubicBezTo>
                  <a:cubicBezTo>
                    <a:pt x="13" y="0"/>
                    <a:pt x="15" y="1"/>
                    <a:pt x="17" y="3"/>
                  </a:cubicBezTo>
                  <a:cubicBezTo>
                    <a:pt x="19" y="5"/>
                    <a:pt x="20" y="8"/>
                    <a:pt x="20" y="11"/>
                  </a:cubicBezTo>
                  <a:cubicBezTo>
                    <a:pt x="20" y="14"/>
                    <a:pt x="19" y="17"/>
                    <a:pt x="17" y="19"/>
                  </a:cubicBezTo>
                  <a:cubicBezTo>
                    <a:pt x="15" y="21"/>
                    <a:pt x="12" y="23"/>
                    <a:pt x="9" y="23"/>
                  </a:cubicBezTo>
                  <a:lnTo>
                    <a:pt x="7" y="23"/>
                  </a:lnTo>
                  <a:close/>
                  <a:moveTo>
                    <a:pt x="7" y="6"/>
                  </a:moveTo>
                  <a:cubicBezTo>
                    <a:pt x="7" y="17"/>
                    <a:pt x="7" y="17"/>
                    <a:pt x="7" y="17"/>
                  </a:cubicBezTo>
                  <a:cubicBezTo>
                    <a:pt x="9" y="17"/>
                    <a:pt x="9" y="17"/>
                    <a:pt x="9" y="17"/>
                  </a:cubicBezTo>
                  <a:cubicBezTo>
                    <a:pt x="12" y="17"/>
                    <a:pt x="13" y="15"/>
                    <a:pt x="13" y="11"/>
                  </a:cubicBezTo>
                  <a:cubicBezTo>
                    <a:pt x="13" y="10"/>
                    <a:pt x="13" y="8"/>
                    <a:pt x="12" y="7"/>
                  </a:cubicBezTo>
                  <a:cubicBezTo>
                    <a:pt x="11" y="6"/>
                    <a:pt x="10" y="6"/>
                    <a:pt x="9" y="6"/>
                  </a:cubicBezTo>
                  <a:lnTo>
                    <a:pt x="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10" name="Freeform 1976"/>
            <p:cNvSpPr>
              <a:spLocks/>
            </p:cNvSpPr>
            <p:nvPr/>
          </p:nvSpPr>
          <p:spPr bwMode="auto">
            <a:xfrm>
              <a:off x="12085638" y="1222375"/>
              <a:ext cx="60325" cy="128587"/>
            </a:xfrm>
            <a:custGeom>
              <a:avLst/>
              <a:gdLst>
                <a:gd name="T0" fmla="*/ 0 w 38"/>
                <a:gd name="T1" fmla="*/ 81 h 81"/>
                <a:gd name="T2" fmla="*/ 0 w 38"/>
                <a:gd name="T3" fmla="*/ 0 h 81"/>
                <a:gd name="T4" fmla="*/ 36 w 38"/>
                <a:gd name="T5" fmla="*/ 0 h 81"/>
                <a:gd name="T6" fmla="*/ 36 w 38"/>
                <a:gd name="T7" fmla="*/ 14 h 81"/>
                <a:gd name="T8" fmla="*/ 15 w 38"/>
                <a:gd name="T9" fmla="*/ 14 h 81"/>
                <a:gd name="T10" fmla="*/ 15 w 38"/>
                <a:gd name="T11" fmla="*/ 33 h 81"/>
                <a:gd name="T12" fmla="*/ 36 w 38"/>
                <a:gd name="T13" fmla="*/ 33 h 81"/>
                <a:gd name="T14" fmla="*/ 36 w 38"/>
                <a:gd name="T15" fmla="*/ 48 h 81"/>
                <a:gd name="T16" fmla="*/ 15 w 38"/>
                <a:gd name="T17" fmla="*/ 48 h 81"/>
                <a:gd name="T18" fmla="*/ 15 w 38"/>
                <a:gd name="T19" fmla="*/ 67 h 81"/>
                <a:gd name="T20" fmla="*/ 38 w 38"/>
                <a:gd name="T21" fmla="*/ 67 h 81"/>
                <a:gd name="T22" fmla="*/ 38 w 38"/>
                <a:gd name="T23" fmla="*/ 81 h 81"/>
                <a:gd name="T24" fmla="*/ 0 w 38"/>
                <a:gd name="T25"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81">
                  <a:moveTo>
                    <a:pt x="0" y="81"/>
                  </a:moveTo>
                  <a:lnTo>
                    <a:pt x="0" y="0"/>
                  </a:lnTo>
                  <a:lnTo>
                    <a:pt x="36" y="0"/>
                  </a:lnTo>
                  <a:lnTo>
                    <a:pt x="36" y="14"/>
                  </a:lnTo>
                  <a:lnTo>
                    <a:pt x="15" y="14"/>
                  </a:lnTo>
                  <a:lnTo>
                    <a:pt x="15" y="33"/>
                  </a:lnTo>
                  <a:lnTo>
                    <a:pt x="36" y="33"/>
                  </a:lnTo>
                  <a:lnTo>
                    <a:pt x="36" y="48"/>
                  </a:lnTo>
                  <a:lnTo>
                    <a:pt x="15" y="48"/>
                  </a:lnTo>
                  <a:lnTo>
                    <a:pt x="15" y="67"/>
                  </a:lnTo>
                  <a:lnTo>
                    <a:pt x="38" y="67"/>
                  </a:lnTo>
                  <a:lnTo>
                    <a:pt x="38" y="81"/>
                  </a:lnTo>
                  <a:lnTo>
                    <a:pt x="0"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11" name="Freeform 1977"/>
            <p:cNvSpPr>
              <a:spLocks noEditPoints="1"/>
            </p:cNvSpPr>
            <p:nvPr/>
          </p:nvSpPr>
          <p:spPr bwMode="auto">
            <a:xfrm>
              <a:off x="12161838" y="1222375"/>
              <a:ext cx="79375" cy="128587"/>
            </a:xfrm>
            <a:custGeom>
              <a:avLst/>
              <a:gdLst>
                <a:gd name="T0" fmla="*/ 14 w 21"/>
                <a:gd name="T1" fmla="*/ 34 h 34"/>
                <a:gd name="T2" fmla="*/ 11 w 21"/>
                <a:gd name="T3" fmla="*/ 26 h 34"/>
                <a:gd name="T4" fmla="*/ 7 w 21"/>
                <a:gd name="T5" fmla="*/ 21 h 34"/>
                <a:gd name="T6" fmla="*/ 6 w 21"/>
                <a:gd name="T7" fmla="*/ 21 h 34"/>
                <a:gd name="T8" fmla="*/ 6 w 21"/>
                <a:gd name="T9" fmla="*/ 34 h 34"/>
                <a:gd name="T10" fmla="*/ 0 w 21"/>
                <a:gd name="T11" fmla="*/ 34 h 34"/>
                <a:gd name="T12" fmla="*/ 0 w 21"/>
                <a:gd name="T13" fmla="*/ 0 h 34"/>
                <a:gd name="T14" fmla="*/ 9 w 21"/>
                <a:gd name="T15" fmla="*/ 0 h 34"/>
                <a:gd name="T16" fmla="*/ 19 w 21"/>
                <a:gd name="T17" fmla="*/ 9 h 34"/>
                <a:gd name="T18" fmla="*/ 13 w 21"/>
                <a:gd name="T19" fmla="*/ 18 h 34"/>
                <a:gd name="T20" fmla="*/ 13 w 21"/>
                <a:gd name="T21" fmla="*/ 19 h 34"/>
                <a:gd name="T22" fmla="*/ 18 w 21"/>
                <a:gd name="T23" fmla="*/ 25 h 34"/>
                <a:gd name="T24" fmla="*/ 21 w 21"/>
                <a:gd name="T25" fmla="*/ 34 h 34"/>
                <a:gd name="T26" fmla="*/ 14 w 21"/>
                <a:gd name="T27" fmla="*/ 34 h 34"/>
                <a:gd name="T28" fmla="*/ 6 w 21"/>
                <a:gd name="T29" fmla="*/ 6 h 34"/>
                <a:gd name="T30" fmla="*/ 6 w 21"/>
                <a:gd name="T31" fmla="*/ 16 h 34"/>
                <a:gd name="T32" fmla="*/ 8 w 21"/>
                <a:gd name="T33" fmla="*/ 16 h 34"/>
                <a:gd name="T34" fmla="*/ 12 w 21"/>
                <a:gd name="T35" fmla="*/ 14 h 34"/>
                <a:gd name="T36" fmla="*/ 13 w 21"/>
                <a:gd name="T37" fmla="*/ 10 h 34"/>
                <a:gd name="T38" fmla="*/ 12 w 21"/>
                <a:gd name="T39" fmla="*/ 7 h 34"/>
                <a:gd name="T40" fmla="*/ 8 w 21"/>
                <a:gd name="T41" fmla="*/ 6 h 34"/>
                <a:gd name="T42" fmla="*/ 6 w 21"/>
                <a:gd name="T43"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4">
                  <a:moveTo>
                    <a:pt x="14" y="34"/>
                  </a:moveTo>
                  <a:cubicBezTo>
                    <a:pt x="11" y="26"/>
                    <a:pt x="11" y="26"/>
                    <a:pt x="11" y="26"/>
                  </a:cubicBezTo>
                  <a:cubicBezTo>
                    <a:pt x="10" y="23"/>
                    <a:pt x="9" y="21"/>
                    <a:pt x="7" y="21"/>
                  </a:cubicBezTo>
                  <a:cubicBezTo>
                    <a:pt x="6" y="21"/>
                    <a:pt x="6" y="21"/>
                    <a:pt x="6" y="21"/>
                  </a:cubicBezTo>
                  <a:cubicBezTo>
                    <a:pt x="6" y="34"/>
                    <a:pt x="6" y="34"/>
                    <a:pt x="6" y="34"/>
                  </a:cubicBezTo>
                  <a:cubicBezTo>
                    <a:pt x="0" y="34"/>
                    <a:pt x="0" y="34"/>
                    <a:pt x="0" y="34"/>
                  </a:cubicBezTo>
                  <a:cubicBezTo>
                    <a:pt x="0" y="0"/>
                    <a:pt x="0" y="0"/>
                    <a:pt x="0" y="0"/>
                  </a:cubicBezTo>
                  <a:cubicBezTo>
                    <a:pt x="9" y="0"/>
                    <a:pt x="9" y="0"/>
                    <a:pt x="9" y="0"/>
                  </a:cubicBezTo>
                  <a:cubicBezTo>
                    <a:pt x="16" y="0"/>
                    <a:pt x="19" y="3"/>
                    <a:pt x="19" y="9"/>
                  </a:cubicBezTo>
                  <a:cubicBezTo>
                    <a:pt x="19" y="14"/>
                    <a:pt x="17" y="17"/>
                    <a:pt x="13" y="18"/>
                  </a:cubicBezTo>
                  <a:cubicBezTo>
                    <a:pt x="13" y="19"/>
                    <a:pt x="13" y="19"/>
                    <a:pt x="13" y="19"/>
                  </a:cubicBezTo>
                  <a:cubicBezTo>
                    <a:pt x="15" y="19"/>
                    <a:pt x="17" y="21"/>
                    <a:pt x="18" y="25"/>
                  </a:cubicBezTo>
                  <a:cubicBezTo>
                    <a:pt x="21" y="34"/>
                    <a:pt x="21" y="34"/>
                    <a:pt x="21" y="34"/>
                  </a:cubicBezTo>
                  <a:lnTo>
                    <a:pt x="14" y="34"/>
                  </a:lnTo>
                  <a:close/>
                  <a:moveTo>
                    <a:pt x="6" y="6"/>
                  </a:moveTo>
                  <a:cubicBezTo>
                    <a:pt x="6" y="16"/>
                    <a:pt x="6" y="16"/>
                    <a:pt x="6" y="16"/>
                  </a:cubicBezTo>
                  <a:cubicBezTo>
                    <a:pt x="8" y="16"/>
                    <a:pt x="8" y="16"/>
                    <a:pt x="8" y="16"/>
                  </a:cubicBezTo>
                  <a:cubicBezTo>
                    <a:pt x="10" y="16"/>
                    <a:pt x="11" y="15"/>
                    <a:pt x="12" y="14"/>
                  </a:cubicBezTo>
                  <a:cubicBezTo>
                    <a:pt x="12" y="13"/>
                    <a:pt x="13" y="12"/>
                    <a:pt x="13" y="10"/>
                  </a:cubicBezTo>
                  <a:cubicBezTo>
                    <a:pt x="13" y="9"/>
                    <a:pt x="12" y="8"/>
                    <a:pt x="12" y="7"/>
                  </a:cubicBezTo>
                  <a:cubicBezTo>
                    <a:pt x="11" y="6"/>
                    <a:pt x="10" y="6"/>
                    <a:pt x="8" y="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12" name="Freeform 1978"/>
            <p:cNvSpPr>
              <a:spLocks/>
            </p:cNvSpPr>
            <p:nvPr/>
          </p:nvSpPr>
          <p:spPr bwMode="auto">
            <a:xfrm>
              <a:off x="12249150" y="1222375"/>
              <a:ext cx="68263" cy="133350"/>
            </a:xfrm>
            <a:custGeom>
              <a:avLst/>
              <a:gdLst>
                <a:gd name="T0" fmla="*/ 0 w 18"/>
                <a:gd name="T1" fmla="*/ 33 h 35"/>
                <a:gd name="T2" fmla="*/ 0 w 18"/>
                <a:gd name="T3" fmla="*/ 26 h 35"/>
                <a:gd name="T4" fmla="*/ 7 w 18"/>
                <a:gd name="T5" fmla="*/ 29 h 35"/>
                <a:gd name="T6" fmla="*/ 10 w 18"/>
                <a:gd name="T7" fmla="*/ 28 h 35"/>
                <a:gd name="T8" fmla="*/ 11 w 18"/>
                <a:gd name="T9" fmla="*/ 25 h 35"/>
                <a:gd name="T10" fmla="*/ 10 w 18"/>
                <a:gd name="T11" fmla="*/ 22 h 35"/>
                <a:gd name="T12" fmla="*/ 7 w 18"/>
                <a:gd name="T13" fmla="*/ 20 h 35"/>
                <a:gd name="T14" fmla="*/ 0 w 18"/>
                <a:gd name="T15" fmla="*/ 10 h 35"/>
                <a:gd name="T16" fmla="*/ 3 w 18"/>
                <a:gd name="T17" fmla="*/ 3 h 35"/>
                <a:gd name="T18" fmla="*/ 10 w 18"/>
                <a:gd name="T19" fmla="*/ 0 h 35"/>
                <a:gd name="T20" fmla="*/ 16 w 18"/>
                <a:gd name="T21" fmla="*/ 1 h 35"/>
                <a:gd name="T22" fmla="*/ 16 w 18"/>
                <a:gd name="T23" fmla="*/ 7 h 35"/>
                <a:gd name="T24" fmla="*/ 11 w 18"/>
                <a:gd name="T25" fmla="*/ 5 h 35"/>
                <a:gd name="T26" fmla="*/ 8 w 18"/>
                <a:gd name="T27" fmla="*/ 7 h 35"/>
                <a:gd name="T28" fmla="*/ 7 w 18"/>
                <a:gd name="T29" fmla="*/ 9 h 35"/>
                <a:gd name="T30" fmla="*/ 11 w 18"/>
                <a:gd name="T31" fmla="*/ 15 h 35"/>
                <a:gd name="T32" fmla="*/ 16 w 18"/>
                <a:gd name="T33" fmla="*/ 19 h 35"/>
                <a:gd name="T34" fmla="*/ 18 w 18"/>
                <a:gd name="T35" fmla="*/ 25 h 35"/>
                <a:gd name="T36" fmla="*/ 15 w 18"/>
                <a:gd name="T37" fmla="*/ 32 h 35"/>
                <a:gd name="T38" fmla="*/ 8 w 18"/>
                <a:gd name="T39" fmla="*/ 35 h 35"/>
                <a:gd name="T40" fmla="*/ 4 w 18"/>
                <a:gd name="T41" fmla="*/ 34 h 35"/>
                <a:gd name="T42" fmla="*/ 0 w 18"/>
                <a:gd name="T43" fmla="*/ 3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35">
                  <a:moveTo>
                    <a:pt x="0" y="33"/>
                  </a:moveTo>
                  <a:cubicBezTo>
                    <a:pt x="0" y="26"/>
                    <a:pt x="0" y="26"/>
                    <a:pt x="0" y="26"/>
                  </a:cubicBezTo>
                  <a:cubicBezTo>
                    <a:pt x="3" y="28"/>
                    <a:pt x="5" y="29"/>
                    <a:pt x="7" y="29"/>
                  </a:cubicBezTo>
                  <a:cubicBezTo>
                    <a:pt x="9" y="29"/>
                    <a:pt x="9" y="29"/>
                    <a:pt x="10" y="28"/>
                  </a:cubicBezTo>
                  <a:cubicBezTo>
                    <a:pt x="11" y="27"/>
                    <a:pt x="11" y="26"/>
                    <a:pt x="11" y="25"/>
                  </a:cubicBezTo>
                  <a:cubicBezTo>
                    <a:pt x="11" y="24"/>
                    <a:pt x="11" y="23"/>
                    <a:pt x="10" y="22"/>
                  </a:cubicBezTo>
                  <a:cubicBezTo>
                    <a:pt x="9" y="22"/>
                    <a:pt x="8" y="21"/>
                    <a:pt x="7" y="20"/>
                  </a:cubicBezTo>
                  <a:cubicBezTo>
                    <a:pt x="2" y="17"/>
                    <a:pt x="0" y="14"/>
                    <a:pt x="0" y="10"/>
                  </a:cubicBezTo>
                  <a:cubicBezTo>
                    <a:pt x="0" y="7"/>
                    <a:pt x="1" y="4"/>
                    <a:pt x="3" y="3"/>
                  </a:cubicBezTo>
                  <a:cubicBezTo>
                    <a:pt x="5" y="1"/>
                    <a:pt x="7" y="0"/>
                    <a:pt x="10" y="0"/>
                  </a:cubicBezTo>
                  <a:cubicBezTo>
                    <a:pt x="12" y="0"/>
                    <a:pt x="15" y="0"/>
                    <a:pt x="16" y="1"/>
                  </a:cubicBezTo>
                  <a:cubicBezTo>
                    <a:pt x="16" y="7"/>
                    <a:pt x="16" y="7"/>
                    <a:pt x="16" y="7"/>
                  </a:cubicBezTo>
                  <a:cubicBezTo>
                    <a:pt x="15" y="6"/>
                    <a:pt x="13" y="5"/>
                    <a:pt x="11" y="5"/>
                  </a:cubicBezTo>
                  <a:cubicBezTo>
                    <a:pt x="10" y="5"/>
                    <a:pt x="9" y="6"/>
                    <a:pt x="8" y="7"/>
                  </a:cubicBezTo>
                  <a:cubicBezTo>
                    <a:pt x="7" y="7"/>
                    <a:pt x="7" y="8"/>
                    <a:pt x="7" y="9"/>
                  </a:cubicBezTo>
                  <a:cubicBezTo>
                    <a:pt x="7" y="11"/>
                    <a:pt x="8" y="13"/>
                    <a:pt x="11" y="15"/>
                  </a:cubicBezTo>
                  <a:cubicBezTo>
                    <a:pt x="14" y="16"/>
                    <a:pt x="15" y="18"/>
                    <a:pt x="16" y="19"/>
                  </a:cubicBezTo>
                  <a:cubicBezTo>
                    <a:pt x="17" y="21"/>
                    <a:pt x="18" y="23"/>
                    <a:pt x="18" y="25"/>
                  </a:cubicBezTo>
                  <a:cubicBezTo>
                    <a:pt x="18" y="28"/>
                    <a:pt x="17" y="30"/>
                    <a:pt x="15" y="32"/>
                  </a:cubicBezTo>
                  <a:cubicBezTo>
                    <a:pt x="13" y="34"/>
                    <a:pt x="11" y="35"/>
                    <a:pt x="8" y="35"/>
                  </a:cubicBezTo>
                  <a:cubicBezTo>
                    <a:pt x="6" y="35"/>
                    <a:pt x="5" y="34"/>
                    <a:pt x="4" y="34"/>
                  </a:cubicBezTo>
                  <a:cubicBezTo>
                    <a:pt x="2" y="34"/>
                    <a:pt x="1" y="33"/>
                    <a:pt x="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13" name="Freeform 1979"/>
            <p:cNvSpPr>
              <a:spLocks noEditPoints="1"/>
            </p:cNvSpPr>
            <p:nvPr/>
          </p:nvSpPr>
          <p:spPr bwMode="auto">
            <a:xfrm>
              <a:off x="12328525" y="1222375"/>
              <a:ext cx="92075" cy="133350"/>
            </a:xfrm>
            <a:custGeom>
              <a:avLst/>
              <a:gdLst>
                <a:gd name="T0" fmla="*/ 12 w 24"/>
                <a:gd name="T1" fmla="*/ 35 h 35"/>
                <a:gd name="T2" fmla="*/ 3 w 24"/>
                <a:gd name="T3" fmla="*/ 30 h 35"/>
                <a:gd name="T4" fmla="*/ 0 w 24"/>
                <a:gd name="T5" fmla="*/ 18 h 35"/>
                <a:gd name="T6" fmla="*/ 3 w 24"/>
                <a:gd name="T7" fmla="*/ 5 h 35"/>
                <a:gd name="T8" fmla="*/ 12 w 24"/>
                <a:gd name="T9" fmla="*/ 0 h 35"/>
                <a:gd name="T10" fmla="*/ 21 w 24"/>
                <a:gd name="T11" fmla="*/ 4 h 35"/>
                <a:gd name="T12" fmla="*/ 24 w 24"/>
                <a:gd name="T13" fmla="*/ 17 h 35"/>
                <a:gd name="T14" fmla="*/ 21 w 24"/>
                <a:gd name="T15" fmla="*/ 30 h 35"/>
                <a:gd name="T16" fmla="*/ 12 w 24"/>
                <a:gd name="T17" fmla="*/ 35 h 35"/>
                <a:gd name="T18" fmla="*/ 12 w 24"/>
                <a:gd name="T19" fmla="*/ 5 h 35"/>
                <a:gd name="T20" fmla="*/ 7 w 24"/>
                <a:gd name="T21" fmla="*/ 17 h 35"/>
                <a:gd name="T22" fmla="*/ 12 w 24"/>
                <a:gd name="T23" fmla="*/ 29 h 35"/>
                <a:gd name="T24" fmla="*/ 16 w 24"/>
                <a:gd name="T25" fmla="*/ 26 h 35"/>
                <a:gd name="T26" fmla="*/ 17 w 24"/>
                <a:gd name="T27" fmla="*/ 17 h 35"/>
                <a:gd name="T28" fmla="*/ 12 w 24"/>
                <a:gd name="T29"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5">
                  <a:moveTo>
                    <a:pt x="12" y="35"/>
                  </a:moveTo>
                  <a:cubicBezTo>
                    <a:pt x="8" y="35"/>
                    <a:pt x="5" y="33"/>
                    <a:pt x="3" y="30"/>
                  </a:cubicBezTo>
                  <a:cubicBezTo>
                    <a:pt x="1" y="27"/>
                    <a:pt x="0" y="23"/>
                    <a:pt x="0" y="18"/>
                  </a:cubicBezTo>
                  <a:cubicBezTo>
                    <a:pt x="0" y="12"/>
                    <a:pt x="1" y="8"/>
                    <a:pt x="3" y="5"/>
                  </a:cubicBezTo>
                  <a:cubicBezTo>
                    <a:pt x="5" y="1"/>
                    <a:pt x="8" y="0"/>
                    <a:pt x="12" y="0"/>
                  </a:cubicBezTo>
                  <a:cubicBezTo>
                    <a:pt x="16" y="0"/>
                    <a:pt x="19" y="1"/>
                    <a:pt x="21" y="4"/>
                  </a:cubicBezTo>
                  <a:cubicBezTo>
                    <a:pt x="23" y="7"/>
                    <a:pt x="24" y="11"/>
                    <a:pt x="24" y="17"/>
                  </a:cubicBezTo>
                  <a:cubicBezTo>
                    <a:pt x="24" y="23"/>
                    <a:pt x="23" y="27"/>
                    <a:pt x="21" y="30"/>
                  </a:cubicBezTo>
                  <a:cubicBezTo>
                    <a:pt x="19" y="33"/>
                    <a:pt x="16" y="35"/>
                    <a:pt x="12" y="35"/>
                  </a:cubicBezTo>
                  <a:close/>
                  <a:moveTo>
                    <a:pt x="12" y="5"/>
                  </a:moveTo>
                  <a:cubicBezTo>
                    <a:pt x="8" y="5"/>
                    <a:pt x="7" y="9"/>
                    <a:pt x="7" y="17"/>
                  </a:cubicBezTo>
                  <a:cubicBezTo>
                    <a:pt x="7" y="25"/>
                    <a:pt x="8" y="29"/>
                    <a:pt x="12" y="29"/>
                  </a:cubicBezTo>
                  <a:cubicBezTo>
                    <a:pt x="14" y="29"/>
                    <a:pt x="15" y="28"/>
                    <a:pt x="16" y="26"/>
                  </a:cubicBezTo>
                  <a:cubicBezTo>
                    <a:pt x="17" y="24"/>
                    <a:pt x="17" y="21"/>
                    <a:pt x="17" y="17"/>
                  </a:cubicBezTo>
                  <a:cubicBezTo>
                    <a:pt x="17" y="9"/>
                    <a:pt x="15" y="5"/>
                    <a:pt x="1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14" name="Freeform 1980"/>
            <p:cNvSpPr>
              <a:spLocks/>
            </p:cNvSpPr>
            <p:nvPr/>
          </p:nvSpPr>
          <p:spPr bwMode="auto">
            <a:xfrm>
              <a:off x="12434888" y="1222375"/>
              <a:ext cx="84138" cy="128587"/>
            </a:xfrm>
            <a:custGeom>
              <a:avLst/>
              <a:gdLst>
                <a:gd name="T0" fmla="*/ 15 w 22"/>
                <a:gd name="T1" fmla="*/ 34 h 34"/>
                <a:gd name="T2" fmla="*/ 7 w 22"/>
                <a:gd name="T3" fmla="*/ 15 h 34"/>
                <a:gd name="T4" fmla="*/ 6 w 22"/>
                <a:gd name="T5" fmla="*/ 11 h 34"/>
                <a:gd name="T6" fmla="*/ 6 w 22"/>
                <a:gd name="T7" fmla="*/ 10 h 34"/>
                <a:gd name="T8" fmla="*/ 6 w 22"/>
                <a:gd name="T9" fmla="*/ 10 h 34"/>
                <a:gd name="T10" fmla="*/ 6 w 22"/>
                <a:gd name="T11" fmla="*/ 17 h 34"/>
                <a:gd name="T12" fmla="*/ 6 w 22"/>
                <a:gd name="T13" fmla="*/ 34 h 34"/>
                <a:gd name="T14" fmla="*/ 0 w 22"/>
                <a:gd name="T15" fmla="*/ 34 h 34"/>
                <a:gd name="T16" fmla="*/ 0 w 22"/>
                <a:gd name="T17" fmla="*/ 0 h 34"/>
                <a:gd name="T18" fmla="*/ 8 w 22"/>
                <a:gd name="T19" fmla="*/ 0 h 34"/>
                <a:gd name="T20" fmla="*/ 15 w 22"/>
                <a:gd name="T21" fmla="*/ 20 h 34"/>
                <a:gd name="T22" fmla="*/ 17 w 22"/>
                <a:gd name="T23" fmla="*/ 25 h 34"/>
                <a:gd name="T24" fmla="*/ 17 w 22"/>
                <a:gd name="T25" fmla="*/ 25 h 34"/>
                <a:gd name="T26" fmla="*/ 17 w 22"/>
                <a:gd name="T27" fmla="*/ 19 h 34"/>
                <a:gd name="T28" fmla="*/ 17 w 22"/>
                <a:gd name="T29" fmla="*/ 0 h 34"/>
                <a:gd name="T30" fmla="*/ 22 w 22"/>
                <a:gd name="T31" fmla="*/ 0 h 34"/>
                <a:gd name="T32" fmla="*/ 22 w 22"/>
                <a:gd name="T33" fmla="*/ 34 h 34"/>
                <a:gd name="T34" fmla="*/ 15 w 22"/>
                <a:gd name="T3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 h="34">
                  <a:moveTo>
                    <a:pt x="15" y="34"/>
                  </a:moveTo>
                  <a:cubicBezTo>
                    <a:pt x="7" y="15"/>
                    <a:pt x="7" y="15"/>
                    <a:pt x="7" y="15"/>
                  </a:cubicBezTo>
                  <a:cubicBezTo>
                    <a:pt x="7" y="14"/>
                    <a:pt x="7" y="13"/>
                    <a:pt x="6" y="11"/>
                  </a:cubicBezTo>
                  <a:cubicBezTo>
                    <a:pt x="6" y="11"/>
                    <a:pt x="6" y="10"/>
                    <a:pt x="6" y="10"/>
                  </a:cubicBezTo>
                  <a:cubicBezTo>
                    <a:pt x="6" y="10"/>
                    <a:pt x="6" y="10"/>
                    <a:pt x="6" y="10"/>
                  </a:cubicBezTo>
                  <a:cubicBezTo>
                    <a:pt x="6" y="13"/>
                    <a:pt x="6" y="15"/>
                    <a:pt x="6" y="17"/>
                  </a:cubicBezTo>
                  <a:cubicBezTo>
                    <a:pt x="6" y="34"/>
                    <a:pt x="6" y="34"/>
                    <a:pt x="6" y="34"/>
                  </a:cubicBezTo>
                  <a:cubicBezTo>
                    <a:pt x="0" y="34"/>
                    <a:pt x="0" y="34"/>
                    <a:pt x="0" y="34"/>
                  </a:cubicBezTo>
                  <a:cubicBezTo>
                    <a:pt x="0" y="0"/>
                    <a:pt x="0" y="0"/>
                    <a:pt x="0" y="0"/>
                  </a:cubicBezTo>
                  <a:cubicBezTo>
                    <a:pt x="8" y="0"/>
                    <a:pt x="8" y="0"/>
                    <a:pt x="8" y="0"/>
                  </a:cubicBezTo>
                  <a:cubicBezTo>
                    <a:pt x="15" y="20"/>
                    <a:pt x="15" y="20"/>
                    <a:pt x="15" y="20"/>
                  </a:cubicBezTo>
                  <a:cubicBezTo>
                    <a:pt x="16" y="21"/>
                    <a:pt x="16" y="22"/>
                    <a:pt x="17" y="25"/>
                  </a:cubicBezTo>
                  <a:cubicBezTo>
                    <a:pt x="17" y="25"/>
                    <a:pt x="17" y="25"/>
                    <a:pt x="17" y="25"/>
                  </a:cubicBezTo>
                  <a:cubicBezTo>
                    <a:pt x="17" y="19"/>
                    <a:pt x="17" y="19"/>
                    <a:pt x="17" y="19"/>
                  </a:cubicBezTo>
                  <a:cubicBezTo>
                    <a:pt x="17" y="0"/>
                    <a:pt x="17" y="0"/>
                    <a:pt x="17" y="0"/>
                  </a:cubicBezTo>
                  <a:cubicBezTo>
                    <a:pt x="22" y="0"/>
                    <a:pt x="22" y="0"/>
                    <a:pt x="22" y="0"/>
                  </a:cubicBezTo>
                  <a:cubicBezTo>
                    <a:pt x="22" y="34"/>
                    <a:pt x="22" y="34"/>
                    <a:pt x="22" y="34"/>
                  </a:cubicBezTo>
                  <a:lnTo>
                    <a:pt x="15"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15" name="Rectangle 1981"/>
            <p:cNvSpPr>
              <a:spLocks noChangeArrowheads="1"/>
            </p:cNvSpPr>
            <p:nvPr/>
          </p:nvSpPr>
          <p:spPr bwMode="auto">
            <a:xfrm>
              <a:off x="11676063" y="1397000"/>
              <a:ext cx="33338" cy="184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16" name="Freeform 1982"/>
            <p:cNvSpPr>
              <a:spLocks/>
            </p:cNvSpPr>
            <p:nvPr/>
          </p:nvSpPr>
          <p:spPr bwMode="auto">
            <a:xfrm>
              <a:off x="11739563" y="1397000"/>
              <a:ext cx="119063" cy="184150"/>
            </a:xfrm>
            <a:custGeom>
              <a:avLst/>
              <a:gdLst>
                <a:gd name="T0" fmla="*/ 21 w 31"/>
                <a:gd name="T1" fmla="*/ 48 h 48"/>
                <a:gd name="T2" fmla="*/ 10 w 31"/>
                <a:gd name="T3" fmla="*/ 21 h 48"/>
                <a:gd name="T4" fmla="*/ 8 w 31"/>
                <a:gd name="T5" fmla="*/ 15 h 48"/>
                <a:gd name="T6" fmla="*/ 8 w 31"/>
                <a:gd name="T7" fmla="*/ 14 h 48"/>
                <a:gd name="T8" fmla="*/ 8 w 31"/>
                <a:gd name="T9" fmla="*/ 14 h 48"/>
                <a:gd name="T10" fmla="*/ 8 w 31"/>
                <a:gd name="T11" fmla="*/ 24 h 48"/>
                <a:gd name="T12" fmla="*/ 8 w 31"/>
                <a:gd name="T13" fmla="*/ 48 h 48"/>
                <a:gd name="T14" fmla="*/ 0 w 31"/>
                <a:gd name="T15" fmla="*/ 48 h 48"/>
                <a:gd name="T16" fmla="*/ 0 w 31"/>
                <a:gd name="T17" fmla="*/ 0 h 48"/>
                <a:gd name="T18" fmla="*/ 11 w 31"/>
                <a:gd name="T19" fmla="*/ 0 h 48"/>
                <a:gd name="T20" fmla="*/ 21 w 31"/>
                <a:gd name="T21" fmla="*/ 28 h 48"/>
                <a:gd name="T22" fmla="*/ 23 w 31"/>
                <a:gd name="T23" fmla="*/ 35 h 48"/>
                <a:gd name="T24" fmla="*/ 23 w 31"/>
                <a:gd name="T25" fmla="*/ 35 h 48"/>
                <a:gd name="T26" fmla="*/ 23 w 31"/>
                <a:gd name="T27" fmla="*/ 27 h 48"/>
                <a:gd name="T28" fmla="*/ 23 w 31"/>
                <a:gd name="T29" fmla="*/ 0 h 48"/>
                <a:gd name="T30" fmla="*/ 31 w 31"/>
                <a:gd name="T31" fmla="*/ 0 h 48"/>
                <a:gd name="T32" fmla="*/ 31 w 31"/>
                <a:gd name="T33" fmla="*/ 48 h 48"/>
                <a:gd name="T34" fmla="*/ 21 w 31"/>
                <a:gd name="T3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 h="48">
                  <a:moveTo>
                    <a:pt x="21" y="48"/>
                  </a:moveTo>
                  <a:cubicBezTo>
                    <a:pt x="10" y="21"/>
                    <a:pt x="10" y="21"/>
                    <a:pt x="10" y="21"/>
                  </a:cubicBezTo>
                  <a:cubicBezTo>
                    <a:pt x="10" y="20"/>
                    <a:pt x="9" y="18"/>
                    <a:pt x="8" y="15"/>
                  </a:cubicBezTo>
                  <a:cubicBezTo>
                    <a:pt x="8" y="15"/>
                    <a:pt x="8" y="14"/>
                    <a:pt x="8" y="14"/>
                  </a:cubicBezTo>
                  <a:cubicBezTo>
                    <a:pt x="8" y="14"/>
                    <a:pt x="8" y="14"/>
                    <a:pt x="8" y="14"/>
                  </a:cubicBezTo>
                  <a:cubicBezTo>
                    <a:pt x="8" y="18"/>
                    <a:pt x="8" y="21"/>
                    <a:pt x="8" y="24"/>
                  </a:cubicBezTo>
                  <a:cubicBezTo>
                    <a:pt x="8" y="48"/>
                    <a:pt x="8" y="48"/>
                    <a:pt x="8" y="48"/>
                  </a:cubicBezTo>
                  <a:cubicBezTo>
                    <a:pt x="0" y="48"/>
                    <a:pt x="0" y="48"/>
                    <a:pt x="0" y="48"/>
                  </a:cubicBezTo>
                  <a:cubicBezTo>
                    <a:pt x="0" y="0"/>
                    <a:pt x="0" y="0"/>
                    <a:pt x="0" y="0"/>
                  </a:cubicBezTo>
                  <a:cubicBezTo>
                    <a:pt x="11" y="0"/>
                    <a:pt x="11" y="0"/>
                    <a:pt x="11" y="0"/>
                  </a:cubicBezTo>
                  <a:cubicBezTo>
                    <a:pt x="21" y="28"/>
                    <a:pt x="21" y="28"/>
                    <a:pt x="21" y="28"/>
                  </a:cubicBezTo>
                  <a:cubicBezTo>
                    <a:pt x="22" y="29"/>
                    <a:pt x="22" y="31"/>
                    <a:pt x="23" y="35"/>
                  </a:cubicBezTo>
                  <a:cubicBezTo>
                    <a:pt x="23" y="35"/>
                    <a:pt x="23" y="35"/>
                    <a:pt x="23" y="35"/>
                  </a:cubicBezTo>
                  <a:cubicBezTo>
                    <a:pt x="23" y="27"/>
                    <a:pt x="23" y="27"/>
                    <a:pt x="23" y="27"/>
                  </a:cubicBezTo>
                  <a:cubicBezTo>
                    <a:pt x="23" y="0"/>
                    <a:pt x="23" y="0"/>
                    <a:pt x="23" y="0"/>
                  </a:cubicBezTo>
                  <a:cubicBezTo>
                    <a:pt x="31" y="0"/>
                    <a:pt x="31" y="0"/>
                    <a:pt x="31" y="0"/>
                  </a:cubicBezTo>
                  <a:cubicBezTo>
                    <a:pt x="31" y="48"/>
                    <a:pt x="31" y="48"/>
                    <a:pt x="31" y="48"/>
                  </a:cubicBezTo>
                  <a:lnTo>
                    <a:pt x="21"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17" name="Freeform 1983"/>
            <p:cNvSpPr>
              <a:spLocks/>
            </p:cNvSpPr>
            <p:nvPr/>
          </p:nvSpPr>
          <p:spPr bwMode="auto">
            <a:xfrm>
              <a:off x="11941175" y="1397000"/>
              <a:ext cx="103188" cy="187325"/>
            </a:xfrm>
            <a:custGeom>
              <a:avLst/>
              <a:gdLst>
                <a:gd name="T0" fmla="*/ 27 w 27"/>
                <a:gd name="T1" fmla="*/ 47 h 49"/>
                <a:gd name="T2" fmla="*/ 18 w 27"/>
                <a:gd name="T3" fmla="*/ 49 h 49"/>
                <a:gd name="T4" fmla="*/ 5 w 27"/>
                <a:gd name="T5" fmla="*/ 43 h 49"/>
                <a:gd name="T6" fmla="*/ 0 w 27"/>
                <a:gd name="T7" fmla="*/ 25 h 49"/>
                <a:gd name="T8" fmla="*/ 5 w 27"/>
                <a:gd name="T9" fmla="*/ 6 h 49"/>
                <a:gd name="T10" fmla="*/ 19 w 27"/>
                <a:gd name="T11" fmla="*/ 0 h 49"/>
                <a:gd name="T12" fmla="*/ 27 w 27"/>
                <a:gd name="T13" fmla="*/ 1 h 49"/>
                <a:gd name="T14" fmla="*/ 27 w 27"/>
                <a:gd name="T15" fmla="*/ 10 h 49"/>
                <a:gd name="T16" fmla="*/ 20 w 27"/>
                <a:gd name="T17" fmla="*/ 8 h 49"/>
                <a:gd name="T18" fmla="*/ 12 w 27"/>
                <a:gd name="T19" fmla="*/ 12 h 49"/>
                <a:gd name="T20" fmla="*/ 9 w 27"/>
                <a:gd name="T21" fmla="*/ 24 h 49"/>
                <a:gd name="T22" fmla="*/ 12 w 27"/>
                <a:gd name="T23" fmla="*/ 36 h 49"/>
                <a:gd name="T24" fmla="*/ 20 w 27"/>
                <a:gd name="T25" fmla="*/ 41 h 49"/>
                <a:gd name="T26" fmla="*/ 27 w 27"/>
                <a:gd name="T27" fmla="*/ 38 h 49"/>
                <a:gd name="T28" fmla="*/ 27 w 27"/>
                <a:gd name="T29" fmla="*/ 4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49">
                  <a:moveTo>
                    <a:pt x="27" y="47"/>
                  </a:moveTo>
                  <a:cubicBezTo>
                    <a:pt x="25" y="48"/>
                    <a:pt x="22" y="49"/>
                    <a:pt x="18" y="49"/>
                  </a:cubicBezTo>
                  <a:cubicBezTo>
                    <a:pt x="13" y="49"/>
                    <a:pt x="8" y="47"/>
                    <a:pt x="5" y="43"/>
                  </a:cubicBezTo>
                  <a:cubicBezTo>
                    <a:pt x="1" y="38"/>
                    <a:pt x="0" y="33"/>
                    <a:pt x="0" y="25"/>
                  </a:cubicBezTo>
                  <a:cubicBezTo>
                    <a:pt x="0" y="17"/>
                    <a:pt x="2" y="11"/>
                    <a:pt x="5" y="6"/>
                  </a:cubicBezTo>
                  <a:cubicBezTo>
                    <a:pt x="8" y="2"/>
                    <a:pt x="13" y="0"/>
                    <a:pt x="19" y="0"/>
                  </a:cubicBezTo>
                  <a:cubicBezTo>
                    <a:pt x="22" y="0"/>
                    <a:pt x="25" y="0"/>
                    <a:pt x="27" y="1"/>
                  </a:cubicBezTo>
                  <a:cubicBezTo>
                    <a:pt x="27" y="10"/>
                    <a:pt x="27" y="10"/>
                    <a:pt x="27" y="10"/>
                  </a:cubicBezTo>
                  <a:cubicBezTo>
                    <a:pt x="25" y="8"/>
                    <a:pt x="23" y="8"/>
                    <a:pt x="20" y="8"/>
                  </a:cubicBezTo>
                  <a:cubicBezTo>
                    <a:pt x="17" y="8"/>
                    <a:pt x="14" y="9"/>
                    <a:pt x="12" y="12"/>
                  </a:cubicBezTo>
                  <a:cubicBezTo>
                    <a:pt x="10" y="15"/>
                    <a:pt x="9" y="19"/>
                    <a:pt x="9" y="24"/>
                  </a:cubicBezTo>
                  <a:cubicBezTo>
                    <a:pt x="9" y="30"/>
                    <a:pt x="10" y="34"/>
                    <a:pt x="12" y="36"/>
                  </a:cubicBezTo>
                  <a:cubicBezTo>
                    <a:pt x="14" y="39"/>
                    <a:pt x="16" y="41"/>
                    <a:pt x="20" y="41"/>
                  </a:cubicBezTo>
                  <a:cubicBezTo>
                    <a:pt x="22" y="41"/>
                    <a:pt x="25" y="40"/>
                    <a:pt x="27" y="38"/>
                  </a:cubicBezTo>
                  <a:lnTo>
                    <a:pt x="27"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18" name="Freeform 1984"/>
            <p:cNvSpPr>
              <a:spLocks/>
            </p:cNvSpPr>
            <p:nvPr/>
          </p:nvSpPr>
          <p:spPr bwMode="auto">
            <a:xfrm>
              <a:off x="12071350" y="1397000"/>
              <a:ext cx="112713" cy="184150"/>
            </a:xfrm>
            <a:custGeom>
              <a:avLst/>
              <a:gdLst>
                <a:gd name="T0" fmla="*/ 50 w 71"/>
                <a:gd name="T1" fmla="*/ 116 h 116"/>
                <a:gd name="T2" fmla="*/ 50 w 71"/>
                <a:gd name="T3" fmla="*/ 67 h 116"/>
                <a:gd name="T4" fmla="*/ 21 w 71"/>
                <a:gd name="T5" fmla="*/ 67 h 116"/>
                <a:gd name="T6" fmla="*/ 21 w 71"/>
                <a:gd name="T7" fmla="*/ 116 h 116"/>
                <a:gd name="T8" fmla="*/ 0 w 71"/>
                <a:gd name="T9" fmla="*/ 116 h 116"/>
                <a:gd name="T10" fmla="*/ 0 w 71"/>
                <a:gd name="T11" fmla="*/ 0 h 116"/>
                <a:gd name="T12" fmla="*/ 21 w 71"/>
                <a:gd name="T13" fmla="*/ 0 h 116"/>
                <a:gd name="T14" fmla="*/ 21 w 71"/>
                <a:gd name="T15" fmla="*/ 48 h 116"/>
                <a:gd name="T16" fmla="*/ 50 w 71"/>
                <a:gd name="T17" fmla="*/ 48 h 116"/>
                <a:gd name="T18" fmla="*/ 50 w 71"/>
                <a:gd name="T19" fmla="*/ 0 h 116"/>
                <a:gd name="T20" fmla="*/ 71 w 71"/>
                <a:gd name="T21" fmla="*/ 0 h 116"/>
                <a:gd name="T22" fmla="*/ 71 w 71"/>
                <a:gd name="T23" fmla="*/ 116 h 116"/>
                <a:gd name="T24" fmla="*/ 50 w 71"/>
                <a:gd name="T2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116">
                  <a:moveTo>
                    <a:pt x="50" y="116"/>
                  </a:moveTo>
                  <a:lnTo>
                    <a:pt x="50" y="67"/>
                  </a:lnTo>
                  <a:lnTo>
                    <a:pt x="21" y="67"/>
                  </a:lnTo>
                  <a:lnTo>
                    <a:pt x="21" y="116"/>
                  </a:lnTo>
                  <a:lnTo>
                    <a:pt x="0" y="116"/>
                  </a:lnTo>
                  <a:lnTo>
                    <a:pt x="0" y="0"/>
                  </a:lnTo>
                  <a:lnTo>
                    <a:pt x="21" y="0"/>
                  </a:lnTo>
                  <a:lnTo>
                    <a:pt x="21" y="48"/>
                  </a:lnTo>
                  <a:lnTo>
                    <a:pt x="50" y="48"/>
                  </a:lnTo>
                  <a:lnTo>
                    <a:pt x="50" y="0"/>
                  </a:lnTo>
                  <a:lnTo>
                    <a:pt x="71" y="0"/>
                  </a:lnTo>
                  <a:lnTo>
                    <a:pt x="71" y="116"/>
                  </a:lnTo>
                  <a:lnTo>
                    <a:pt x="50"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19" name="Rectangle 1985"/>
            <p:cNvSpPr>
              <a:spLocks noChangeArrowheads="1"/>
            </p:cNvSpPr>
            <p:nvPr/>
          </p:nvSpPr>
          <p:spPr bwMode="auto">
            <a:xfrm>
              <a:off x="12215813" y="1397000"/>
              <a:ext cx="36513" cy="184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20" name="Freeform 1986"/>
            <p:cNvSpPr>
              <a:spLocks/>
            </p:cNvSpPr>
            <p:nvPr/>
          </p:nvSpPr>
          <p:spPr bwMode="auto">
            <a:xfrm>
              <a:off x="12284075" y="1397000"/>
              <a:ext cx="112713" cy="184150"/>
            </a:xfrm>
            <a:custGeom>
              <a:avLst/>
              <a:gdLst>
                <a:gd name="T0" fmla="*/ 20 w 30"/>
                <a:gd name="T1" fmla="*/ 48 h 48"/>
                <a:gd name="T2" fmla="*/ 9 w 30"/>
                <a:gd name="T3" fmla="*/ 21 h 48"/>
                <a:gd name="T4" fmla="*/ 8 w 30"/>
                <a:gd name="T5" fmla="*/ 15 h 48"/>
                <a:gd name="T6" fmla="*/ 7 w 30"/>
                <a:gd name="T7" fmla="*/ 14 h 48"/>
                <a:gd name="T8" fmla="*/ 7 w 30"/>
                <a:gd name="T9" fmla="*/ 14 h 48"/>
                <a:gd name="T10" fmla="*/ 7 w 30"/>
                <a:gd name="T11" fmla="*/ 24 h 48"/>
                <a:gd name="T12" fmla="*/ 7 w 30"/>
                <a:gd name="T13" fmla="*/ 48 h 48"/>
                <a:gd name="T14" fmla="*/ 0 w 30"/>
                <a:gd name="T15" fmla="*/ 48 h 48"/>
                <a:gd name="T16" fmla="*/ 0 w 30"/>
                <a:gd name="T17" fmla="*/ 0 h 48"/>
                <a:gd name="T18" fmla="*/ 10 w 30"/>
                <a:gd name="T19" fmla="*/ 0 h 48"/>
                <a:gd name="T20" fmla="*/ 21 w 30"/>
                <a:gd name="T21" fmla="*/ 28 h 48"/>
                <a:gd name="T22" fmla="*/ 23 w 30"/>
                <a:gd name="T23" fmla="*/ 35 h 48"/>
                <a:gd name="T24" fmla="*/ 23 w 30"/>
                <a:gd name="T25" fmla="*/ 35 h 48"/>
                <a:gd name="T26" fmla="*/ 23 w 30"/>
                <a:gd name="T27" fmla="*/ 27 h 48"/>
                <a:gd name="T28" fmla="*/ 23 w 30"/>
                <a:gd name="T29" fmla="*/ 0 h 48"/>
                <a:gd name="T30" fmla="*/ 30 w 30"/>
                <a:gd name="T31" fmla="*/ 0 h 48"/>
                <a:gd name="T32" fmla="*/ 30 w 30"/>
                <a:gd name="T33" fmla="*/ 48 h 48"/>
                <a:gd name="T34" fmla="*/ 20 w 30"/>
                <a:gd name="T3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48">
                  <a:moveTo>
                    <a:pt x="20" y="48"/>
                  </a:moveTo>
                  <a:cubicBezTo>
                    <a:pt x="9" y="21"/>
                    <a:pt x="9" y="21"/>
                    <a:pt x="9" y="21"/>
                  </a:cubicBezTo>
                  <a:cubicBezTo>
                    <a:pt x="9" y="20"/>
                    <a:pt x="8" y="18"/>
                    <a:pt x="8" y="15"/>
                  </a:cubicBezTo>
                  <a:cubicBezTo>
                    <a:pt x="7" y="15"/>
                    <a:pt x="7" y="14"/>
                    <a:pt x="7" y="14"/>
                  </a:cubicBezTo>
                  <a:cubicBezTo>
                    <a:pt x="7" y="14"/>
                    <a:pt x="7" y="14"/>
                    <a:pt x="7" y="14"/>
                  </a:cubicBezTo>
                  <a:cubicBezTo>
                    <a:pt x="7" y="18"/>
                    <a:pt x="7" y="21"/>
                    <a:pt x="7" y="24"/>
                  </a:cubicBezTo>
                  <a:cubicBezTo>
                    <a:pt x="7" y="48"/>
                    <a:pt x="7" y="48"/>
                    <a:pt x="7" y="48"/>
                  </a:cubicBezTo>
                  <a:cubicBezTo>
                    <a:pt x="0" y="48"/>
                    <a:pt x="0" y="48"/>
                    <a:pt x="0" y="48"/>
                  </a:cubicBezTo>
                  <a:cubicBezTo>
                    <a:pt x="0" y="0"/>
                    <a:pt x="0" y="0"/>
                    <a:pt x="0" y="0"/>
                  </a:cubicBezTo>
                  <a:cubicBezTo>
                    <a:pt x="10" y="0"/>
                    <a:pt x="10" y="0"/>
                    <a:pt x="10" y="0"/>
                  </a:cubicBezTo>
                  <a:cubicBezTo>
                    <a:pt x="21" y="28"/>
                    <a:pt x="21" y="28"/>
                    <a:pt x="21" y="28"/>
                  </a:cubicBezTo>
                  <a:cubicBezTo>
                    <a:pt x="21" y="29"/>
                    <a:pt x="22" y="31"/>
                    <a:pt x="23" y="35"/>
                  </a:cubicBezTo>
                  <a:cubicBezTo>
                    <a:pt x="23" y="35"/>
                    <a:pt x="23" y="35"/>
                    <a:pt x="23" y="35"/>
                  </a:cubicBezTo>
                  <a:cubicBezTo>
                    <a:pt x="23" y="27"/>
                    <a:pt x="23" y="27"/>
                    <a:pt x="23" y="27"/>
                  </a:cubicBezTo>
                  <a:cubicBezTo>
                    <a:pt x="23" y="0"/>
                    <a:pt x="23" y="0"/>
                    <a:pt x="23" y="0"/>
                  </a:cubicBezTo>
                  <a:cubicBezTo>
                    <a:pt x="30" y="0"/>
                    <a:pt x="30" y="0"/>
                    <a:pt x="30" y="0"/>
                  </a:cubicBezTo>
                  <a:cubicBezTo>
                    <a:pt x="30" y="48"/>
                    <a:pt x="30" y="48"/>
                    <a:pt x="30" y="48"/>
                  </a:cubicBezTo>
                  <a:lnTo>
                    <a:pt x="20"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121" name="Freeform 1987"/>
            <p:cNvSpPr>
              <a:spLocks noEditPoints="1"/>
            </p:cNvSpPr>
            <p:nvPr/>
          </p:nvSpPr>
          <p:spPr bwMode="auto">
            <a:xfrm>
              <a:off x="12415838" y="1397000"/>
              <a:ext cx="138113" cy="184150"/>
            </a:xfrm>
            <a:custGeom>
              <a:avLst/>
              <a:gdLst>
                <a:gd name="T0" fmla="*/ 26 w 36"/>
                <a:gd name="T1" fmla="*/ 48 h 48"/>
                <a:gd name="T2" fmla="*/ 24 w 36"/>
                <a:gd name="T3" fmla="*/ 36 h 48"/>
                <a:gd name="T4" fmla="*/ 12 w 36"/>
                <a:gd name="T5" fmla="*/ 36 h 48"/>
                <a:gd name="T6" fmla="*/ 9 w 36"/>
                <a:gd name="T7" fmla="*/ 48 h 48"/>
                <a:gd name="T8" fmla="*/ 0 w 36"/>
                <a:gd name="T9" fmla="*/ 48 h 48"/>
                <a:gd name="T10" fmla="*/ 13 w 36"/>
                <a:gd name="T11" fmla="*/ 0 h 48"/>
                <a:gd name="T12" fmla="*/ 23 w 36"/>
                <a:gd name="T13" fmla="*/ 0 h 48"/>
                <a:gd name="T14" fmla="*/ 36 w 36"/>
                <a:gd name="T15" fmla="*/ 48 h 48"/>
                <a:gd name="T16" fmla="*/ 26 w 36"/>
                <a:gd name="T17" fmla="*/ 48 h 48"/>
                <a:gd name="T18" fmla="*/ 19 w 36"/>
                <a:gd name="T19" fmla="*/ 14 h 48"/>
                <a:gd name="T20" fmla="*/ 18 w 36"/>
                <a:gd name="T21" fmla="*/ 9 h 48"/>
                <a:gd name="T22" fmla="*/ 18 w 36"/>
                <a:gd name="T23" fmla="*/ 8 h 48"/>
                <a:gd name="T24" fmla="*/ 18 w 36"/>
                <a:gd name="T25" fmla="*/ 8 h 48"/>
                <a:gd name="T26" fmla="*/ 17 w 36"/>
                <a:gd name="T27" fmla="*/ 14 h 48"/>
                <a:gd name="T28" fmla="*/ 13 w 36"/>
                <a:gd name="T29" fmla="*/ 29 h 48"/>
                <a:gd name="T30" fmla="*/ 22 w 36"/>
                <a:gd name="T31" fmla="*/ 29 h 48"/>
                <a:gd name="T32" fmla="*/ 19 w 36"/>
                <a:gd name="T33"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48">
                  <a:moveTo>
                    <a:pt x="26" y="48"/>
                  </a:moveTo>
                  <a:cubicBezTo>
                    <a:pt x="24" y="36"/>
                    <a:pt x="24" y="36"/>
                    <a:pt x="24" y="36"/>
                  </a:cubicBezTo>
                  <a:cubicBezTo>
                    <a:pt x="12" y="36"/>
                    <a:pt x="12" y="36"/>
                    <a:pt x="12" y="36"/>
                  </a:cubicBezTo>
                  <a:cubicBezTo>
                    <a:pt x="9" y="48"/>
                    <a:pt x="9" y="48"/>
                    <a:pt x="9" y="48"/>
                  </a:cubicBezTo>
                  <a:cubicBezTo>
                    <a:pt x="0" y="48"/>
                    <a:pt x="0" y="48"/>
                    <a:pt x="0" y="48"/>
                  </a:cubicBezTo>
                  <a:cubicBezTo>
                    <a:pt x="13" y="0"/>
                    <a:pt x="13" y="0"/>
                    <a:pt x="13" y="0"/>
                  </a:cubicBezTo>
                  <a:cubicBezTo>
                    <a:pt x="23" y="0"/>
                    <a:pt x="23" y="0"/>
                    <a:pt x="23" y="0"/>
                  </a:cubicBezTo>
                  <a:cubicBezTo>
                    <a:pt x="36" y="48"/>
                    <a:pt x="36" y="48"/>
                    <a:pt x="36" y="48"/>
                  </a:cubicBezTo>
                  <a:lnTo>
                    <a:pt x="26" y="48"/>
                  </a:lnTo>
                  <a:close/>
                  <a:moveTo>
                    <a:pt x="19" y="14"/>
                  </a:moveTo>
                  <a:cubicBezTo>
                    <a:pt x="19" y="13"/>
                    <a:pt x="18" y="11"/>
                    <a:pt x="18" y="9"/>
                  </a:cubicBezTo>
                  <a:cubicBezTo>
                    <a:pt x="18" y="8"/>
                    <a:pt x="18" y="8"/>
                    <a:pt x="18" y="8"/>
                  </a:cubicBezTo>
                  <a:cubicBezTo>
                    <a:pt x="18" y="8"/>
                    <a:pt x="18" y="8"/>
                    <a:pt x="18" y="8"/>
                  </a:cubicBezTo>
                  <a:cubicBezTo>
                    <a:pt x="17" y="11"/>
                    <a:pt x="17" y="13"/>
                    <a:pt x="17" y="14"/>
                  </a:cubicBezTo>
                  <a:cubicBezTo>
                    <a:pt x="13" y="29"/>
                    <a:pt x="13" y="29"/>
                    <a:pt x="13" y="29"/>
                  </a:cubicBezTo>
                  <a:cubicBezTo>
                    <a:pt x="22" y="29"/>
                    <a:pt x="22" y="29"/>
                    <a:pt x="22" y="29"/>
                  </a:cubicBezTo>
                  <a:lnTo>
                    <a:pt x="19"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cxnSp>
        <p:nvCxnSpPr>
          <p:cNvPr id="2124" name="Straight Connector 2123"/>
          <p:cNvCxnSpPr/>
          <p:nvPr/>
        </p:nvCxnSpPr>
        <p:spPr>
          <a:xfrm>
            <a:off x="1925994" y="3740603"/>
            <a:ext cx="3634724" cy="0"/>
          </a:xfrm>
          <a:prstGeom prst="line">
            <a:avLst/>
          </a:prstGeom>
          <a:noFill/>
          <a:ln w="9525" cap="flat" cmpd="sng" algn="ctr">
            <a:solidFill>
              <a:schemeClr val="bg1">
                <a:lumMod val="75000"/>
              </a:schemeClr>
            </a:solidFill>
            <a:prstDash val="sysDash"/>
          </a:ln>
          <a:effectLst/>
        </p:spPr>
      </p:cxnSp>
      <p:cxnSp>
        <p:nvCxnSpPr>
          <p:cNvPr id="2126" name="Straight Connector 2125"/>
          <p:cNvCxnSpPr/>
          <p:nvPr/>
        </p:nvCxnSpPr>
        <p:spPr>
          <a:xfrm>
            <a:off x="5735354" y="464715"/>
            <a:ext cx="0" cy="5721327"/>
          </a:xfrm>
          <a:prstGeom prst="line">
            <a:avLst/>
          </a:prstGeom>
          <a:noFill/>
          <a:ln w="9525" cap="flat" cmpd="sng" algn="ctr">
            <a:solidFill>
              <a:schemeClr val="bg1">
                <a:lumMod val="75000"/>
              </a:schemeClr>
            </a:solidFill>
            <a:prstDash val="sysDash"/>
          </a:ln>
          <a:effectLst/>
        </p:spPr>
      </p:cxnSp>
      <p:grpSp>
        <p:nvGrpSpPr>
          <p:cNvPr id="2360" name="Group 2359"/>
          <p:cNvGrpSpPr/>
          <p:nvPr/>
        </p:nvGrpSpPr>
        <p:grpSpPr>
          <a:xfrm>
            <a:off x="8602923" y="1081451"/>
            <a:ext cx="1998500" cy="1978675"/>
            <a:chOff x="21220113" y="566738"/>
            <a:chExt cx="3201988" cy="3211512"/>
          </a:xfrm>
          <a:solidFill>
            <a:schemeClr val="tx1">
              <a:lumMod val="50000"/>
              <a:lumOff val="50000"/>
            </a:schemeClr>
          </a:solidFill>
        </p:grpSpPr>
        <p:sp>
          <p:nvSpPr>
            <p:cNvPr id="2297" name="Freeform 2153"/>
            <p:cNvSpPr>
              <a:spLocks noEditPoints="1"/>
            </p:cNvSpPr>
            <p:nvPr/>
          </p:nvSpPr>
          <p:spPr bwMode="auto">
            <a:xfrm>
              <a:off x="22744113" y="566738"/>
              <a:ext cx="153988" cy="550863"/>
            </a:xfrm>
            <a:custGeom>
              <a:avLst/>
              <a:gdLst>
                <a:gd name="T0" fmla="*/ 9 w 41"/>
                <a:gd name="T1" fmla="*/ 146 h 146"/>
                <a:gd name="T2" fmla="*/ 41 w 41"/>
                <a:gd name="T3" fmla="*/ 9 h 146"/>
                <a:gd name="T4" fmla="*/ 0 w 41"/>
                <a:gd name="T5" fmla="*/ 9 h 146"/>
                <a:gd name="T6" fmla="*/ 13 w 41"/>
                <a:gd name="T7" fmla="*/ 126 h 146"/>
                <a:gd name="T8" fmla="*/ 33 w 41"/>
                <a:gd name="T9" fmla="*/ 73 h 146"/>
                <a:gd name="T10" fmla="*/ 27 w 41"/>
                <a:gd name="T11" fmla="*/ 73 h 146"/>
                <a:gd name="T12" fmla="*/ 23 w 41"/>
                <a:gd name="T13" fmla="*/ 73 h 146"/>
                <a:gd name="T14" fmla="*/ 17 w 41"/>
                <a:gd name="T15" fmla="*/ 73 h 146"/>
                <a:gd name="T16" fmla="*/ 13 w 41"/>
                <a:gd name="T17" fmla="*/ 73 h 146"/>
                <a:gd name="T18" fmla="*/ 7 w 41"/>
                <a:gd name="T19" fmla="*/ 73 h 146"/>
                <a:gd name="T20" fmla="*/ 33 w 41"/>
                <a:gd name="T21" fmla="*/ 63 h 146"/>
                <a:gd name="T22" fmla="*/ 27 w 41"/>
                <a:gd name="T23" fmla="*/ 63 h 146"/>
                <a:gd name="T24" fmla="*/ 23 w 41"/>
                <a:gd name="T25" fmla="*/ 63 h 146"/>
                <a:gd name="T26" fmla="*/ 17 w 41"/>
                <a:gd name="T27" fmla="*/ 63 h 146"/>
                <a:gd name="T28" fmla="*/ 13 w 41"/>
                <a:gd name="T29" fmla="*/ 63 h 146"/>
                <a:gd name="T30" fmla="*/ 7 w 41"/>
                <a:gd name="T31" fmla="*/ 63 h 146"/>
                <a:gd name="T32" fmla="*/ 33 w 41"/>
                <a:gd name="T33" fmla="*/ 52 h 146"/>
                <a:gd name="T34" fmla="*/ 27 w 41"/>
                <a:gd name="T35" fmla="*/ 52 h 146"/>
                <a:gd name="T36" fmla="*/ 23 w 41"/>
                <a:gd name="T37" fmla="*/ 52 h 146"/>
                <a:gd name="T38" fmla="*/ 17 w 41"/>
                <a:gd name="T39" fmla="*/ 52 h 146"/>
                <a:gd name="T40" fmla="*/ 13 w 41"/>
                <a:gd name="T41" fmla="*/ 52 h 146"/>
                <a:gd name="T42" fmla="*/ 7 w 41"/>
                <a:gd name="T43" fmla="*/ 52 h 146"/>
                <a:gd name="T44" fmla="*/ 33 w 41"/>
                <a:gd name="T45" fmla="*/ 41 h 146"/>
                <a:gd name="T46" fmla="*/ 27 w 41"/>
                <a:gd name="T47" fmla="*/ 41 h 146"/>
                <a:gd name="T48" fmla="*/ 23 w 41"/>
                <a:gd name="T49" fmla="*/ 41 h 146"/>
                <a:gd name="T50" fmla="*/ 17 w 41"/>
                <a:gd name="T51" fmla="*/ 41 h 146"/>
                <a:gd name="T52" fmla="*/ 13 w 41"/>
                <a:gd name="T53" fmla="*/ 41 h 146"/>
                <a:gd name="T54" fmla="*/ 7 w 41"/>
                <a:gd name="T55" fmla="*/ 41 h 146"/>
                <a:gd name="T56" fmla="*/ 33 w 41"/>
                <a:gd name="T57" fmla="*/ 30 h 146"/>
                <a:gd name="T58" fmla="*/ 27 w 41"/>
                <a:gd name="T59" fmla="*/ 30 h 146"/>
                <a:gd name="T60" fmla="*/ 23 w 41"/>
                <a:gd name="T61" fmla="*/ 30 h 146"/>
                <a:gd name="T62" fmla="*/ 17 w 41"/>
                <a:gd name="T63" fmla="*/ 30 h 146"/>
                <a:gd name="T64" fmla="*/ 13 w 41"/>
                <a:gd name="T65" fmla="*/ 30 h 146"/>
                <a:gd name="T66" fmla="*/ 7 w 41"/>
                <a:gd name="T67" fmla="*/ 30 h 146"/>
                <a:gd name="T68" fmla="*/ 33 w 41"/>
                <a:gd name="T69" fmla="*/ 19 h 146"/>
                <a:gd name="T70" fmla="*/ 27 w 41"/>
                <a:gd name="T71" fmla="*/ 19 h 146"/>
                <a:gd name="T72" fmla="*/ 23 w 41"/>
                <a:gd name="T73" fmla="*/ 19 h 146"/>
                <a:gd name="T74" fmla="*/ 17 w 41"/>
                <a:gd name="T75" fmla="*/ 19 h 146"/>
                <a:gd name="T76" fmla="*/ 13 w 41"/>
                <a:gd name="T77" fmla="*/ 19 h 146"/>
                <a:gd name="T78" fmla="*/ 7 w 41"/>
                <a:gd name="T79" fmla="*/ 19 h 146"/>
                <a:gd name="T80" fmla="*/ 33 w 41"/>
                <a:gd name="T81" fmla="*/ 9 h 146"/>
                <a:gd name="T82" fmla="*/ 27 w 41"/>
                <a:gd name="T83" fmla="*/ 9 h 146"/>
                <a:gd name="T84" fmla="*/ 23 w 41"/>
                <a:gd name="T85" fmla="*/ 9 h 146"/>
                <a:gd name="T86" fmla="*/ 17 w 41"/>
                <a:gd name="T87" fmla="*/ 9 h 146"/>
                <a:gd name="T88" fmla="*/ 13 w 41"/>
                <a:gd name="T89" fmla="*/ 9 h 146"/>
                <a:gd name="T90" fmla="*/ 7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1" y="146"/>
                    <a:pt x="31" y="146"/>
                    <a:pt x="31" y="146"/>
                  </a:cubicBezTo>
                  <a:cubicBezTo>
                    <a:pt x="37" y="146"/>
                    <a:pt x="41" y="142"/>
                    <a:pt x="41" y="137"/>
                  </a:cubicBezTo>
                  <a:cubicBezTo>
                    <a:pt x="41" y="9"/>
                    <a:pt x="41" y="9"/>
                    <a:pt x="41" y="9"/>
                  </a:cubicBezTo>
                  <a:cubicBezTo>
                    <a:pt x="41" y="4"/>
                    <a:pt x="37" y="0"/>
                    <a:pt x="31" y="0"/>
                  </a:cubicBezTo>
                  <a:cubicBezTo>
                    <a:pt x="9" y="0"/>
                    <a:pt x="9" y="0"/>
                    <a:pt x="9" y="0"/>
                  </a:cubicBezTo>
                  <a:cubicBezTo>
                    <a:pt x="4" y="0"/>
                    <a:pt x="0" y="4"/>
                    <a:pt x="0" y="9"/>
                  </a:cubicBezTo>
                  <a:close/>
                  <a:moveTo>
                    <a:pt x="28" y="126"/>
                  </a:moveTo>
                  <a:cubicBezTo>
                    <a:pt x="28" y="130"/>
                    <a:pt x="24" y="134"/>
                    <a:pt x="20" y="134"/>
                  </a:cubicBezTo>
                  <a:cubicBezTo>
                    <a:pt x="16" y="134"/>
                    <a:pt x="13" y="130"/>
                    <a:pt x="13" y="126"/>
                  </a:cubicBezTo>
                  <a:cubicBezTo>
                    <a:pt x="13" y="122"/>
                    <a:pt x="16" y="119"/>
                    <a:pt x="20" y="119"/>
                  </a:cubicBezTo>
                  <a:cubicBezTo>
                    <a:pt x="24" y="119"/>
                    <a:pt x="28" y="122"/>
                    <a:pt x="28" y="126"/>
                  </a:cubicBezTo>
                  <a:close/>
                  <a:moveTo>
                    <a:pt x="33" y="73"/>
                  </a:moveTo>
                  <a:cubicBezTo>
                    <a:pt x="33" y="79"/>
                    <a:pt x="33" y="79"/>
                    <a:pt x="33" y="79"/>
                  </a:cubicBezTo>
                  <a:cubicBezTo>
                    <a:pt x="27" y="79"/>
                    <a:pt x="27" y="79"/>
                    <a:pt x="27" y="79"/>
                  </a:cubicBezTo>
                  <a:cubicBezTo>
                    <a:pt x="27" y="73"/>
                    <a:pt x="27" y="73"/>
                    <a:pt x="27" y="73"/>
                  </a:cubicBezTo>
                  <a:cubicBezTo>
                    <a:pt x="33" y="73"/>
                    <a:pt x="33" y="73"/>
                    <a:pt x="33" y="73"/>
                  </a:cubicBezTo>
                  <a:cubicBezTo>
                    <a:pt x="33" y="73"/>
                    <a:pt x="33" y="73"/>
                    <a:pt x="33" y="73"/>
                  </a:cubicBezTo>
                  <a:close/>
                  <a:moveTo>
                    <a:pt x="23" y="73"/>
                  </a:moveTo>
                  <a:cubicBezTo>
                    <a:pt x="23" y="79"/>
                    <a:pt x="23" y="79"/>
                    <a:pt x="23" y="79"/>
                  </a:cubicBezTo>
                  <a:cubicBezTo>
                    <a:pt x="17" y="79"/>
                    <a:pt x="17" y="79"/>
                    <a:pt x="17" y="79"/>
                  </a:cubicBezTo>
                  <a:cubicBezTo>
                    <a:pt x="17" y="73"/>
                    <a:pt x="17" y="73"/>
                    <a:pt x="17" y="73"/>
                  </a:cubicBezTo>
                  <a:cubicBezTo>
                    <a:pt x="23" y="73"/>
                    <a:pt x="23" y="73"/>
                    <a:pt x="23" y="73"/>
                  </a:cubicBezTo>
                  <a:cubicBezTo>
                    <a:pt x="23" y="73"/>
                    <a:pt x="23" y="73"/>
                    <a:pt x="23" y="73"/>
                  </a:cubicBezTo>
                  <a:close/>
                  <a:moveTo>
                    <a:pt x="13" y="73"/>
                  </a:moveTo>
                  <a:cubicBezTo>
                    <a:pt x="13" y="79"/>
                    <a:pt x="13" y="79"/>
                    <a:pt x="13" y="79"/>
                  </a:cubicBezTo>
                  <a:cubicBezTo>
                    <a:pt x="7" y="79"/>
                    <a:pt x="7" y="79"/>
                    <a:pt x="7" y="79"/>
                  </a:cubicBezTo>
                  <a:cubicBezTo>
                    <a:pt x="7" y="73"/>
                    <a:pt x="7" y="73"/>
                    <a:pt x="7" y="73"/>
                  </a:cubicBezTo>
                  <a:cubicBezTo>
                    <a:pt x="13" y="73"/>
                    <a:pt x="13" y="73"/>
                    <a:pt x="13" y="73"/>
                  </a:cubicBezTo>
                  <a:cubicBezTo>
                    <a:pt x="13" y="73"/>
                    <a:pt x="13" y="73"/>
                    <a:pt x="13" y="73"/>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0"/>
                  </a:moveTo>
                  <a:cubicBezTo>
                    <a:pt x="33" y="36"/>
                    <a:pt x="33" y="36"/>
                    <a:pt x="33" y="36"/>
                  </a:cubicBezTo>
                  <a:cubicBezTo>
                    <a:pt x="27" y="36"/>
                    <a:pt x="27" y="36"/>
                    <a:pt x="27" y="36"/>
                  </a:cubicBezTo>
                  <a:cubicBezTo>
                    <a:pt x="27" y="30"/>
                    <a:pt x="27" y="30"/>
                    <a:pt x="27" y="30"/>
                  </a:cubicBezTo>
                  <a:cubicBezTo>
                    <a:pt x="33" y="30"/>
                    <a:pt x="33" y="30"/>
                    <a:pt x="33" y="30"/>
                  </a:cubicBezTo>
                  <a:cubicBezTo>
                    <a:pt x="33" y="30"/>
                    <a:pt x="33" y="30"/>
                    <a:pt x="33" y="30"/>
                  </a:cubicBezTo>
                  <a:close/>
                  <a:moveTo>
                    <a:pt x="23" y="30"/>
                  </a:moveTo>
                  <a:cubicBezTo>
                    <a:pt x="23" y="36"/>
                    <a:pt x="23" y="36"/>
                    <a:pt x="23" y="36"/>
                  </a:cubicBezTo>
                  <a:cubicBezTo>
                    <a:pt x="17" y="36"/>
                    <a:pt x="17" y="36"/>
                    <a:pt x="17" y="36"/>
                  </a:cubicBezTo>
                  <a:cubicBezTo>
                    <a:pt x="17" y="30"/>
                    <a:pt x="17" y="30"/>
                    <a:pt x="17" y="30"/>
                  </a:cubicBezTo>
                  <a:cubicBezTo>
                    <a:pt x="23" y="30"/>
                    <a:pt x="23" y="30"/>
                    <a:pt x="23" y="30"/>
                  </a:cubicBezTo>
                  <a:cubicBezTo>
                    <a:pt x="23" y="30"/>
                    <a:pt x="23" y="30"/>
                    <a:pt x="23" y="30"/>
                  </a:cubicBezTo>
                  <a:close/>
                  <a:moveTo>
                    <a:pt x="13" y="30"/>
                  </a:moveTo>
                  <a:cubicBezTo>
                    <a:pt x="13" y="36"/>
                    <a:pt x="13" y="36"/>
                    <a:pt x="13" y="36"/>
                  </a:cubicBezTo>
                  <a:cubicBezTo>
                    <a:pt x="7" y="36"/>
                    <a:pt x="7" y="36"/>
                    <a:pt x="7" y="36"/>
                  </a:cubicBezTo>
                  <a:cubicBezTo>
                    <a:pt x="7" y="30"/>
                    <a:pt x="7" y="30"/>
                    <a:pt x="7" y="30"/>
                  </a:cubicBezTo>
                  <a:cubicBezTo>
                    <a:pt x="13" y="30"/>
                    <a:pt x="13" y="30"/>
                    <a:pt x="13" y="30"/>
                  </a:cubicBezTo>
                  <a:cubicBezTo>
                    <a:pt x="13" y="30"/>
                    <a:pt x="13" y="30"/>
                    <a:pt x="13" y="30"/>
                  </a:cubicBezTo>
                  <a:close/>
                  <a:moveTo>
                    <a:pt x="33" y="19"/>
                  </a:moveTo>
                  <a:cubicBezTo>
                    <a:pt x="33" y="25"/>
                    <a:pt x="33" y="25"/>
                    <a:pt x="33" y="25"/>
                  </a:cubicBezTo>
                  <a:cubicBezTo>
                    <a:pt x="27" y="25"/>
                    <a:pt x="27" y="25"/>
                    <a:pt x="27" y="25"/>
                  </a:cubicBezTo>
                  <a:cubicBezTo>
                    <a:pt x="27" y="19"/>
                    <a:pt x="27" y="19"/>
                    <a:pt x="27" y="19"/>
                  </a:cubicBezTo>
                  <a:cubicBezTo>
                    <a:pt x="33" y="19"/>
                    <a:pt x="33" y="19"/>
                    <a:pt x="33" y="19"/>
                  </a:cubicBezTo>
                  <a:cubicBezTo>
                    <a:pt x="33" y="19"/>
                    <a:pt x="33" y="19"/>
                    <a:pt x="33" y="19"/>
                  </a:cubicBezTo>
                  <a:close/>
                  <a:moveTo>
                    <a:pt x="23" y="19"/>
                  </a:moveTo>
                  <a:cubicBezTo>
                    <a:pt x="23" y="25"/>
                    <a:pt x="23" y="25"/>
                    <a:pt x="23" y="25"/>
                  </a:cubicBezTo>
                  <a:cubicBezTo>
                    <a:pt x="17" y="25"/>
                    <a:pt x="17" y="25"/>
                    <a:pt x="17" y="25"/>
                  </a:cubicBezTo>
                  <a:cubicBezTo>
                    <a:pt x="17" y="19"/>
                    <a:pt x="17" y="19"/>
                    <a:pt x="17" y="19"/>
                  </a:cubicBezTo>
                  <a:cubicBezTo>
                    <a:pt x="23" y="19"/>
                    <a:pt x="23" y="19"/>
                    <a:pt x="23" y="19"/>
                  </a:cubicBezTo>
                  <a:cubicBezTo>
                    <a:pt x="23" y="19"/>
                    <a:pt x="23" y="19"/>
                    <a:pt x="23" y="19"/>
                  </a:cubicBezTo>
                  <a:close/>
                  <a:moveTo>
                    <a:pt x="13" y="19"/>
                  </a:moveTo>
                  <a:cubicBezTo>
                    <a:pt x="13" y="25"/>
                    <a:pt x="13" y="25"/>
                    <a:pt x="13" y="25"/>
                  </a:cubicBezTo>
                  <a:cubicBezTo>
                    <a:pt x="7" y="25"/>
                    <a:pt x="7" y="25"/>
                    <a:pt x="7" y="25"/>
                  </a:cubicBezTo>
                  <a:cubicBezTo>
                    <a:pt x="7" y="19"/>
                    <a:pt x="7" y="19"/>
                    <a:pt x="7" y="19"/>
                  </a:cubicBezTo>
                  <a:cubicBezTo>
                    <a:pt x="13" y="19"/>
                    <a:pt x="13" y="19"/>
                    <a:pt x="13" y="19"/>
                  </a:cubicBezTo>
                  <a:cubicBezTo>
                    <a:pt x="13" y="19"/>
                    <a:pt x="13" y="19"/>
                    <a:pt x="13" y="19"/>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98" name="Freeform 2154"/>
            <p:cNvSpPr>
              <a:spLocks noEditPoints="1"/>
            </p:cNvSpPr>
            <p:nvPr/>
          </p:nvSpPr>
          <p:spPr bwMode="auto">
            <a:xfrm>
              <a:off x="22744113" y="3228975"/>
              <a:ext cx="153988" cy="549275"/>
            </a:xfrm>
            <a:custGeom>
              <a:avLst/>
              <a:gdLst>
                <a:gd name="T0" fmla="*/ 32 w 41"/>
                <a:gd name="T1" fmla="*/ 0 h 146"/>
                <a:gd name="T2" fmla="*/ 0 w 41"/>
                <a:gd name="T3" fmla="*/ 137 h 146"/>
                <a:gd name="T4" fmla="*/ 41 w 41"/>
                <a:gd name="T5" fmla="*/ 137 h 146"/>
                <a:gd name="T6" fmla="*/ 28 w 41"/>
                <a:gd name="T7" fmla="*/ 20 h 146"/>
                <a:gd name="T8" fmla="*/ 8 w 41"/>
                <a:gd name="T9" fmla="*/ 73 h 146"/>
                <a:gd name="T10" fmla="*/ 13 w 41"/>
                <a:gd name="T11" fmla="*/ 73 h 146"/>
                <a:gd name="T12" fmla="*/ 18 w 41"/>
                <a:gd name="T13" fmla="*/ 73 h 146"/>
                <a:gd name="T14" fmla="*/ 24 w 41"/>
                <a:gd name="T15" fmla="*/ 73 h 146"/>
                <a:gd name="T16" fmla="*/ 28 w 41"/>
                <a:gd name="T17" fmla="*/ 73 h 146"/>
                <a:gd name="T18" fmla="*/ 33 w 41"/>
                <a:gd name="T19" fmla="*/ 73 h 146"/>
                <a:gd name="T20" fmla="*/ 8 w 41"/>
                <a:gd name="T21" fmla="*/ 83 h 146"/>
                <a:gd name="T22" fmla="*/ 13 w 41"/>
                <a:gd name="T23" fmla="*/ 83 h 146"/>
                <a:gd name="T24" fmla="*/ 18 w 41"/>
                <a:gd name="T25" fmla="*/ 83 h 146"/>
                <a:gd name="T26" fmla="*/ 24 w 41"/>
                <a:gd name="T27" fmla="*/ 83 h 146"/>
                <a:gd name="T28" fmla="*/ 28 w 41"/>
                <a:gd name="T29" fmla="*/ 83 h 146"/>
                <a:gd name="T30" fmla="*/ 33 w 41"/>
                <a:gd name="T31" fmla="*/ 83 h 146"/>
                <a:gd name="T32" fmla="*/ 8 w 41"/>
                <a:gd name="T33" fmla="*/ 94 h 146"/>
                <a:gd name="T34" fmla="*/ 13 w 41"/>
                <a:gd name="T35" fmla="*/ 94 h 146"/>
                <a:gd name="T36" fmla="*/ 18 w 41"/>
                <a:gd name="T37" fmla="*/ 94 h 146"/>
                <a:gd name="T38" fmla="*/ 24 w 41"/>
                <a:gd name="T39" fmla="*/ 94 h 146"/>
                <a:gd name="T40" fmla="*/ 28 w 41"/>
                <a:gd name="T41" fmla="*/ 94 h 146"/>
                <a:gd name="T42" fmla="*/ 33 w 41"/>
                <a:gd name="T43" fmla="*/ 94 h 146"/>
                <a:gd name="T44" fmla="*/ 8 w 41"/>
                <a:gd name="T45" fmla="*/ 105 h 146"/>
                <a:gd name="T46" fmla="*/ 13 w 41"/>
                <a:gd name="T47" fmla="*/ 105 h 146"/>
                <a:gd name="T48" fmla="*/ 18 w 41"/>
                <a:gd name="T49" fmla="*/ 105 h 146"/>
                <a:gd name="T50" fmla="*/ 24 w 41"/>
                <a:gd name="T51" fmla="*/ 105 h 146"/>
                <a:gd name="T52" fmla="*/ 28 w 41"/>
                <a:gd name="T53" fmla="*/ 105 h 146"/>
                <a:gd name="T54" fmla="*/ 33 w 41"/>
                <a:gd name="T55" fmla="*/ 105 h 146"/>
                <a:gd name="T56" fmla="*/ 8 w 41"/>
                <a:gd name="T57" fmla="*/ 116 h 146"/>
                <a:gd name="T58" fmla="*/ 13 w 41"/>
                <a:gd name="T59" fmla="*/ 116 h 146"/>
                <a:gd name="T60" fmla="*/ 18 w 41"/>
                <a:gd name="T61" fmla="*/ 116 h 146"/>
                <a:gd name="T62" fmla="*/ 24 w 41"/>
                <a:gd name="T63" fmla="*/ 116 h 146"/>
                <a:gd name="T64" fmla="*/ 28 w 41"/>
                <a:gd name="T65" fmla="*/ 116 h 146"/>
                <a:gd name="T66" fmla="*/ 33 w 41"/>
                <a:gd name="T67" fmla="*/ 116 h 146"/>
                <a:gd name="T68" fmla="*/ 8 w 41"/>
                <a:gd name="T69" fmla="*/ 127 h 146"/>
                <a:gd name="T70" fmla="*/ 13 w 41"/>
                <a:gd name="T71" fmla="*/ 127 h 146"/>
                <a:gd name="T72" fmla="*/ 18 w 41"/>
                <a:gd name="T73" fmla="*/ 127 h 146"/>
                <a:gd name="T74" fmla="*/ 24 w 41"/>
                <a:gd name="T75" fmla="*/ 127 h 146"/>
                <a:gd name="T76" fmla="*/ 28 w 41"/>
                <a:gd name="T77" fmla="*/ 127 h 146"/>
                <a:gd name="T78" fmla="*/ 33 w 41"/>
                <a:gd name="T79" fmla="*/ 127 h 146"/>
                <a:gd name="T80" fmla="*/ 8 w 41"/>
                <a:gd name="T81" fmla="*/ 137 h 146"/>
                <a:gd name="T82" fmla="*/ 13 w 41"/>
                <a:gd name="T83" fmla="*/ 137 h 146"/>
                <a:gd name="T84" fmla="*/ 18 w 41"/>
                <a:gd name="T85" fmla="*/ 137 h 146"/>
                <a:gd name="T86" fmla="*/ 24 w 41"/>
                <a:gd name="T87" fmla="*/ 137 h 146"/>
                <a:gd name="T88" fmla="*/ 28 w 41"/>
                <a:gd name="T89" fmla="*/ 137 h 146"/>
                <a:gd name="T90" fmla="*/ 33 w 41"/>
                <a:gd name="T91" fmla="*/ 137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41" y="137"/>
                  </a:moveTo>
                  <a:cubicBezTo>
                    <a:pt x="41" y="9"/>
                    <a:pt x="41" y="9"/>
                    <a:pt x="41" y="9"/>
                  </a:cubicBezTo>
                  <a:cubicBezTo>
                    <a:pt x="41" y="4"/>
                    <a:pt x="37" y="0"/>
                    <a:pt x="32" y="0"/>
                  </a:cubicBezTo>
                  <a:cubicBezTo>
                    <a:pt x="9" y="0"/>
                    <a:pt x="9" y="0"/>
                    <a:pt x="9" y="0"/>
                  </a:cubicBezTo>
                  <a:cubicBezTo>
                    <a:pt x="4" y="0"/>
                    <a:pt x="0" y="4"/>
                    <a:pt x="0" y="9"/>
                  </a:cubicBezTo>
                  <a:cubicBezTo>
                    <a:pt x="0" y="137"/>
                    <a:pt x="0" y="137"/>
                    <a:pt x="0" y="137"/>
                  </a:cubicBezTo>
                  <a:cubicBezTo>
                    <a:pt x="0" y="142"/>
                    <a:pt x="4" y="146"/>
                    <a:pt x="9" y="146"/>
                  </a:cubicBezTo>
                  <a:cubicBezTo>
                    <a:pt x="32" y="146"/>
                    <a:pt x="32" y="146"/>
                    <a:pt x="32" y="146"/>
                  </a:cubicBezTo>
                  <a:cubicBezTo>
                    <a:pt x="37" y="146"/>
                    <a:pt x="41" y="142"/>
                    <a:pt x="41" y="137"/>
                  </a:cubicBezTo>
                  <a:close/>
                  <a:moveTo>
                    <a:pt x="13" y="20"/>
                  </a:moveTo>
                  <a:cubicBezTo>
                    <a:pt x="13" y="16"/>
                    <a:pt x="16" y="12"/>
                    <a:pt x="20" y="12"/>
                  </a:cubicBezTo>
                  <a:cubicBezTo>
                    <a:pt x="25" y="12"/>
                    <a:pt x="28" y="16"/>
                    <a:pt x="28" y="20"/>
                  </a:cubicBezTo>
                  <a:cubicBezTo>
                    <a:pt x="28" y="24"/>
                    <a:pt x="25" y="27"/>
                    <a:pt x="20" y="27"/>
                  </a:cubicBezTo>
                  <a:cubicBezTo>
                    <a:pt x="16" y="27"/>
                    <a:pt x="13" y="24"/>
                    <a:pt x="13" y="20"/>
                  </a:cubicBezTo>
                  <a:close/>
                  <a:moveTo>
                    <a:pt x="8" y="73"/>
                  </a:moveTo>
                  <a:cubicBezTo>
                    <a:pt x="8" y="67"/>
                    <a:pt x="8" y="67"/>
                    <a:pt x="8" y="67"/>
                  </a:cubicBezTo>
                  <a:cubicBezTo>
                    <a:pt x="13" y="67"/>
                    <a:pt x="13" y="67"/>
                    <a:pt x="13" y="67"/>
                  </a:cubicBezTo>
                  <a:cubicBezTo>
                    <a:pt x="13" y="73"/>
                    <a:pt x="13" y="73"/>
                    <a:pt x="13" y="73"/>
                  </a:cubicBezTo>
                  <a:cubicBezTo>
                    <a:pt x="8" y="73"/>
                    <a:pt x="8" y="73"/>
                    <a:pt x="8" y="73"/>
                  </a:cubicBezTo>
                  <a:cubicBezTo>
                    <a:pt x="8" y="73"/>
                    <a:pt x="8" y="73"/>
                    <a:pt x="8" y="73"/>
                  </a:cubicBezTo>
                  <a:close/>
                  <a:moveTo>
                    <a:pt x="18" y="73"/>
                  </a:moveTo>
                  <a:cubicBezTo>
                    <a:pt x="18" y="67"/>
                    <a:pt x="18" y="67"/>
                    <a:pt x="18" y="67"/>
                  </a:cubicBezTo>
                  <a:cubicBezTo>
                    <a:pt x="24" y="67"/>
                    <a:pt x="24" y="67"/>
                    <a:pt x="24" y="67"/>
                  </a:cubicBezTo>
                  <a:cubicBezTo>
                    <a:pt x="24" y="73"/>
                    <a:pt x="24" y="73"/>
                    <a:pt x="24" y="73"/>
                  </a:cubicBezTo>
                  <a:cubicBezTo>
                    <a:pt x="18" y="73"/>
                    <a:pt x="18" y="73"/>
                    <a:pt x="18" y="73"/>
                  </a:cubicBezTo>
                  <a:cubicBezTo>
                    <a:pt x="18" y="73"/>
                    <a:pt x="18" y="73"/>
                    <a:pt x="18" y="73"/>
                  </a:cubicBezTo>
                  <a:close/>
                  <a:moveTo>
                    <a:pt x="28" y="73"/>
                  </a:moveTo>
                  <a:cubicBezTo>
                    <a:pt x="28" y="67"/>
                    <a:pt x="28" y="67"/>
                    <a:pt x="28" y="67"/>
                  </a:cubicBezTo>
                  <a:cubicBezTo>
                    <a:pt x="33" y="67"/>
                    <a:pt x="33" y="67"/>
                    <a:pt x="33" y="67"/>
                  </a:cubicBezTo>
                  <a:cubicBezTo>
                    <a:pt x="33" y="73"/>
                    <a:pt x="33" y="73"/>
                    <a:pt x="33" y="73"/>
                  </a:cubicBezTo>
                  <a:cubicBezTo>
                    <a:pt x="28" y="73"/>
                    <a:pt x="28" y="73"/>
                    <a:pt x="28" y="73"/>
                  </a:cubicBezTo>
                  <a:cubicBezTo>
                    <a:pt x="28" y="73"/>
                    <a:pt x="28" y="73"/>
                    <a:pt x="28" y="73"/>
                  </a:cubicBezTo>
                  <a:close/>
                  <a:moveTo>
                    <a:pt x="8" y="83"/>
                  </a:moveTo>
                  <a:cubicBezTo>
                    <a:pt x="8" y="77"/>
                    <a:pt x="8" y="77"/>
                    <a:pt x="8" y="77"/>
                  </a:cubicBezTo>
                  <a:cubicBezTo>
                    <a:pt x="13" y="77"/>
                    <a:pt x="13" y="77"/>
                    <a:pt x="13" y="77"/>
                  </a:cubicBezTo>
                  <a:cubicBezTo>
                    <a:pt x="13" y="83"/>
                    <a:pt x="13" y="83"/>
                    <a:pt x="13" y="83"/>
                  </a:cubicBezTo>
                  <a:cubicBezTo>
                    <a:pt x="8" y="83"/>
                    <a:pt x="8" y="83"/>
                    <a:pt x="8" y="83"/>
                  </a:cubicBezTo>
                  <a:cubicBezTo>
                    <a:pt x="8" y="83"/>
                    <a:pt x="8" y="83"/>
                    <a:pt x="8" y="83"/>
                  </a:cubicBezTo>
                  <a:close/>
                  <a:moveTo>
                    <a:pt x="18" y="83"/>
                  </a:moveTo>
                  <a:cubicBezTo>
                    <a:pt x="18" y="77"/>
                    <a:pt x="18" y="77"/>
                    <a:pt x="18" y="77"/>
                  </a:cubicBezTo>
                  <a:cubicBezTo>
                    <a:pt x="24" y="77"/>
                    <a:pt x="24" y="77"/>
                    <a:pt x="24" y="77"/>
                  </a:cubicBezTo>
                  <a:cubicBezTo>
                    <a:pt x="24" y="83"/>
                    <a:pt x="24" y="83"/>
                    <a:pt x="24" y="83"/>
                  </a:cubicBezTo>
                  <a:cubicBezTo>
                    <a:pt x="18" y="83"/>
                    <a:pt x="18" y="83"/>
                    <a:pt x="18" y="83"/>
                  </a:cubicBezTo>
                  <a:cubicBezTo>
                    <a:pt x="18" y="83"/>
                    <a:pt x="18" y="83"/>
                    <a:pt x="18" y="83"/>
                  </a:cubicBezTo>
                  <a:close/>
                  <a:moveTo>
                    <a:pt x="28" y="83"/>
                  </a:moveTo>
                  <a:cubicBezTo>
                    <a:pt x="28" y="77"/>
                    <a:pt x="28" y="77"/>
                    <a:pt x="28" y="77"/>
                  </a:cubicBezTo>
                  <a:cubicBezTo>
                    <a:pt x="33" y="77"/>
                    <a:pt x="33" y="77"/>
                    <a:pt x="33" y="77"/>
                  </a:cubicBezTo>
                  <a:cubicBezTo>
                    <a:pt x="33" y="83"/>
                    <a:pt x="33" y="83"/>
                    <a:pt x="33" y="83"/>
                  </a:cubicBezTo>
                  <a:cubicBezTo>
                    <a:pt x="28" y="83"/>
                    <a:pt x="28" y="83"/>
                    <a:pt x="28" y="83"/>
                  </a:cubicBezTo>
                  <a:cubicBezTo>
                    <a:pt x="28" y="83"/>
                    <a:pt x="28" y="83"/>
                    <a:pt x="28" y="83"/>
                  </a:cubicBezTo>
                  <a:close/>
                  <a:moveTo>
                    <a:pt x="8" y="94"/>
                  </a:moveTo>
                  <a:cubicBezTo>
                    <a:pt x="8" y="88"/>
                    <a:pt x="8" y="88"/>
                    <a:pt x="8" y="88"/>
                  </a:cubicBezTo>
                  <a:cubicBezTo>
                    <a:pt x="13" y="88"/>
                    <a:pt x="13" y="88"/>
                    <a:pt x="13" y="88"/>
                  </a:cubicBezTo>
                  <a:cubicBezTo>
                    <a:pt x="13" y="94"/>
                    <a:pt x="13" y="94"/>
                    <a:pt x="13" y="94"/>
                  </a:cubicBezTo>
                  <a:cubicBezTo>
                    <a:pt x="8" y="94"/>
                    <a:pt x="8" y="94"/>
                    <a:pt x="8" y="94"/>
                  </a:cubicBezTo>
                  <a:cubicBezTo>
                    <a:pt x="8" y="94"/>
                    <a:pt x="8" y="94"/>
                    <a:pt x="8" y="94"/>
                  </a:cubicBezTo>
                  <a:close/>
                  <a:moveTo>
                    <a:pt x="18" y="94"/>
                  </a:moveTo>
                  <a:cubicBezTo>
                    <a:pt x="18" y="88"/>
                    <a:pt x="18" y="88"/>
                    <a:pt x="18" y="88"/>
                  </a:cubicBezTo>
                  <a:cubicBezTo>
                    <a:pt x="24" y="88"/>
                    <a:pt x="24" y="88"/>
                    <a:pt x="24" y="88"/>
                  </a:cubicBezTo>
                  <a:cubicBezTo>
                    <a:pt x="24" y="94"/>
                    <a:pt x="24" y="94"/>
                    <a:pt x="24" y="94"/>
                  </a:cubicBezTo>
                  <a:cubicBezTo>
                    <a:pt x="18" y="94"/>
                    <a:pt x="18" y="94"/>
                    <a:pt x="18" y="94"/>
                  </a:cubicBezTo>
                  <a:cubicBezTo>
                    <a:pt x="18" y="94"/>
                    <a:pt x="18" y="94"/>
                    <a:pt x="18" y="94"/>
                  </a:cubicBezTo>
                  <a:close/>
                  <a:moveTo>
                    <a:pt x="28" y="94"/>
                  </a:moveTo>
                  <a:cubicBezTo>
                    <a:pt x="28" y="88"/>
                    <a:pt x="28" y="88"/>
                    <a:pt x="28" y="88"/>
                  </a:cubicBezTo>
                  <a:cubicBezTo>
                    <a:pt x="33" y="88"/>
                    <a:pt x="33" y="88"/>
                    <a:pt x="33" y="88"/>
                  </a:cubicBezTo>
                  <a:cubicBezTo>
                    <a:pt x="33" y="94"/>
                    <a:pt x="33" y="94"/>
                    <a:pt x="33" y="94"/>
                  </a:cubicBezTo>
                  <a:cubicBezTo>
                    <a:pt x="28" y="94"/>
                    <a:pt x="28" y="94"/>
                    <a:pt x="28" y="94"/>
                  </a:cubicBezTo>
                  <a:cubicBezTo>
                    <a:pt x="28" y="94"/>
                    <a:pt x="28" y="94"/>
                    <a:pt x="28" y="94"/>
                  </a:cubicBezTo>
                  <a:close/>
                  <a:moveTo>
                    <a:pt x="8" y="105"/>
                  </a:moveTo>
                  <a:cubicBezTo>
                    <a:pt x="8" y="99"/>
                    <a:pt x="8" y="99"/>
                    <a:pt x="8" y="99"/>
                  </a:cubicBezTo>
                  <a:cubicBezTo>
                    <a:pt x="13" y="99"/>
                    <a:pt x="13" y="99"/>
                    <a:pt x="13" y="99"/>
                  </a:cubicBezTo>
                  <a:cubicBezTo>
                    <a:pt x="13" y="105"/>
                    <a:pt x="13" y="105"/>
                    <a:pt x="13" y="105"/>
                  </a:cubicBezTo>
                  <a:cubicBezTo>
                    <a:pt x="8" y="105"/>
                    <a:pt x="8" y="105"/>
                    <a:pt x="8" y="105"/>
                  </a:cubicBezTo>
                  <a:cubicBezTo>
                    <a:pt x="8" y="105"/>
                    <a:pt x="8" y="105"/>
                    <a:pt x="8" y="105"/>
                  </a:cubicBezTo>
                  <a:close/>
                  <a:moveTo>
                    <a:pt x="18" y="105"/>
                  </a:moveTo>
                  <a:cubicBezTo>
                    <a:pt x="18" y="99"/>
                    <a:pt x="18" y="99"/>
                    <a:pt x="18" y="99"/>
                  </a:cubicBezTo>
                  <a:cubicBezTo>
                    <a:pt x="24" y="99"/>
                    <a:pt x="24" y="99"/>
                    <a:pt x="24" y="99"/>
                  </a:cubicBezTo>
                  <a:cubicBezTo>
                    <a:pt x="24" y="105"/>
                    <a:pt x="24" y="105"/>
                    <a:pt x="24" y="105"/>
                  </a:cubicBezTo>
                  <a:cubicBezTo>
                    <a:pt x="18" y="105"/>
                    <a:pt x="18" y="105"/>
                    <a:pt x="18" y="105"/>
                  </a:cubicBezTo>
                  <a:cubicBezTo>
                    <a:pt x="18" y="105"/>
                    <a:pt x="18" y="105"/>
                    <a:pt x="18" y="105"/>
                  </a:cubicBezTo>
                  <a:close/>
                  <a:moveTo>
                    <a:pt x="28" y="105"/>
                  </a:moveTo>
                  <a:cubicBezTo>
                    <a:pt x="28" y="99"/>
                    <a:pt x="28" y="99"/>
                    <a:pt x="28" y="99"/>
                  </a:cubicBezTo>
                  <a:cubicBezTo>
                    <a:pt x="33" y="99"/>
                    <a:pt x="33" y="99"/>
                    <a:pt x="33" y="99"/>
                  </a:cubicBezTo>
                  <a:cubicBezTo>
                    <a:pt x="33" y="105"/>
                    <a:pt x="33" y="105"/>
                    <a:pt x="33" y="105"/>
                  </a:cubicBezTo>
                  <a:cubicBezTo>
                    <a:pt x="28" y="105"/>
                    <a:pt x="28" y="105"/>
                    <a:pt x="28" y="105"/>
                  </a:cubicBezTo>
                  <a:cubicBezTo>
                    <a:pt x="28" y="105"/>
                    <a:pt x="28" y="105"/>
                    <a:pt x="28" y="105"/>
                  </a:cubicBezTo>
                  <a:close/>
                  <a:moveTo>
                    <a:pt x="8" y="116"/>
                  </a:moveTo>
                  <a:cubicBezTo>
                    <a:pt x="8" y="110"/>
                    <a:pt x="8" y="110"/>
                    <a:pt x="8" y="110"/>
                  </a:cubicBezTo>
                  <a:cubicBezTo>
                    <a:pt x="13" y="110"/>
                    <a:pt x="13" y="110"/>
                    <a:pt x="13" y="110"/>
                  </a:cubicBezTo>
                  <a:cubicBezTo>
                    <a:pt x="13" y="116"/>
                    <a:pt x="13" y="116"/>
                    <a:pt x="13" y="116"/>
                  </a:cubicBezTo>
                  <a:cubicBezTo>
                    <a:pt x="8" y="116"/>
                    <a:pt x="8" y="116"/>
                    <a:pt x="8" y="116"/>
                  </a:cubicBezTo>
                  <a:cubicBezTo>
                    <a:pt x="8" y="116"/>
                    <a:pt x="8" y="116"/>
                    <a:pt x="8" y="116"/>
                  </a:cubicBezTo>
                  <a:close/>
                  <a:moveTo>
                    <a:pt x="18" y="116"/>
                  </a:moveTo>
                  <a:cubicBezTo>
                    <a:pt x="18" y="110"/>
                    <a:pt x="18" y="110"/>
                    <a:pt x="18" y="110"/>
                  </a:cubicBezTo>
                  <a:cubicBezTo>
                    <a:pt x="24" y="110"/>
                    <a:pt x="24" y="110"/>
                    <a:pt x="24" y="110"/>
                  </a:cubicBezTo>
                  <a:cubicBezTo>
                    <a:pt x="24" y="116"/>
                    <a:pt x="24" y="116"/>
                    <a:pt x="24" y="116"/>
                  </a:cubicBezTo>
                  <a:cubicBezTo>
                    <a:pt x="18" y="116"/>
                    <a:pt x="18" y="116"/>
                    <a:pt x="18" y="116"/>
                  </a:cubicBezTo>
                  <a:cubicBezTo>
                    <a:pt x="18" y="116"/>
                    <a:pt x="18" y="116"/>
                    <a:pt x="18" y="116"/>
                  </a:cubicBezTo>
                  <a:close/>
                  <a:moveTo>
                    <a:pt x="28" y="116"/>
                  </a:moveTo>
                  <a:cubicBezTo>
                    <a:pt x="28" y="110"/>
                    <a:pt x="28" y="110"/>
                    <a:pt x="28" y="110"/>
                  </a:cubicBezTo>
                  <a:cubicBezTo>
                    <a:pt x="33" y="110"/>
                    <a:pt x="33" y="110"/>
                    <a:pt x="33" y="110"/>
                  </a:cubicBezTo>
                  <a:cubicBezTo>
                    <a:pt x="33" y="116"/>
                    <a:pt x="33" y="116"/>
                    <a:pt x="33" y="116"/>
                  </a:cubicBezTo>
                  <a:cubicBezTo>
                    <a:pt x="28" y="116"/>
                    <a:pt x="28" y="116"/>
                    <a:pt x="28" y="116"/>
                  </a:cubicBezTo>
                  <a:cubicBezTo>
                    <a:pt x="28" y="116"/>
                    <a:pt x="28" y="116"/>
                    <a:pt x="28" y="116"/>
                  </a:cubicBezTo>
                  <a:close/>
                  <a:moveTo>
                    <a:pt x="8" y="127"/>
                  </a:moveTo>
                  <a:cubicBezTo>
                    <a:pt x="8" y="121"/>
                    <a:pt x="8" y="121"/>
                    <a:pt x="8" y="121"/>
                  </a:cubicBezTo>
                  <a:cubicBezTo>
                    <a:pt x="13" y="121"/>
                    <a:pt x="13" y="121"/>
                    <a:pt x="13" y="121"/>
                  </a:cubicBezTo>
                  <a:cubicBezTo>
                    <a:pt x="13" y="127"/>
                    <a:pt x="13" y="127"/>
                    <a:pt x="13" y="127"/>
                  </a:cubicBezTo>
                  <a:cubicBezTo>
                    <a:pt x="8" y="127"/>
                    <a:pt x="8" y="127"/>
                    <a:pt x="8" y="127"/>
                  </a:cubicBezTo>
                  <a:cubicBezTo>
                    <a:pt x="8" y="127"/>
                    <a:pt x="8" y="127"/>
                    <a:pt x="8" y="127"/>
                  </a:cubicBezTo>
                  <a:close/>
                  <a:moveTo>
                    <a:pt x="18" y="127"/>
                  </a:moveTo>
                  <a:cubicBezTo>
                    <a:pt x="18" y="121"/>
                    <a:pt x="18" y="121"/>
                    <a:pt x="18" y="121"/>
                  </a:cubicBezTo>
                  <a:cubicBezTo>
                    <a:pt x="24" y="121"/>
                    <a:pt x="24" y="121"/>
                    <a:pt x="24" y="121"/>
                  </a:cubicBezTo>
                  <a:cubicBezTo>
                    <a:pt x="24" y="127"/>
                    <a:pt x="24" y="127"/>
                    <a:pt x="24" y="127"/>
                  </a:cubicBezTo>
                  <a:cubicBezTo>
                    <a:pt x="18" y="127"/>
                    <a:pt x="18" y="127"/>
                    <a:pt x="18" y="127"/>
                  </a:cubicBezTo>
                  <a:cubicBezTo>
                    <a:pt x="18" y="127"/>
                    <a:pt x="18" y="127"/>
                    <a:pt x="18" y="127"/>
                  </a:cubicBezTo>
                  <a:close/>
                  <a:moveTo>
                    <a:pt x="28" y="127"/>
                  </a:moveTo>
                  <a:cubicBezTo>
                    <a:pt x="28" y="121"/>
                    <a:pt x="28" y="121"/>
                    <a:pt x="28" y="121"/>
                  </a:cubicBezTo>
                  <a:cubicBezTo>
                    <a:pt x="33" y="121"/>
                    <a:pt x="33" y="121"/>
                    <a:pt x="33" y="121"/>
                  </a:cubicBezTo>
                  <a:cubicBezTo>
                    <a:pt x="33" y="127"/>
                    <a:pt x="33" y="127"/>
                    <a:pt x="33" y="127"/>
                  </a:cubicBezTo>
                  <a:cubicBezTo>
                    <a:pt x="28" y="127"/>
                    <a:pt x="28" y="127"/>
                    <a:pt x="28" y="127"/>
                  </a:cubicBezTo>
                  <a:cubicBezTo>
                    <a:pt x="28" y="127"/>
                    <a:pt x="28" y="127"/>
                    <a:pt x="28" y="127"/>
                  </a:cubicBezTo>
                  <a:close/>
                  <a:moveTo>
                    <a:pt x="8" y="137"/>
                  </a:moveTo>
                  <a:cubicBezTo>
                    <a:pt x="8" y="131"/>
                    <a:pt x="8" y="131"/>
                    <a:pt x="8" y="131"/>
                  </a:cubicBezTo>
                  <a:cubicBezTo>
                    <a:pt x="13" y="131"/>
                    <a:pt x="13" y="131"/>
                    <a:pt x="13" y="131"/>
                  </a:cubicBezTo>
                  <a:cubicBezTo>
                    <a:pt x="13" y="137"/>
                    <a:pt x="13" y="137"/>
                    <a:pt x="13" y="137"/>
                  </a:cubicBezTo>
                  <a:cubicBezTo>
                    <a:pt x="8" y="137"/>
                    <a:pt x="8" y="137"/>
                    <a:pt x="8" y="137"/>
                  </a:cubicBezTo>
                  <a:cubicBezTo>
                    <a:pt x="8" y="137"/>
                    <a:pt x="8" y="137"/>
                    <a:pt x="8" y="137"/>
                  </a:cubicBezTo>
                  <a:close/>
                  <a:moveTo>
                    <a:pt x="18" y="137"/>
                  </a:moveTo>
                  <a:cubicBezTo>
                    <a:pt x="18" y="131"/>
                    <a:pt x="18" y="131"/>
                    <a:pt x="18" y="131"/>
                  </a:cubicBezTo>
                  <a:cubicBezTo>
                    <a:pt x="24" y="131"/>
                    <a:pt x="24" y="131"/>
                    <a:pt x="24" y="131"/>
                  </a:cubicBezTo>
                  <a:cubicBezTo>
                    <a:pt x="24" y="137"/>
                    <a:pt x="24" y="137"/>
                    <a:pt x="24" y="137"/>
                  </a:cubicBezTo>
                  <a:cubicBezTo>
                    <a:pt x="18" y="137"/>
                    <a:pt x="18" y="137"/>
                    <a:pt x="18" y="137"/>
                  </a:cubicBezTo>
                  <a:cubicBezTo>
                    <a:pt x="18" y="137"/>
                    <a:pt x="18" y="137"/>
                    <a:pt x="18" y="137"/>
                  </a:cubicBezTo>
                  <a:close/>
                  <a:moveTo>
                    <a:pt x="28" y="137"/>
                  </a:moveTo>
                  <a:cubicBezTo>
                    <a:pt x="28" y="131"/>
                    <a:pt x="28" y="131"/>
                    <a:pt x="28" y="131"/>
                  </a:cubicBezTo>
                  <a:cubicBezTo>
                    <a:pt x="33" y="131"/>
                    <a:pt x="33" y="131"/>
                    <a:pt x="33" y="131"/>
                  </a:cubicBezTo>
                  <a:cubicBezTo>
                    <a:pt x="33" y="137"/>
                    <a:pt x="33" y="137"/>
                    <a:pt x="33" y="137"/>
                  </a:cubicBezTo>
                  <a:cubicBezTo>
                    <a:pt x="28" y="137"/>
                    <a:pt x="28" y="137"/>
                    <a:pt x="28" y="137"/>
                  </a:cubicBezTo>
                  <a:cubicBezTo>
                    <a:pt x="28" y="137"/>
                    <a:pt x="28" y="137"/>
                    <a:pt x="28" y="137"/>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99" name="Freeform 2155"/>
            <p:cNvSpPr>
              <a:spLocks noEditPoints="1"/>
            </p:cNvSpPr>
            <p:nvPr/>
          </p:nvSpPr>
          <p:spPr bwMode="auto">
            <a:xfrm>
              <a:off x="23874413" y="2081213"/>
              <a:ext cx="547688" cy="153988"/>
            </a:xfrm>
            <a:custGeom>
              <a:avLst/>
              <a:gdLst>
                <a:gd name="T0" fmla="*/ 0 w 146"/>
                <a:gd name="T1" fmla="*/ 9 h 41"/>
                <a:gd name="T2" fmla="*/ 137 w 146"/>
                <a:gd name="T3" fmla="*/ 41 h 41"/>
                <a:gd name="T4" fmla="*/ 137 w 146"/>
                <a:gd name="T5" fmla="*/ 0 h 41"/>
                <a:gd name="T6" fmla="*/ 20 w 146"/>
                <a:gd name="T7" fmla="*/ 13 h 41"/>
                <a:gd name="T8" fmla="*/ 72 w 146"/>
                <a:gd name="T9" fmla="*/ 33 h 41"/>
                <a:gd name="T10" fmla="*/ 72 w 146"/>
                <a:gd name="T11" fmla="*/ 27 h 41"/>
                <a:gd name="T12" fmla="*/ 72 w 146"/>
                <a:gd name="T13" fmla="*/ 23 h 41"/>
                <a:gd name="T14" fmla="*/ 72 w 146"/>
                <a:gd name="T15" fmla="*/ 17 h 41"/>
                <a:gd name="T16" fmla="*/ 72 w 146"/>
                <a:gd name="T17" fmla="*/ 13 h 41"/>
                <a:gd name="T18" fmla="*/ 72 w 146"/>
                <a:gd name="T19" fmla="*/ 7 h 41"/>
                <a:gd name="T20" fmla="*/ 83 w 146"/>
                <a:gd name="T21" fmla="*/ 33 h 41"/>
                <a:gd name="T22" fmla="*/ 83 w 146"/>
                <a:gd name="T23" fmla="*/ 27 h 41"/>
                <a:gd name="T24" fmla="*/ 83 w 146"/>
                <a:gd name="T25" fmla="*/ 23 h 41"/>
                <a:gd name="T26" fmla="*/ 83 w 146"/>
                <a:gd name="T27" fmla="*/ 17 h 41"/>
                <a:gd name="T28" fmla="*/ 83 w 146"/>
                <a:gd name="T29" fmla="*/ 13 h 41"/>
                <a:gd name="T30" fmla="*/ 83 w 146"/>
                <a:gd name="T31" fmla="*/ 7 h 41"/>
                <a:gd name="T32" fmla="*/ 94 w 146"/>
                <a:gd name="T33" fmla="*/ 33 h 41"/>
                <a:gd name="T34" fmla="*/ 94 w 146"/>
                <a:gd name="T35" fmla="*/ 27 h 41"/>
                <a:gd name="T36" fmla="*/ 94 w 146"/>
                <a:gd name="T37" fmla="*/ 23 h 41"/>
                <a:gd name="T38" fmla="*/ 94 w 146"/>
                <a:gd name="T39" fmla="*/ 17 h 41"/>
                <a:gd name="T40" fmla="*/ 94 w 146"/>
                <a:gd name="T41" fmla="*/ 13 h 41"/>
                <a:gd name="T42" fmla="*/ 94 w 146"/>
                <a:gd name="T43" fmla="*/ 7 h 41"/>
                <a:gd name="T44" fmla="*/ 105 w 146"/>
                <a:gd name="T45" fmla="*/ 33 h 41"/>
                <a:gd name="T46" fmla="*/ 105 w 146"/>
                <a:gd name="T47" fmla="*/ 27 h 41"/>
                <a:gd name="T48" fmla="*/ 105 w 146"/>
                <a:gd name="T49" fmla="*/ 23 h 41"/>
                <a:gd name="T50" fmla="*/ 105 w 146"/>
                <a:gd name="T51" fmla="*/ 17 h 41"/>
                <a:gd name="T52" fmla="*/ 105 w 146"/>
                <a:gd name="T53" fmla="*/ 13 h 41"/>
                <a:gd name="T54" fmla="*/ 105 w 146"/>
                <a:gd name="T55" fmla="*/ 7 h 41"/>
                <a:gd name="T56" fmla="*/ 116 w 146"/>
                <a:gd name="T57" fmla="*/ 33 h 41"/>
                <a:gd name="T58" fmla="*/ 116 w 146"/>
                <a:gd name="T59" fmla="*/ 27 h 41"/>
                <a:gd name="T60" fmla="*/ 116 w 146"/>
                <a:gd name="T61" fmla="*/ 23 h 41"/>
                <a:gd name="T62" fmla="*/ 116 w 146"/>
                <a:gd name="T63" fmla="*/ 17 h 41"/>
                <a:gd name="T64" fmla="*/ 116 w 146"/>
                <a:gd name="T65" fmla="*/ 13 h 41"/>
                <a:gd name="T66" fmla="*/ 116 w 146"/>
                <a:gd name="T67" fmla="*/ 7 h 41"/>
                <a:gd name="T68" fmla="*/ 126 w 146"/>
                <a:gd name="T69" fmla="*/ 33 h 41"/>
                <a:gd name="T70" fmla="*/ 126 w 146"/>
                <a:gd name="T71" fmla="*/ 27 h 41"/>
                <a:gd name="T72" fmla="*/ 126 w 146"/>
                <a:gd name="T73" fmla="*/ 23 h 41"/>
                <a:gd name="T74" fmla="*/ 126 w 146"/>
                <a:gd name="T75" fmla="*/ 17 h 41"/>
                <a:gd name="T76" fmla="*/ 126 w 146"/>
                <a:gd name="T77" fmla="*/ 13 h 41"/>
                <a:gd name="T78" fmla="*/ 126 w 146"/>
                <a:gd name="T79" fmla="*/ 7 h 41"/>
                <a:gd name="T80" fmla="*/ 137 w 146"/>
                <a:gd name="T81" fmla="*/ 33 h 41"/>
                <a:gd name="T82" fmla="*/ 137 w 146"/>
                <a:gd name="T83" fmla="*/ 27 h 41"/>
                <a:gd name="T84" fmla="*/ 137 w 146"/>
                <a:gd name="T85" fmla="*/ 23 h 41"/>
                <a:gd name="T86" fmla="*/ 137 w 146"/>
                <a:gd name="T87" fmla="*/ 17 h 41"/>
                <a:gd name="T88" fmla="*/ 137 w 146"/>
                <a:gd name="T89" fmla="*/ 13 h 41"/>
                <a:gd name="T90" fmla="*/ 137 w 146"/>
                <a:gd name="T91" fmla="*/ 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6" h="41">
                  <a:moveTo>
                    <a:pt x="137" y="0"/>
                  </a:moveTo>
                  <a:cubicBezTo>
                    <a:pt x="9" y="0"/>
                    <a:pt x="9" y="0"/>
                    <a:pt x="9" y="0"/>
                  </a:cubicBezTo>
                  <a:cubicBezTo>
                    <a:pt x="4" y="0"/>
                    <a:pt x="0" y="4"/>
                    <a:pt x="0" y="9"/>
                  </a:cubicBezTo>
                  <a:cubicBezTo>
                    <a:pt x="0" y="31"/>
                    <a:pt x="0" y="31"/>
                    <a:pt x="0" y="31"/>
                  </a:cubicBezTo>
                  <a:cubicBezTo>
                    <a:pt x="0" y="36"/>
                    <a:pt x="4" y="41"/>
                    <a:pt x="9" y="41"/>
                  </a:cubicBezTo>
                  <a:cubicBezTo>
                    <a:pt x="137" y="41"/>
                    <a:pt x="137" y="41"/>
                    <a:pt x="137" y="41"/>
                  </a:cubicBezTo>
                  <a:cubicBezTo>
                    <a:pt x="142" y="41"/>
                    <a:pt x="146" y="36"/>
                    <a:pt x="146" y="31"/>
                  </a:cubicBezTo>
                  <a:cubicBezTo>
                    <a:pt x="146" y="9"/>
                    <a:pt x="146" y="9"/>
                    <a:pt x="146" y="9"/>
                  </a:cubicBezTo>
                  <a:cubicBezTo>
                    <a:pt x="146" y="4"/>
                    <a:pt x="142" y="0"/>
                    <a:pt x="137" y="0"/>
                  </a:cubicBezTo>
                  <a:close/>
                  <a:moveTo>
                    <a:pt x="20" y="28"/>
                  </a:moveTo>
                  <a:cubicBezTo>
                    <a:pt x="16" y="28"/>
                    <a:pt x="12" y="24"/>
                    <a:pt x="12" y="20"/>
                  </a:cubicBezTo>
                  <a:cubicBezTo>
                    <a:pt x="12" y="16"/>
                    <a:pt x="16" y="13"/>
                    <a:pt x="20" y="13"/>
                  </a:cubicBezTo>
                  <a:cubicBezTo>
                    <a:pt x="24" y="13"/>
                    <a:pt x="27" y="16"/>
                    <a:pt x="27" y="20"/>
                  </a:cubicBezTo>
                  <a:cubicBezTo>
                    <a:pt x="27" y="24"/>
                    <a:pt x="24" y="28"/>
                    <a:pt x="20" y="28"/>
                  </a:cubicBezTo>
                  <a:close/>
                  <a:moveTo>
                    <a:pt x="72" y="33"/>
                  </a:moveTo>
                  <a:cubicBezTo>
                    <a:pt x="67" y="33"/>
                    <a:pt x="67" y="33"/>
                    <a:pt x="67" y="33"/>
                  </a:cubicBezTo>
                  <a:cubicBezTo>
                    <a:pt x="67" y="27"/>
                    <a:pt x="67" y="27"/>
                    <a:pt x="67" y="27"/>
                  </a:cubicBezTo>
                  <a:cubicBezTo>
                    <a:pt x="72" y="27"/>
                    <a:pt x="72" y="27"/>
                    <a:pt x="72" y="27"/>
                  </a:cubicBezTo>
                  <a:cubicBezTo>
                    <a:pt x="72" y="33"/>
                    <a:pt x="72" y="33"/>
                    <a:pt x="72" y="33"/>
                  </a:cubicBezTo>
                  <a:cubicBezTo>
                    <a:pt x="72" y="33"/>
                    <a:pt x="72" y="33"/>
                    <a:pt x="72" y="33"/>
                  </a:cubicBezTo>
                  <a:close/>
                  <a:moveTo>
                    <a:pt x="72" y="23"/>
                  </a:moveTo>
                  <a:cubicBezTo>
                    <a:pt x="67" y="23"/>
                    <a:pt x="67" y="23"/>
                    <a:pt x="67" y="23"/>
                  </a:cubicBezTo>
                  <a:cubicBezTo>
                    <a:pt x="67" y="17"/>
                    <a:pt x="67" y="17"/>
                    <a:pt x="67" y="17"/>
                  </a:cubicBezTo>
                  <a:cubicBezTo>
                    <a:pt x="72" y="17"/>
                    <a:pt x="72" y="17"/>
                    <a:pt x="72" y="17"/>
                  </a:cubicBezTo>
                  <a:cubicBezTo>
                    <a:pt x="72" y="23"/>
                    <a:pt x="72" y="23"/>
                    <a:pt x="72" y="23"/>
                  </a:cubicBezTo>
                  <a:cubicBezTo>
                    <a:pt x="72" y="23"/>
                    <a:pt x="72" y="23"/>
                    <a:pt x="72" y="23"/>
                  </a:cubicBezTo>
                  <a:close/>
                  <a:moveTo>
                    <a:pt x="72" y="13"/>
                  </a:moveTo>
                  <a:cubicBezTo>
                    <a:pt x="67" y="13"/>
                    <a:pt x="67" y="13"/>
                    <a:pt x="67" y="13"/>
                  </a:cubicBezTo>
                  <a:cubicBezTo>
                    <a:pt x="67" y="7"/>
                    <a:pt x="67" y="7"/>
                    <a:pt x="67" y="7"/>
                  </a:cubicBezTo>
                  <a:cubicBezTo>
                    <a:pt x="72" y="7"/>
                    <a:pt x="72" y="7"/>
                    <a:pt x="72" y="7"/>
                  </a:cubicBezTo>
                  <a:cubicBezTo>
                    <a:pt x="72" y="13"/>
                    <a:pt x="72" y="13"/>
                    <a:pt x="72" y="13"/>
                  </a:cubicBezTo>
                  <a:cubicBezTo>
                    <a:pt x="72" y="13"/>
                    <a:pt x="72" y="13"/>
                    <a:pt x="72" y="13"/>
                  </a:cubicBezTo>
                  <a:close/>
                  <a:moveTo>
                    <a:pt x="83" y="33"/>
                  </a:moveTo>
                  <a:cubicBezTo>
                    <a:pt x="77" y="33"/>
                    <a:pt x="77" y="33"/>
                    <a:pt x="77" y="33"/>
                  </a:cubicBezTo>
                  <a:cubicBezTo>
                    <a:pt x="77" y="27"/>
                    <a:pt x="77" y="27"/>
                    <a:pt x="77" y="27"/>
                  </a:cubicBezTo>
                  <a:cubicBezTo>
                    <a:pt x="83" y="27"/>
                    <a:pt x="83" y="27"/>
                    <a:pt x="83" y="27"/>
                  </a:cubicBezTo>
                  <a:cubicBezTo>
                    <a:pt x="83" y="33"/>
                    <a:pt x="83" y="33"/>
                    <a:pt x="83" y="33"/>
                  </a:cubicBezTo>
                  <a:cubicBezTo>
                    <a:pt x="83" y="33"/>
                    <a:pt x="83" y="33"/>
                    <a:pt x="83" y="33"/>
                  </a:cubicBezTo>
                  <a:close/>
                  <a:moveTo>
                    <a:pt x="83" y="23"/>
                  </a:moveTo>
                  <a:cubicBezTo>
                    <a:pt x="77" y="23"/>
                    <a:pt x="77" y="23"/>
                    <a:pt x="77" y="23"/>
                  </a:cubicBezTo>
                  <a:cubicBezTo>
                    <a:pt x="77" y="17"/>
                    <a:pt x="77" y="17"/>
                    <a:pt x="77" y="17"/>
                  </a:cubicBezTo>
                  <a:cubicBezTo>
                    <a:pt x="83" y="17"/>
                    <a:pt x="83" y="17"/>
                    <a:pt x="83" y="17"/>
                  </a:cubicBezTo>
                  <a:cubicBezTo>
                    <a:pt x="83" y="23"/>
                    <a:pt x="83" y="23"/>
                    <a:pt x="83" y="23"/>
                  </a:cubicBezTo>
                  <a:cubicBezTo>
                    <a:pt x="83" y="23"/>
                    <a:pt x="83" y="23"/>
                    <a:pt x="83" y="23"/>
                  </a:cubicBezTo>
                  <a:close/>
                  <a:moveTo>
                    <a:pt x="83" y="13"/>
                  </a:moveTo>
                  <a:cubicBezTo>
                    <a:pt x="77" y="13"/>
                    <a:pt x="77" y="13"/>
                    <a:pt x="77" y="13"/>
                  </a:cubicBezTo>
                  <a:cubicBezTo>
                    <a:pt x="77" y="7"/>
                    <a:pt x="77" y="7"/>
                    <a:pt x="77" y="7"/>
                  </a:cubicBezTo>
                  <a:cubicBezTo>
                    <a:pt x="83" y="7"/>
                    <a:pt x="83" y="7"/>
                    <a:pt x="83" y="7"/>
                  </a:cubicBezTo>
                  <a:cubicBezTo>
                    <a:pt x="83" y="13"/>
                    <a:pt x="83" y="13"/>
                    <a:pt x="83" y="13"/>
                  </a:cubicBezTo>
                  <a:cubicBezTo>
                    <a:pt x="83" y="13"/>
                    <a:pt x="83" y="13"/>
                    <a:pt x="83" y="13"/>
                  </a:cubicBezTo>
                  <a:close/>
                  <a:moveTo>
                    <a:pt x="94" y="33"/>
                  </a:moveTo>
                  <a:cubicBezTo>
                    <a:pt x="88" y="33"/>
                    <a:pt x="88" y="33"/>
                    <a:pt x="88" y="33"/>
                  </a:cubicBezTo>
                  <a:cubicBezTo>
                    <a:pt x="88" y="27"/>
                    <a:pt x="88" y="27"/>
                    <a:pt x="88" y="27"/>
                  </a:cubicBezTo>
                  <a:cubicBezTo>
                    <a:pt x="94" y="27"/>
                    <a:pt x="94" y="27"/>
                    <a:pt x="94" y="27"/>
                  </a:cubicBezTo>
                  <a:cubicBezTo>
                    <a:pt x="94" y="33"/>
                    <a:pt x="94" y="33"/>
                    <a:pt x="94" y="33"/>
                  </a:cubicBezTo>
                  <a:cubicBezTo>
                    <a:pt x="94" y="33"/>
                    <a:pt x="94" y="33"/>
                    <a:pt x="94" y="33"/>
                  </a:cubicBezTo>
                  <a:close/>
                  <a:moveTo>
                    <a:pt x="94" y="23"/>
                  </a:moveTo>
                  <a:cubicBezTo>
                    <a:pt x="88" y="23"/>
                    <a:pt x="88" y="23"/>
                    <a:pt x="88" y="23"/>
                  </a:cubicBezTo>
                  <a:cubicBezTo>
                    <a:pt x="88" y="17"/>
                    <a:pt x="88" y="17"/>
                    <a:pt x="88" y="17"/>
                  </a:cubicBezTo>
                  <a:cubicBezTo>
                    <a:pt x="94" y="17"/>
                    <a:pt x="94" y="17"/>
                    <a:pt x="94" y="17"/>
                  </a:cubicBezTo>
                  <a:cubicBezTo>
                    <a:pt x="94" y="23"/>
                    <a:pt x="94" y="23"/>
                    <a:pt x="94" y="23"/>
                  </a:cubicBezTo>
                  <a:cubicBezTo>
                    <a:pt x="94" y="23"/>
                    <a:pt x="94" y="23"/>
                    <a:pt x="94" y="23"/>
                  </a:cubicBezTo>
                  <a:close/>
                  <a:moveTo>
                    <a:pt x="94" y="13"/>
                  </a:moveTo>
                  <a:cubicBezTo>
                    <a:pt x="88" y="13"/>
                    <a:pt x="88" y="13"/>
                    <a:pt x="88" y="13"/>
                  </a:cubicBezTo>
                  <a:cubicBezTo>
                    <a:pt x="88" y="7"/>
                    <a:pt x="88" y="7"/>
                    <a:pt x="88" y="7"/>
                  </a:cubicBezTo>
                  <a:cubicBezTo>
                    <a:pt x="94" y="7"/>
                    <a:pt x="94" y="7"/>
                    <a:pt x="94" y="7"/>
                  </a:cubicBezTo>
                  <a:cubicBezTo>
                    <a:pt x="94" y="13"/>
                    <a:pt x="94" y="13"/>
                    <a:pt x="94" y="13"/>
                  </a:cubicBezTo>
                  <a:cubicBezTo>
                    <a:pt x="94" y="13"/>
                    <a:pt x="94" y="13"/>
                    <a:pt x="94" y="13"/>
                  </a:cubicBezTo>
                  <a:close/>
                  <a:moveTo>
                    <a:pt x="105" y="33"/>
                  </a:moveTo>
                  <a:cubicBezTo>
                    <a:pt x="99" y="33"/>
                    <a:pt x="99" y="33"/>
                    <a:pt x="99" y="33"/>
                  </a:cubicBezTo>
                  <a:cubicBezTo>
                    <a:pt x="99" y="27"/>
                    <a:pt x="99" y="27"/>
                    <a:pt x="99" y="27"/>
                  </a:cubicBezTo>
                  <a:cubicBezTo>
                    <a:pt x="105" y="27"/>
                    <a:pt x="105" y="27"/>
                    <a:pt x="105" y="27"/>
                  </a:cubicBezTo>
                  <a:cubicBezTo>
                    <a:pt x="105" y="33"/>
                    <a:pt x="105" y="33"/>
                    <a:pt x="105" y="33"/>
                  </a:cubicBezTo>
                  <a:cubicBezTo>
                    <a:pt x="105" y="33"/>
                    <a:pt x="105" y="33"/>
                    <a:pt x="105" y="33"/>
                  </a:cubicBezTo>
                  <a:close/>
                  <a:moveTo>
                    <a:pt x="105" y="23"/>
                  </a:moveTo>
                  <a:cubicBezTo>
                    <a:pt x="99" y="23"/>
                    <a:pt x="99" y="23"/>
                    <a:pt x="99" y="23"/>
                  </a:cubicBezTo>
                  <a:cubicBezTo>
                    <a:pt x="99" y="17"/>
                    <a:pt x="99" y="17"/>
                    <a:pt x="99" y="17"/>
                  </a:cubicBezTo>
                  <a:cubicBezTo>
                    <a:pt x="105" y="17"/>
                    <a:pt x="105" y="17"/>
                    <a:pt x="105" y="17"/>
                  </a:cubicBezTo>
                  <a:cubicBezTo>
                    <a:pt x="105" y="23"/>
                    <a:pt x="105" y="23"/>
                    <a:pt x="105" y="23"/>
                  </a:cubicBezTo>
                  <a:cubicBezTo>
                    <a:pt x="105" y="23"/>
                    <a:pt x="105" y="23"/>
                    <a:pt x="105" y="23"/>
                  </a:cubicBezTo>
                  <a:close/>
                  <a:moveTo>
                    <a:pt x="105" y="13"/>
                  </a:moveTo>
                  <a:cubicBezTo>
                    <a:pt x="99" y="13"/>
                    <a:pt x="99" y="13"/>
                    <a:pt x="99" y="13"/>
                  </a:cubicBezTo>
                  <a:cubicBezTo>
                    <a:pt x="99" y="7"/>
                    <a:pt x="99" y="7"/>
                    <a:pt x="99" y="7"/>
                  </a:cubicBezTo>
                  <a:cubicBezTo>
                    <a:pt x="105" y="7"/>
                    <a:pt x="105" y="7"/>
                    <a:pt x="105" y="7"/>
                  </a:cubicBezTo>
                  <a:cubicBezTo>
                    <a:pt x="105" y="13"/>
                    <a:pt x="105" y="13"/>
                    <a:pt x="105" y="13"/>
                  </a:cubicBezTo>
                  <a:cubicBezTo>
                    <a:pt x="105" y="13"/>
                    <a:pt x="105" y="13"/>
                    <a:pt x="105" y="13"/>
                  </a:cubicBezTo>
                  <a:close/>
                  <a:moveTo>
                    <a:pt x="116" y="33"/>
                  </a:moveTo>
                  <a:cubicBezTo>
                    <a:pt x="110" y="33"/>
                    <a:pt x="110" y="33"/>
                    <a:pt x="110" y="33"/>
                  </a:cubicBezTo>
                  <a:cubicBezTo>
                    <a:pt x="110" y="27"/>
                    <a:pt x="110" y="27"/>
                    <a:pt x="110" y="27"/>
                  </a:cubicBezTo>
                  <a:cubicBezTo>
                    <a:pt x="116" y="27"/>
                    <a:pt x="116" y="27"/>
                    <a:pt x="116" y="27"/>
                  </a:cubicBezTo>
                  <a:cubicBezTo>
                    <a:pt x="116" y="33"/>
                    <a:pt x="116" y="33"/>
                    <a:pt x="116" y="33"/>
                  </a:cubicBezTo>
                  <a:cubicBezTo>
                    <a:pt x="116" y="33"/>
                    <a:pt x="116" y="33"/>
                    <a:pt x="116" y="33"/>
                  </a:cubicBezTo>
                  <a:close/>
                  <a:moveTo>
                    <a:pt x="116" y="23"/>
                  </a:moveTo>
                  <a:cubicBezTo>
                    <a:pt x="110" y="23"/>
                    <a:pt x="110" y="23"/>
                    <a:pt x="110" y="23"/>
                  </a:cubicBezTo>
                  <a:cubicBezTo>
                    <a:pt x="110" y="17"/>
                    <a:pt x="110" y="17"/>
                    <a:pt x="110" y="17"/>
                  </a:cubicBezTo>
                  <a:cubicBezTo>
                    <a:pt x="116" y="17"/>
                    <a:pt x="116" y="17"/>
                    <a:pt x="116" y="17"/>
                  </a:cubicBezTo>
                  <a:cubicBezTo>
                    <a:pt x="116" y="23"/>
                    <a:pt x="116" y="23"/>
                    <a:pt x="116" y="23"/>
                  </a:cubicBezTo>
                  <a:cubicBezTo>
                    <a:pt x="116" y="23"/>
                    <a:pt x="116" y="23"/>
                    <a:pt x="116" y="23"/>
                  </a:cubicBezTo>
                  <a:close/>
                  <a:moveTo>
                    <a:pt x="116" y="13"/>
                  </a:moveTo>
                  <a:cubicBezTo>
                    <a:pt x="110" y="13"/>
                    <a:pt x="110" y="13"/>
                    <a:pt x="110" y="13"/>
                  </a:cubicBezTo>
                  <a:cubicBezTo>
                    <a:pt x="110" y="7"/>
                    <a:pt x="110" y="7"/>
                    <a:pt x="110" y="7"/>
                  </a:cubicBezTo>
                  <a:cubicBezTo>
                    <a:pt x="116" y="7"/>
                    <a:pt x="116" y="7"/>
                    <a:pt x="116" y="7"/>
                  </a:cubicBezTo>
                  <a:cubicBezTo>
                    <a:pt x="116" y="13"/>
                    <a:pt x="116" y="13"/>
                    <a:pt x="116" y="13"/>
                  </a:cubicBezTo>
                  <a:cubicBezTo>
                    <a:pt x="116" y="13"/>
                    <a:pt x="116" y="13"/>
                    <a:pt x="116" y="13"/>
                  </a:cubicBezTo>
                  <a:close/>
                  <a:moveTo>
                    <a:pt x="126" y="33"/>
                  </a:moveTo>
                  <a:cubicBezTo>
                    <a:pt x="120" y="33"/>
                    <a:pt x="120" y="33"/>
                    <a:pt x="120" y="33"/>
                  </a:cubicBezTo>
                  <a:cubicBezTo>
                    <a:pt x="120" y="27"/>
                    <a:pt x="120" y="27"/>
                    <a:pt x="120" y="27"/>
                  </a:cubicBezTo>
                  <a:cubicBezTo>
                    <a:pt x="126" y="27"/>
                    <a:pt x="126" y="27"/>
                    <a:pt x="126" y="27"/>
                  </a:cubicBezTo>
                  <a:cubicBezTo>
                    <a:pt x="126" y="33"/>
                    <a:pt x="126" y="33"/>
                    <a:pt x="126" y="33"/>
                  </a:cubicBezTo>
                  <a:cubicBezTo>
                    <a:pt x="126" y="33"/>
                    <a:pt x="126" y="33"/>
                    <a:pt x="126" y="33"/>
                  </a:cubicBezTo>
                  <a:close/>
                  <a:moveTo>
                    <a:pt x="126" y="23"/>
                  </a:moveTo>
                  <a:cubicBezTo>
                    <a:pt x="120" y="23"/>
                    <a:pt x="120" y="23"/>
                    <a:pt x="120" y="23"/>
                  </a:cubicBezTo>
                  <a:cubicBezTo>
                    <a:pt x="120" y="17"/>
                    <a:pt x="120" y="17"/>
                    <a:pt x="120" y="17"/>
                  </a:cubicBezTo>
                  <a:cubicBezTo>
                    <a:pt x="126" y="17"/>
                    <a:pt x="126" y="17"/>
                    <a:pt x="126" y="17"/>
                  </a:cubicBezTo>
                  <a:cubicBezTo>
                    <a:pt x="126" y="23"/>
                    <a:pt x="126" y="23"/>
                    <a:pt x="126" y="23"/>
                  </a:cubicBezTo>
                  <a:cubicBezTo>
                    <a:pt x="126" y="23"/>
                    <a:pt x="126" y="23"/>
                    <a:pt x="126" y="23"/>
                  </a:cubicBezTo>
                  <a:close/>
                  <a:moveTo>
                    <a:pt x="126" y="13"/>
                  </a:moveTo>
                  <a:cubicBezTo>
                    <a:pt x="120" y="13"/>
                    <a:pt x="120" y="13"/>
                    <a:pt x="120" y="13"/>
                  </a:cubicBezTo>
                  <a:cubicBezTo>
                    <a:pt x="120" y="7"/>
                    <a:pt x="120" y="7"/>
                    <a:pt x="120" y="7"/>
                  </a:cubicBezTo>
                  <a:cubicBezTo>
                    <a:pt x="126" y="7"/>
                    <a:pt x="126" y="7"/>
                    <a:pt x="126" y="7"/>
                  </a:cubicBezTo>
                  <a:cubicBezTo>
                    <a:pt x="126" y="13"/>
                    <a:pt x="126" y="13"/>
                    <a:pt x="126" y="13"/>
                  </a:cubicBezTo>
                  <a:cubicBezTo>
                    <a:pt x="126" y="13"/>
                    <a:pt x="126" y="13"/>
                    <a:pt x="126" y="13"/>
                  </a:cubicBezTo>
                  <a:close/>
                  <a:moveTo>
                    <a:pt x="137" y="33"/>
                  </a:moveTo>
                  <a:cubicBezTo>
                    <a:pt x="131" y="33"/>
                    <a:pt x="131" y="33"/>
                    <a:pt x="131" y="33"/>
                  </a:cubicBezTo>
                  <a:cubicBezTo>
                    <a:pt x="131" y="27"/>
                    <a:pt x="131" y="27"/>
                    <a:pt x="131" y="27"/>
                  </a:cubicBezTo>
                  <a:cubicBezTo>
                    <a:pt x="137" y="27"/>
                    <a:pt x="137" y="27"/>
                    <a:pt x="137" y="27"/>
                  </a:cubicBezTo>
                  <a:cubicBezTo>
                    <a:pt x="137" y="33"/>
                    <a:pt x="137" y="33"/>
                    <a:pt x="137" y="33"/>
                  </a:cubicBezTo>
                  <a:cubicBezTo>
                    <a:pt x="137" y="33"/>
                    <a:pt x="137" y="33"/>
                    <a:pt x="137" y="33"/>
                  </a:cubicBezTo>
                  <a:close/>
                  <a:moveTo>
                    <a:pt x="137" y="23"/>
                  </a:moveTo>
                  <a:cubicBezTo>
                    <a:pt x="131" y="23"/>
                    <a:pt x="131" y="23"/>
                    <a:pt x="131" y="23"/>
                  </a:cubicBezTo>
                  <a:cubicBezTo>
                    <a:pt x="131" y="17"/>
                    <a:pt x="131" y="17"/>
                    <a:pt x="131" y="17"/>
                  </a:cubicBezTo>
                  <a:cubicBezTo>
                    <a:pt x="137" y="17"/>
                    <a:pt x="137" y="17"/>
                    <a:pt x="137" y="17"/>
                  </a:cubicBezTo>
                  <a:cubicBezTo>
                    <a:pt x="137" y="23"/>
                    <a:pt x="137" y="23"/>
                    <a:pt x="137" y="23"/>
                  </a:cubicBezTo>
                  <a:cubicBezTo>
                    <a:pt x="137" y="23"/>
                    <a:pt x="137" y="23"/>
                    <a:pt x="137" y="23"/>
                  </a:cubicBezTo>
                  <a:close/>
                  <a:moveTo>
                    <a:pt x="137" y="13"/>
                  </a:moveTo>
                  <a:cubicBezTo>
                    <a:pt x="131" y="13"/>
                    <a:pt x="131" y="13"/>
                    <a:pt x="131" y="13"/>
                  </a:cubicBezTo>
                  <a:cubicBezTo>
                    <a:pt x="131" y="7"/>
                    <a:pt x="131" y="7"/>
                    <a:pt x="131" y="7"/>
                  </a:cubicBezTo>
                  <a:cubicBezTo>
                    <a:pt x="137" y="7"/>
                    <a:pt x="137" y="7"/>
                    <a:pt x="137" y="7"/>
                  </a:cubicBezTo>
                  <a:cubicBezTo>
                    <a:pt x="137" y="13"/>
                    <a:pt x="137" y="13"/>
                    <a:pt x="137" y="13"/>
                  </a:cubicBezTo>
                  <a:cubicBezTo>
                    <a:pt x="137" y="13"/>
                    <a:pt x="137" y="13"/>
                    <a:pt x="137" y="13"/>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00" name="Freeform 2156"/>
            <p:cNvSpPr>
              <a:spLocks noEditPoints="1"/>
            </p:cNvSpPr>
            <p:nvPr/>
          </p:nvSpPr>
          <p:spPr bwMode="auto">
            <a:xfrm>
              <a:off x="21220113" y="2081213"/>
              <a:ext cx="547688" cy="153988"/>
            </a:xfrm>
            <a:custGeom>
              <a:avLst/>
              <a:gdLst>
                <a:gd name="T0" fmla="*/ 146 w 146"/>
                <a:gd name="T1" fmla="*/ 31 h 41"/>
                <a:gd name="T2" fmla="*/ 9 w 146"/>
                <a:gd name="T3" fmla="*/ 0 h 41"/>
                <a:gd name="T4" fmla="*/ 9 w 146"/>
                <a:gd name="T5" fmla="*/ 41 h 41"/>
                <a:gd name="T6" fmla="*/ 126 w 146"/>
                <a:gd name="T7" fmla="*/ 28 h 41"/>
                <a:gd name="T8" fmla="*/ 73 w 146"/>
                <a:gd name="T9" fmla="*/ 7 h 41"/>
                <a:gd name="T10" fmla="*/ 73 w 146"/>
                <a:gd name="T11" fmla="*/ 13 h 41"/>
                <a:gd name="T12" fmla="*/ 73 w 146"/>
                <a:gd name="T13" fmla="*/ 18 h 41"/>
                <a:gd name="T14" fmla="*/ 73 w 146"/>
                <a:gd name="T15" fmla="*/ 23 h 41"/>
                <a:gd name="T16" fmla="*/ 73 w 146"/>
                <a:gd name="T17" fmla="*/ 27 h 41"/>
                <a:gd name="T18" fmla="*/ 73 w 146"/>
                <a:gd name="T19" fmla="*/ 33 h 41"/>
                <a:gd name="T20" fmla="*/ 63 w 146"/>
                <a:gd name="T21" fmla="*/ 7 h 41"/>
                <a:gd name="T22" fmla="*/ 63 w 146"/>
                <a:gd name="T23" fmla="*/ 13 h 41"/>
                <a:gd name="T24" fmla="*/ 63 w 146"/>
                <a:gd name="T25" fmla="*/ 18 h 41"/>
                <a:gd name="T26" fmla="*/ 63 w 146"/>
                <a:gd name="T27" fmla="*/ 23 h 41"/>
                <a:gd name="T28" fmla="*/ 63 w 146"/>
                <a:gd name="T29" fmla="*/ 27 h 41"/>
                <a:gd name="T30" fmla="*/ 63 w 146"/>
                <a:gd name="T31" fmla="*/ 33 h 41"/>
                <a:gd name="T32" fmla="*/ 52 w 146"/>
                <a:gd name="T33" fmla="*/ 7 h 41"/>
                <a:gd name="T34" fmla="*/ 52 w 146"/>
                <a:gd name="T35" fmla="*/ 13 h 41"/>
                <a:gd name="T36" fmla="*/ 52 w 146"/>
                <a:gd name="T37" fmla="*/ 18 h 41"/>
                <a:gd name="T38" fmla="*/ 52 w 146"/>
                <a:gd name="T39" fmla="*/ 23 h 41"/>
                <a:gd name="T40" fmla="*/ 52 w 146"/>
                <a:gd name="T41" fmla="*/ 27 h 41"/>
                <a:gd name="T42" fmla="*/ 52 w 146"/>
                <a:gd name="T43" fmla="*/ 33 h 41"/>
                <a:gd name="T44" fmla="*/ 41 w 146"/>
                <a:gd name="T45" fmla="*/ 7 h 41"/>
                <a:gd name="T46" fmla="*/ 41 w 146"/>
                <a:gd name="T47" fmla="*/ 13 h 41"/>
                <a:gd name="T48" fmla="*/ 41 w 146"/>
                <a:gd name="T49" fmla="*/ 18 h 41"/>
                <a:gd name="T50" fmla="*/ 41 w 146"/>
                <a:gd name="T51" fmla="*/ 23 h 41"/>
                <a:gd name="T52" fmla="*/ 41 w 146"/>
                <a:gd name="T53" fmla="*/ 27 h 41"/>
                <a:gd name="T54" fmla="*/ 41 w 146"/>
                <a:gd name="T55" fmla="*/ 33 h 41"/>
                <a:gd name="T56" fmla="*/ 30 w 146"/>
                <a:gd name="T57" fmla="*/ 7 h 41"/>
                <a:gd name="T58" fmla="*/ 30 w 146"/>
                <a:gd name="T59" fmla="*/ 13 h 41"/>
                <a:gd name="T60" fmla="*/ 30 w 146"/>
                <a:gd name="T61" fmla="*/ 18 h 41"/>
                <a:gd name="T62" fmla="*/ 30 w 146"/>
                <a:gd name="T63" fmla="*/ 23 h 41"/>
                <a:gd name="T64" fmla="*/ 30 w 146"/>
                <a:gd name="T65" fmla="*/ 27 h 41"/>
                <a:gd name="T66" fmla="*/ 30 w 146"/>
                <a:gd name="T67" fmla="*/ 33 h 41"/>
                <a:gd name="T68" fmla="*/ 19 w 146"/>
                <a:gd name="T69" fmla="*/ 7 h 41"/>
                <a:gd name="T70" fmla="*/ 19 w 146"/>
                <a:gd name="T71" fmla="*/ 13 h 41"/>
                <a:gd name="T72" fmla="*/ 19 w 146"/>
                <a:gd name="T73" fmla="*/ 18 h 41"/>
                <a:gd name="T74" fmla="*/ 19 w 146"/>
                <a:gd name="T75" fmla="*/ 23 h 41"/>
                <a:gd name="T76" fmla="*/ 19 w 146"/>
                <a:gd name="T77" fmla="*/ 27 h 41"/>
                <a:gd name="T78" fmla="*/ 19 w 146"/>
                <a:gd name="T79" fmla="*/ 33 h 41"/>
                <a:gd name="T80" fmla="*/ 9 w 146"/>
                <a:gd name="T81" fmla="*/ 7 h 41"/>
                <a:gd name="T82" fmla="*/ 9 w 146"/>
                <a:gd name="T83" fmla="*/ 13 h 41"/>
                <a:gd name="T84" fmla="*/ 9 w 146"/>
                <a:gd name="T85" fmla="*/ 18 h 41"/>
                <a:gd name="T86" fmla="*/ 9 w 146"/>
                <a:gd name="T87" fmla="*/ 23 h 41"/>
                <a:gd name="T88" fmla="*/ 9 w 146"/>
                <a:gd name="T89" fmla="*/ 27 h 41"/>
                <a:gd name="T90" fmla="*/ 9 w 146"/>
                <a:gd name="T91" fmla="*/ 3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6" h="41">
                  <a:moveTo>
                    <a:pt x="9" y="41"/>
                  </a:moveTo>
                  <a:cubicBezTo>
                    <a:pt x="137" y="41"/>
                    <a:pt x="137" y="41"/>
                    <a:pt x="137" y="41"/>
                  </a:cubicBezTo>
                  <a:cubicBezTo>
                    <a:pt x="142" y="41"/>
                    <a:pt x="146" y="36"/>
                    <a:pt x="146" y="31"/>
                  </a:cubicBezTo>
                  <a:cubicBezTo>
                    <a:pt x="146" y="9"/>
                    <a:pt x="146" y="9"/>
                    <a:pt x="146" y="9"/>
                  </a:cubicBezTo>
                  <a:cubicBezTo>
                    <a:pt x="146" y="4"/>
                    <a:pt x="142" y="0"/>
                    <a:pt x="137" y="0"/>
                  </a:cubicBezTo>
                  <a:cubicBezTo>
                    <a:pt x="9" y="0"/>
                    <a:pt x="9" y="0"/>
                    <a:pt x="9" y="0"/>
                  </a:cubicBezTo>
                  <a:cubicBezTo>
                    <a:pt x="4" y="0"/>
                    <a:pt x="0" y="4"/>
                    <a:pt x="0" y="9"/>
                  </a:cubicBezTo>
                  <a:cubicBezTo>
                    <a:pt x="0" y="31"/>
                    <a:pt x="0" y="31"/>
                    <a:pt x="0" y="31"/>
                  </a:cubicBezTo>
                  <a:cubicBezTo>
                    <a:pt x="0" y="36"/>
                    <a:pt x="4" y="41"/>
                    <a:pt x="9" y="41"/>
                  </a:cubicBezTo>
                  <a:close/>
                  <a:moveTo>
                    <a:pt x="126" y="13"/>
                  </a:moveTo>
                  <a:cubicBezTo>
                    <a:pt x="130" y="13"/>
                    <a:pt x="133" y="16"/>
                    <a:pt x="133" y="20"/>
                  </a:cubicBezTo>
                  <a:cubicBezTo>
                    <a:pt x="133" y="24"/>
                    <a:pt x="130" y="28"/>
                    <a:pt x="126" y="28"/>
                  </a:cubicBezTo>
                  <a:cubicBezTo>
                    <a:pt x="122" y="28"/>
                    <a:pt x="119" y="24"/>
                    <a:pt x="119" y="20"/>
                  </a:cubicBezTo>
                  <a:cubicBezTo>
                    <a:pt x="119" y="16"/>
                    <a:pt x="122" y="13"/>
                    <a:pt x="126" y="13"/>
                  </a:cubicBezTo>
                  <a:close/>
                  <a:moveTo>
                    <a:pt x="73" y="7"/>
                  </a:moveTo>
                  <a:cubicBezTo>
                    <a:pt x="79" y="7"/>
                    <a:pt x="79" y="7"/>
                    <a:pt x="79" y="7"/>
                  </a:cubicBezTo>
                  <a:cubicBezTo>
                    <a:pt x="79" y="13"/>
                    <a:pt x="79" y="13"/>
                    <a:pt x="79" y="13"/>
                  </a:cubicBezTo>
                  <a:cubicBezTo>
                    <a:pt x="73" y="13"/>
                    <a:pt x="73" y="13"/>
                    <a:pt x="73" y="13"/>
                  </a:cubicBezTo>
                  <a:cubicBezTo>
                    <a:pt x="73" y="7"/>
                    <a:pt x="73" y="7"/>
                    <a:pt x="73" y="7"/>
                  </a:cubicBezTo>
                  <a:cubicBezTo>
                    <a:pt x="73" y="7"/>
                    <a:pt x="73" y="7"/>
                    <a:pt x="73" y="7"/>
                  </a:cubicBezTo>
                  <a:close/>
                  <a:moveTo>
                    <a:pt x="73" y="18"/>
                  </a:moveTo>
                  <a:cubicBezTo>
                    <a:pt x="79" y="18"/>
                    <a:pt x="79" y="18"/>
                    <a:pt x="79" y="18"/>
                  </a:cubicBezTo>
                  <a:cubicBezTo>
                    <a:pt x="79" y="23"/>
                    <a:pt x="79" y="23"/>
                    <a:pt x="79" y="23"/>
                  </a:cubicBezTo>
                  <a:cubicBezTo>
                    <a:pt x="73" y="23"/>
                    <a:pt x="73" y="23"/>
                    <a:pt x="73" y="23"/>
                  </a:cubicBezTo>
                  <a:cubicBezTo>
                    <a:pt x="73" y="18"/>
                    <a:pt x="73" y="18"/>
                    <a:pt x="73" y="18"/>
                  </a:cubicBezTo>
                  <a:cubicBezTo>
                    <a:pt x="73" y="18"/>
                    <a:pt x="73" y="18"/>
                    <a:pt x="73" y="18"/>
                  </a:cubicBezTo>
                  <a:close/>
                  <a:moveTo>
                    <a:pt x="73" y="27"/>
                  </a:moveTo>
                  <a:cubicBezTo>
                    <a:pt x="79" y="27"/>
                    <a:pt x="79" y="27"/>
                    <a:pt x="79" y="27"/>
                  </a:cubicBezTo>
                  <a:cubicBezTo>
                    <a:pt x="79" y="33"/>
                    <a:pt x="79" y="33"/>
                    <a:pt x="79" y="33"/>
                  </a:cubicBezTo>
                  <a:cubicBezTo>
                    <a:pt x="73" y="33"/>
                    <a:pt x="73" y="33"/>
                    <a:pt x="73" y="33"/>
                  </a:cubicBezTo>
                  <a:cubicBezTo>
                    <a:pt x="73" y="27"/>
                    <a:pt x="73" y="27"/>
                    <a:pt x="73" y="27"/>
                  </a:cubicBezTo>
                  <a:cubicBezTo>
                    <a:pt x="73" y="27"/>
                    <a:pt x="73" y="27"/>
                    <a:pt x="73" y="27"/>
                  </a:cubicBezTo>
                  <a:close/>
                  <a:moveTo>
                    <a:pt x="63" y="7"/>
                  </a:moveTo>
                  <a:cubicBezTo>
                    <a:pt x="68" y="7"/>
                    <a:pt x="68" y="7"/>
                    <a:pt x="68" y="7"/>
                  </a:cubicBezTo>
                  <a:cubicBezTo>
                    <a:pt x="68" y="13"/>
                    <a:pt x="68" y="13"/>
                    <a:pt x="68" y="13"/>
                  </a:cubicBezTo>
                  <a:cubicBezTo>
                    <a:pt x="63" y="13"/>
                    <a:pt x="63" y="13"/>
                    <a:pt x="63" y="13"/>
                  </a:cubicBezTo>
                  <a:cubicBezTo>
                    <a:pt x="63" y="7"/>
                    <a:pt x="63" y="7"/>
                    <a:pt x="63" y="7"/>
                  </a:cubicBezTo>
                  <a:cubicBezTo>
                    <a:pt x="63" y="7"/>
                    <a:pt x="63" y="7"/>
                    <a:pt x="63" y="7"/>
                  </a:cubicBezTo>
                  <a:close/>
                  <a:moveTo>
                    <a:pt x="63" y="18"/>
                  </a:moveTo>
                  <a:cubicBezTo>
                    <a:pt x="68" y="18"/>
                    <a:pt x="68" y="18"/>
                    <a:pt x="68" y="18"/>
                  </a:cubicBezTo>
                  <a:cubicBezTo>
                    <a:pt x="68" y="23"/>
                    <a:pt x="68" y="23"/>
                    <a:pt x="68" y="23"/>
                  </a:cubicBezTo>
                  <a:cubicBezTo>
                    <a:pt x="63" y="23"/>
                    <a:pt x="63" y="23"/>
                    <a:pt x="63" y="23"/>
                  </a:cubicBezTo>
                  <a:cubicBezTo>
                    <a:pt x="63" y="18"/>
                    <a:pt x="63" y="18"/>
                    <a:pt x="63" y="18"/>
                  </a:cubicBezTo>
                  <a:cubicBezTo>
                    <a:pt x="63" y="18"/>
                    <a:pt x="63" y="18"/>
                    <a:pt x="63" y="18"/>
                  </a:cubicBezTo>
                  <a:close/>
                  <a:moveTo>
                    <a:pt x="63" y="27"/>
                  </a:moveTo>
                  <a:cubicBezTo>
                    <a:pt x="68" y="27"/>
                    <a:pt x="68" y="27"/>
                    <a:pt x="68" y="27"/>
                  </a:cubicBezTo>
                  <a:cubicBezTo>
                    <a:pt x="68" y="33"/>
                    <a:pt x="68" y="33"/>
                    <a:pt x="68" y="33"/>
                  </a:cubicBezTo>
                  <a:cubicBezTo>
                    <a:pt x="63" y="33"/>
                    <a:pt x="63" y="33"/>
                    <a:pt x="63" y="33"/>
                  </a:cubicBezTo>
                  <a:cubicBezTo>
                    <a:pt x="63" y="27"/>
                    <a:pt x="63" y="27"/>
                    <a:pt x="63" y="27"/>
                  </a:cubicBezTo>
                  <a:cubicBezTo>
                    <a:pt x="63" y="27"/>
                    <a:pt x="63" y="27"/>
                    <a:pt x="63" y="27"/>
                  </a:cubicBezTo>
                  <a:close/>
                  <a:moveTo>
                    <a:pt x="52" y="7"/>
                  </a:moveTo>
                  <a:cubicBezTo>
                    <a:pt x="58" y="7"/>
                    <a:pt x="58" y="7"/>
                    <a:pt x="58" y="7"/>
                  </a:cubicBezTo>
                  <a:cubicBezTo>
                    <a:pt x="58" y="13"/>
                    <a:pt x="58" y="13"/>
                    <a:pt x="58" y="13"/>
                  </a:cubicBezTo>
                  <a:cubicBezTo>
                    <a:pt x="52" y="13"/>
                    <a:pt x="52" y="13"/>
                    <a:pt x="52" y="13"/>
                  </a:cubicBezTo>
                  <a:cubicBezTo>
                    <a:pt x="52" y="7"/>
                    <a:pt x="52" y="7"/>
                    <a:pt x="52" y="7"/>
                  </a:cubicBezTo>
                  <a:cubicBezTo>
                    <a:pt x="52" y="7"/>
                    <a:pt x="52" y="7"/>
                    <a:pt x="52" y="7"/>
                  </a:cubicBezTo>
                  <a:close/>
                  <a:moveTo>
                    <a:pt x="52" y="18"/>
                  </a:moveTo>
                  <a:cubicBezTo>
                    <a:pt x="58" y="18"/>
                    <a:pt x="58" y="18"/>
                    <a:pt x="58" y="18"/>
                  </a:cubicBezTo>
                  <a:cubicBezTo>
                    <a:pt x="58" y="23"/>
                    <a:pt x="58" y="23"/>
                    <a:pt x="58" y="23"/>
                  </a:cubicBezTo>
                  <a:cubicBezTo>
                    <a:pt x="52" y="23"/>
                    <a:pt x="52" y="23"/>
                    <a:pt x="52" y="23"/>
                  </a:cubicBezTo>
                  <a:cubicBezTo>
                    <a:pt x="52" y="18"/>
                    <a:pt x="52" y="18"/>
                    <a:pt x="52" y="18"/>
                  </a:cubicBezTo>
                  <a:cubicBezTo>
                    <a:pt x="52" y="18"/>
                    <a:pt x="52" y="18"/>
                    <a:pt x="52" y="18"/>
                  </a:cubicBezTo>
                  <a:close/>
                  <a:moveTo>
                    <a:pt x="52" y="27"/>
                  </a:moveTo>
                  <a:cubicBezTo>
                    <a:pt x="58" y="27"/>
                    <a:pt x="58" y="27"/>
                    <a:pt x="58" y="27"/>
                  </a:cubicBezTo>
                  <a:cubicBezTo>
                    <a:pt x="58" y="33"/>
                    <a:pt x="58" y="33"/>
                    <a:pt x="58" y="33"/>
                  </a:cubicBezTo>
                  <a:cubicBezTo>
                    <a:pt x="52" y="33"/>
                    <a:pt x="52" y="33"/>
                    <a:pt x="52" y="33"/>
                  </a:cubicBezTo>
                  <a:cubicBezTo>
                    <a:pt x="52" y="27"/>
                    <a:pt x="52" y="27"/>
                    <a:pt x="52" y="27"/>
                  </a:cubicBezTo>
                  <a:cubicBezTo>
                    <a:pt x="52" y="27"/>
                    <a:pt x="52" y="27"/>
                    <a:pt x="52" y="27"/>
                  </a:cubicBezTo>
                  <a:close/>
                  <a:moveTo>
                    <a:pt x="41" y="7"/>
                  </a:moveTo>
                  <a:cubicBezTo>
                    <a:pt x="47" y="7"/>
                    <a:pt x="47" y="7"/>
                    <a:pt x="47" y="7"/>
                  </a:cubicBezTo>
                  <a:cubicBezTo>
                    <a:pt x="47" y="13"/>
                    <a:pt x="47" y="13"/>
                    <a:pt x="47" y="13"/>
                  </a:cubicBezTo>
                  <a:cubicBezTo>
                    <a:pt x="41" y="13"/>
                    <a:pt x="41" y="13"/>
                    <a:pt x="41" y="13"/>
                  </a:cubicBezTo>
                  <a:cubicBezTo>
                    <a:pt x="41" y="7"/>
                    <a:pt x="41" y="7"/>
                    <a:pt x="41" y="7"/>
                  </a:cubicBezTo>
                  <a:cubicBezTo>
                    <a:pt x="41" y="7"/>
                    <a:pt x="41" y="7"/>
                    <a:pt x="41" y="7"/>
                  </a:cubicBezTo>
                  <a:close/>
                  <a:moveTo>
                    <a:pt x="41" y="18"/>
                  </a:moveTo>
                  <a:cubicBezTo>
                    <a:pt x="47" y="18"/>
                    <a:pt x="47" y="18"/>
                    <a:pt x="47" y="18"/>
                  </a:cubicBezTo>
                  <a:cubicBezTo>
                    <a:pt x="47" y="23"/>
                    <a:pt x="47" y="23"/>
                    <a:pt x="47" y="23"/>
                  </a:cubicBezTo>
                  <a:cubicBezTo>
                    <a:pt x="41" y="23"/>
                    <a:pt x="41" y="23"/>
                    <a:pt x="41" y="23"/>
                  </a:cubicBezTo>
                  <a:cubicBezTo>
                    <a:pt x="41" y="18"/>
                    <a:pt x="41" y="18"/>
                    <a:pt x="41" y="18"/>
                  </a:cubicBezTo>
                  <a:cubicBezTo>
                    <a:pt x="41" y="18"/>
                    <a:pt x="41" y="18"/>
                    <a:pt x="41" y="18"/>
                  </a:cubicBezTo>
                  <a:close/>
                  <a:moveTo>
                    <a:pt x="41" y="27"/>
                  </a:moveTo>
                  <a:cubicBezTo>
                    <a:pt x="47" y="27"/>
                    <a:pt x="47" y="27"/>
                    <a:pt x="47" y="27"/>
                  </a:cubicBezTo>
                  <a:cubicBezTo>
                    <a:pt x="47" y="33"/>
                    <a:pt x="47" y="33"/>
                    <a:pt x="47" y="33"/>
                  </a:cubicBezTo>
                  <a:cubicBezTo>
                    <a:pt x="41" y="33"/>
                    <a:pt x="41" y="33"/>
                    <a:pt x="41" y="33"/>
                  </a:cubicBezTo>
                  <a:cubicBezTo>
                    <a:pt x="41" y="27"/>
                    <a:pt x="41" y="27"/>
                    <a:pt x="41" y="27"/>
                  </a:cubicBezTo>
                  <a:cubicBezTo>
                    <a:pt x="41" y="27"/>
                    <a:pt x="41" y="27"/>
                    <a:pt x="41" y="27"/>
                  </a:cubicBezTo>
                  <a:close/>
                  <a:moveTo>
                    <a:pt x="30" y="7"/>
                  </a:moveTo>
                  <a:cubicBezTo>
                    <a:pt x="36" y="7"/>
                    <a:pt x="36" y="7"/>
                    <a:pt x="36" y="7"/>
                  </a:cubicBezTo>
                  <a:cubicBezTo>
                    <a:pt x="36" y="13"/>
                    <a:pt x="36" y="13"/>
                    <a:pt x="36" y="13"/>
                  </a:cubicBezTo>
                  <a:cubicBezTo>
                    <a:pt x="30" y="13"/>
                    <a:pt x="30" y="13"/>
                    <a:pt x="30" y="13"/>
                  </a:cubicBezTo>
                  <a:cubicBezTo>
                    <a:pt x="30" y="7"/>
                    <a:pt x="30" y="7"/>
                    <a:pt x="30" y="7"/>
                  </a:cubicBezTo>
                  <a:cubicBezTo>
                    <a:pt x="30" y="7"/>
                    <a:pt x="30" y="7"/>
                    <a:pt x="30" y="7"/>
                  </a:cubicBezTo>
                  <a:close/>
                  <a:moveTo>
                    <a:pt x="30" y="18"/>
                  </a:moveTo>
                  <a:cubicBezTo>
                    <a:pt x="36" y="18"/>
                    <a:pt x="36" y="18"/>
                    <a:pt x="36" y="18"/>
                  </a:cubicBezTo>
                  <a:cubicBezTo>
                    <a:pt x="36" y="23"/>
                    <a:pt x="36" y="23"/>
                    <a:pt x="36" y="23"/>
                  </a:cubicBezTo>
                  <a:cubicBezTo>
                    <a:pt x="30" y="23"/>
                    <a:pt x="30" y="23"/>
                    <a:pt x="30" y="23"/>
                  </a:cubicBezTo>
                  <a:cubicBezTo>
                    <a:pt x="30" y="18"/>
                    <a:pt x="30" y="18"/>
                    <a:pt x="30" y="18"/>
                  </a:cubicBezTo>
                  <a:cubicBezTo>
                    <a:pt x="30" y="18"/>
                    <a:pt x="30" y="18"/>
                    <a:pt x="30" y="18"/>
                  </a:cubicBezTo>
                  <a:close/>
                  <a:moveTo>
                    <a:pt x="30" y="27"/>
                  </a:moveTo>
                  <a:cubicBezTo>
                    <a:pt x="36" y="27"/>
                    <a:pt x="36" y="27"/>
                    <a:pt x="36" y="27"/>
                  </a:cubicBezTo>
                  <a:cubicBezTo>
                    <a:pt x="36" y="33"/>
                    <a:pt x="36" y="33"/>
                    <a:pt x="36" y="33"/>
                  </a:cubicBezTo>
                  <a:cubicBezTo>
                    <a:pt x="30" y="33"/>
                    <a:pt x="30" y="33"/>
                    <a:pt x="30" y="33"/>
                  </a:cubicBezTo>
                  <a:cubicBezTo>
                    <a:pt x="30" y="27"/>
                    <a:pt x="30" y="27"/>
                    <a:pt x="30" y="27"/>
                  </a:cubicBezTo>
                  <a:cubicBezTo>
                    <a:pt x="30" y="27"/>
                    <a:pt x="30" y="27"/>
                    <a:pt x="30" y="27"/>
                  </a:cubicBezTo>
                  <a:close/>
                  <a:moveTo>
                    <a:pt x="19" y="7"/>
                  </a:moveTo>
                  <a:cubicBezTo>
                    <a:pt x="25" y="7"/>
                    <a:pt x="25" y="7"/>
                    <a:pt x="25" y="7"/>
                  </a:cubicBezTo>
                  <a:cubicBezTo>
                    <a:pt x="25" y="13"/>
                    <a:pt x="25" y="13"/>
                    <a:pt x="25" y="13"/>
                  </a:cubicBezTo>
                  <a:cubicBezTo>
                    <a:pt x="19" y="13"/>
                    <a:pt x="19" y="13"/>
                    <a:pt x="19" y="13"/>
                  </a:cubicBezTo>
                  <a:cubicBezTo>
                    <a:pt x="19" y="7"/>
                    <a:pt x="19" y="7"/>
                    <a:pt x="19" y="7"/>
                  </a:cubicBezTo>
                  <a:cubicBezTo>
                    <a:pt x="19" y="7"/>
                    <a:pt x="19" y="7"/>
                    <a:pt x="19" y="7"/>
                  </a:cubicBezTo>
                  <a:close/>
                  <a:moveTo>
                    <a:pt x="19" y="18"/>
                  </a:moveTo>
                  <a:cubicBezTo>
                    <a:pt x="25" y="18"/>
                    <a:pt x="25" y="18"/>
                    <a:pt x="25" y="18"/>
                  </a:cubicBezTo>
                  <a:cubicBezTo>
                    <a:pt x="25" y="23"/>
                    <a:pt x="25" y="23"/>
                    <a:pt x="25" y="23"/>
                  </a:cubicBezTo>
                  <a:cubicBezTo>
                    <a:pt x="19" y="23"/>
                    <a:pt x="19" y="23"/>
                    <a:pt x="19" y="23"/>
                  </a:cubicBezTo>
                  <a:cubicBezTo>
                    <a:pt x="19" y="18"/>
                    <a:pt x="19" y="18"/>
                    <a:pt x="19" y="18"/>
                  </a:cubicBezTo>
                  <a:cubicBezTo>
                    <a:pt x="19" y="18"/>
                    <a:pt x="19" y="18"/>
                    <a:pt x="19" y="18"/>
                  </a:cubicBezTo>
                  <a:close/>
                  <a:moveTo>
                    <a:pt x="19" y="27"/>
                  </a:moveTo>
                  <a:cubicBezTo>
                    <a:pt x="25" y="27"/>
                    <a:pt x="25" y="27"/>
                    <a:pt x="25" y="27"/>
                  </a:cubicBezTo>
                  <a:cubicBezTo>
                    <a:pt x="25" y="33"/>
                    <a:pt x="25" y="33"/>
                    <a:pt x="25" y="33"/>
                  </a:cubicBezTo>
                  <a:cubicBezTo>
                    <a:pt x="19" y="33"/>
                    <a:pt x="19" y="33"/>
                    <a:pt x="19" y="33"/>
                  </a:cubicBezTo>
                  <a:cubicBezTo>
                    <a:pt x="19" y="27"/>
                    <a:pt x="19" y="27"/>
                    <a:pt x="19" y="27"/>
                  </a:cubicBezTo>
                  <a:cubicBezTo>
                    <a:pt x="19" y="27"/>
                    <a:pt x="19" y="27"/>
                    <a:pt x="19" y="27"/>
                  </a:cubicBezTo>
                  <a:close/>
                  <a:moveTo>
                    <a:pt x="9" y="7"/>
                  </a:moveTo>
                  <a:cubicBezTo>
                    <a:pt x="14" y="7"/>
                    <a:pt x="14" y="7"/>
                    <a:pt x="14" y="7"/>
                  </a:cubicBezTo>
                  <a:cubicBezTo>
                    <a:pt x="14" y="13"/>
                    <a:pt x="14" y="13"/>
                    <a:pt x="14" y="13"/>
                  </a:cubicBezTo>
                  <a:cubicBezTo>
                    <a:pt x="9" y="13"/>
                    <a:pt x="9" y="13"/>
                    <a:pt x="9" y="13"/>
                  </a:cubicBezTo>
                  <a:cubicBezTo>
                    <a:pt x="9" y="7"/>
                    <a:pt x="9" y="7"/>
                    <a:pt x="9" y="7"/>
                  </a:cubicBezTo>
                  <a:cubicBezTo>
                    <a:pt x="9" y="7"/>
                    <a:pt x="9" y="7"/>
                    <a:pt x="9" y="7"/>
                  </a:cubicBezTo>
                  <a:close/>
                  <a:moveTo>
                    <a:pt x="9" y="18"/>
                  </a:moveTo>
                  <a:cubicBezTo>
                    <a:pt x="14" y="18"/>
                    <a:pt x="14" y="18"/>
                    <a:pt x="14" y="18"/>
                  </a:cubicBezTo>
                  <a:cubicBezTo>
                    <a:pt x="14" y="23"/>
                    <a:pt x="14" y="23"/>
                    <a:pt x="14" y="23"/>
                  </a:cubicBezTo>
                  <a:cubicBezTo>
                    <a:pt x="9" y="23"/>
                    <a:pt x="9" y="23"/>
                    <a:pt x="9" y="23"/>
                  </a:cubicBezTo>
                  <a:cubicBezTo>
                    <a:pt x="9" y="18"/>
                    <a:pt x="9" y="18"/>
                    <a:pt x="9" y="18"/>
                  </a:cubicBezTo>
                  <a:cubicBezTo>
                    <a:pt x="9" y="18"/>
                    <a:pt x="9" y="18"/>
                    <a:pt x="9" y="18"/>
                  </a:cubicBezTo>
                  <a:close/>
                  <a:moveTo>
                    <a:pt x="9" y="27"/>
                  </a:moveTo>
                  <a:cubicBezTo>
                    <a:pt x="14" y="27"/>
                    <a:pt x="14" y="27"/>
                    <a:pt x="14" y="27"/>
                  </a:cubicBezTo>
                  <a:cubicBezTo>
                    <a:pt x="14" y="33"/>
                    <a:pt x="14" y="33"/>
                    <a:pt x="14" y="33"/>
                  </a:cubicBezTo>
                  <a:cubicBezTo>
                    <a:pt x="9" y="33"/>
                    <a:pt x="9" y="33"/>
                    <a:pt x="9" y="33"/>
                  </a:cubicBezTo>
                  <a:cubicBezTo>
                    <a:pt x="9" y="27"/>
                    <a:pt x="9" y="27"/>
                    <a:pt x="9" y="27"/>
                  </a:cubicBezTo>
                  <a:cubicBezTo>
                    <a:pt x="9" y="27"/>
                    <a:pt x="9" y="27"/>
                    <a:pt x="9" y="27"/>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01" name="Freeform 2157"/>
            <p:cNvSpPr>
              <a:spLocks noEditPoints="1"/>
            </p:cNvSpPr>
            <p:nvPr/>
          </p:nvSpPr>
          <p:spPr bwMode="auto">
            <a:xfrm>
              <a:off x="23547388" y="2852738"/>
              <a:ext cx="476250" cy="477838"/>
            </a:xfrm>
            <a:custGeom>
              <a:avLst/>
              <a:gdLst>
                <a:gd name="T0" fmla="*/ 20 w 127"/>
                <a:gd name="T1" fmla="*/ 4 h 127"/>
                <a:gd name="T2" fmla="*/ 94 w 127"/>
                <a:gd name="T3" fmla="*/ 123 h 127"/>
                <a:gd name="T4" fmla="*/ 123 w 127"/>
                <a:gd name="T5" fmla="*/ 94 h 127"/>
                <a:gd name="T6" fmla="*/ 31 w 127"/>
                <a:gd name="T7" fmla="*/ 21 h 127"/>
                <a:gd name="T8" fmla="*/ 54 w 127"/>
                <a:gd name="T9" fmla="*/ 72 h 127"/>
                <a:gd name="T10" fmla="*/ 58 w 127"/>
                <a:gd name="T11" fmla="*/ 68 h 127"/>
                <a:gd name="T12" fmla="*/ 61 w 127"/>
                <a:gd name="T13" fmla="*/ 65 h 127"/>
                <a:gd name="T14" fmla="*/ 65 w 127"/>
                <a:gd name="T15" fmla="*/ 61 h 127"/>
                <a:gd name="T16" fmla="*/ 68 w 127"/>
                <a:gd name="T17" fmla="*/ 58 h 127"/>
                <a:gd name="T18" fmla="*/ 72 w 127"/>
                <a:gd name="T19" fmla="*/ 54 h 127"/>
                <a:gd name="T20" fmla="*/ 62 w 127"/>
                <a:gd name="T21" fmla="*/ 80 h 127"/>
                <a:gd name="T22" fmla="*/ 66 w 127"/>
                <a:gd name="T23" fmla="*/ 76 h 127"/>
                <a:gd name="T24" fmla="*/ 69 w 127"/>
                <a:gd name="T25" fmla="*/ 73 h 127"/>
                <a:gd name="T26" fmla="*/ 73 w 127"/>
                <a:gd name="T27" fmla="*/ 69 h 127"/>
                <a:gd name="T28" fmla="*/ 76 w 127"/>
                <a:gd name="T29" fmla="*/ 66 h 127"/>
                <a:gd name="T30" fmla="*/ 80 w 127"/>
                <a:gd name="T31" fmla="*/ 62 h 127"/>
                <a:gd name="T32" fmla="*/ 69 w 127"/>
                <a:gd name="T33" fmla="*/ 88 h 127"/>
                <a:gd name="T34" fmla="*/ 73 w 127"/>
                <a:gd name="T35" fmla="*/ 83 h 127"/>
                <a:gd name="T36" fmla="*/ 77 w 127"/>
                <a:gd name="T37" fmla="*/ 80 h 127"/>
                <a:gd name="T38" fmla="*/ 81 w 127"/>
                <a:gd name="T39" fmla="*/ 76 h 127"/>
                <a:gd name="T40" fmla="*/ 84 w 127"/>
                <a:gd name="T41" fmla="*/ 73 h 127"/>
                <a:gd name="T42" fmla="*/ 88 w 127"/>
                <a:gd name="T43" fmla="*/ 69 h 127"/>
                <a:gd name="T44" fmla="*/ 77 w 127"/>
                <a:gd name="T45" fmla="*/ 95 h 127"/>
                <a:gd name="T46" fmla="*/ 81 w 127"/>
                <a:gd name="T47" fmla="*/ 91 h 127"/>
                <a:gd name="T48" fmla="*/ 84 w 127"/>
                <a:gd name="T49" fmla="*/ 88 h 127"/>
                <a:gd name="T50" fmla="*/ 88 w 127"/>
                <a:gd name="T51" fmla="*/ 84 h 127"/>
                <a:gd name="T52" fmla="*/ 91 w 127"/>
                <a:gd name="T53" fmla="*/ 81 h 127"/>
                <a:gd name="T54" fmla="*/ 95 w 127"/>
                <a:gd name="T55" fmla="*/ 77 h 127"/>
                <a:gd name="T56" fmla="*/ 85 w 127"/>
                <a:gd name="T57" fmla="*/ 103 h 127"/>
                <a:gd name="T58" fmla="*/ 89 w 127"/>
                <a:gd name="T59" fmla="*/ 99 h 127"/>
                <a:gd name="T60" fmla="*/ 92 w 127"/>
                <a:gd name="T61" fmla="*/ 96 h 127"/>
                <a:gd name="T62" fmla="*/ 96 w 127"/>
                <a:gd name="T63" fmla="*/ 91 h 127"/>
                <a:gd name="T64" fmla="*/ 99 w 127"/>
                <a:gd name="T65" fmla="*/ 89 h 127"/>
                <a:gd name="T66" fmla="*/ 103 w 127"/>
                <a:gd name="T67" fmla="*/ 85 h 127"/>
                <a:gd name="T68" fmla="*/ 92 w 127"/>
                <a:gd name="T69" fmla="*/ 111 h 127"/>
                <a:gd name="T70" fmla="*/ 96 w 127"/>
                <a:gd name="T71" fmla="*/ 106 h 127"/>
                <a:gd name="T72" fmla="*/ 100 w 127"/>
                <a:gd name="T73" fmla="*/ 103 h 127"/>
                <a:gd name="T74" fmla="*/ 104 w 127"/>
                <a:gd name="T75" fmla="*/ 99 h 127"/>
                <a:gd name="T76" fmla="*/ 107 w 127"/>
                <a:gd name="T77" fmla="*/ 96 h 127"/>
                <a:gd name="T78" fmla="*/ 111 w 127"/>
                <a:gd name="T79" fmla="*/ 92 h 127"/>
                <a:gd name="T80" fmla="*/ 100 w 127"/>
                <a:gd name="T81" fmla="*/ 118 h 127"/>
                <a:gd name="T82" fmla="*/ 104 w 127"/>
                <a:gd name="T83" fmla="*/ 114 h 127"/>
                <a:gd name="T84" fmla="*/ 107 w 127"/>
                <a:gd name="T85" fmla="*/ 111 h 127"/>
                <a:gd name="T86" fmla="*/ 111 w 127"/>
                <a:gd name="T87" fmla="*/ 107 h 127"/>
                <a:gd name="T88" fmla="*/ 114 w 127"/>
                <a:gd name="T89" fmla="*/ 104 h 127"/>
                <a:gd name="T90" fmla="*/ 118 w 127"/>
                <a:gd name="T91" fmla="*/ 10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7" h="127">
                  <a:moveTo>
                    <a:pt x="123" y="94"/>
                  </a:moveTo>
                  <a:cubicBezTo>
                    <a:pt x="33" y="4"/>
                    <a:pt x="33" y="4"/>
                    <a:pt x="33" y="4"/>
                  </a:cubicBezTo>
                  <a:cubicBezTo>
                    <a:pt x="29" y="0"/>
                    <a:pt x="23" y="0"/>
                    <a:pt x="20" y="4"/>
                  </a:cubicBezTo>
                  <a:cubicBezTo>
                    <a:pt x="4" y="19"/>
                    <a:pt x="4" y="19"/>
                    <a:pt x="4" y="19"/>
                  </a:cubicBezTo>
                  <a:cubicBezTo>
                    <a:pt x="0" y="23"/>
                    <a:pt x="0" y="29"/>
                    <a:pt x="4" y="33"/>
                  </a:cubicBezTo>
                  <a:cubicBezTo>
                    <a:pt x="94" y="123"/>
                    <a:pt x="94" y="123"/>
                    <a:pt x="94" y="123"/>
                  </a:cubicBezTo>
                  <a:cubicBezTo>
                    <a:pt x="98" y="127"/>
                    <a:pt x="104" y="127"/>
                    <a:pt x="108" y="123"/>
                  </a:cubicBezTo>
                  <a:cubicBezTo>
                    <a:pt x="123" y="108"/>
                    <a:pt x="123" y="108"/>
                    <a:pt x="123" y="108"/>
                  </a:cubicBezTo>
                  <a:cubicBezTo>
                    <a:pt x="127" y="104"/>
                    <a:pt x="127" y="98"/>
                    <a:pt x="123" y="94"/>
                  </a:cubicBezTo>
                  <a:close/>
                  <a:moveTo>
                    <a:pt x="21" y="31"/>
                  </a:moveTo>
                  <a:cubicBezTo>
                    <a:pt x="18" y="28"/>
                    <a:pt x="18" y="24"/>
                    <a:pt x="21" y="21"/>
                  </a:cubicBezTo>
                  <a:cubicBezTo>
                    <a:pt x="24" y="18"/>
                    <a:pt x="28" y="18"/>
                    <a:pt x="31" y="21"/>
                  </a:cubicBezTo>
                  <a:cubicBezTo>
                    <a:pt x="34" y="24"/>
                    <a:pt x="34" y="28"/>
                    <a:pt x="31" y="31"/>
                  </a:cubicBezTo>
                  <a:cubicBezTo>
                    <a:pt x="28" y="34"/>
                    <a:pt x="24" y="34"/>
                    <a:pt x="21" y="31"/>
                  </a:cubicBezTo>
                  <a:close/>
                  <a:moveTo>
                    <a:pt x="54" y="72"/>
                  </a:moveTo>
                  <a:cubicBezTo>
                    <a:pt x="50" y="68"/>
                    <a:pt x="50" y="68"/>
                    <a:pt x="50" y="68"/>
                  </a:cubicBezTo>
                  <a:cubicBezTo>
                    <a:pt x="54" y="64"/>
                    <a:pt x="54" y="64"/>
                    <a:pt x="54" y="64"/>
                  </a:cubicBezTo>
                  <a:cubicBezTo>
                    <a:pt x="58" y="68"/>
                    <a:pt x="58" y="68"/>
                    <a:pt x="58" y="68"/>
                  </a:cubicBezTo>
                  <a:cubicBezTo>
                    <a:pt x="54" y="72"/>
                    <a:pt x="54" y="72"/>
                    <a:pt x="54" y="72"/>
                  </a:cubicBezTo>
                  <a:cubicBezTo>
                    <a:pt x="54" y="72"/>
                    <a:pt x="54" y="72"/>
                    <a:pt x="54" y="72"/>
                  </a:cubicBezTo>
                  <a:close/>
                  <a:moveTo>
                    <a:pt x="61" y="65"/>
                  </a:moveTo>
                  <a:cubicBezTo>
                    <a:pt x="57" y="61"/>
                    <a:pt x="57" y="61"/>
                    <a:pt x="57" y="61"/>
                  </a:cubicBezTo>
                  <a:cubicBezTo>
                    <a:pt x="61" y="57"/>
                    <a:pt x="61" y="57"/>
                    <a:pt x="61" y="57"/>
                  </a:cubicBezTo>
                  <a:cubicBezTo>
                    <a:pt x="65" y="61"/>
                    <a:pt x="65" y="61"/>
                    <a:pt x="65" y="61"/>
                  </a:cubicBezTo>
                  <a:cubicBezTo>
                    <a:pt x="61" y="65"/>
                    <a:pt x="61" y="65"/>
                    <a:pt x="61" y="65"/>
                  </a:cubicBezTo>
                  <a:cubicBezTo>
                    <a:pt x="61" y="65"/>
                    <a:pt x="61" y="65"/>
                    <a:pt x="61" y="65"/>
                  </a:cubicBezTo>
                  <a:close/>
                  <a:moveTo>
                    <a:pt x="68" y="58"/>
                  </a:moveTo>
                  <a:cubicBezTo>
                    <a:pt x="64" y="54"/>
                    <a:pt x="64" y="54"/>
                    <a:pt x="64" y="54"/>
                  </a:cubicBezTo>
                  <a:cubicBezTo>
                    <a:pt x="68" y="50"/>
                    <a:pt x="68" y="50"/>
                    <a:pt x="68" y="50"/>
                  </a:cubicBezTo>
                  <a:cubicBezTo>
                    <a:pt x="72" y="54"/>
                    <a:pt x="72" y="54"/>
                    <a:pt x="72" y="54"/>
                  </a:cubicBezTo>
                  <a:cubicBezTo>
                    <a:pt x="68" y="58"/>
                    <a:pt x="68" y="58"/>
                    <a:pt x="68" y="58"/>
                  </a:cubicBezTo>
                  <a:cubicBezTo>
                    <a:pt x="68" y="58"/>
                    <a:pt x="68" y="58"/>
                    <a:pt x="68" y="58"/>
                  </a:cubicBezTo>
                  <a:close/>
                  <a:moveTo>
                    <a:pt x="62" y="80"/>
                  </a:moveTo>
                  <a:cubicBezTo>
                    <a:pt x="58" y="76"/>
                    <a:pt x="58" y="76"/>
                    <a:pt x="58" y="76"/>
                  </a:cubicBezTo>
                  <a:cubicBezTo>
                    <a:pt x="62" y="72"/>
                    <a:pt x="62" y="72"/>
                    <a:pt x="62" y="72"/>
                  </a:cubicBezTo>
                  <a:cubicBezTo>
                    <a:pt x="66" y="76"/>
                    <a:pt x="66" y="76"/>
                    <a:pt x="66" y="76"/>
                  </a:cubicBezTo>
                  <a:cubicBezTo>
                    <a:pt x="62" y="80"/>
                    <a:pt x="62" y="80"/>
                    <a:pt x="62" y="80"/>
                  </a:cubicBezTo>
                  <a:cubicBezTo>
                    <a:pt x="62" y="80"/>
                    <a:pt x="62" y="80"/>
                    <a:pt x="62" y="80"/>
                  </a:cubicBezTo>
                  <a:close/>
                  <a:moveTo>
                    <a:pt x="69" y="73"/>
                  </a:moveTo>
                  <a:cubicBezTo>
                    <a:pt x="65" y="69"/>
                    <a:pt x="65" y="69"/>
                    <a:pt x="65" y="69"/>
                  </a:cubicBezTo>
                  <a:cubicBezTo>
                    <a:pt x="69" y="64"/>
                    <a:pt x="69" y="64"/>
                    <a:pt x="69" y="64"/>
                  </a:cubicBezTo>
                  <a:cubicBezTo>
                    <a:pt x="73" y="69"/>
                    <a:pt x="73" y="69"/>
                    <a:pt x="73" y="69"/>
                  </a:cubicBezTo>
                  <a:cubicBezTo>
                    <a:pt x="69" y="73"/>
                    <a:pt x="69" y="73"/>
                    <a:pt x="69" y="73"/>
                  </a:cubicBezTo>
                  <a:cubicBezTo>
                    <a:pt x="69" y="73"/>
                    <a:pt x="69" y="73"/>
                    <a:pt x="69" y="73"/>
                  </a:cubicBezTo>
                  <a:close/>
                  <a:moveTo>
                    <a:pt x="76" y="66"/>
                  </a:moveTo>
                  <a:cubicBezTo>
                    <a:pt x="72" y="62"/>
                    <a:pt x="72" y="62"/>
                    <a:pt x="72" y="62"/>
                  </a:cubicBezTo>
                  <a:cubicBezTo>
                    <a:pt x="76" y="58"/>
                    <a:pt x="76" y="58"/>
                    <a:pt x="76" y="58"/>
                  </a:cubicBezTo>
                  <a:cubicBezTo>
                    <a:pt x="80" y="62"/>
                    <a:pt x="80" y="62"/>
                    <a:pt x="80" y="62"/>
                  </a:cubicBezTo>
                  <a:cubicBezTo>
                    <a:pt x="76" y="66"/>
                    <a:pt x="76" y="66"/>
                    <a:pt x="76" y="66"/>
                  </a:cubicBezTo>
                  <a:cubicBezTo>
                    <a:pt x="76" y="66"/>
                    <a:pt x="76" y="66"/>
                    <a:pt x="76" y="66"/>
                  </a:cubicBezTo>
                  <a:close/>
                  <a:moveTo>
                    <a:pt x="69" y="88"/>
                  </a:moveTo>
                  <a:cubicBezTo>
                    <a:pt x="65" y="83"/>
                    <a:pt x="65" y="83"/>
                    <a:pt x="65" y="83"/>
                  </a:cubicBezTo>
                  <a:cubicBezTo>
                    <a:pt x="69" y="79"/>
                    <a:pt x="69" y="79"/>
                    <a:pt x="69" y="79"/>
                  </a:cubicBezTo>
                  <a:cubicBezTo>
                    <a:pt x="73" y="83"/>
                    <a:pt x="73" y="83"/>
                    <a:pt x="73" y="83"/>
                  </a:cubicBezTo>
                  <a:cubicBezTo>
                    <a:pt x="69" y="88"/>
                    <a:pt x="69" y="88"/>
                    <a:pt x="69" y="88"/>
                  </a:cubicBezTo>
                  <a:cubicBezTo>
                    <a:pt x="69" y="88"/>
                    <a:pt x="69" y="88"/>
                    <a:pt x="69" y="88"/>
                  </a:cubicBezTo>
                  <a:close/>
                  <a:moveTo>
                    <a:pt x="77" y="80"/>
                  </a:moveTo>
                  <a:cubicBezTo>
                    <a:pt x="72" y="76"/>
                    <a:pt x="72" y="76"/>
                    <a:pt x="72" y="76"/>
                  </a:cubicBezTo>
                  <a:cubicBezTo>
                    <a:pt x="77" y="72"/>
                    <a:pt x="77" y="72"/>
                    <a:pt x="77" y="72"/>
                  </a:cubicBezTo>
                  <a:cubicBezTo>
                    <a:pt x="81" y="76"/>
                    <a:pt x="81" y="76"/>
                    <a:pt x="81" y="76"/>
                  </a:cubicBezTo>
                  <a:cubicBezTo>
                    <a:pt x="77" y="80"/>
                    <a:pt x="77" y="80"/>
                    <a:pt x="77" y="80"/>
                  </a:cubicBezTo>
                  <a:cubicBezTo>
                    <a:pt x="77" y="80"/>
                    <a:pt x="77" y="80"/>
                    <a:pt x="77" y="80"/>
                  </a:cubicBezTo>
                  <a:close/>
                  <a:moveTo>
                    <a:pt x="84" y="73"/>
                  </a:moveTo>
                  <a:cubicBezTo>
                    <a:pt x="79" y="69"/>
                    <a:pt x="79" y="69"/>
                    <a:pt x="79" y="69"/>
                  </a:cubicBezTo>
                  <a:cubicBezTo>
                    <a:pt x="83" y="65"/>
                    <a:pt x="83" y="65"/>
                    <a:pt x="83" y="65"/>
                  </a:cubicBezTo>
                  <a:cubicBezTo>
                    <a:pt x="88" y="69"/>
                    <a:pt x="88" y="69"/>
                    <a:pt x="88" y="69"/>
                  </a:cubicBezTo>
                  <a:cubicBezTo>
                    <a:pt x="84" y="73"/>
                    <a:pt x="84" y="73"/>
                    <a:pt x="84" y="73"/>
                  </a:cubicBezTo>
                  <a:cubicBezTo>
                    <a:pt x="84" y="73"/>
                    <a:pt x="84" y="73"/>
                    <a:pt x="84" y="73"/>
                  </a:cubicBezTo>
                  <a:close/>
                  <a:moveTo>
                    <a:pt x="77" y="95"/>
                  </a:moveTo>
                  <a:cubicBezTo>
                    <a:pt x="73" y="91"/>
                    <a:pt x="73" y="91"/>
                    <a:pt x="73" y="91"/>
                  </a:cubicBezTo>
                  <a:cubicBezTo>
                    <a:pt x="77" y="87"/>
                    <a:pt x="77" y="87"/>
                    <a:pt x="77" y="87"/>
                  </a:cubicBezTo>
                  <a:cubicBezTo>
                    <a:pt x="81" y="91"/>
                    <a:pt x="81" y="91"/>
                    <a:pt x="81" y="91"/>
                  </a:cubicBezTo>
                  <a:cubicBezTo>
                    <a:pt x="77" y="95"/>
                    <a:pt x="77" y="95"/>
                    <a:pt x="77" y="95"/>
                  </a:cubicBezTo>
                  <a:cubicBezTo>
                    <a:pt x="77" y="95"/>
                    <a:pt x="77" y="95"/>
                    <a:pt x="77" y="95"/>
                  </a:cubicBezTo>
                  <a:close/>
                  <a:moveTo>
                    <a:pt x="84" y="88"/>
                  </a:moveTo>
                  <a:cubicBezTo>
                    <a:pt x="80" y="84"/>
                    <a:pt x="80" y="84"/>
                    <a:pt x="80" y="84"/>
                  </a:cubicBezTo>
                  <a:cubicBezTo>
                    <a:pt x="84" y="80"/>
                    <a:pt x="84" y="80"/>
                    <a:pt x="84" y="80"/>
                  </a:cubicBezTo>
                  <a:cubicBezTo>
                    <a:pt x="88" y="84"/>
                    <a:pt x="88" y="84"/>
                    <a:pt x="88" y="84"/>
                  </a:cubicBezTo>
                  <a:cubicBezTo>
                    <a:pt x="84" y="88"/>
                    <a:pt x="84" y="88"/>
                    <a:pt x="84" y="88"/>
                  </a:cubicBezTo>
                  <a:cubicBezTo>
                    <a:pt x="84" y="88"/>
                    <a:pt x="84" y="88"/>
                    <a:pt x="84" y="88"/>
                  </a:cubicBezTo>
                  <a:close/>
                  <a:moveTo>
                    <a:pt x="91" y="81"/>
                  </a:moveTo>
                  <a:cubicBezTo>
                    <a:pt x="87" y="77"/>
                    <a:pt x="87" y="77"/>
                    <a:pt x="87" y="77"/>
                  </a:cubicBezTo>
                  <a:cubicBezTo>
                    <a:pt x="91" y="73"/>
                    <a:pt x="91" y="73"/>
                    <a:pt x="91" y="73"/>
                  </a:cubicBezTo>
                  <a:cubicBezTo>
                    <a:pt x="95" y="77"/>
                    <a:pt x="95" y="77"/>
                    <a:pt x="95" y="77"/>
                  </a:cubicBezTo>
                  <a:cubicBezTo>
                    <a:pt x="91" y="81"/>
                    <a:pt x="91" y="81"/>
                    <a:pt x="91" y="81"/>
                  </a:cubicBezTo>
                  <a:cubicBezTo>
                    <a:pt x="91" y="81"/>
                    <a:pt x="91" y="81"/>
                    <a:pt x="91" y="81"/>
                  </a:cubicBezTo>
                  <a:close/>
                  <a:moveTo>
                    <a:pt x="85" y="103"/>
                  </a:moveTo>
                  <a:cubicBezTo>
                    <a:pt x="81" y="99"/>
                    <a:pt x="81" y="99"/>
                    <a:pt x="81" y="99"/>
                  </a:cubicBezTo>
                  <a:cubicBezTo>
                    <a:pt x="85" y="95"/>
                    <a:pt x="85" y="95"/>
                    <a:pt x="85" y="95"/>
                  </a:cubicBezTo>
                  <a:cubicBezTo>
                    <a:pt x="89" y="99"/>
                    <a:pt x="89" y="99"/>
                    <a:pt x="89" y="99"/>
                  </a:cubicBezTo>
                  <a:cubicBezTo>
                    <a:pt x="85" y="103"/>
                    <a:pt x="85" y="103"/>
                    <a:pt x="85" y="103"/>
                  </a:cubicBezTo>
                  <a:cubicBezTo>
                    <a:pt x="85" y="103"/>
                    <a:pt x="85" y="103"/>
                    <a:pt x="85" y="103"/>
                  </a:cubicBezTo>
                  <a:close/>
                  <a:moveTo>
                    <a:pt x="92" y="96"/>
                  </a:moveTo>
                  <a:cubicBezTo>
                    <a:pt x="88" y="91"/>
                    <a:pt x="88" y="91"/>
                    <a:pt x="88" y="91"/>
                  </a:cubicBezTo>
                  <a:cubicBezTo>
                    <a:pt x="92" y="87"/>
                    <a:pt x="92" y="87"/>
                    <a:pt x="92" y="87"/>
                  </a:cubicBezTo>
                  <a:cubicBezTo>
                    <a:pt x="96" y="91"/>
                    <a:pt x="96" y="91"/>
                    <a:pt x="96" y="91"/>
                  </a:cubicBezTo>
                  <a:cubicBezTo>
                    <a:pt x="92" y="96"/>
                    <a:pt x="92" y="96"/>
                    <a:pt x="92" y="96"/>
                  </a:cubicBezTo>
                  <a:cubicBezTo>
                    <a:pt x="92" y="96"/>
                    <a:pt x="92" y="96"/>
                    <a:pt x="92" y="96"/>
                  </a:cubicBezTo>
                  <a:close/>
                  <a:moveTo>
                    <a:pt x="99" y="89"/>
                  </a:moveTo>
                  <a:cubicBezTo>
                    <a:pt x="95" y="85"/>
                    <a:pt x="95" y="85"/>
                    <a:pt x="95" y="85"/>
                  </a:cubicBezTo>
                  <a:cubicBezTo>
                    <a:pt x="99" y="80"/>
                    <a:pt x="99" y="80"/>
                    <a:pt x="99" y="80"/>
                  </a:cubicBezTo>
                  <a:cubicBezTo>
                    <a:pt x="103" y="85"/>
                    <a:pt x="103" y="85"/>
                    <a:pt x="103" y="85"/>
                  </a:cubicBezTo>
                  <a:cubicBezTo>
                    <a:pt x="99" y="89"/>
                    <a:pt x="99" y="89"/>
                    <a:pt x="99" y="89"/>
                  </a:cubicBezTo>
                  <a:cubicBezTo>
                    <a:pt x="99" y="89"/>
                    <a:pt x="99" y="89"/>
                    <a:pt x="99" y="89"/>
                  </a:cubicBezTo>
                  <a:close/>
                  <a:moveTo>
                    <a:pt x="92" y="111"/>
                  </a:moveTo>
                  <a:cubicBezTo>
                    <a:pt x="88" y="106"/>
                    <a:pt x="88" y="106"/>
                    <a:pt x="88" y="106"/>
                  </a:cubicBezTo>
                  <a:cubicBezTo>
                    <a:pt x="92" y="102"/>
                    <a:pt x="92" y="102"/>
                    <a:pt x="92" y="102"/>
                  </a:cubicBezTo>
                  <a:cubicBezTo>
                    <a:pt x="96" y="106"/>
                    <a:pt x="96" y="106"/>
                    <a:pt x="96" y="106"/>
                  </a:cubicBezTo>
                  <a:cubicBezTo>
                    <a:pt x="92" y="111"/>
                    <a:pt x="92" y="111"/>
                    <a:pt x="92" y="111"/>
                  </a:cubicBezTo>
                  <a:cubicBezTo>
                    <a:pt x="92" y="111"/>
                    <a:pt x="92" y="111"/>
                    <a:pt x="92" y="111"/>
                  </a:cubicBezTo>
                  <a:close/>
                  <a:moveTo>
                    <a:pt x="100" y="103"/>
                  </a:moveTo>
                  <a:cubicBezTo>
                    <a:pt x="95" y="99"/>
                    <a:pt x="95" y="99"/>
                    <a:pt x="95" y="99"/>
                  </a:cubicBezTo>
                  <a:cubicBezTo>
                    <a:pt x="99" y="95"/>
                    <a:pt x="99" y="95"/>
                    <a:pt x="99" y="95"/>
                  </a:cubicBezTo>
                  <a:cubicBezTo>
                    <a:pt x="104" y="99"/>
                    <a:pt x="104" y="99"/>
                    <a:pt x="104" y="99"/>
                  </a:cubicBezTo>
                  <a:cubicBezTo>
                    <a:pt x="100" y="103"/>
                    <a:pt x="100" y="103"/>
                    <a:pt x="100" y="103"/>
                  </a:cubicBezTo>
                  <a:cubicBezTo>
                    <a:pt x="100" y="103"/>
                    <a:pt x="100" y="103"/>
                    <a:pt x="100" y="103"/>
                  </a:cubicBezTo>
                  <a:close/>
                  <a:moveTo>
                    <a:pt x="107" y="96"/>
                  </a:moveTo>
                  <a:cubicBezTo>
                    <a:pt x="102" y="92"/>
                    <a:pt x="102" y="92"/>
                    <a:pt x="102" y="92"/>
                  </a:cubicBezTo>
                  <a:cubicBezTo>
                    <a:pt x="106" y="88"/>
                    <a:pt x="106" y="88"/>
                    <a:pt x="106" y="88"/>
                  </a:cubicBezTo>
                  <a:cubicBezTo>
                    <a:pt x="111" y="92"/>
                    <a:pt x="111" y="92"/>
                    <a:pt x="111" y="92"/>
                  </a:cubicBezTo>
                  <a:cubicBezTo>
                    <a:pt x="107" y="96"/>
                    <a:pt x="107" y="96"/>
                    <a:pt x="107" y="96"/>
                  </a:cubicBezTo>
                  <a:cubicBezTo>
                    <a:pt x="107" y="96"/>
                    <a:pt x="107" y="96"/>
                    <a:pt x="107" y="96"/>
                  </a:cubicBezTo>
                  <a:close/>
                  <a:moveTo>
                    <a:pt x="100" y="118"/>
                  </a:moveTo>
                  <a:cubicBezTo>
                    <a:pt x="96" y="114"/>
                    <a:pt x="96" y="114"/>
                    <a:pt x="96" y="114"/>
                  </a:cubicBezTo>
                  <a:cubicBezTo>
                    <a:pt x="100" y="110"/>
                    <a:pt x="100" y="110"/>
                    <a:pt x="100" y="110"/>
                  </a:cubicBezTo>
                  <a:cubicBezTo>
                    <a:pt x="104" y="114"/>
                    <a:pt x="104" y="114"/>
                    <a:pt x="104" y="114"/>
                  </a:cubicBezTo>
                  <a:cubicBezTo>
                    <a:pt x="100" y="118"/>
                    <a:pt x="100" y="118"/>
                    <a:pt x="100" y="118"/>
                  </a:cubicBezTo>
                  <a:cubicBezTo>
                    <a:pt x="100" y="118"/>
                    <a:pt x="100" y="118"/>
                    <a:pt x="100" y="118"/>
                  </a:cubicBezTo>
                  <a:close/>
                  <a:moveTo>
                    <a:pt x="107" y="111"/>
                  </a:moveTo>
                  <a:cubicBezTo>
                    <a:pt x="103" y="107"/>
                    <a:pt x="103" y="107"/>
                    <a:pt x="103" y="107"/>
                  </a:cubicBezTo>
                  <a:cubicBezTo>
                    <a:pt x="107" y="103"/>
                    <a:pt x="107" y="103"/>
                    <a:pt x="107" y="103"/>
                  </a:cubicBezTo>
                  <a:cubicBezTo>
                    <a:pt x="111" y="107"/>
                    <a:pt x="111" y="107"/>
                    <a:pt x="111" y="107"/>
                  </a:cubicBezTo>
                  <a:cubicBezTo>
                    <a:pt x="107" y="111"/>
                    <a:pt x="107" y="111"/>
                    <a:pt x="107" y="111"/>
                  </a:cubicBezTo>
                  <a:cubicBezTo>
                    <a:pt x="107" y="111"/>
                    <a:pt x="107" y="111"/>
                    <a:pt x="107" y="111"/>
                  </a:cubicBezTo>
                  <a:close/>
                  <a:moveTo>
                    <a:pt x="114" y="104"/>
                  </a:moveTo>
                  <a:cubicBezTo>
                    <a:pt x="110" y="100"/>
                    <a:pt x="110" y="100"/>
                    <a:pt x="110" y="100"/>
                  </a:cubicBezTo>
                  <a:cubicBezTo>
                    <a:pt x="114" y="96"/>
                    <a:pt x="114" y="96"/>
                    <a:pt x="114" y="96"/>
                  </a:cubicBezTo>
                  <a:cubicBezTo>
                    <a:pt x="118" y="100"/>
                    <a:pt x="118" y="100"/>
                    <a:pt x="118" y="100"/>
                  </a:cubicBezTo>
                  <a:cubicBezTo>
                    <a:pt x="114" y="104"/>
                    <a:pt x="114" y="104"/>
                    <a:pt x="114" y="104"/>
                  </a:cubicBezTo>
                  <a:cubicBezTo>
                    <a:pt x="114" y="104"/>
                    <a:pt x="114" y="104"/>
                    <a:pt x="114" y="10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02" name="Freeform 2158"/>
            <p:cNvSpPr>
              <a:spLocks noEditPoints="1"/>
            </p:cNvSpPr>
            <p:nvPr/>
          </p:nvSpPr>
          <p:spPr bwMode="auto">
            <a:xfrm>
              <a:off x="21669375" y="969963"/>
              <a:ext cx="477838" cy="477838"/>
            </a:xfrm>
            <a:custGeom>
              <a:avLst/>
              <a:gdLst>
                <a:gd name="T0" fmla="*/ 108 w 127"/>
                <a:gd name="T1" fmla="*/ 123 h 127"/>
                <a:gd name="T2" fmla="*/ 33 w 127"/>
                <a:gd name="T3" fmla="*/ 4 h 127"/>
                <a:gd name="T4" fmla="*/ 4 w 127"/>
                <a:gd name="T5" fmla="*/ 33 h 127"/>
                <a:gd name="T6" fmla="*/ 96 w 127"/>
                <a:gd name="T7" fmla="*/ 106 h 127"/>
                <a:gd name="T8" fmla="*/ 73 w 127"/>
                <a:gd name="T9" fmla="*/ 55 h 127"/>
                <a:gd name="T10" fmla="*/ 69 w 127"/>
                <a:gd name="T11" fmla="*/ 59 h 127"/>
                <a:gd name="T12" fmla="*/ 66 w 127"/>
                <a:gd name="T13" fmla="*/ 62 h 127"/>
                <a:gd name="T14" fmla="*/ 62 w 127"/>
                <a:gd name="T15" fmla="*/ 66 h 127"/>
                <a:gd name="T16" fmla="*/ 59 w 127"/>
                <a:gd name="T17" fmla="*/ 69 h 127"/>
                <a:gd name="T18" fmla="*/ 55 w 127"/>
                <a:gd name="T19" fmla="*/ 73 h 127"/>
                <a:gd name="T20" fmla="*/ 65 w 127"/>
                <a:gd name="T21" fmla="*/ 47 h 127"/>
                <a:gd name="T22" fmla="*/ 61 w 127"/>
                <a:gd name="T23" fmla="*/ 51 h 127"/>
                <a:gd name="T24" fmla="*/ 58 w 127"/>
                <a:gd name="T25" fmla="*/ 54 h 127"/>
                <a:gd name="T26" fmla="*/ 54 w 127"/>
                <a:gd name="T27" fmla="*/ 59 h 127"/>
                <a:gd name="T28" fmla="*/ 51 w 127"/>
                <a:gd name="T29" fmla="*/ 61 h 127"/>
                <a:gd name="T30" fmla="*/ 47 w 127"/>
                <a:gd name="T31" fmla="*/ 65 h 127"/>
                <a:gd name="T32" fmla="*/ 58 w 127"/>
                <a:gd name="T33" fmla="*/ 40 h 127"/>
                <a:gd name="T34" fmla="*/ 54 w 127"/>
                <a:gd name="T35" fmla="*/ 44 h 127"/>
                <a:gd name="T36" fmla="*/ 51 w 127"/>
                <a:gd name="T37" fmla="*/ 47 h 127"/>
                <a:gd name="T38" fmla="*/ 46 w 127"/>
                <a:gd name="T39" fmla="*/ 51 h 127"/>
                <a:gd name="T40" fmla="*/ 44 w 127"/>
                <a:gd name="T41" fmla="*/ 54 h 127"/>
                <a:gd name="T42" fmla="*/ 40 w 127"/>
                <a:gd name="T43" fmla="*/ 58 h 127"/>
                <a:gd name="T44" fmla="*/ 50 w 127"/>
                <a:gd name="T45" fmla="*/ 32 h 127"/>
                <a:gd name="T46" fmla="*/ 46 w 127"/>
                <a:gd name="T47" fmla="*/ 36 h 127"/>
                <a:gd name="T48" fmla="*/ 43 w 127"/>
                <a:gd name="T49" fmla="*/ 39 h 127"/>
                <a:gd name="T50" fmla="*/ 39 w 127"/>
                <a:gd name="T51" fmla="*/ 43 h 127"/>
                <a:gd name="T52" fmla="*/ 36 w 127"/>
                <a:gd name="T53" fmla="*/ 46 h 127"/>
                <a:gd name="T54" fmla="*/ 32 w 127"/>
                <a:gd name="T55" fmla="*/ 50 h 127"/>
                <a:gd name="T56" fmla="*/ 43 w 127"/>
                <a:gd name="T57" fmla="*/ 24 h 127"/>
                <a:gd name="T58" fmla="*/ 38 w 127"/>
                <a:gd name="T59" fmla="*/ 28 h 127"/>
                <a:gd name="T60" fmla="*/ 35 w 127"/>
                <a:gd name="T61" fmla="*/ 32 h 127"/>
                <a:gd name="T62" fmla="*/ 31 w 127"/>
                <a:gd name="T63" fmla="*/ 36 h 127"/>
                <a:gd name="T64" fmla="*/ 28 w 127"/>
                <a:gd name="T65" fmla="*/ 39 h 127"/>
                <a:gd name="T66" fmla="*/ 24 w 127"/>
                <a:gd name="T67" fmla="*/ 43 h 127"/>
                <a:gd name="T68" fmla="*/ 35 w 127"/>
                <a:gd name="T69" fmla="*/ 17 h 127"/>
                <a:gd name="T70" fmla="*/ 31 w 127"/>
                <a:gd name="T71" fmla="*/ 21 h 127"/>
                <a:gd name="T72" fmla="*/ 28 w 127"/>
                <a:gd name="T73" fmla="*/ 24 h 127"/>
                <a:gd name="T74" fmla="*/ 24 w 127"/>
                <a:gd name="T75" fmla="*/ 28 h 127"/>
                <a:gd name="T76" fmla="*/ 21 w 127"/>
                <a:gd name="T77" fmla="*/ 31 h 127"/>
                <a:gd name="T78" fmla="*/ 17 w 127"/>
                <a:gd name="T79" fmla="*/ 35 h 127"/>
                <a:gd name="T80" fmla="*/ 27 w 127"/>
                <a:gd name="T81" fmla="*/ 9 h 127"/>
                <a:gd name="T82" fmla="*/ 23 w 127"/>
                <a:gd name="T83" fmla="*/ 13 h 127"/>
                <a:gd name="T84" fmla="*/ 20 w 127"/>
                <a:gd name="T85" fmla="*/ 16 h 127"/>
                <a:gd name="T86" fmla="*/ 16 w 127"/>
                <a:gd name="T87" fmla="*/ 20 h 127"/>
                <a:gd name="T88" fmla="*/ 13 w 127"/>
                <a:gd name="T89" fmla="*/ 23 h 127"/>
                <a:gd name="T90" fmla="*/ 9 w 127"/>
                <a:gd name="T91" fmla="*/ 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7" h="127">
                  <a:moveTo>
                    <a:pt x="4" y="33"/>
                  </a:moveTo>
                  <a:cubicBezTo>
                    <a:pt x="94" y="123"/>
                    <a:pt x="94" y="123"/>
                    <a:pt x="94" y="123"/>
                  </a:cubicBezTo>
                  <a:cubicBezTo>
                    <a:pt x="98" y="127"/>
                    <a:pt x="104" y="127"/>
                    <a:pt x="108" y="123"/>
                  </a:cubicBezTo>
                  <a:cubicBezTo>
                    <a:pt x="123" y="108"/>
                    <a:pt x="123" y="108"/>
                    <a:pt x="123" y="108"/>
                  </a:cubicBezTo>
                  <a:cubicBezTo>
                    <a:pt x="127" y="104"/>
                    <a:pt x="127" y="98"/>
                    <a:pt x="123" y="94"/>
                  </a:cubicBezTo>
                  <a:cubicBezTo>
                    <a:pt x="33" y="4"/>
                    <a:pt x="33" y="4"/>
                    <a:pt x="33" y="4"/>
                  </a:cubicBezTo>
                  <a:cubicBezTo>
                    <a:pt x="29" y="0"/>
                    <a:pt x="23" y="0"/>
                    <a:pt x="20" y="4"/>
                  </a:cubicBezTo>
                  <a:cubicBezTo>
                    <a:pt x="4" y="20"/>
                    <a:pt x="4" y="20"/>
                    <a:pt x="4" y="20"/>
                  </a:cubicBezTo>
                  <a:cubicBezTo>
                    <a:pt x="0" y="23"/>
                    <a:pt x="0" y="29"/>
                    <a:pt x="4" y="33"/>
                  </a:cubicBezTo>
                  <a:close/>
                  <a:moveTo>
                    <a:pt x="106" y="96"/>
                  </a:moveTo>
                  <a:cubicBezTo>
                    <a:pt x="109" y="99"/>
                    <a:pt x="109" y="104"/>
                    <a:pt x="106" y="106"/>
                  </a:cubicBezTo>
                  <a:cubicBezTo>
                    <a:pt x="103" y="109"/>
                    <a:pt x="99" y="109"/>
                    <a:pt x="96" y="106"/>
                  </a:cubicBezTo>
                  <a:cubicBezTo>
                    <a:pt x="93" y="104"/>
                    <a:pt x="93" y="99"/>
                    <a:pt x="96" y="96"/>
                  </a:cubicBezTo>
                  <a:cubicBezTo>
                    <a:pt x="99" y="93"/>
                    <a:pt x="104" y="93"/>
                    <a:pt x="106" y="96"/>
                  </a:cubicBezTo>
                  <a:close/>
                  <a:moveTo>
                    <a:pt x="73" y="55"/>
                  </a:moveTo>
                  <a:cubicBezTo>
                    <a:pt x="77" y="59"/>
                    <a:pt x="77" y="59"/>
                    <a:pt x="77" y="59"/>
                  </a:cubicBezTo>
                  <a:cubicBezTo>
                    <a:pt x="73" y="63"/>
                    <a:pt x="73" y="63"/>
                    <a:pt x="73" y="63"/>
                  </a:cubicBezTo>
                  <a:cubicBezTo>
                    <a:pt x="69" y="59"/>
                    <a:pt x="69" y="59"/>
                    <a:pt x="69" y="59"/>
                  </a:cubicBezTo>
                  <a:cubicBezTo>
                    <a:pt x="73" y="55"/>
                    <a:pt x="73" y="55"/>
                    <a:pt x="73" y="55"/>
                  </a:cubicBezTo>
                  <a:cubicBezTo>
                    <a:pt x="73" y="55"/>
                    <a:pt x="73" y="55"/>
                    <a:pt x="73" y="55"/>
                  </a:cubicBezTo>
                  <a:close/>
                  <a:moveTo>
                    <a:pt x="66" y="62"/>
                  </a:moveTo>
                  <a:cubicBezTo>
                    <a:pt x="70" y="66"/>
                    <a:pt x="70" y="66"/>
                    <a:pt x="70" y="66"/>
                  </a:cubicBezTo>
                  <a:cubicBezTo>
                    <a:pt x="66" y="70"/>
                    <a:pt x="66" y="70"/>
                    <a:pt x="66" y="70"/>
                  </a:cubicBezTo>
                  <a:cubicBezTo>
                    <a:pt x="62" y="66"/>
                    <a:pt x="62" y="66"/>
                    <a:pt x="62" y="66"/>
                  </a:cubicBezTo>
                  <a:cubicBezTo>
                    <a:pt x="66" y="62"/>
                    <a:pt x="66" y="62"/>
                    <a:pt x="66" y="62"/>
                  </a:cubicBezTo>
                  <a:cubicBezTo>
                    <a:pt x="66" y="62"/>
                    <a:pt x="66" y="62"/>
                    <a:pt x="66" y="62"/>
                  </a:cubicBezTo>
                  <a:close/>
                  <a:moveTo>
                    <a:pt x="59" y="69"/>
                  </a:moveTo>
                  <a:cubicBezTo>
                    <a:pt x="63" y="73"/>
                    <a:pt x="63" y="73"/>
                    <a:pt x="63" y="73"/>
                  </a:cubicBezTo>
                  <a:cubicBezTo>
                    <a:pt x="59" y="77"/>
                    <a:pt x="59" y="77"/>
                    <a:pt x="59" y="77"/>
                  </a:cubicBezTo>
                  <a:cubicBezTo>
                    <a:pt x="55" y="73"/>
                    <a:pt x="55" y="73"/>
                    <a:pt x="55" y="73"/>
                  </a:cubicBezTo>
                  <a:cubicBezTo>
                    <a:pt x="59" y="69"/>
                    <a:pt x="59" y="69"/>
                    <a:pt x="59" y="69"/>
                  </a:cubicBezTo>
                  <a:cubicBezTo>
                    <a:pt x="59" y="69"/>
                    <a:pt x="59" y="69"/>
                    <a:pt x="59" y="69"/>
                  </a:cubicBezTo>
                  <a:close/>
                  <a:moveTo>
                    <a:pt x="65" y="47"/>
                  </a:moveTo>
                  <a:cubicBezTo>
                    <a:pt x="70" y="51"/>
                    <a:pt x="70" y="51"/>
                    <a:pt x="70" y="51"/>
                  </a:cubicBezTo>
                  <a:cubicBezTo>
                    <a:pt x="65" y="55"/>
                    <a:pt x="65" y="55"/>
                    <a:pt x="65" y="55"/>
                  </a:cubicBezTo>
                  <a:cubicBezTo>
                    <a:pt x="61" y="51"/>
                    <a:pt x="61" y="51"/>
                    <a:pt x="61" y="51"/>
                  </a:cubicBezTo>
                  <a:cubicBezTo>
                    <a:pt x="65" y="47"/>
                    <a:pt x="65" y="47"/>
                    <a:pt x="65" y="47"/>
                  </a:cubicBezTo>
                  <a:cubicBezTo>
                    <a:pt x="65" y="47"/>
                    <a:pt x="65" y="47"/>
                    <a:pt x="65" y="47"/>
                  </a:cubicBezTo>
                  <a:close/>
                  <a:moveTo>
                    <a:pt x="58" y="54"/>
                  </a:moveTo>
                  <a:cubicBezTo>
                    <a:pt x="62" y="59"/>
                    <a:pt x="62" y="59"/>
                    <a:pt x="62" y="59"/>
                  </a:cubicBezTo>
                  <a:cubicBezTo>
                    <a:pt x="58" y="63"/>
                    <a:pt x="58" y="63"/>
                    <a:pt x="58" y="63"/>
                  </a:cubicBezTo>
                  <a:cubicBezTo>
                    <a:pt x="54" y="59"/>
                    <a:pt x="54" y="59"/>
                    <a:pt x="54" y="59"/>
                  </a:cubicBezTo>
                  <a:cubicBezTo>
                    <a:pt x="58" y="54"/>
                    <a:pt x="58" y="54"/>
                    <a:pt x="58" y="54"/>
                  </a:cubicBezTo>
                  <a:cubicBezTo>
                    <a:pt x="58" y="54"/>
                    <a:pt x="58" y="54"/>
                    <a:pt x="58" y="54"/>
                  </a:cubicBezTo>
                  <a:close/>
                  <a:moveTo>
                    <a:pt x="51" y="61"/>
                  </a:moveTo>
                  <a:cubicBezTo>
                    <a:pt x="55" y="66"/>
                    <a:pt x="55" y="66"/>
                    <a:pt x="55" y="66"/>
                  </a:cubicBezTo>
                  <a:cubicBezTo>
                    <a:pt x="51" y="70"/>
                    <a:pt x="51" y="70"/>
                    <a:pt x="51" y="70"/>
                  </a:cubicBezTo>
                  <a:cubicBezTo>
                    <a:pt x="47" y="65"/>
                    <a:pt x="47" y="65"/>
                    <a:pt x="47" y="65"/>
                  </a:cubicBezTo>
                  <a:cubicBezTo>
                    <a:pt x="51" y="61"/>
                    <a:pt x="51" y="61"/>
                    <a:pt x="51" y="61"/>
                  </a:cubicBezTo>
                  <a:cubicBezTo>
                    <a:pt x="51" y="61"/>
                    <a:pt x="51" y="61"/>
                    <a:pt x="51" y="61"/>
                  </a:cubicBezTo>
                  <a:close/>
                  <a:moveTo>
                    <a:pt x="58" y="40"/>
                  </a:moveTo>
                  <a:cubicBezTo>
                    <a:pt x="62" y="44"/>
                    <a:pt x="62" y="44"/>
                    <a:pt x="62" y="44"/>
                  </a:cubicBezTo>
                  <a:cubicBezTo>
                    <a:pt x="58" y="48"/>
                    <a:pt x="58" y="48"/>
                    <a:pt x="58" y="48"/>
                  </a:cubicBezTo>
                  <a:cubicBezTo>
                    <a:pt x="54" y="44"/>
                    <a:pt x="54" y="44"/>
                    <a:pt x="54" y="44"/>
                  </a:cubicBezTo>
                  <a:cubicBezTo>
                    <a:pt x="58" y="40"/>
                    <a:pt x="58" y="40"/>
                    <a:pt x="58" y="40"/>
                  </a:cubicBezTo>
                  <a:cubicBezTo>
                    <a:pt x="58" y="40"/>
                    <a:pt x="58" y="40"/>
                    <a:pt x="58" y="40"/>
                  </a:cubicBezTo>
                  <a:close/>
                  <a:moveTo>
                    <a:pt x="51" y="47"/>
                  </a:moveTo>
                  <a:cubicBezTo>
                    <a:pt x="55" y="51"/>
                    <a:pt x="55" y="51"/>
                    <a:pt x="55" y="51"/>
                  </a:cubicBezTo>
                  <a:cubicBezTo>
                    <a:pt x="51" y="55"/>
                    <a:pt x="51" y="55"/>
                    <a:pt x="51" y="55"/>
                  </a:cubicBezTo>
                  <a:cubicBezTo>
                    <a:pt x="46" y="51"/>
                    <a:pt x="46" y="51"/>
                    <a:pt x="46" y="51"/>
                  </a:cubicBezTo>
                  <a:cubicBezTo>
                    <a:pt x="51" y="47"/>
                    <a:pt x="51" y="47"/>
                    <a:pt x="51" y="47"/>
                  </a:cubicBezTo>
                  <a:cubicBezTo>
                    <a:pt x="51" y="47"/>
                    <a:pt x="51" y="47"/>
                    <a:pt x="51" y="47"/>
                  </a:cubicBezTo>
                  <a:close/>
                  <a:moveTo>
                    <a:pt x="44" y="54"/>
                  </a:moveTo>
                  <a:cubicBezTo>
                    <a:pt x="48" y="58"/>
                    <a:pt x="48" y="58"/>
                    <a:pt x="48" y="58"/>
                  </a:cubicBezTo>
                  <a:cubicBezTo>
                    <a:pt x="44" y="62"/>
                    <a:pt x="44" y="62"/>
                    <a:pt x="44" y="62"/>
                  </a:cubicBezTo>
                  <a:cubicBezTo>
                    <a:pt x="40" y="58"/>
                    <a:pt x="40" y="58"/>
                    <a:pt x="40" y="58"/>
                  </a:cubicBezTo>
                  <a:cubicBezTo>
                    <a:pt x="44" y="54"/>
                    <a:pt x="44" y="54"/>
                    <a:pt x="44" y="54"/>
                  </a:cubicBezTo>
                  <a:cubicBezTo>
                    <a:pt x="44" y="54"/>
                    <a:pt x="44" y="54"/>
                    <a:pt x="44" y="54"/>
                  </a:cubicBezTo>
                  <a:close/>
                  <a:moveTo>
                    <a:pt x="50" y="32"/>
                  </a:moveTo>
                  <a:cubicBezTo>
                    <a:pt x="54" y="36"/>
                    <a:pt x="54" y="36"/>
                    <a:pt x="54" y="36"/>
                  </a:cubicBezTo>
                  <a:cubicBezTo>
                    <a:pt x="50" y="40"/>
                    <a:pt x="50" y="40"/>
                    <a:pt x="50" y="40"/>
                  </a:cubicBezTo>
                  <a:cubicBezTo>
                    <a:pt x="46" y="36"/>
                    <a:pt x="46" y="36"/>
                    <a:pt x="46" y="36"/>
                  </a:cubicBezTo>
                  <a:cubicBezTo>
                    <a:pt x="50" y="32"/>
                    <a:pt x="50" y="32"/>
                    <a:pt x="50" y="32"/>
                  </a:cubicBezTo>
                  <a:cubicBezTo>
                    <a:pt x="50" y="32"/>
                    <a:pt x="50" y="32"/>
                    <a:pt x="50" y="32"/>
                  </a:cubicBezTo>
                  <a:close/>
                  <a:moveTo>
                    <a:pt x="43" y="39"/>
                  </a:moveTo>
                  <a:cubicBezTo>
                    <a:pt x="47" y="43"/>
                    <a:pt x="47" y="43"/>
                    <a:pt x="47" y="43"/>
                  </a:cubicBezTo>
                  <a:cubicBezTo>
                    <a:pt x="43" y="47"/>
                    <a:pt x="43" y="47"/>
                    <a:pt x="43" y="47"/>
                  </a:cubicBezTo>
                  <a:cubicBezTo>
                    <a:pt x="39" y="43"/>
                    <a:pt x="39" y="43"/>
                    <a:pt x="39" y="43"/>
                  </a:cubicBezTo>
                  <a:cubicBezTo>
                    <a:pt x="43" y="39"/>
                    <a:pt x="43" y="39"/>
                    <a:pt x="43" y="39"/>
                  </a:cubicBezTo>
                  <a:cubicBezTo>
                    <a:pt x="43" y="39"/>
                    <a:pt x="43" y="39"/>
                    <a:pt x="43" y="39"/>
                  </a:cubicBezTo>
                  <a:close/>
                  <a:moveTo>
                    <a:pt x="36" y="46"/>
                  </a:moveTo>
                  <a:cubicBezTo>
                    <a:pt x="40" y="50"/>
                    <a:pt x="40" y="50"/>
                    <a:pt x="40" y="50"/>
                  </a:cubicBezTo>
                  <a:cubicBezTo>
                    <a:pt x="36" y="54"/>
                    <a:pt x="36" y="54"/>
                    <a:pt x="36" y="54"/>
                  </a:cubicBezTo>
                  <a:cubicBezTo>
                    <a:pt x="32" y="50"/>
                    <a:pt x="32" y="50"/>
                    <a:pt x="32" y="50"/>
                  </a:cubicBezTo>
                  <a:cubicBezTo>
                    <a:pt x="36" y="46"/>
                    <a:pt x="36" y="46"/>
                    <a:pt x="36" y="46"/>
                  </a:cubicBezTo>
                  <a:cubicBezTo>
                    <a:pt x="36" y="46"/>
                    <a:pt x="36" y="46"/>
                    <a:pt x="36" y="46"/>
                  </a:cubicBezTo>
                  <a:close/>
                  <a:moveTo>
                    <a:pt x="43" y="24"/>
                  </a:moveTo>
                  <a:cubicBezTo>
                    <a:pt x="47" y="28"/>
                    <a:pt x="47" y="28"/>
                    <a:pt x="47" y="28"/>
                  </a:cubicBezTo>
                  <a:cubicBezTo>
                    <a:pt x="43" y="33"/>
                    <a:pt x="43" y="33"/>
                    <a:pt x="43" y="33"/>
                  </a:cubicBezTo>
                  <a:cubicBezTo>
                    <a:pt x="38" y="28"/>
                    <a:pt x="38" y="28"/>
                    <a:pt x="38" y="28"/>
                  </a:cubicBezTo>
                  <a:cubicBezTo>
                    <a:pt x="43" y="24"/>
                    <a:pt x="43" y="24"/>
                    <a:pt x="43" y="24"/>
                  </a:cubicBezTo>
                  <a:cubicBezTo>
                    <a:pt x="43" y="24"/>
                    <a:pt x="43" y="24"/>
                    <a:pt x="43" y="24"/>
                  </a:cubicBezTo>
                  <a:close/>
                  <a:moveTo>
                    <a:pt x="35" y="32"/>
                  </a:moveTo>
                  <a:cubicBezTo>
                    <a:pt x="39" y="36"/>
                    <a:pt x="39" y="36"/>
                    <a:pt x="39" y="36"/>
                  </a:cubicBezTo>
                  <a:cubicBezTo>
                    <a:pt x="35" y="40"/>
                    <a:pt x="35" y="40"/>
                    <a:pt x="35" y="40"/>
                  </a:cubicBezTo>
                  <a:cubicBezTo>
                    <a:pt x="31" y="36"/>
                    <a:pt x="31" y="36"/>
                    <a:pt x="31" y="36"/>
                  </a:cubicBezTo>
                  <a:cubicBezTo>
                    <a:pt x="35" y="32"/>
                    <a:pt x="35" y="32"/>
                    <a:pt x="35" y="32"/>
                  </a:cubicBezTo>
                  <a:cubicBezTo>
                    <a:pt x="35" y="32"/>
                    <a:pt x="35" y="32"/>
                    <a:pt x="35" y="32"/>
                  </a:cubicBezTo>
                  <a:close/>
                  <a:moveTo>
                    <a:pt x="28" y="39"/>
                  </a:moveTo>
                  <a:cubicBezTo>
                    <a:pt x="32" y="43"/>
                    <a:pt x="32" y="43"/>
                    <a:pt x="32" y="43"/>
                  </a:cubicBezTo>
                  <a:cubicBezTo>
                    <a:pt x="28" y="47"/>
                    <a:pt x="28" y="47"/>
                    <a:pt x="28" y="47"/>
                  </a:cubicBezTo>
                  <a:cubicBezTo>
                    <a:pt x="24" y="43"/>
                    <a:pt x="24" y="43"/>
                    <a:pt x="24" y="43"/>
                  </a:cubicBezTo>
                  <a:cubicBezTo>
                    <a:pt x="28" y="39"/>
                    <a:pt x="28" y="39"/>
                    <a:pt x="28" y="39"/>
                  </a:cubicBezTo>
                  <a:cubicBezTo>
                    <a:pt x="28" y="39"/>
                    <a:pt x="28" y="39"/>
                    <a:pt x="28" y="39"/>
                  </a:cubicBezTo>
                  <a:close/>
                  <a:moveTo>
                    <a:pt x="35" y="17"/>
                  </a:moveTo>
                  <a:cubicBezTo>
                    <a:pt x="39" y="21"/>
                    <a:pt x="39" y="21"/>
                    <a:pt x="39" y="21"/>
                  </a:cubicBezTo>
                  <a:cubicBezTo>
                    <a:pt x="35" y="25"/>
                    <a:pt x="35" y="25"/>
                    <a:pt x="35" y="25"/>
                  </a:cubicBezTo>
                  <a:cubicBezTo>
                    <a:pt x="31" y="21"/>
                    <a:pt x="31" y="21"/>
                    <a:pt x="31" y="21"/>
                  </a:cubicBezTo>
                  <a:cubicBezTo>
                    <a:pt x="35" y="17"/>
                    <a:pt x="35" y="17"/>
                    <a:pt x="35" y="17"/>
                  </a:cubicBezTo>
                  <a:cubicBezTo>
                    <a:pt x="35" y="17"/>
                    <a:pt x="35" y="17"/>
                    <a:pt x="35" y="17"/>
                  </a:cubicBezTo>
                  <a:close/>
                  <a:moveTo>
                    <a:pt x="28" y="24"/>
                  </a:moveTo>
                  <a:cubicBezTo>
                    <a:pt x="32" y="28"/>
                    <a:pt x="32" y="28"/>
                    <a:pt x="32" y="28"/>
                  </a:cubicBezTo>
                  <a:cubicBezTo>
                    <a:pt x="28" y="32"/>
                    <a:pt x="28" y="32"/>
                    <a:pt x="28" y="32"/>
                  </a:cubicBezTo>
                  <a:cubicBezTo>
                    <a:pt x="24" y="28"/>
                    <a:pt x="24" y="28"/>
                    <a:pt x="24" y="28"/>
                  </a:cubicBezTo>
                  <a:cubicBezTo>
                    <a:pt x="28" y="24"/>
                    <a:pt x="28" y="24"/>
                    <a:pt x="28" y="24"/>
                  </a:cubicBezTo>
                  <a:cubicBezTo>
                    <a:pt x="28" y="24"/>
                    <a:pt x="28" y="24"/>
                    <a:pt x="28" y="24"/>
                  </a:cubicBezTo>
                  <a:close/>
                  <a:moveTo>
                    <a:pt x="21" y="31"/>
                  </a:moveTo>
                  <a:cubicBezTo>
                    <a:pt x="25" y="35"/>
                    <a:pt x="25" y="35"/>
                    <a:pt x="25" y="35"/>
                  </a:cubicBezTo>
                  <a:cubicBezTo>
                    <a:pt x="21" y="39"/>
                    <a:pt x="21" y="39"/>
                    <a:pt x="21" y="39"/>
                  </a:cubicBezTo>
                  <a:cubicBezTo>
                    <a:pt x="17" y="35"/>
                    <a:pt x="17" y="35"/>
                    <a:pt x="17" y="35"/>
                  </a:cubicBezTo>
                  <a:cubicBezTo>
                    <a:pt x="21" y="31"/>
                    <a:pt x="21" y="31"/>
                    <a:pt x="21" y="31"/>
                  </a:cubicBezTo>
                  <a:cubicBezTo>
                    <a:pt x="21" y="31"/>
                    <a:pt x="21" y="31"/>
                    <a:pt x="21" y="31"/>
                  </a:cubicBezTo>
                  <a:close/>
                  <a:moveTo>
                    <a:pt x="27" y="9"/>
                  </a:moveTo>
                  <a:cubicBezTo>
                    <a:pt x="31" y="13"/>
                    <a:pt x="31" y="13"/>
                    <a:pt x="31" y="13"/>
                  </a:cubicBezTo>
                  <a:cubicBezTo>
                    <a:pt x="27" y="17"/>
                    <a:pt x="27" y="17"/>
                    <a:pt x="27" y="17"/>
                  </a:cubicBezTo>
                  <a:cubicBezTo>
                    <a:pt x="23" y="13"/>
                    <a:pt x="23" y="13"/>
                    <a:pt x="23" y="13"/>
                  </a:cubicBezTo>
                  <a:cubicBezTo>
                    <a:pt x="27" y="9"/>
                    <a:pt x="27" y="9"/>
                    <a:pt x="27" y="9"/>
                  </a:cubicBezTo>
                  <a:cubicBezTo>
                    <a:pt x="27" y="9"/>
                    <a:pt x="27" y="9"/>
                    <a:pt x="27" y="9"/>
                  </a:cubicBezTo>
                  <a:close/>
                  <a:moveTo>
                    <a:pt x="20" y="16"/>
                  </a:moveTo>
                  <a:cubicBezTo>
                    <a:pt x="24" y="20"/>
                    <a:pt x="24" y="20"/>
                    <a:pt x="24" y="20"/>
                  </a:cubicBezTo>
                  <a:cubicBezTo>
                    <a:pt x="20" y="25"/>
                    <a:pt x="20" y="25"/>
                    <a:pt x="20" y="25"/>
                  </a:cubicBezTo>
                  <a:cubicBezTo>
                    <a:pt x="16" y="20"/>
                    <a:pt x="16" y="20"/>
                    <a:pt x="16" y="20"/>
                  </a:cubicBezTo>
                  <a:cubicBezTo>
                    <a:pt x="20" y="16"/>
                    <a:pt x="20" y="16"/>
                    <a:pt x="20" y="16"/>
                  </a:cubicBezTo>
                  <a:cubicBezTo>
                    <a:pt x="20" y="16"/>
                    <a:pt x="20" y="16"/>
                    <a:pt x="20" y="16"/>
                  </a:cubicBezTo>
                  <a:close/>
                  <a:moveTo>
                    <a:pt x="13" y="23"/>
                  </a:moveTo>
                  <a:cubicBezTo>
                    <a:pt x="17" y="27"/>
                    <a:pt x="17" y="27"/>
                    <a:pt x="17" y="27"/>
                  </a:cubicBezTo>
                  <a:cubicBezTo>
                    <a:pt x="13" y="31"/>
                    <a:pt x="13" y="31"/>
                    <a:pt x="13" y="31"/>
                  </a:cubicBezTo>
                  <a:cubicBezTo>
                    <a:pt x="9" y="27"/>
                    <a:pt x="9" y="27"/>
                    <a:pt x="9" y="27"/>
                  </a:cubicBezTo>
                  <a:cubicBezTo>
                    <a:pt x="13" y="23"/>
                    <a:pt x="13" y="23"/>
                    <a:pt x="13" y="23"/>
                  </a:cubicBezTo>
                  <a:cubicBezTo>
                    <a:pt x="13" y="23"/>
                    <a:pt x="13" y="23"/>
                    <a:pt x="13" y="23"/>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03" name="Freeform 2159"/>
            <p:cNvSpPr>
              <a:spLocks noEditPoints="1"/>
            </p:cNvSpPr>
            <p:nvPr/>
          </p:nvSpPr>
          <p:spPr bwMode="auto">
            <a:xfrm>
              <a:off x="23464838" y="944563"/>
              <a:ext cx="476250" cy="473075"/>
            </a:xfrm>
            <a:custGeom>
              <a:avLst/>
              <a:gdLst>
                <a:gd name="T0" fmla="*/ 4 w 127"/>
                <a:gd name="T1" fmla="*/ 107 h 126"/>
                <a:gd name="T2" fmla="*/ 123 w 127"/>
                <a:gd name="T3" fmla="*/ 32 h 126"/>
                <a:gd name="T4" fmla="*/ 94 w 127"/>
                <a:gd name="T5" fmla="*/ 3 h 126"/>
                <a:gd name="T6" fmla="*/ 21 w 127"/>
                <a:gd name="T7" fmla="*/ 95 h 126"/>
                <a:gd name="T8" fmla="*/ 72 w 127"/>
                <a:gd name="T9" fmla="*/ 72 h 126"/>
                <a:gd name="T10" fmla="*/ 68 w 127"/>
                <a:gd name="T11" fmla="*/ 68 h 126"/>
                <a:gd name="T12" fmla="*/ 65 w 127"/>
                <a:gd name="T13" fmla="*/ 65 h 126"/>
                <a:gd name="T14" fmla="*/ 61 w 127"/>
                <a:gd name="T15" fmla="*/ 61 h 126"/>
                <a:gd name="T16" fmla="*/ 58 w 127"/>
                <a:gd name="T17" fmla="*/ 58 h 126"/>
                <a:gd name="T18" fmla="*/ 54 w 127"/>
                <a:gd name="T19" fmla="*/ 54 h 126"/>
                <a:gd name="T20" fmla="*/ 80 w 127"/>
                <a:gd name="T21" fmla="*/ 65 h 126"/>
                <a:gd name="T22" fmla="*/ 76 w 127"/>
                <a:gd name="T23" fmla="*/ 61 h 126"/>
                <a:gd name="T24" fmla="*/ 73 w 127"/>
                <a:gd name="T25" fmla="*/ 58 h 126"/>
                <a:gd name="T26" fmla="*/ 69 w 127"/>
                <a:gd name="T27" fmla="*/ 53 h 126"/>
                <a:gd name="T28" fmla="*/ 66 w 127"/>
                <a:gd name="T29" fmla="*/ 51 h 126"/>
                <a:gd name="T30" fmla="*/ 62 w 127"/>
                <a:gd name="T31" fmla="*/ 46 h 126"/>
                <a:gd name="T32" fmla="*/ 88 w 127"/>
                <a:gd name="T33" fmla="*/ 57 h 126"/>
                <a:gd name="T34" fmla="*/ 84 w 127"/>
                <a:gd name="T35" fmla="*/ 53 h 126"/>
                <a:gd name="T36" fmla="*/ 80 w 127"/>
                <a:gd name="T37" fmla="*/ 50 h 126"/>
                <a:gd name="T38" fmla="*/ 76 w 127"/>
                <a:gd name="T39" fmla="*/ 46 h 126"/>
                <a:gd name="T40" fmla="*/ 73 w 127"/>
                <a:gd name="T41" fmla="*/ 43 h 126"/>
                <a:gd name="T42" fmla="*/ 69 w 127"/>
                <a:gd name="T43" fmla="*/ 39 h 126"/>
                <a:gd name="T44" fmla="*/ 95 w 127"/>
                <a:gd name="T45" fmla="*/ 50 h 126"/>
                <a:gd name="T46" fmla="*/ 91 w 127"/>
                <a:gd name="T47" fmla="*/ 46 h 126"/>
                <a:gd name="T48" fmla="*/ 88 w 127"/>
                <a:gd name="T49" fmla="*/ 42 h 126"/>
                <a:gd name="T50" fmla="*/ 84 w 127"/>
                <a:gd name="T51" fmla="*/ 38 h 126"/>
                <a:gd name="T52" fmla="*/ 81 w 127"/>
                <a:gd name="T53" fmla="*/ 35 h 126"/>
                <a:gd name="T54" fmla="*/ 77 w 127"/>
                <a:gd name="T55" fmla="*/ 31 h 126"/>
                <a:gd name="T56" fmla="*/ 103 w 127"/>
                <a:gd name="T57" fmla="*/ 42 h 126"/>
                <a:gd name="T58" fmla="*/ 99 w 127"/>
                <a:gd name="T59" fmla="*/ 38 h 126"/>
                <a:gd name="T60" fmla="*/ 96 w 127"/>
                <a:gd name="T61" fmla="*/ 35 h 126"/>
                <a:gd name="T62" fmla="*/ 92 w 127"/>
                <a:gd name="T63" fmla="*/ 31 h 126"/>
                <a:gd name="T64" fmla="*/ 89 w 127"/>
                <a:gd name="T65" fmla="*/ 28 h 126"/>
                <a:gd name="T66" fmla="*/ 85 w 127"/>
                <a:gd name="T67" fmla="*/ 24 h 126"/>
                <a:gd name="T68" fmla="*/ 111 w 127"/>
                <a:gd name="T69" fmla="*/ 34 h 126"/>
                <a:gd name="T70" fmla="*/ 107 w 127"/>
                <a:gd name="T71" fmla="*/ 30 h 126"/>
                <a:gd name="T72" fmla="*/ 103 w 127"/>
                <a:gd name="T73" fmla="*/ 27 h 126"/>
                <a:gd name="T74" fmla="*/ 99 w 127"/>
                <a:gd name="T75" fmla="*/ 23 h 126"/>
                <a:gd name="T76" fmla="*/ 96 w 127"/>
                <a:gd name="T77" fmla="*/ 20 h 126"/>
                <a:gd name="T78" fmla="*/ 92 w 127"/>
                <a:gd name="T79" fmla="*/ 16 h 126"/>
                <a:gd name="T80" fmla="*/ 118 w 127"/>
                <a:gd name="T81" fmla="*/ 27 h 126"/>
                <a:gd name="T82" fmla="*/ 114 w 127"/>
                <a:gd name="T83" fmla="*/ 23 h 126"/>
                <a:gd name="T84" fmla="*/ 111 w 127"/>
                <a:gd name="T85" fmla="*/ 19 h 126"/>
                <a:gd name="T86" fmla="*/ 107 w 127"/>
                <a:gd name="T87" fmla="*/ 15 h 126"/>
                <a:gd name="T88" fmla="*/ 104 w 127"/>
                <a:gd name="T89" fmla="*/ 13 h 126"/>
                <a:gd name="T90" fmla="*/ 100 w 127"/>
                <a:gd name="T91" fmla="*/ 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7" h="126">
                  <a:moveTo>
                    <a:pt x="94" y="3"/>
                  </a:moveTo>
                  <a:cubicBezTo>
                    <a:pt x="4" y="94"/>
                    <a:pt x="4" y="94"/>
                    <a:pt x="4" y="94"/>
                  </a:cubicBezTo>
                  <a:cubicBezTo>
                    <a:pt x="0" y="97"/>
                    <a:pt x="0" y="103"/>
                    <a:pt x="4" y="107"/>
                  </a:cubicBezTo>
                  <a:cubicBezTo>
                    <a:pt x="20" y="123"/>
                    <a:pt x="20" y="123"/>
                    <a:pt x="20" y="123"/>
                  </a:cubicBezTo>
                  <a:cubicBezTo>
                    <a:pt x="23" y="126"/>
                    <a:pt x="29" y="126"/>
                    <a:pt x="33" y="123"/>
                  </a:cubicBezTo>
                  <a:cubicBezTo>
                    <a:pt x="123" y="32"/>
                    <a:pt x="123" y="32"/>
                    <a:pt x="123" y="32"/>
                  </a:cubicBezTo>
                  <a:cubicBezTo>
                    <a:pt x="127" y="29"/>
                    <a:pt x="127" y="23"/>
                    <a:pt x="123" y="19"/>
                  </a:cubicBezTo>
                  <a:cubicBezTo>
                    <a:pt x="108" y="3"/>
                    <a:pt x="108" y="3"/>
                    <a:pt x="108" y="3"/>
                  </a:cubicBezTo>
                  <a:cubicBezTo>
                    <a:pt x="104" y="0"/>
                    <a:pt x="98" y="0"/>
                    <a:pt x="94" y="3"/>
                  </a:cubicBezTo>
                  <a:close/>
                  <a:moveTo>
                    <a:pt x="31" y="106"/>
                  </a:moveTo>
                  <a:cubicBezTo>
                    <a:pt x="28" y="109"/>
                    <a:pt x="24" y="109"/>
                    <a:pt x="21" y="106"/>
                  </a:cubicBezTo>
                  <a:cubicBezTo>
                    <a:pt x="18" y="103"/>
                    <a:pt x="18" y="98"/>
                    <a:pt x="21" y="95"/>
                  </a:cubicBezTo>
                  <a:cubicBezTo>
                    <a:pt x="24" y="93"/>
                    <a:pt x="28" y="92"/>
                    <a:pt x="31" y="95"/>
                  </a:cubicBezTo>
                  <a:cubicBezTo>
                    <a:pt x="34" y="98"/>
                    <a:pt x="34" y="103"/>
                    <a:pt x="31" y="106"/>
                  </a:cubicBezTo>
                  <a:close/>
                  <a:moveTo>
                    <a:pt x="72" y="72"/>
                  </a:moveTo>
                  <a:cubicBezTo>
                    <a:pt x="68" y="77"/>
                    <a:pt x="68" y="77"/>
                    <a:pt x="68" y="77"/>
                  </a:cubicBezTo>
                  <a:cubicBezTo>
                    <a:pt x="64" y="72"/>
                    <a:pt x="64" y="72"/>
                    <a:pt x="64" y="72"/>
                  </a:cubicBezTo>
                  <a:cubicBezTo>
                    <a:pt x="68" y="68"/>
                    <a:pt x="68" y="68"/>
                    <a:pt x="68" y="68"/>
                  </a:cubicBezTo>
                  <a:cubicBezTo>
                    <a:pt x="72" y="72"/>
                    <a:pt x="72" y="72"/>
                    <a:pt x="72" y="72"/>
                  </a:cubicBezTo>
                  <a:cubicBezTo>
                    <a:pt x="72" y="72"/>
                    <a:pt x="72" y="72"/>
                    <a:pt x="72" y="72"/>
                  </a:cubicBezTo>
                  <a:close/>
                  <a:moveTo>
                    <a:pt x="65" y="65"/>
                  </a:moveTo>
                  <a:cubicBezTo>
                    <a:pt x="61" y="69"/>
                    <a:pt x="61" y="69"/>
                    <a:pt x="61" y="69"/>
                  </a:cubicBezTo>
                  <a:cubicBezTo>
                    <a:pt x="57" y="65"/>
                    <a:pt x="57" y="65"/>
                    <a:pt x="57" y="65"/>
                  </a:cubicBezTo>
                  <a:cubicBezTo>
                    <a:pt x="61" y="61"/>
                    <a:pt x="61" y="61"/>
                    <a:pt x="61" y="61"/>
                  </a:cubicBezTo>
                  <a:cubicBezTo>
                    <a:pt x="65" y="65"/>
                    <a:pt x="65" y="65"/>
                    <a:pt x="65" y="65"/>
                  </a:cubicBezTo>
                  <a:cubicBezTo>
                    <a:pt x="65" y="65"/>
                    <a:pt x="65" y="65"/>
                    <a:pt x="65" y="65"/>
                  </a:cubicBezTo>
                  <a:close/>
                  <a:moveTo>
                    <a:pt x="58" y="58"/>
                  </a:moveTo>
                  <a:cubicBezTo>
                    <a:pt x="54" y="62"/>
                    <a:pt x="54" y="62"/>
                    <a:pt x="54" y="62"/>
                  </a:cubicBezTo>
                  <a:cubicBezTo>
                    <a:pt x="50" y="58"/>
                    <a:pt x="50" y="58"/>
                    <a:pt x="50" y="58"/>
                  </a:cubicBezTo>
                  <a:cubicBezTo>
                    <a:pt x="54" y="54"/>
                    <a:pt x="54" y="54"/>
                    <a:pt x="54" y="54"/>
                  </a:cubicBezTo>
                  <a:cubicBezTo>
                    <a:pt x="58" y="58"/>
                    <a:pt x="58" y="58"/>
                    <a:pt x="58" y="58"/>
                  </a:cubicBezTo>
                  <a:cubicBezTo>
                    <a:pt x="58" y="58"/>
                    <a:pt x="58" y="58"/>
                    <a:pt x="58" y="58"/>
                  </a:cubicBezTo>
                  <a:close/>
                  <a:moveTo>
                    <a:pt x="80" y="65"/>
                  </a:moveTo>
                  <a:cubicBezTo>
                    <a:pt x="76" y="69"/>
                    <a:pt x="76" y="69"/>
                    <a:pt x="76" y="69"/>
                  </a:cubicBezTo>
                  <a:cubicBezTo>
                    <a:pt x="72" y="65"/>
                    <a:pt x="72" y="65"/>
                    <a:pt x="72" y="65"/>
                  </a:cubicBezTo>
                  <a:cubicBezTo>
                    <a:pt x="76" y="61"/>
                    <a:pt x="76" y="61"/>
                    <a:pt x="76" y="61"/>
                  </a:cubicBezTo>
                  <a:cubicBezTo>
                    <a:pt x="80" y="65"/>
                    <a:pt x="80" y="65"/>
                    <a:pt x="80" y="65"/>
                  </a:cubicBezTo>
                  <a:cubicBezTo>
                    <a:pt x="80" y="65"/>
                    <a:pt x="80" y="65"/>
                    <a:pt x="80" y="65"/>
                  </a:cubicBezTo>
                  <a:close/>
                  <a:moveTo>
                    <a:pt x="73" y="58"/>
                  </a:moveTo>
                  <a:cubicBezTo>
                    <a:pt x="69" y="62"/>
                    <a:pt x="69" y="62"/>
                    <a:pt x="69" y="62"/>
                  </a:cubicBezTo>
                  <a:cubicBezTo>
                    <a:pt x="65" y="58"/>
                    <a:pt x="65" y="58"/>
                    <a:pt x="65" y="58"/>
                  </a:cubicBezTo>
                  <a:cubicBezTo>
                    <a:pt x="69" y="53"/>
                    <a:pt x="69" y="53"/>
                    <a:pt x="69" y="53"/>
                  </a:cubicBezTo>
                  <a:cubicBezTo>
                    <a:pt x="73" y="58"/>
                    <a:pt x="73" y="58"/>
                    <a:pt x="73" y="58"/>
                  </a:cubicBezTo>
                  <a:cubicBezTo>
                    <a:pt x="73" y="58"/>
                    <a:pt x="73" y="58"/>
                    <a:pt x="73" y="58"/>
                  </a:cubicBezTo>
                  <a:close/>
                  <a:moveTo>
                    <a:pt x="66" y="51"/>
                  </a:moveTo>
                  <a:cubicBezTo>
                    <a:pt x="62" y="55"/>
                    <a:pt x="62" y="55"/>
                    <a:pt x="62" y="55"/>
                  </a:cubicBezTo>
                  <a:cubicBezTo>
                    <a:pt x="58" y="51"/>
                    <a:pt x="58" y="51"/>
                    <a:pt x="58" y="51"/>
                  </a:cubicBezTo>
                  <a:cubicBezTo>
                    <a:pt x="62" y="46"/>
                    <a:pt x="62" y="46"/>
                    <a:pt x="62" y="46"/>
                  </a:cubicBezTo>
                  <a:cubicBezTo>
                    <a:pt x="66" y="51"/>
                    <a:pt x="66" y="51"/>
                    <a:pt x="66" y="51"/>
                  </a:cubicBezTo>
                  <a:cubicBezTo>
                    <a:pt x="66" y="51"/>
                    <a:pt x="66" y="51"/>
                    <a:pt x="66" y="51"/>
                  </a:cubicBezTo>
                  <a:close/>
                  <a:moveTo>
                    <a:pt x="88" y="57"/>
                  </a:moveTo>
                  <a:cubicBezTo>
                    <a:pt x="83" y="61"/>
                    <a:pt x="83" y="61"/>
                    <a:pt x="83" y="61"/>
                  </a:cubicBezTo>
                  <a:cubicBezTo>
                    <a:pt x="79" y="57"/>
                    <a:pt x="79" y="57"/>
                    <a:pt x="79" y="57"/>
                  </a:cubicBezTo>
                  <a:cubicBezTo>
                    <a:pt x="84" y="53"/>
                    <a:pt x="84" y="53"/>
                    <a:pt x="84" y="53"/>
                  </a:cubicBezTo>
                  <a:cubicBezTo>
                    <a:pt x="88" y="57"/>
                    <a:pt x="88" y="57"/>
                    <a:pt x="88" y="57"/>
                  </a:cubicBezTo>
                  <a:cubicBezTo>
                    <a:pt x="88" y="57"/>
                    <a:pt x="88" y="57"/>
                    <a:pt x="88" y="57"/>
                  </a:cubicBezTo>
                  <a:close/>
                  <a:moveTo>
                    <a:pt x="80" y="50"/>
                  </a:moveTo>
                  <a:cubicBezTo>
                    <a:pt x="76" y="54"/>
                    <a:pt x="76" y="54"/>
                    <a:pt x="76" y="54"/>
                  </a:cubicBezTo>
                  <a:cubicBezTo>
                    <a:pt x="72" y="50"/>
                    <a:pt x="72" y="50"/>
                    <a:pt x="72" y="50"/>
                  </a:cubicBezTo>
                  <a:cubicBezTo>
                    <a:pt x="76" y="46"/>
                    <a:pt x="76" y="46"/>
                    <a:pt x="76" y="46"/>
                  </a:cubicBezTo>
                  <a:cubicBezTo>
                    <a:pt x="80" y="50"/>
                    <a:pt x="80" y="50"/>
                    <a:pt x="80" y="50"/>
                  </a:cubicBezTo>
                  <a:cubicBezTo>
                    <a:pt x="80" y="50"/>
                    <a:pt x="80" y="50"/>
                    <a:pt x="80" y="50"/>
                  </a:cubicBezTo>
                  <a:close/>
                  <a:moveTo>
                    <a:pt x="73" y="43"/>
                  </a:moveTo>
                  <a:cubicBezTo>
                    <a:pt x="69" y="47"/>
                    <a:pt x="69" y="47"/>
                    <a:pt x="69" y="47"/>
                  </a:cubicBezTo>
                  <a:cubicBezTo>
                    <a:pt x="65" y="43"/>
                    <a:pt x="65" y="43"/>
                    <a:pt x="65" y="43"/>
                  </a:cubicBezTo>
                  <a:cubicBezTo>
                    <a:pt x="69" y="39"/>
                    <a:pt x="69" y="39"/>
                    <a:pt x="69" y="39"/>
                  </a:cubicBezTo>
                  <a:cubicBezTo>
                    <a:pt x="73" y="43"/>
                    <a:pt x="73" y="43"/>
                    <a:pt x="73" y="43"/>
                  </a:cubicBezTo>
                  <a:cubicBezTo>
                    <a:pt x="73" y="43"/>
                    <a:pt x="73" y="43"/>
                    <a:pt x="73" y="43"/>
                  </a:cubicBezTo>
                  <a:close/>
                  <a:moveTo>
                    <a:pt x="95" y="50"/>
                  </a:moveTo>
                  <a:cubicBezTo>
                    <a:pt x="91" y="54"/>
                    <a:pt x="91" y="54"/>
                    <a:pt x="91" y="54"/>
                  </a:cubicBezTo>
                  <a:cubicBezTo>
                    <a:pt x="87" y="50"/>
                    <a:pt x="87" y="50"/>
                    <a:pt x="87" y="50"/>
                  </a:cubicBezTo>
                  <a:cubicBezTo>
                    <a:pt x="91" y="46"/>
                    <a:pt x="91" y="46"/>
                    <a:pt x="91" y="46"/>
                  </a:cubicBezTo>
                  <a:cubicBezTo>
                    <a:pt x="95" y="50"/>
                    <a:pt x="95" y="50"/>
                    <a:pt x="95" y="50"/>
                  </a:cubicBezTo>
                  <a:cubicBezTo>
                    <a:pt x="95" y="50"/>
                    <a:pt x="95" y="50"/>
                    <a:pt x="95" y="50"/>
                  </a:cubicBezTo>
                  <a:close/>
                  <a:moveTo>
                    <a:pt x="88" y="42"/>
                  </a:moveTo>
                  <a:cubicBezTo>
                    <a:pt x="84" y="46"/>
                    <a:pt x="84" y="46"/>
                    <a:pt x="84" y="46"/>
                  </a:cubicBezTo>
                  <a:cubicBezTo>
                    <a:pt x="80" y="42"/>
                    <a:pt x="80" y="42"/>
                    <a:pt x="80" y="42"/>
                  </a:cubicBezTo>
                  <a:cubicBezTo>
                    <a:pt x="84" y="38"/>
                    <a:pt x="84" y="38"/>
                    <a:pt x="84" y="38"/>
                  </a:cubicBezTo>
                  <a:cubicBezTo>
                    <a:pt x="88" y="42"/>
                    <a:pt x="88" y="42"/>
                    <a:pt x="88" y="42"/>
                  </a:cubicBezTo>
                  <a:cubicBezTo>
                    <a:pt x="88" y="42"/>
                    <a:pt x="88" y="42"/>
                    <a:pt x="88" y="42"/>
                  </a:cubicBezTo>
                  <a:close/>
                  <a:moveTo>
                    <a:pt x="81" y="35"/>
                  </a:moveTo>
                  <a:cubicBezTo>
                    <a:pt x="77" y="40"/>
                    <a:pt x="77" y="40"/>
                    <a:pt x="77" y="40"/>
                  </a:cubicBezTo>
                  <a:cubicBezTo>
                    <a:pt x="73" y="35"/>
                    <a:pt x="73" y="35"/>
                    <a:pt x="73" y="35"/>
                  </a:cubicBezTo>
                  <a:cubicBezTo>
                    <a:pt x="77" y="31"/>
                    <a:pt x="77" y="31"/>
                    <a:pt x="77" y="31"/>
                  </a:cubicBezTo>
                  <a:cubicBezTo>
                    <a:pt x="81" y="35"/>
                    <a:pt x="81" y="35"/>
                    <a:pt x="81" y="35"/>
                  </a:cubicBezTo>
                  <a:cubicBezTo>
                    <a:pt x="81" y="35"/>
                    <a:pt x="81" y="35"/>
                    <a:pt x="81" y="35"/>
                  </a:cubicBezTo>
                  <a:close/>
                  <a:moveTo>
                    <a:pt x="103" y="42"/>
                  </a:moveTo>
                  <a:cubicBezTo>
                    <a:pt x="99" y="46"/>
                    <a:pt x="99" y="46"/>
                    <a:pt x="99" y="46"/>
                  </a:cubicBezTo>
                  <a:cubicBezTo>
                    <a:pt x="95" y="42"/>
                    <a:pt x="95" y="42"/>
                    <a:pt x="95" y="42"/>
                  </a:cubicBezTo>
                  <a:cubicBezTo>
                    <a:pt x="99" y="38"/>
                    <a:pt x="99" y="38"/>
                    <a:pt x="99" y="38"/>
                  </a:cubicBezTo>
                  <a:cubicBezTo>
                    <a:pt x="103" y="42"/>
                    <a:pt x="103" y="42"/>
                    <a:pt x="103" y="42"/>
                  </a:cubicBezTo>
                  <a:cubicBezTo>
                    <a:pt x="103" y="42"/>
                    <a:pt x="103" y="42"/>
                    <a:pt x="103" y="42"/>
                  </a:cubicBezTo>
                  <a:close/>
                  <a:moveTo>
                    <a:pt x="96" y="35"/>
                  </a:moveTo>
                  <a:cubicBezTo>
                    <a:pt x="92" y="39"/>
                    <a:pt x="92" y="39"/>
                    <a:pt x="92" y="39"/>
                  </a:cubicBezTo>
                  <a:cubicBezTo>
                    <a:pt x="88" y="35"/>
                    <a:pt x="88" y="35"/>
                    <a:pt x="88" y="35"/>
                  </a:cubicBezTo>
                  <a:cubicBezTo>
                    <a:pt x="92" y="31"/>
                    <a:pt x="92" y="31"/>
                    <a:pt x="92" y="31"/>
                  </a:cubicBezTo>
                  <a:cubicBezTo>
                    <a:pt x="96" y="35"/>
                    <a:pt x="96" y="35"/>
                    <a:pt x="96" y="35"/>
                  </a:cubicBezTo>
                  <a:cubicBezTo>
                    <a:pt x="96" y="35"/>
                    <a:pt x="96" y="35"/>
                    <a:pt x="96" y="35"/>
                  </a:cubicBezTo>
                  <a:close/>
                  <a:moveTo>
                    <a:pt x="89" y="28"/>
                  </a:moveTo>
                  <a:cubicBezTo>
                    <a:pt x="85" y="32"/>
                    <a:pt x="85" y="32"/>
                    <a:pt x="85" y="32"/>
                  </a:cubicBezTo>
                  <a:cubicBezTo>
                    <a:pt x="81" y="28"/>
                    <a:pt x="81" y="28"/>
                    <a:pt x="81" y="28"/>
                  </a:cubicBezTo>
                  <a:cubicBezTo>
                    <a:pt x="85" y="24"/>
                    <a:pt x="85" y="24"/>
                    <a:pt x="85" y="24"/>
                  </a:cubicBezTo>
                  <a:cubicBezTo>
                    <a:pt x="89" y="28"/>
                    <a:pt x="89" y="28"/>
                    <a:pt x="89" y="28"/>
                  </a:cubicBezTo>
                  <a:cubicBezTo>
                    <a:pt x="89" y="28"/>
                    <a:pt x="89" y="28"/>
                    <a:pt x="89" y="28"/>
                  </a:cubicBezTo>
                  <a:close/>
                  <a:moveTo>
                    <a:pt x="111" y="34"/>
                  </a:moveTo>
                  <a:cubicBezTo>
                    <a:pt x="106" y="38"/>
                    <a:pt x="106" y="38"/>
                    <a:pt x="106" y="38"/>
                  </a:cubicBezTo>
                  <a:cubicBezTo>
                    <a:pt x="102" y="34"/>
                    <a:pt x="102" y="34"/>
                    <a:pt x="102" y="34"/>
                  </a:cubicBezTo>
                  <a:cubicBezTo>
                    <a:pt x="107" y="30"/>
                    <a:pt x="107" y="30"/>
                    <a:pt x="107" y="30"/>
                  </a:cubicBezTo>
                  <a:cubicBezTo>
                    <a:pt x="111" y="34"/>
                    <a:pt x="111" y="34"/>
                    <a:pt x="111" y="34"/>
                  </a:cubicBezTo>
                  <a:cubicBezTo>
                    <a:pt x="111" y="34"/>
                    <a:pt x="111" y="34"/>
                    <a:pt x="111" y="34"/>
                  </a:cubicBezTo>
                  <a:close/>
                  <a:moveTo>
                    <a:pt x="103" y="27"/>
                  </a:moveTo>
                  <a:cubicBezTo>
                    <a:pt x="99" y="31"/>
                    <a:pt x="99" y="31"/>
                    <a:pt x="99" y="31"/>
                  </a:cubicBezTo>
                  <a:cubicBezTo>
                    <a:pt x="95" y="27"/>
                    <a:pt x="95" y="27"/>
                    <a:pt x="95" y="27"/>
                  </a:cubicBezTo>
                  <a:cubicBezTo>
                    <a:pt x="99" y="23"/>
                    <a:pt x="99" y="23"/>
                    <a:pt x="99" y="23"/>
                  </a:cubicBezTo>
                  <a:cubicBezTo>
                    <a:pt x="103" y="27"/>
                    <a:pt x="103" y="27"/>
                    <a:pt x="103" y="27"/>
                  </a:cubicBezTo>
                  <a:cubicBezTo>
                    <a:pt x="103" y="27"/>
                    <a:pt x="103" y="27"/>
                    <a:pt x="103" y="27"/>
                  </a:cubicBezTo>
                  <a:close/>
                  <a:moveTo>
                    <a:pt x="96" y="20"/>
                  </a:moveTo>
                  <a:cubicBezTo>
                    <a:pt x="92" y="24"/>
                    <a:pt x="92" y="24"/>
                    <a:pt x="92" y="24"/>
                  </a:cubicBezTo>
                  <a:cubicBezTo>
                    <a:pt x="88" y="20"/>
                    <a:pt x="88" y="20"/>
                    <a:pt x="88" y="20"/>
                  </a:cubicBezTo>
                  <a:cubicBezTo>
                    <a:pt x="92" y="16"/>
                    <a:pt x="92" y="16"/>
                    <a:pt x="92" y="16"/>
                  </a:cubicBezTo>
                  <a:cubicBezTo>
                    <a:pt x="96" y="20"/>
                    <a:pt x="96" y="20"/>
                    <a:pt x="96" y="20"/>
                  </a:cubicBezTo>
                  <a:cubicBezTo>
                    <a:pt x="96" y="20"/>
                    <a:pt x="96" y="20"/>
                    <a:pt x="96" y="20"/>
                  </a:cubicBezTo>
                  <a:close/>
                  <a:moveTo>
                    <a:pt x="118" y="27"/>
                  </a:moveTo>
                  <a:cubicBezTo>
                    <a:pt x="114" y="31"/>
                    <a:pt x="114" y="31"/>
                    <a:pt x="114" y="31"/>
                  </a:cubicBezTo>
                  <a:cubicBezTo>
                    <a:pt x="110" y="27"/>
                    <a:pt x="110" y="27"/>
                    <a:pt x="110" y="27"/>
                  </a:cubicBezTo>
                  <a:cubicBezTo>
                    <a:pt x="114" y="23"/>
                    <a:pt x="114" y="23"/>
                    <a:pt x="114" y="23"/>
                  </a:cubicBezTo>
                  <a:cubicBezTo>
                    <a:pt x="118" y="27"/>
                    <a:pt x="118" y="27"/>
                    <a:pt x="118" y="27"/>
                  </a:cubicBezTo>
                  <a:cubicBezTo>
                    <a:pt x="118" y="27"/>
                    <a:pt x="118" y="27"/>
                    <a:pt x="118" y="27"/>
                  </a:cubicBezTo>
                  <a:close/>
                  <a:moveTo>
                    <a:pt x="111" y="19"/>
                  </a:moveTo>
                  <a:cubicBezTo>
                    <a:pt x="107" y="24"/>
                    <a:pt x="107" y="24"/>
                    <a:pt x="107" y="24"/>
                  </a:cubicBezTo>
                  <a:cubicBezTo>
                    <a:pt x="103" y="19"/>
                    <a:pt x="103" y="19"/>
                    <a:pt x="103" y="19"/>
                  </a:cubicBezTo>
                  <a:cubicBezTo>
                    <a:pt x="107" y="15"/>
                    <a:pt x="107" y="15"/>
                    <a:pt x="107" y="15"/>
                  </a:cubicBezTo>
                  <a:cubicBezTo>
                    <a:pt x="111" y="19"/>
                    <a:pt x="111" y="19"/>
                    <a:pt x="111" y="19"/>
                  </a:cubicBezTo>
                  <a:cubicBezTo>
                    <a:pt x="111" y="19"/>
                    <a:pt x="111" y="19"/>
                    <a:pt x="111" y="19"/>
                  </a:cubicBezTo>
                  <a:close/>
                  <a:moveTo>
                    <a:pt x="104" y="13"/>
                  </a:moveTo>
                  <a:cubicBezTo>
                    <a:pt x="100" y="17"/>
                    <a:pt x="100" y="17"/>
                    <a:pt x="100" y="17"/>
                  </a:cubicBezTo>
                  <a:cubicBezTo>
                    <a:pt x="96" y="13"/>
                    <a:pt x="96" y="13"/>
                    <a:pt x="96" y="13"/>
                  </a:cubicBezTo>
                  <a:cubicBezTo>
                    <a:pt x="100" y="8"/>
                    <a:pt x="100" y="8"/>
                    <a:pt x="100" y="8"/>
                  </a:cubicBezTo>
                  <a:cubicBezTo>
                    <a:pt x="104" y="13"/>
                    <a:pt x="104" y="13"/>
                    <a:pt x="104" y="13"/>
                  </a:cubicBezTo>
                  <a:cubicBezTo>
                    <a:pt x="104" y="13"/>
                    <a:pt x="104" y="13"/>
                    <a:pt x="104" y="13"/>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04" name="Freeform 2160"/>
            <p:cNvSpPr>
              <a:spLocks noEditPoints="1"/>
            </p:cNvSpPr>
            <p:nvPr/>
          </p:nvSpPr>
          <p:spPr bwMode="auto">
            <a:xfrm>
              <a:off x="21586825" y="2825750"/>
              <a:ext cx="477838" cy="474663"/>
            </a:xfrm>
            <a:custGeom>
              <a:avLst/>
              <a:gdLst>
                <a:gd name="T0" fmla="*/ 123 w 127"/>
                <a:gd name="T1" fmla="*/ 19 h 126"/>
                <a:gd name="T2" fmla="*/ 4 w 127"/>
                <a:gd name="T3" fmla="*/ 94 h 126"/>
                <a:gd name="T4" fmla="*/ 33 w 127"/>
                <a:gd name="T5" fmla="*/ 123 h 126"/>
                <a:gd name="T6" fmla="*/ 107 w 127"/>
                <a:gd name="T7" fmla="*/ 31 h 126"/>
                <a:gd name="T8" fmla="*/ 55 w 127"/>
                <a:gd name="T9" fmla="*/ 54 h 126"/>
                <a:gd name="T10" fmla="*/ 59 w 127"/>
                <a:gd name="T11" fmla="*/ 58 h 126"/>
                <a:gd name="T12" fmla="*/ 62 w 127"/>
                <a:gd name="T13" fmla="*/ 61 h 126"/>
                <a:gd name="T14" fmla="*/ 66 w 127"/>
                <a:gd name="T15" fmla="*/ 65 h 126"/>
                <a:gd name="T16" fmla="*/ 69 w 127"/>
                <a:gd name="T17" fmla="*/ 68 h 126"/>
                <a:gd name="T18" fmla="*/ 73 w 127"/>
                <a:gd name="T19" fmla="*/ 72 h 126"/>
                <a:gd name="T20" fmla="*/ 47 w 127"/>
                <a:gd name="T21" fmla="*/ 61 h 126"/>
                <a:gd name="T22" fmla="*/ 51 w 127"/>
                <a:gd name="T23" fmla="*/ 65 h 126"/>
                <a:gd name="T24" fmla="*/ 55 w 127"/>
                <a:gd name="T25" fmla="*/ 68 h 126"/>
                <a:gd name="T26" fmla="*/ 59 w 127"/>
                <a:gd name="T27" fmla="*/ 73 h 126"/>
                <a:gd name="T28" fmla="*/ 62 w 127"/>
                <a:gd name="T29" fmla="*/ 75 h 126"/>
                <a:gd name="T30" fmla="*/ 66 w 127"/>
                <a:gd name="T31" fmla="*/ 80 h 126"/>
                <a:gd name="T32" fmla="*/ 40 w 127"/>
                <a:gd name="T33" fmla="*/ 69 h 126"/>
                <a:gd name="T34" fmla="*/ 44 w 127"/>
                <a:gd name="T35" fmla="*/ 73 h 126"/>
                <a:gd name="T36" fmla="*/ 47 w 127"/>
                <a:gd name="T37" fmla="*/ 76 h 126"/>
                <a:gd name="T38" fmla="*/ 51 w 127"/>
                <a:gd name="T39" fmla="*/ 80 h 126"/>
                <a:gd name="T40" fmla="*/ 54 w 127"/>
                <a:gd name="T41" fmla="*/ 83 h 126"/>
                <a:gd name="T42" fmla="*/ 58 w 127"/>
                <a:gd name="T43" fmla="*/ 87 h 126"/>
                <a:gd name="T44" fmla="*/ 32 w 127"/>
                <a:gd name="T45" fmla="*/ 76 h 126"/>
                <a:gd name="T46" fmla="*/ 36 w 127"/>
                <a:gd name="T47" fmla="*/ 80 h 126"/>
                <a:gd name="T48" fmla="*/ 39 w 127"/>
                <a:gd name="T49" fmla="*/ 84 h 126"/>
                <a:gd name="T50" fmla="*/ 44 w 127"/>
                <a:gd name="T51" fmla="*/ 88 h 126"/>
                <a:gd name="T52" fmla="*/ 46 w 127"/>
                <a:gd name="T53" fmla="*/ 91 h 126"/>
                <a:gd name="T54" fmla="*/ 50 w 127"/>
                <a:gd name="T55" fmla="*/ 95 h 126"/>
                <a:gd name="T56" fmla="*/ 24 w 127"/>
                <a:gd name="T57" fmla="*/ 84 h 126"/>
                <a:gd name="T58" fmla="*/ 29 w 127"/>
                <a:gd name="T59" fmla="*/ 88 h 126"/>
                <a:gd name="T60" fmla="*/ 32 w 127"/>
                <a:gd name="T61" fmla="*/ 91 h 126"/>
                <a:gd name="T62" fmla="*/ 36 w 127"/>
                <a:gd name="T63" fmla="*/ 95 h 126"/>
                <a:gd name="T64" fmla="*/ 39 w 127"/>
                <a:gd name="T65" fmla="*/ 98 h 126"/>
                <a:gd name="T66" fmla="*/ 43 w 127"/>
                <a:gd name="T67" fmla="*/ 102 h 126"/>
                <a:gd name="T68" fmla="*/ 17 w 127"/>
                <a:gd name="T69" fmla="*/ 92 h 126"/>
                <a:gd name="T70" fmla="*/ 21 w 127"/>
                <a:gd name="T71" fmla="*/ 96 h 126"/>
                <a:gd name="T72" fmla="*/ 24 w 127"/>
                <a:gd name="T73" fmla="*/ 99 h 126"/>
                <a:gd name="T74" fmla="*/ 28 w 127"/>
                <a:gd name="T75" fmla="*/ 103 h 126"/>
                <a:gd name="T76" fmla="*/ 31 w 127"/>
                <a:gd name="T77" fmla="*/ 106 h 126"/>
                <a:gd name="T78" fmla="*/ 35 w 127"/>
                <a:gd name="T79" fmla="*/ 110 h 126"/>
                <a:gd name="T80" fmla="*/ 9 w 127"/>
                <a:gd name="T81" fmla="*/ 99 h 126"/>
                <a:gd name="T82" fmla="*/ 13 w 127"/>
                <a:gd name="T83" fmla="*/ 103 h 126"/>
                <a:gd name="T84" fmla="*/ 16 w 127"/>
                <a:gd name="T85" fmla="*/ 107 h 126"/>
                <a:gd name="T86" fmla="*/ 21 w 127"/>
                <a:gd name="T87" fmla="*/ 111 h 126"/>
                <a:gd name="T88" fmla="*/ 23 w 127"/>
                <a:gd name="T89" fmla="*/ 114 h 126"/>
                <a:gd name="T90" fmla="*/ 28 w 127"/>
                <a:gd name="T91" fmla="*/ 1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7" h="126">
                  <a:moveTo>
                    <a:pt x="33" y="123"/>
                  </a:moveTo>
                  <a:cubicBezTo>
                    <a:pt x="123" y="32"/>
                    <a:pt x="123" y="32"/>
                    <a:pt x="123" y="32"/>
                  </a:cubicBezTo>
                  <a:cubicBezTo>
                    <a:pt x="127" y="29"/>
                    <a:pt x="127" y="23"/>
                    <a:pt x="123" y="19"/>
                  </a:cubicBezTo>
                  <a:cubicBezTo>
                    <a:pt x="108" y="3"/>
                    <a:pt x="108" y="3"/>
                    <a:pt x="108" y="3"/>
                  </a:cubicBezTo>
                  <a:cubicBezTo>
                    <a:pt x="104" y="0"/>
                    <a:pt x="98" y="0"/>
                    <a:pt x="95" y="3"/>
                  </a:cubicBezTo>
                  <a:cubicBezTo>
                    <a:pt x="4" y="94"/>
                    <a:pt x="4" y="94"/>
                    <a:pt x="4" y="94"/>
                  </a:cubicBezTo>
                  <a:cubicBezTo>
                    <a:pt x="0" y="97"/>
                    <a:pt x="0" y="103"/>
                    <a:pt x="4" y="107"/>
                  </a:cubicBezTo>
                  <a:cubicBezTo>
                    <a:pt x="20" y="123"/>
                    <a:pt x="20" y="123"/>
                    <a:pt x="20" y="123"/>
                  </a:cubicBezTo>
                  <a:cubicBezTo>
                    <a:pt x="23" y="126"/>
                    <a:pt x="29" y="126"/>
                    <a:pt x="33" y="123"/>
                  </a:cubicBezTo>
                  <a:close/>
                  <a:moveTo>
                    <a:pt x="96" y="20"/>
                  </a:moveTo>
                  <a:cubicBezTo>
                    <a:pt x="99" y="17"/>
                    <a:pt x="104" y="17"/>
                    <a:pt x="107" y="20"/>
                  </a:cubicBezTo>
                  <a:cubicBezTo>
                    <a:pt x="110" y="23"/>
                    <a:pt x="109" y="28"/>
                    <a:pt x="107" y="31"/>
                  </a:cubicBezTo>
                  <a:cubicBezTo>
                    <a:pt x="104" y="33"/>
                    <a:pt x="99" y="34"/>
                    <a:pt x="96" y="31"/>
                  </a:cubicBezTo>
                  <a:cubicBezTo>
                    <a:pt x="93" y="28"/>
                    <a:pt x="93" y="23"/>
                    <a:pt x="96" y="20"/>
                  </a:cubicBezTo>
                  <a:close/>
                  <a:moveTo>
                    <a:pt x="55" y="54"/>
                  </a:moveTo>
                  <a:cubicBezTo>
                    <a:pt x="59" y="49"/>
                    <a:pt x="59" y="49"/>
                    <a:pt x="59" y="49"/>
                  </a:cubicBezTo>
                  <a:cubicBezTo>
                    <a:pt x="63" y="54"/>
                    <a:pt x="63" y="54"/>
                    <a:pt x="63" y="54"/>
                  </a:cubicBezTo>
                  <a:cubicBezTo>
                    <a:pt x="59" y="58"/>
                    <a:pt x="59" y="58"/>
                    <a:pt x="59" y="58"/>
                  </a:cubicBezTo>
                  <a:cubicBezTo>
                    <a:pt x="55" y="54"/>
                    <a:pt x="55" y="54"/>
                    <a:pt x="55" y="54"/>
                  </a:cubicBezTo>
                  <a:cubicBezTo>
                    <a:pt x="55" y="54"/>
                    <a:pt x="55" y="54"/>
                    <a:pt x="55" y="54"/>
                  </a:cubicBezTo>
                  <a:close/>
                  <a:moveTo>
                    <a:pt x="62" y="61"/>
                  </a:moveTo>
                  <a:cubicBezTo>
                    <a:pt x="66" y="57"/>
                    <a:pt x="66" y="57"/>
                    <a:pt x="66" y="57"/>
                  </a:cubicBezTo>
                  <a:cubicBezTo>
                    <a:pt x="70" y="61"/>
                    <a:pt x="70" y="61"/>
                    <a:pt x="70" y="61"/>
                  </a:cubicBezTo>
                  <a:cubicBezTo>
                    <a:pt x="66" y="65"/>
                    <a:pt x="66" y="65"/>
                    <a:pt x="66" y="65"/>
                  </a:cubicBezTo>
                  <a:cubicBezTo>
                    <a:pt x="62" y="61"/>
                    <a:pt x="62" y="61"/>
                    <a:pt x="62" y="61"/>
                  </a:cubicBezTo>
                  <a:cubicBezTo>
                    <a:pt x="62" y="61"/>
                    <a:pt x="62" y="61"/>
                    <a:pt x="62" y="61"/>
                  </a:cubicBezTo>
                  <a:close/>
                  <a:moveTo>
                    <a:pt x="69" y="68"/>
                  </a:moveTo>
                  <a:cubicBezTo>
                    <a:pt x="73" y="64"/>
                    <a:pt x="73" y="64"/>
                    <a:pt x="73" y="64"/>
                  </a:cubicBezTo>
                  <a:cubicBezTo>
                    <a:pt x="77" y="68"/>
                    <a:pt x="77" y="68"/>
                    <a:pt x="77" y="68"/>
                  </a:cubicBezTo>
                  <a:cubicBezTo>
                    <a:pt x="73" y="72"/>
                    <a:pt x="73" y="72"/>
                    <a:pt x="73" y="72"/>
                  </a:cubicBezTo>
                  <a:cubicBezTo>
                    <a:pt x="69" y="68"/>
                    <a:pt x="69" y="68"/>
                    <a:pt x="69" y="68"/>
                  </a:cubicBezTo>
                  <a:cubicBezTo>
                    <a:pt x="69" y="68"/>
                    <a:pt x="69" y="68"/>
                    <a:pt x="69" y="68"/>
                  </a:cubicBezTo>
                  <a:close/>
                  <a:moveTo>
                    <a:pt x="47" y="61"/>
                  </a:moveTo>
                  <a:cubicBezTo>
                    <a:pt x="52" y="57"/>
                    <a:pt x="52" y="57"/>
                    <a:pt x="52" y="57"/>
                  </a:cubicBezTo>
                  <a:cubicBezTo>
                    <a:pt x="56" y="61"/>
                    <a:pt x="56" y="61"/>
                    <a:pt x="56" y="61"/>
                  </a:cubicBezTo>
                  <a:cubicBezTo>
                    <a:pt x="51" y="65"/>
                    <a:pt x="51" y="65"/>
                    <a:pt x="51" y="65"/>
                  </a:cubicBezTo>
                  <a:cubicBezTo>
                    <a:pt x="47" y="61"/>
                    <a:pt x="47" y="61"/>
                    <a:pt x="47" y="61"/>
                  </a:cubicBezTo>
                  <a:cubicBezTo>
                    <a:pt x="47" y="61"/>
                    <a:pt x="47" y="61"/>
                    <a:pt x="47" y="61"/>
                  </a:cubicBezTo>
                  <a:close/>
                  <a:moveTo>
                    <a:pt x="55" y="68"/>
                  </a:moveTo>
                  <a:cubicBezTo>
                    <a:pt x="59" y="64"/>
                    <a:pt x="59" y="64"/>
                    <a:pt x="59" y="64"/>
                  </a:cubicBezTo>
                  <a:cubicBezTo>
                    <a:pt x="63" y="68"/>
                    <a:pt x="63" y="68"/>
                    <a:pt x="63" y="68"/>
                  </a:cubicBezTo>
                  <a:cubicBezTo>
                    <a:pt x="59" y="73"/>
                    <a:pt x="59" y="73"/>
                    <a:pt x="59" y="73"/>
                  </a:cubicBezTo>
                  <a:cubicBezTo>
                    <a:pt x="55" y="68"/>
                    <a:pt x="55" y="68"/>
                    <a:pt x="55" y="68"/>
                  </a:cubicBezTo>
                  <a:cubicBezTo>
                    <a:pt x="55" y="68"/>
                    <a:pt x="55" y="68"/>
                    <a:pt x="55" y="68"/>
                  </a:cubicBezTo>
                  <a:close/>
                  <a:moveTo>
                    <a:pt x="62" y="75"/>
                  </a:moveTo>
                  <a:cubicBezTo>
                    <a:pt x="66" y="71"/>
                    <a:pt x="66" y="71"/>
                    <a:pt x="66" y="71"/>
                  </a:cubicBezTo>
                  <a:cubicBezTo>
                    <a:pt x="70" y="75"/>
                    <a:pt x="70" y="75"/>
                    <a:pt x="70" y="75"/>
                  </a:cubicBezTo>
                  <a:cubicBezTo>
                    <a:pt x="66" y="80"/>
                    <a:pt x="66" y="80"/>
                    <a:pt x="66" y="80"/>
                  </a:cubicBezTo>
                  <a:cubicBezTo>
                    <a:pt x="62" y="75"/>
                    <a:pt x="62" y="75"/>
                    <a:pt x="62" y="75"/>
                  </a:cubicBezTo>
                  <a:cubicBezTo>
                    <a:pt x="62" y="75"/>
                    <a:pt x="62" y="75"/>
                    <a:pt x="62" y="75"/>
                  </a:cubicBezTo>
                  <a:close/>
                  <a:moveTo>
                    <a:pt x="40" y="69"/>
                  </a:moveTo>
                  <a:cubicBezTo>
                    <a:pt x="44" y="65"/>
                    <a:pt x="44" y="65"/>
                    <a:pt x="44" y="65"/>
                  </a:cubicBezTo>
                  <a:cubicBezTo>
                    <a:pt x="48" y="69"/>
                    <a:pt x="48" y="69"/>
                    <a:pt x="48" y="69"/>
                  </a:cubicBezTo>
                  <a:cubicBezTo>
                    <a:pt x="44" y="73"/>
                    <a:pt x="44" y="73"/>
                    <a:pt x="44" y="73"/>
                  </a:cubicBezTo>
                  <a:cubicBezTo>
                    <a:pt x="40" y="69"/>
                    <a:pt x="40" y="69"/>
                    <a:pt x="40" y="69"/>
                  </a:cubicBezTo>
                  <a:cubicBezTo>
                    <a:pt x="40" y="69"/>
                    <a:pt x="40" y="69"/>
                    <a:pt x="40" y="69"/>
                  </a:cubicBezTo>
                  <a:close/>
                  <a:moveTo>
                    <a:pt x="47" y="76"/>
                  </a:moveTo>
                  <a:cubicBezTo>
                    <a:pt x="51" y="72"/>
                    <a:pt x="51" y="72"/>
                    <a:pt x="51" y="72"/>
                  </a:cubicBezTo>
                  <a:cubicBezTo>
                    <a:pt x="55" y="76"/>
                    <a:pt x="55" y="76"/>
                    <a:pt x="55" y="76"/>
                  </a:cubicBezTo>
                  <a:cubicBezTo>
                    <a:pt x="51" y="80"/>
                    <a:pt x="51" y="80"/>
                    <a:pt x="51" y="80"/>
                  </a:cubicBezTo>
                  <a:cubicBezTo>
                    <a:pt x="47" y="76"/>
                    <a:pt x="47" y="76"/>
                    <a:pt x="47" y="76"/>
                  </a:cubicBezTo>
                  <a:cubicBezTo>
                    <a:pt x="47" y="76"/>
                    <a:pt x="47" y="76"/>
                    <a:pt x="47" y="76"/>
                  </a:cubicBezTo>
                  <a:close/>
                  <a:moveTo>
                    <a:pt x="54" y="83"/>
                  </a:moveTo>
                  <a:cubicBezTo>
                    <a:pt x="58" y="79"/>
                    <a:pt x="58" y="79"/>
                    <a:pt x="58" y="79"/>
                  </a:cubicBezTo>
                  <a:cubicBezTo>
                    <a:pt x="62" y="83"/>
                    <a:pt x="62" y="83"/>
                    <a:pt x="62" y="83"/>
                  </a:cubicBezTo>
                  <a:cubicBezTo>
                    <a:pt x="58" y="87"/>
                    <a:pt x="58" y="87"/>
                    <a:pt x="58" y="87"/>
                  </a:cubicBezTo>
                  <a:cubicBezTo>
                    <a:pt x="54" y="83"/>
                    <a:pt x="54" y="83"/>
                    <a:pt x="54" y="83"/>
                  </a:cubicBezTo>
                  <a:cubicBezTo>
                    <a:pt x="54" y="83"/>
                    <a:pt x="54" y="83"/>
                    <a:pt x="54" y="83"/>
                  </a:cubicBezTo>
                  <a:close/>
                  <a:moveTo>
                    <a:pt x="32" y="76"/>
                  </a:moveTo>
                  <a:cubicBezTo>
                    <a:pt x="36" y="72"/>
                    <a:pt x="36" y="72"/>
                    <a:pt x="36" y="72"/>
                  </a:cubicBezTo>
                  <a:cubicBezTo>
                    <a:pt x="40" y="76"/>
                    <a:pt x="40" y="76"/>
                    <a:pt x="40" y="76"/>
                  </a:cubicBezTo>
                  <a:cubicBezTo>
                    <a:pt x="36" y="80"/>
                    <a:pt x="36" y="80"/>
                    <a:pt x="36" y="80"/>
                  </a:cubicBezTo>
                  <a:cubicBezTo>
                    <a:pt x="32" y="76"/>
                    <a:pt x="32" y="76"/>
                    <a:pt x="32" y="76"/>
                  </a:cubicBezTo>
                  <a:cubicBezTo>
                    <a:pt x="32" y="76"/>
                    <a:pt x="32" y="76"/>
                    <a:pt x="32" y="76"/>
                  </a:cubicBezTo>
                  <a:close/>
                  <a:moveTo>
                    <a:pt x="39" y="84"/>
                  </a:moveTo>
                  <a:cubicBezTo>
                    <a:pt x="44" y="80"/>
                    <a:pt x="44" y="80"/>
                    <a:pt x="44" y="80"/>
                  </a:cubicBezTo>
                  <a:cubicBezTo>
                    <a:pt x="48" y="84"/>
                    <a:pt x="48" y="84"/>
                    <a:pt x="48" y="84"/>
                  </a:cubicBezTo>
                  <a:cubicBezTo>
                    <a:pt x="44" y="88"/>
                    <a:pt x="44" y="88"/>
                    <a:pt x="44" y="88"/>
                  </a:cubicBezTo>
                  <a:cubicBezTo>
                    <a:pt x="39" y="84"/>
                    <a:pt x="39" y="84"/>
                    <a:pt x="39" y="84"/>
                  </a:cubicBezTo>
                  <a:cubicBezTo>
                    <a:pt x="39" y="84"/>
                    <a:pt x="39" y="84"/>
                    <a:pt x="39" y="84"/>
                  </a:cubicBezTo>
                  <a:close/>
                  <a:moveTo>
                    <a:pt x="46" y="91"/>
                  </a:moveTo>
                  <a:cubicBezTo>
                    <a:pt x="50" y="86"/>
                    <a:pt x="50" y="86"/>
                    <a:pt x="50" y="86"/>
                  </a:cubicBezTo>
                  <a:cubicBezTo>
                    <a:pt x="55" y="91"/>
                    <a:pt x="55" y="91"/>
                    <a:pt x="55" y="91"/>
                  </a:cubicBezTo>
                  <a:cubicBezTo>
                    <a:pt x="50" y="95"/>
                    <a:pt x="50" y="95"/>
                    <a:pt x="50" y="95"/>
                  </a:cubicBezTo>
                  <a:cubicBezTo>
                    <a:pt x="46" y="91"/>
                    <a:pt x="46" y="91"/>
                    <a:pt x="46" y="91"/>
                  </a:cubicBezTo>
                  <a:cubicBezTo>
                    <a:pt x="46" y="91"/>
                    <a:pt x="46" y="91"/>
                    <a:pt x="46" y="91"/>
                  </a:cubicBezTo>
                  <a:close/>
                  <a:moveTo>
                    <a:pt x="24" y="84"/>
                  </a:moveTo>
                  <a:cubicBezTo>
                    <a:pt x="29" y="80"/>
                    <a:pt x="29" y="80"/>
                    <a:pt x="29" y="80"/>
                  </a:cubicBezTo>
                  <a:cubicBezTo>
                    <a:pt x="33" y="84"/>
                    <a:pt x="33" y="84"/>
                    <a:pt x="33" y="84"/>
                  </a:cubicBezTo>
                  <a:cubicBezTo>
                    <a:pt x="29" y="88"/>
                    <a:pt x="29" y="88"/>
                    <a:pt x="29" y="88"/>
                  </a:cubicBezTo>
                  <a:cubicBezTo>
                    <a:pt x="24" y="84"/>
                    <a:pt x="24" y="84"/>
                    <a:pt x="24" y="84"/>
                  </a:cubicBezTo>
                  <a:cubicBezTo>
                    <a:pt x="24" y="84"/>
                    <a:pt x="24" y="84"/>
                    <a:pt x="24" y="84"/>
                  </a:cubicBezTo>
                  <a:close/>
                  <a:moveTo>
                    <a:pt x="32" y="91"/>
                  </a:moveTo>
                  <a:cubicBezTo>
                    <a:pt x="36" y="87"/>
                    <a:pt x="36" y="87"/>
                    <a:pt x="36" y="87"/>
                  </a:cubicBezTo>
                  <a:cubicBezTo>
                    <a:pt x="40" y="91"/>
                    <a:pt x="40" y="91"/>
                    <a:pt x="40" y="91"/>
                  </a:cubicBezTo>
                  <a:cubicBezTo>
                    <a:pt x="36" y="95"/>
                    <a:pt x="36" y="95"/>
                    <a:pt x="36" y="95"/>
                  </a:cubicBezTo>
                  <a:cubicBezTo>
                    <a:pt x="32" y="91"/>
                    <a:pt x="32" y="91"/>
                    <a:pt x="32" y="91"/>
                  </a:cubicBezTo>
                  <a:cubicBezTo>
                    <a:pt x="32" y="91"/>
                    <a:pt x="32" y="91"/>
                    <a:pt x="32" y="91"/>
                  </a:cubicBezTo>
                  <a:close/>
                  <a:moveTo>
                    <a:pt x="39" y="98"/>
                  </a:moveTo>
                  <a:cubicBezTo>
                    <a:pt x="43" y="94"/>
                    <a:pt x="43" y="94"/>
                    <a:pt x="43" y="94"/>
                  </a:cubicBezTo>
                  <a:cubicBezTo>
                    <a:pt x="47" y="98"/>
                    <a:pt x="47" y="98"/>
                    <a:pt x="47" y="98"/>
                  </a:cubicBezTo>
                  <a:cubicBezTo>
                    <a:pt x="43" y="102"/>
                    <a:pt x="43" y="102"/>
                    <a:pt x="43" y="102"/>
                  </a:cubicBezTo>
                  <a:cubicBezTo>
                    <a:pt x="39" y="98"/>
                    <a:pt x="39" y="98"/>
                    <a:pt x="39" y="98"/>
                  </a:cubicBezTo>
                  <a:cubicBezTo>
                    <a:pt x="39" y="98"/>
                    <a:pt x="39" y="98"/>
                    <a:pt x="39" y="98"/>
                  </a:cubicBezTo>
                  <a:close/>
                  <a:moveTo>
                    <a:pt x="17" y="92"/>
                  </a:moveTo>
                  <a:cubicBezTo>
                    <a:pt x="21" y="88"/>
                    <a:pt x="21" y="88"/>
                    <a:pt x="21" y="88"/>
                  </a:cubicBezTo>
                  <a:cubicBezTo>
                    <a:pt x="25" y="92"/>
                    <a:pt x="25" y="92"/>
                    <a:pt x="25" y="92"/>
                  </a:cubicBezTo>
                  <a:cubicBezTo>
                    <a:pt x="21" y="96"/>
                    <a:pt x="21" y="96"/>
                    <a:pt x="21" y="96"/>
                  </a:cubicBezTo>
                  <a:cubicBezTo>
                    <a:pt x="17" y="92"/>
                    <a:pt x="17" y="92"/>
                    <a:pt x="17" y="92"/>
                  </a:cubicBezTo>
                  <a:cubicBezTo>
                    <a:pt x="17" y="92"/>
                    <a:pt x="17" y="92"/>
                    <a:pt x="17" y="92"/>
                  </a:cubicBezTo>
                  <a:close/>
                  <a:moveTo>
                    <a:pt x="24" y="99"/>
                  </a:moveTo>
                  <a:cubicBezTo>
                    <a:pt x="28" y="95"/>
                    <a:pt x="28" y="95"/>
                    <a:pt x="28" y="95"/>
                  </a:cubicBezTo>
                  <a:cubicBezTo>
                    <a:pt x="32" y="99"/>
                    <a:pt x="32" y="99"/>
                    <a:pt x="32" y="99"/>
                  </a:cubicBezTo>
                  <a:cubicBezTo>
                    <a:pt x="28" y="103"/>
                    <a:pt x="28" y="103"/>
                    <a:pt x="28" y="103"/>
                  </a:cubicBezTo>
                  <a:cubicBezTo>
                    <a:pt x="24" y="99"/>
                    <a:pt x="24" y="99"/>
                    <a:pt x="24" y="99"/>
                  </a:cubicBezTo>
                  <a:cubicBezTo>
                    <a:pt x="24" y="99"/>
                    <a:pt x="24" y="99"/>
                    <a:pt x="24" y="99"/>
                  </a:cubicBezTo>
                  <a:close/>
                  <a:moveTo>
                    <a:pt x="31" y="106"/>
                  </a:moveTo>
                  <a:cubicBezTo>
                    <a:pt x="35" y="102"/>
                    <a:pt x="35" y="102"/>
                    <a:pt x="35" y="102"/>
                  </a:cubicBezTo>
                  <a:cubicBezTo>
                    <a:pt x="39" y="106"/>
                    <a:pt x="39" y="106"/>
                    <a:pt x="39" y="106"/>
                  </a:cubicBezTo>
                  <a:cubicBezTo>
                    <a:pt x="35" y="110"/>
                    <a:pt x="35" y="110"/>
                    <a:pt x="35" y="110"/>
                  </a:cubicBezTo>
                  <a:cubicBezTo>
                    <a:pt x="31" y="106"/>
                    <a:pt x="31" y="106"/>
                    <a:pt x="31" y="106"/>
                  </a:cubicBezTo>
                  <a:cubicBezTo>
                    <a:pt x="31" y="106"/>
                    <a:pt x="31" y="106"/>
                    <a:pt x="31" y="106"/>
                  </a:cubicBezTo>
                  <a:close/>
                  <a:moveTo>
                    <a:pt x="9" y="99"/>
                  </a:moveTo>
                  <a:cubicBezTo>
                    <a:pt x="13" y="95"/>
                    <a:pt x="13" y="95"/>
                    <a:pt x="13" y="95"/>
                  </a:cubicBezTo>
                  <a:cubicBezTo>
                    <a:pt x="17" y="99"/>
                    <a:pt x="17" y="99"/>
                    <a:pt x="17" y="99"/>
                  </a:cubicBezTo>
                  <a:cubicBezTo>
                    <a:pt x="13" y="103"/>
                    <a:pt x="13" y="103"/>
                    <a:pt x="13" y="103"/>
                  </a:cubicBezTo>
                  <a:cubicBezTo>
                    <a:pt x="9" y="99"/>
                    <a:pt x="9" y="99"/>
                    <a:pt x="9" y="99"/>
                  </a:cubicBezTo>
                  <a:cubicBezTo>
                    <a:pt x="9" y="99"/>
                    <a:pt x="9" y="99"/>
                    <a:pt x="9" y="99"/>
                  </a:cubicBezTo>
                  <a:close/>
                  <a:moveTo>
                    <a:pt x="16" y="107"/>
                  </a:moveTo>
                  <a:cubicBezTo>
                    <a:pt x="21" y="102"/>
                    <a:pt x="21" y="102"/>
                    <a:pt x="21" y="102"/>
                  </a:cubicBezTo>
                  <a:cubicBezTo>
                    <a:pt x="25" y="107"/>
                    <a:pt x="25" y="107"/>
                    <a:pt x="25" y="107"/>
                  </a:cubicBezTo>
                  <a:cubicBezTo>
                    <a:pt x="21" y="111"/>
                    <a:pt x="21" y="111"/>
                    <a:pt x="21" y="111"/>
                  </a:cubicBezTo>
                  <a:cubicBezTo>
                    <a:pt x="16" y="107"/>
                    <a:pt x="16" y="107"/>
                    <a:pt x="16" y="107"/>
                  </a:cubicBezTo>
                  <a:cubicBezTo>
                    <a:pt x="16" y="107"/>
                    <a:pt x="16" y="107"/>
                    <a:pt x="16" y="107"/>
                  </a:cubicBezTo>
                  <a:close/>
                  <a:moveTo>
                    <a:pt x="23" y="114"/>
                  </a:moveTo>
                  <a:cubicBezTo>
                    <a:pt x="28" y="109"/>
                    <a:pt x="28" y="109"/>
                    <a:pt x="28" y="109"/>
                  </a:cubicBezTo>
                  <a:cubicBezTo>
                    <a:pt x="32" y="114"/>
                    <a:pt x="32" y="114"/>
                    <a:pt x="32" y="114"/>
                  </a:cubicBezTo>
                  <a:cubicBezTo>
                    <a:pt x="28" y="118"/>
                    <a:pt x="28" y="118"/>
                    <a:pt x="28" y="118"/>
                  </a:cubicBezTo>
                  <a:cubicBezTo>
                    <a:pt x="23" y="114"/>
                    <a:pt x="23" y="114"/>
                    <a:pt x="23" y="114"/>
                  </a:cubicBezTo>
                  <a:cubicBezTo>
                    <a:pt x="23" y="114"/>
                    <a:pt x="23" y="114"/>
                    <a:pt x="23" y="11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05" name="Freeform 2161"/>
            <p:cNvSpPr>
              <a:spLocks noEditPoints="1"/>
            </p:cNvSpPr>
            <p:nvPr/>
          </p:nvSpPr>
          <p:spPr bwMode="auto">
            <a:xfrm>
              <a:off x="23228300" y="3086100"/>
              <a:ext cx="352425" cy="557213"/>
            </a:xfrm>
            <a:custGeom>
              <a:avLst/>
              <a:gdLst>
                <a:gd name="T0" fmla="*/ 27 w 94"/>
                <a:gd name="T1" fmla="*/ 3 h 148"/>
                <a:gd name="T2" fmla="*/ 54 w 94"/>
                <a:gd name="T3" fmla="*/ 141 h 148"/>
                <a:gd name="T4" fmla="*/ 91 w 94"/>
                <a:gd name="T5" fmla="*/ 124 h 148"/>
                <a:gd name="T6" fmla="*/ 32 w 94"/>
                <a:gd name="T7" fmla="*/ 22 h 148"/>
                <a:gd name="T8" fmla="*/ 35 w 94"/>
                <a:gd name="T9" fmla="*/ 79 h 148"/>
                <a:gd name="T10" fmla="*/ 40 w 94"/>
                <a:gd name="T11" fmla="*/ 76 h 148"/>
                <a:gd name="T12" fmla="*/ 44 w 94"/>
                <a:gd name="T13" fmla="*/ 75 h 148"/>
                <a:gd name="T14" fmla="*/ 49 w 94"/>
                <a:gd name="T15" fmla="*/ 72 h 148"/>
                <a:gd name="T16" fmla="*/ 53 w 94"/>
                <a:gd name="T17" fmla="*/ 71 h 148"/>
                <a:gd name="T18" fmla="*/ 58 w 94"/>
                <a:gd name="T19" fmla="*/ 68 h 148"/>
                <a:gd name="T20" fmla="*/ 39 w 94"/>
                <a:gd name="T21" fmla="*/ 89 h 148"/>
                <a:gd name="T22" fmla="*/ 44 w 94"/>
                <a:gd name="T23" fmla="*/ 86 h 148"/>
                <a:gd name="T24" fmla="*/ 49 w 94"/>
                <a:gd name="T25" fmla="*/ 85 h 148"/>
                <a:gd name="T26" fmla="*/ 54 w 94"/>
                <a:gd name="T27" fmla="*/ 82 h 148"/>
                <a:gd name="T28" fmla="*/ 57 w 94"/>
                <a:gd name="T29" fmla="*/ 80 h 148"/>
                <a:gd name="T30" fmla="*/ 63 w 94"/>
                <a:gd name="T31" fmla="*/ 78 h 148"/>
                <a:gd name="T32" fmla="*/ 44 w 94"/>
                <a:gd name="T33" fmla="*/ 99 h 148"/>
                <a:gd name="T34" fmla="*/ 49 w 94"/>
                <a:gd name="T35" fmla="*/ 96 h 148"/>
                <a:gd name="T36" fmla="*/ 53 w 94"/>
                <a:gd name="T37" fmla="*/ 94 h 148"/>
                <a:gd name="T38" fmla="*/ 58 w 94"/>
                <a:gd name="T39" fmla="*/ 92 h 148"/>
                <a:gd name="T40" fmla="*/ 62 w 94"/>
                <a:gd name="T41" fmla="*/ 90 h 148"/>
                <a:gd name="T42" fmla="*/ 67 w 94"/>
                <a:gd name="T43" fmla="*/ 88 h 148"/>
                <a:gd name="T44" fmla="*/ 48 w 94"/>
                <a:gd name="T45" fmla="*/ 108 h 148"/>
                <a:gd name="T46" fmla="*/ 53 w 94"/>
                <a:gd name="T47" fmla="*/ 106 h 148"/>
                <a:gd name="T48" fmla="*/ 57 w 94"/>
                <a:gd name="T49" fmla="*/ 104 h 148"/>
                <a:gd name="T50" fmla="*/ 63 w 94"/>
                <a:gd name="T51" fmla="*/ 102 h 148"/>
                <a:gd name="T52" fmla="*/ 66 w 94"/>
                <a:gd name="T53" fmla="*/ 100 h 148"/>
                <a:gd name="T54" fmla="*/ 72 w 94"/>
                <a:gd name="T55" fmla="*/ 98 h 148"/>
                <a:gd name="T56" fmla="*/ 52 w 94"/>
                <a:gd name="T57" fmla="*/ 118 h 148"/>
                <a:gd name="T58" fmla="*/ 58 w 94"/>
                <a:gd name="T59" fmla="*/ 116 h 148"/>
                <a:gd name="T60" fmla="*/ 62 w 94"/>
                <a:gd name="T61" fmla="*/ 114 h 148"/>
                <a:gd name="T62" fmla="*/ 67 w 94"/>
                <a:gd name="T63" fmla="*/ 112 h 148"/>
                <a:gd name="T64" fmla="*/ 71 w 94"/>
                <a:gd name="T65" fmla="*/ 110 h 148"/>
                <a:gd name="T66" fmla="*/ 76 w 94"/>
                <a:gd name="T67" fmla="*/ 108 h 148"/>
                <a:gd name="T68" fmla="*/ 57 w 94"/>
                <a:gd name="T69" fmla="*/ 128 h 148"/>
                <a:gd name="T70" fmla="*/ 62 w 94"/>
                <a:gd name="T71" fmla="*/ 126 h 148"/>
                <a:gd name="T72" fmla="*/ 66 w 94"/>
                <a:gd name="T73" fmla="*/ 124 h 148"/>
                <a:gd name="T74" fmla="*/ 71 w 94"/>
                <a:gd name="T75" fmla="*/ 122 h 148"/>
                <a:gd name="T76" fmla="*/ 75 w 94"/>
                <a:gd name="T77" fmla="*/ 120 h 148"/>
                <a:gd name="T78" fmla="*/ 80 w 94"/>
                <a:gd name="T79" fmla="*/ 117 h 148"/>
                <a:gd name="T80" fmla="*/ 61 w 94"/>
                <a:gd name="T81" fmla="*/ 138 h 148"/>
                <a:gd name="T82" fmla="*/ 67 w 94"/>
                <a:gd name="T83" fmla="*/ 135 h 148"/>
                <a:gd name="T84" fmla="*/ 71 w 94"/>
                <a:gd name="T85" fmla="*/ 134 h 148"/>
                <a:gd name="T86" fmla="*/ 76 w 94"/>
                <a:gd name="T87" fmla="*/ 131 h 148"/>
                <a:gd name="T88" fmla="*/ 80 w 94"/>
                <a:gd name="T89" fmla="*/ 130 h 148"/>
                <a:gd name="T90" fmla="*/ 85 w 94"/>
                <a:gd name="T91" fmla="*/ 12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4" h="148">
                  <a:moveTo>
                    <a:pt x="91" y="124"/>
                  </a:moveTo>
                  <a:cubicBezTo>
                    <a:pt x="39" y="7"/>
                    <a:pt x="39" y="7"/>
                    <a:pt x="39" y="7"/>
                  </a:cubicBezTo>
                  <a:cubicBezTo>
                    <a:pt x="37" y="3"/>
                    <a:pt x="31" y="0"/>
                    <a:pt x="27" y="3"/>
                  </a:cubicBezTo>
                  <a:cubicBezTo>
                    <a:pt x="7" y="12"/>
                    <a:pt x="7" y="12"/>
                    <a:pt x="7" y="12"/>
                  </a:cubicBezTo>
                  <a:cubicBezTo>
                    <a:pt x="2" y="14"/>
                    <a:pt x="0" y="19"/>
                    <a:pt x="2" y="24"/>
                  </a:cubicBezTo>
                  <a:cubicBezTo>
                    <a:pt x="54" y="141"/>
                    <a:pt x="54" y="141"/>
                    <a:pt x="54" y="141"/>
                  </a:cubicBezTo>
                  <a:cubicBezTo>
                    <a:pt x="56" y="145"/>
                    <a:pt x="62" y="148"/>
                    <a:pt x="67" y="145"/>
                  </a:cubicBezTo>
                  <a:cubicBezTo>
                    <a:pt x="87" y="136"/>
                    <a:pt x="87" y="136"/>
                    <a:pt x="87" y="136"/>
                  </a:cubicBezTo>
                  <a:cubicBezTo>
                    <a:pt x="92" y="134"/>
                    <a:pt x="94" y="129"/>
                    <a:pt x="91" y="124"/>
                  </a:cubicBezTo>
                  <a:close/>
                  <a:moveTo>
                    <a:pt x="18" y="29"/>
                  </a:moveTo>
                  <a:cubicBezTo>
                    <a:pt x="16" y="25"/>
                    <a:pt x="18" y="20"/>
                    <a:pt x="22" y="19"/>
                  </a:cubicBezTo>
                  <a:cubicBezTo>
                    <a:pt x="26" y="17"/>
                    <a:pt x="30" y="19"/>
                    <a:pt x="32" y="22"/>
                  </a:cubicBezTo>
                  <a:cubicBezTo>
                    <a:pt x="33" y="26"/>
                    <a:pt x="32" y="31"/>
                    <a:pt x="28" y="32"/>
                  </a:cubicBezTo>
                  <a:cubicBezTo>
                    <a:pt x="24" y="34"/>
                    <a:pt x="20" y="32"/>
                    <a:pt x="18" y="29"/>
                  </a:cubicBezTo>
                  <a:close/>
                  <a:moveTo>
                    <a:pt x="35" y="79"/>
                  </a:moveTo>
                  <a:cubicBezTo>
                    <a:pt x="32" y="74"/>
                    <a:pt x="32" y="74"/>
                    <a:pt x="32" y="74"/>
                  </a:cubicBezTo>
                  <a:cubicBezTo>
                    <a:pt x="38" y="71"/>
                    <a:pt x="38" y="71"/>
                    <a:pt x="38" y="71"/>
                  </a:cubicBezTo>
                  <a:cubicBezTo>
                    <a:pt x="40" y="76"/>
                    <a:pt x="40" y="76"/>
                    <a:pt x="40" y="76"/>
                  </a:cubicBezTo>
                  <a:cubicBezTo>
                    <a:pt x="35" y="79"/>
                    <a:pt x="35" y="79"/>
                    <a:pt x="35" y="79"/>
                  </a:cubicBezTo>
                  <a:cubicBezTo>
                    <a:pt x="35" y="79"/>
                    <a:pt x="35" y="79"/>
                    <a:pt x="35" y="79"/>
                  </a:cubicBezTo>
                  <a:close/>
                  <a:moveTo>
                    <a:pt x="44" y="75"/>
                  </a:moveTo>
                  <a:cubicBezTo>
                    <a:pt x="42" y="69"/>
                    <a:pt x="42" y="69"/>
                    <a:pt x="42" y="69"/>
                  </a:cubicBezTo>
                  <a:cubicBezTo>
                    <a:pt x="47" y="67"/>
                    <a:pt x="47" y="67"/>
                    <a:pt x="47" y="67"/>
                  </a:cubicBezTo>
                  <a:cubicBezTo>
                    <a:pt x="49" y="72"/>
                    <a:pt x="49" y="72"/>
                    <a:pt x="49" y="72"/>
                  </a:cubicBezTo>
                  <a:cubicBezTo>
                    <a:pt x="44" y="75"/>
                    <a:pt x="44" y="75"/>
                    <a:pt x="44" y="75"/>
                  </a:cubicBezTo>
                  <a:cubicBezTo>
                    <a:pt x="44" y="75"/>
                    <a:pt x="44" y="75"/>
                    <a:pt x="44" y="75"/>
                  </a:cubicBezTo>
                  <a:close/>
                  <a:moveTo>
                    <a:pt x="53" y="71"/>
                  </a:moveTo>
                  <a:cubicBezTo>
                    <a:pt x="51" y="65"/>
                    <a:pt x="51" y="65"/>
                    <a:pt x="51" y="65"/>
                  </a:cubicBezTo>
                  <a:cubicBezTo>
                    <a:pt x="56" y="63"/>
                    <a:pt x="56" y="63"/>
                    <a:pt x="56" y="63"/>
                  </a:cubicBezTo>
                  <a:cubicBezTo>
                    <a:pt x="58" y="68"/>
                    <a:pt x="58" y="68"/>
                    <a:pt x="58" y="68"/>
                  </a:cubicBezTo>
                  <a:cubicBezTo>
                    <a:pt x="53" y="71"/>
                    <a:pt x="53" y="71"/>
                    <a:pt x="53" y="71"/>
                  </a:cubicBezTo>
                  <a:cubicBezTo>
                    <a:pt x="53" y="71"/>
                    <a:pt x="53" y="71"/>
                    <a:pt x="53" y="71"/>
                  </a:cubicBezTo>
                  <a:close/>
                  <a:moveTo>
                    <a:pt x="39" y="89"/>
                  </a:moveTo>
                  <a:cubicBezTo>
                    <a:pt x="37" y="83"/>
                    <a:pt x="37" y="83"/>
                    <a:pt x="37" y="83"/>
                  </a:cubicBezTo>
                  <a:cubicBezTo>
                    <a:pt x="42" y="81"/>
                    <a:pt x="42" y="81"/>
                    <a:pt x="42" y="81"/>
                  </a:cubicBezTo>
                  <a:cubicBezTo>
                    <a:pt x="44" y="86"/>
                    <a:pt x="44" y="86"/>
                    <a:pt x="44" y="86"/>
                  </a:cubicBezTo>
                  <a:cubicBezTo>
                    <a:pt x="39" y="89"/>
                    <a:pt x="39" y="89"/>
                    <a:pt x="39" y="89"/>
                  </a:cubicBezTo>
                  <a:cubicBezTo>
                    <a:pt x="39" y="89"/>
                    <a:pt x="39" y="89"/>
                    <a:pt x="39" y="89"/>
                  </a:cubicBezTo>
                  <a:close/>
                  <a:moveTo>
                    <a:pt x="49" y="85"/>
                  </a:moveTo>
                  <a:cubicBezTo>
                    <a:pt x="46" y="79"/>
                    <a:pt x="46" y="79"/>
                    <a:pt x="46" y="79"/>
                  </a:cubicBezTo>
                  <a:cubicBezTo>
                    <a:pt x="51" y="77"/>
                    <a:pt x="51" y="77"/>
                    <a:pt x="51" y="77"/>
                  </a:cubicBezTo>
                  <a:cubicBezTo>
                    <a:pt x="54" y="82"/>
                    <a:pt x="54" y="82"/>
                    <a:pt x="54" y="82"/>
                  </a:cubicBezTo>
                  <a:cubicBezTo>
                    <a:pt x="49" y="85"/>
                    <a:pt x="49" y="85"/>
                    <a:pt x="49" y="85"/>
                  </a:cubicBezTo>
                  <a:cubicBezTo>
                    <a:pt x="49" y="85"/>
                    <a:pt x="49" y="85"/>
                    <a:pt x="49" y="85"/>
                  </a:cubicBezTo>
                  <a:close/>
                  <a:moveTo>
                    <a:pt x="57" y="80"/>
                  </a:moveTo>
                  <a:cubicBezTo>
                    <a:pt x="55" y="75"/>
                    <a:pt x="55" y="75"/>
                    <a:pt x="55" y="75"/>
                  </a:cubicBezTo>
                  <a:cubicBezTo>
                    <a:pt x="60" y="73"/>
                    <a:pt x="60" y="73"/>
                    <a:pt x="60" y="73"/>
                  </a:cubicBezTo>
                  <a:cubicBezTo>
                    <a:pt x="63" y="78"/>
                    <a:pt x="63" y="78"/>
                    <a:pt x="63" y="78"/>
                  </a:cubicBezTo>
                  <a:cubicBezTo>
                    <a:pt x="57" y="80"/>
                    <a:pt x="57" y="80"/>
                    <a:pt x="57" y="80"/>
                  </a:cubicBezTo>
                  <a:cubicBezTo>
                    <a:pt x="57" y="80"/>
                    <a:pt x="57" y="80"/>
                    <a:pt x="57" y="80"/>
                  </a:cubicBezTo>
                  <a:close/>
                  <a:moveTo>
                    <a:pt x="44" y="99"/>
                  </a:moveTo>
                  <a:cubicBezTo>
                    <a:pt x="41" y="93"/>
                    <a:pt x="41" y="93"/>
                    <a:pt x="41" y="93"/>
                  </a:cubicBezTo>
                  <a:cubicBezTo>
                    <a:pt x="46" y="91"/>
                    <a:pt x="46" y="91"/>
                    <a:pt x="46" y="91"/>
                  </a:cubicBezTo>
                  <a:cubicBezTo>
                    <a:pt x="49" y="96"/>
                    <a:pt x="49" y="96"/>
                    <a:pt x="49" y="96"/>
                  </a:cubicBezTo>
                  <a:cubicBezTo>
                    <a:pt x="44" y="99"/>
                    <a:pt x="44" y="99"/>
                    <a:pt x="44" y="99"/>
                  </a:cubicBezTo>
                  <a:cubicBezTo>
                    <a:pt x="44" y="99"/>
                    <a:pt x="44" y="99"/>
                    <a:pt x="44" y="99"/>
                  </a:cubicBezTo>
                  <a:close/>
                  <a:moveTo>
                    <a:pt x="53" y="94"/>
                  </a:moveTo>
                  <a:cubicBezTo>
                    <a:pt x="50" y="89"/>
                    <a:pt x="50" y="89"/>
                    <a:pt x="50" y="89"/>
                  </a:cubicBezTo>
                  <a:cubicBezTo>
                    <a:pt x="56" y="87"/>
                    <a:pt x="56" y="87"/>
                    <a:pt x="56" y="87"/>
                  </a:cubicBezTo>
                  <a:cubicBezTo>
                    <a:pt x="58" y="92"/>
                    <a:pt x="58" y="92"/>
                    <a:pt x="58" y="92"/>
                  </a:cubicBezTo>
                  <a:cubicBezTo>
                    <a:pt x="53" y="94"/>
                    <a:pt x="53" y="94"/>
                    <a:pt x="53" y="94"/>
                  </a:cubicBezTo>
                  <a:cubicBezTo>
                    <a:pt x="53" y="94"/>
                    <a:pt x="53" y="94"/>
                    <a:pt x="53" y="94"/>
                  </a:cubicBezTo>
                  <a:close/>
                  <a:moveTo>
                    <a:pt x="62" y="90"/>
                  </a:moveTo>
                  <a:cubicBezTo>
                    <a:pt x="59" y="85"/>
                    <a:pt x="59" y="85"/>
                    <a:pt x="59" y="85"/>
                  </a:cubicBezTo>
                  <a:cubicBezTo>
                    <a:pt x="65" y="82"/>
                    <a:pt x="65" y="82"/>
                    <a:pt x="65" y="82"/>
                  </a:cubicBezTo>
                  <a:cubicBezTo>
                    <a:pt x="67" y="88"/>
                    <a:pt x="67" y="88"/>
                    <a:pt x="67" y="88"/>
                  </a:cubicBezTo>
                  <a:cubicBezTo>
                    <a:pt x="62" y="90"/>
                    <a:pt x="62" y="90"/>
                    <a:pt x="62" y="90"/>
                  </a:cubicBezTo>
                  <a:cubicBezTo>
                    <a:pt x="62" y="90"/>
                    <a:pt x="62" y="90"/>
                    <a:pt x="62" y="90"/>
                  </a:cubicBezTo>
                  <a:close/>
                  <a:moveTo>
                    <a:pt x="48" y="108"/>
                  </a:moveTo>
                  <a:cubicBezTo>
                    <a:pt x="46" y="103"/>
                    <a:pt x="46" y="103"/>
                    <a:pt x="46" y="103"/>
                  </a:cubicBezTo>
                  <a:cubicBezTo>
                    <a:pt x="51" y="101"/>
                    <a:pt x="51" y="101"/>
                    <a:pt x="51" y="101"/>
                  </a:cubicBezTo>
                  <a:cubicBezTo>
                    <a:pt x="53" y="106"/>
                    <a:pt x="53" y="106"/>
                    <a:pt x="53" y="106"/>
                  </a:cubicBezTo>
                  <a:cubicBezTo>
                    <a:pt x="48" y="108"/>
                    <a:pt x="48" y="108"/>
                    <a:pt x="48" y="108"/>
                  </a:cubicBezTo>
                  <a:cubicBezTo>
                    <a:pt x="48" y="108"/>
                    <a:pt x="48" y="108"/>
                    <a:pt x="48" y="108"/>
                  </a:cubicBezTo>
                  <a:close/>
                  <a:moveTo>
                    <a:pt x="57" y="104"/>
                  </a:moveTo>
                  <a:cubicBezTo>
                    <a:pt x="55" y="99"/>
                    <a:pt x="55" y="99"/>
                    <a:pt x="55" y="99"/>
                  </a:cubicBezTo>
                  <a:cubicBezTo>
                    <a:pt x="60" y="96"/>
                    <a:pt x="60" y="96"/>
                    <a:pt x="60" y="96"/>
                  </a:cubicBezTo>
                  <a:cubicBezTo>
                    <a:pt x="63" y="102"/>
                    <a:pt x="63" y="102"/>
                    <a:pt x="63" y="102"/>
                  </a:cubicBezTo>
                  <a:cubicBezTo>
                    <a:pt x="57" y="104"/>
                    <a:pt x="57" y="104"/>
                    <a:pt x="57" y="104"/>
                  </a:cubicBezTo>
                  <a:cubicBezTo>
                    <a:pt x="57" y="104"/>
                    <a:pt x="57" y="104"/>
                    <a:pt x="57" y="104"/>
                  </a:cubicBezTo>
                  <a:close/>
                  <a:moveTo>
                    <a:pt x="66" y="100"/>
                  </a:moveTo>
                  <a:cubicBezTo>
                    <a:pt x="64" y="95"/>
                    <a:pt x="64" y="95"/>
                    <a:pt x="64" y="95"/>
                  </a:cubicBezTo>
                  <a:cubicBezTo>
                    <a:pt x="69" y="92"/>
                    <a:pt x="69" y="92"/>
                    <a:pt x="69" y="92"/>
                  </a:cubicBezTo>
                  <a:cubicBezTo>
                    <a:pt x="72" y="98"/>
                    <a:pt x="72" y="98"/>
                    <a:pt x="72" y="98"/>
                  </a:cubicBezTo>
                  <a:cubicBezTo>
                    <a:pt x="66" y="100"/>
                    <a:pt x="66" y="100"/>
                    <a:pt x="66" y="100"/>
                  </a:cubicBezTo>
                  <a:cubicBezTo>
                    <a:pt x="66" y="100"/>
                    <a:pt x="66" y="100"/>
                    <a:pt x="66" y="100"/>
                  </a:cubicBezTo>
                  <a:close/>
                  <a:moveTo>
                    <a:pt x="52" y="118"/>
                  </a:moveTo>
                  <a:cubicBezTo>
                    <a:pt x="50" y="113"/>
                    <a:pt x="50" y="113"/>
                    <a:pt x="50" y="113"/>
                  </a:cubicBezTo>
                  <a:cubicBezTo>
                    <a:pt x="55" y="111"/>
                    <a:pt x="55" y="111"/>
                    <a:pt x="55" y="111"/>
                  </a:cubicBezTo>
                  <a:cubicBezTo>
                    <a:pt x="58" y="116"/>
                    <a:pt x="58" y="116"/>
                    <a:pt x="58" y="116"/>
                  </a:cubicBezTo>
                  <a:cubicBezTo>
                    <a:pt x="52" y="118"/>
                    <a:pt x="52" y="118"/>
                    <a:pt x="52" y="118"/>
                  </a:cubicBezTo>
                  <a:cubicBezTo>
                    <a:pt x="52" y="118"/>
                    <a:pt x="52" y="118"/>
                    <a:pt x="52" y="118"/>
                  </a:cubicBezTo>
                  <a:close/>
                  <a:moveTo>
                    <a:pt x="62" y="114"/>
                  </a:moveTo>
                  <a:cubicBezTo>
                    <a:pt x="59" y="109"/>
                    <a:pt x="59" y="109"/>
                    <a:pt x="59" y="109"/>
                  </a:cubicBezTo>
                  <a:cubicBezTo>
                    <a:pt x="65" y="106"/>
                    <a:pt x="65" y="106"/>
                    <a:pt x="65" y="106"/>
                  </a:cubicBezTo>
                  <a:cubicBezTo>
                    <a:pt x="67" y="112"/>
                    <a:pt x="67" y="112"/>
                    <a:pt x="67" y="112"/>
                  </a:cubicBezTo>
                  <a:cubicBezTo>
                    <a:pt x="62" y="114"/>
                    <a:pt x="62" y="114"/>
                    <a:pt x="62" y="114"/>
                  </a:cubicBezTo>
                  <a:cubicBezTo>
                    <a:pt x="62" y="114"/>
                    <a:pt x="62" y="114"/>
                    <a:pt x="62" y="114"/>
                  </a:cubicBezTo>
                  <a:close/>
                  <a:moveTo>
                    <a:pt x="71" y="110"/>
                  </a:moveTo>
                  <a:cubicBezTo>
                    <a:pt x="68" y="105"/>
                    <a:pt x="68" y="105"/>
                    <a:pt x="68" y="105"/>
                  </a:cubicBezTo>
                  <a:cubicBezTo>
                    <a:pt x="74" y="102"/>
                    <a:pt x="74" y="102"/>
                    <a:pt x="74" y="102"/>
                  </a:cubicBezTo>
                  <a:cubicBezTo>
                    <a:pt x="76" y="108"/>
                    <a:pt x="76" y="108"/>
                    <a:pt x="76" y="108"/>
                  </a:cubicBezTo>
                  <a:cubicBezTo>
                    <a:pt x="71" y="110"/>
                    <a:pt x="71" y="110"/>
                    <a:pt x="71" y="110"/>
                  </a:cubicBezTo>
                  <a:cubicBezTo>
                    <a:pt x="71" y="110"/>
                    <a:pt x="71" y="110"/>
                    <a:pt x="71" y="110"/>
                  </a:cubicBezTo>
                  <a:close/>
                  <a:moveTo>
                    <a:pt x="57" y="128"/>
                  </a:moveTo>
                  <a:cubicBezTo>
                    <a:pt x="54" y="123"/>
                    <a:pt x="54" y="123"/>
                    <a:pt x="54" y="123"/>
                  </a:cubicBezTo>
                  <a:cubicBezTo>
                    <a:pt x="60" y="120"/>
                    <a:pt x="60" y="120"/>
                    <a:pt x="60" y="120"/>
                  </a:cubicBezTo>
                  <a:cubicBezTo>
                    <a:pt x="62" y="126"/>
                    <a:pt x="62" y="126"/>
                    <a:pt x="62" y="126"/>
                  </a:cubicBezTo>
                  <a:cubicBezTo>
                    <a:pt x="57" y="128"/>
                    <a:pt x="57" y="128"/>
                    <a:pt x="57" y="128"/>
                  </a:cubicBezTo>
                  <a:cubicBezTo>
                    <a:pt x="57" y="128"/>
                    <a:pt x="57" y="128"/>
                    <a:pt x="57" y="128"/>
                  </a:cubicBezTo>
                  <a:close/>
                  <a:moveTo>
                    <a:pt x="66" y="124"/>
                  </a:moveTo>
                  <a:cubicBezTo>
                    <a:pt x="64" y="118"/>
                    <a:pt x="64" y="118"/>
                    <a:pt x="64" y="118"/>
                  </a:cubicBezTo>
                  <a:cubicBezTo>
                    <a:pt x="69" y="116"/>
                    <a:pt x="69" y="116"/>
                    <a:pt x="69" y="116"/>
                  </a:cubicBezTo>
                  <a:cubicBezTo>
                    <a:pt x="71" y="122"/>
                    <a:pt x="71" y="122"/>
                    <a:pt x="71" y="122"/>
                  </a:cubicBezTo>
                  <a:cubicBezTo>
                    <a:pt x="66" y="124"/>
                    <a:pt x="66" y="124"/>
                    <a:pt x="66" y="124"/>
                  </a:cubicBezTo>
                  <a:cubicBezTo>
                    <a:pt x="66" y="124"/>
                    <a:pt x="66" y="124"/>
                    <a:pt x="66" y="124"/>
                  </a:cubicBezTo>
                  <a:close/>
                  <a:moveTo>
                    <a:pt x="75" y="120"/>
                  </a:moveTo>
                  <a:cubicBezTo>
                    <a:pt x="73" y="114"/>
                    <a:pt x="73" y="114"/>
                    <a:pt x="73" y="114"/>
                  </a:cubicBezTo>
                  <a:cubicBezTo>
                    <a:pt x="78" y="112"/>
                    <a:pt x="78" y="112"/>
                    <a:pt x="78" y="112"/>
                  </a:cubicBezTo>
                  <a:cubicBezTo>
                    <a:pt x="80" y="117"/>
                    <a:pt x="80" y="117"/>
                    <a:pt x="80" y="117"/>
                  </a:cubicBezTo>
                  <a:cubicBezTo>
                    <a:pt x="75" y="120"/>
                    <a:pt x="75" y="120"/>
                    <a:pt x="75" y="120"/>
                  </a:cubicBezTo>
                  <a:cubicBezTo>
                    <a:pt x="75" y="120"/>
                    <a:pt x="75" y="120"/>
                    <a:pt x="75" y="120"/>
                  </a:cubicBezTo>
                  <a:close/>
                  <a:moveTo>
                    <a:pt x="61" y="138"/>
                  </a:moveTo>
                  <a:cubicBezTo>
                    <a:pt x="59" y="133"/>
                    <a:pt x="59" y="133"/>
                    <a:pt x="59" y="133"/>
                  </a:cubicBezTo>
                  <a:cubicBezTo>
                    <a:pt x="64" y="130"/>
                    <a:pt x="64" y="130"/>
                    <a:pt x="64" y="130"/>
                  </a:cubicBezTo>
                  <a:cubicBezTo>
                    <a:pt x="67" y="135"/>
                    <a:pt x="67" y="135"/>
                    <a:pt x="67" y="135"/>
                  </a:cubicBezTo>
                  <a:cubicBezTo>
                    <a:pt x="61" y="138"/>
                    <a:pt x="61" y="138"/>
                    <a:pt x="61" y="138"/>
                  </a:cubicBezTo>
                  <a:cubicBezTo>
                    <a:pt x="61" y="138"/>
                    <a:pt x="61" y="138"/>
                    <a:pt x="61" y="138"/>
                  </a:cubicBezTo>
                  <a:close/>
                  <a:moveTo>
                    <a:pt x="71" y="134"/>
                  </a:moveTo>
                  <a:cubicBezTo>
                    <a:pt x="68" y="128"/>
                    <a:pt x="68" y="128"/>
                    <a:pt x="68" y="128"/>
                  </a:cubicBezTo>
                  <a:cubicBezTo>
                    <a:pt x="74" y="126"/>
                    <a:pt x="74" y="126"/>
                    <a:pt x="74" y="126"/>
                  </a:cubicBezTo>
                  <a:cubicBezTo>
                    <a:pt x="76" y="131"/>
                    <a:pt x="76" y="131"/>
                    <a:pt x="76" y="131"/>
                  </a:cubicBezTo>
                  <a:cubicBezTo>
                    <a:pt x="71" y="134"/>
                    <a:pt x="71" y="134"/>
                    <a:pt x="71" y="134"/>
                  </a:cubicBezTo>
                  <a:cubicBezTo>
                    <a:pt x="71" y="134"/>
                    <a:pt x="71" y="134"/>
                    <a:pt x="71" y="134"/>
                  </a:cubicBezTo>
                  <a:close/>
                  <a:moveTo>
                    <a:pt x="80" y="130"/>
                  </a:moveTo>
                  <a:cubicBezTo>
                    <a:pt x="77" y="124"/>
                    <a:pt x="77" y="124"/>
                    <a:pt x="77" y="124"/>
                  </a:cubicBezTo>
                  <a:cubicBezTo>
                    <a:pt x="82" y="122"/>
                    <a:pt x="82" y="122"/>
                    <a:pt x="82" y="122"/>
                  </a:cubicBezTo>
                  <a:cubicBezTo>
                    <a:pt x="85" y="127"/>
                    <a:pt x="85" y="127"/>
                    <a:pt x="85" y="127"/>
                  </a:cubicBezTo>
                  <a:cubicBezTo>
                    <a:pt x="80" y="130"/>
                    <a:pt x="80" y="130"/>
                    <a:pt x="80" y="130"/>
                  </a:cubicBezTo>
                  <a:cubicBezTo>
                    <a:pt x="80" y="130"/>
                    <a:pt x="80" y="130"/>
                    <a:pt x="80" y="130"/>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06" name="Freeform 2162"/>
            <p:cNvSpPr>
              <a:spLocks noEditPoints="1"/>
            </p:cNvSpPr>
            <p:nvPr/>
          </p:nvSpPr>
          <p:spPr bwMode="auto">
            <a:xfrm>
              <a:off x="22139275" y="661988"/>
              <a:ext cx="352425" cy="552450"/>
            </a:xfrm>
            <a:custGeom>
              <a:avLst/>
              <a:gdLst>
                <a:gd name="T0" fmla="*/ 67 w 94"/>
                <a:gd name="T1" fmla="*/ 145 h 147"/>
                <a:gd name="T2" fmla="*/ 39 w 94"/>
                <a:gd name="T3" fmla="*/ 7 h 147"/>
                <a:gd name="T4" fmla="*/ 2 w 94"/>
                <a:gd name="T5" fmla="*/ 23 h 147"/>
                <a:gd name="T6" fmla="*/ 62 w 94"/>
                <a:gd name="T7" fmla="*/ 125 h 147"/>
                <a:gd name="T8" fmla="*/ 59 w 94"/>
                <a:gd name="T9" fmla="*/ 68 h 147"/>
                <a:gd name="T10" fmla="*/ 53 w 94"/>
                <a:gd name="T11" fmla="*/ 71 h 147"/>
                <a:gd name="T12" fmla="*/ 49 w 94"/>
                <a:gd name="T13" fmla="*/ 73 h 147"/>
                <a:gd name="T14" fmla="*/ 44 w 94"/>
                <a:gd name="T15" fmla="*/ 75 h 147"/>
                <a:gd name="T16" fmla="*/ 40 w 94"/>
                <a:gd name="T17" fmla="*/ 77 h 147"/>
                <a:gd name="T18" fmla="*/ 35 w 94"/>
                <a:gd name="T19" fmla="*/ 79 h 147"/>
                <a:gd name="T20" fmla="*/ 54 w 94"/>
                <a:gd name="T21" fmla="*/ 58 h 147"/>
                <a:gd name="T22" fmla="*/ 49 w 94"/>
                <a:gd name="T23" fmla="*/ 61 h 147"/>
                <a:gd name="T24" fmla="*/ 45 w 94"/>
                <a:gd name="T25" fmla="*/ 63 h 147"/>
                <a:gd name="T26" fmla="*/ 39 w 94"/>
                <a:gd name="T27" fmla="*/ 65 h 147"/>
                <a:gd name="T28" fmla="*/ 36 w 94"/>
                <a:gd name="T29" fmla="*/ 67 h 147"/>
                <a:gd name="T30" fmla="*/ 31 w 94"/>
                <a:gd name="T31" fmla="*/ 69 h 147"/>
                <a:gd name="T32" fmla="*/ 50 w 94"/>
                <a:gd name="T33" fmla="*/ 49 h 147"/>
                <a:gd name="T34" fmla="*/ 44 w 94"/>
                <a:gd name="T35" fmla="*/ 51 h 147"/>
                <a:gd name="T36" fmla="*/ 40 w 94"/>
                <a:gd name="T37" fmla="*/ 53 h 147"/>
                <a:gd name="T38" fmla="*/ 35 w 94"/>
                <a:gd name="T39" fmla="*/ 55 h 147"/>
                <a:gd name="T40" fmla="*/ 31 w 94"/>
                <a:gd name="T41" fmla="*/ 57 h 147"/>
                <a:gd name="T42" fmla="*/ 26 w 94"/>
                <a:gd name="T43" fmla="*/ 59 h 147"/>
                <a:gd name="T44" fmla="*/ 45 w 94"/>
                <a:gd name="T45" fmla="*/ 39 h 147"/>
                <a:gd name="T46" fmla="*/ 40 w 94"/>
                <a:gd name="T47" fmla="*/ 41 h 147"/>
                <a:gd name="T48" fmla="*/ 36 w 94"/>
                <a:gd name="T49" fmla="*/ 43 h 147"/>
                <a:gd name="T50" fmla="*/ 31 w 94"/>
                <a:gd name="T51" fmla="*/ 45 h 147"/>
                <a:gd name="T52" fmla="*/ 27 w 94"/>
                <a:gd name="T53" fmla="*/ 47 h 147"/>
                <a:gd name="T54" fmla="*/ 22 w 94"/>
                <a:gd name="T55" fmla="*/ 50 h 147"/>
                <a:gd name="T56" fmla="*/ 41 w 94"/>
                <a:gd name="T57" fmla="*/ 29 h 147"/>
                <a:gd name="T58" fmla="*/ 36 w 94"/>
                <a:gd name="T59" fmla="*/ 31 h 147"/>
                <a:gd name="T60" fmla="*/ 32 w 94"/>
                <a:gd name="T61" fmla="*/ 33 h 147"/>
                <a:gd name="T62" fmla="*/ 26 w 94"/>
                <a:gd name="T63" fmla="*/ 36 h 147"/>
                <a:gd name="T64" fmla="*/ 23 w 94"/>
                <a:gd name="T65" fmla="*/ 37 h 147"/>
                <a:gd name="T66" fmla="*/ 17 w 94"/>
                <a:gd name="T67" fmla="*/ 40 h 147"/>
                <a:gd name="T68" fmla="*/ 36 w 94"/>
                <a:gd name="T69" fmla="*/ 19 h 147"/>
                <a:gd name="T70" fmla="*/ 31 w 94"/>
                <a:gd name="T71" fmla="*/ 21 h 147"/>
                <a:gd name="T72" fmla="*/ 27 w 94"/>
                <a:gd name="T73" fmla="*/ 23 h 147"/>
                <a:gd name="T74" fmla="*/ 22 w 94"/>
                <a:gd name="T75" fmla="*/ 26 h 147"/>
                <a:gd name="T76" fmla="*/ 18 w 94"/>
                <a:gd name="T77" fmla="*/ 27 h 147"/>
                <a:gd name="T78" fmla="*/ 13 w 94"/>
                <a:gd name="T79" fmla="*/ 30 h 147"/>
                <a:gd name="T80" fmla="*/ 32 w 94"/>
                <a:gd name="T81" fmla="*/ 9 h 147"/>
                <a:gd name="T82" fmla="*/ 27 w 94"/>
                <a:gd name="T83" fmla="*/ 12 h 147"/>
                <a:gd name="T84" fmla="*/ 23 w 94"/>
                <a:gd name="T85" fmla="*/ 14 h 147"/>
                <a:gd name="T86" fmla="*/ 17 w 94"/>
                <a:gd name="T87" fmla="*/ 16 h 147"/>
                <a:gd name="T88" fmla="*/ 14 w 94"/>
                <a:gd name="T89" fmla="*/ 18 h 147"/>
                <a:gd name="T90" fmla="*/ 8 w 94"/>
                <a:gd name="T91" fmla="*/ 2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4" h="147">
                  <a:moveTo>
                    <a:pt x="2" y="23"/>
                  </a:moveTo>
                  <a:cubicBezTo>
                    <a:pt x="54" y="140"/>
                    <a:pt x="54" y="140"/>
                    <a:pt x="54" y="140"/>
                  </a:cubicBezTo>
                  <a:cubicBezTo>
                    <a:pt x="56" y="145"/>
                    <a:pt x="62" y="147"/>
                    <a:pt x="67" y="145"/>
                  </a:cubicBezTo>
                  <a:cubicBezTo>
                    <a:pt x="87" y="136"/>
                    <a:pt x="87" y="136"/>
                    <a:pt x="87" y="136"/>
                  </a:cubicBezTo>
                  <a:cubicBezTo>
                    <a:pt x="91" y="133"/>
                    <a:pt x="94" y="128"/>
                    <a:pt x="91" y="123"/>
                  </a:cubicBezTo>
                  <a:cubicBezTo>
                    <a:pt x="39" y="7"/>
                    <a:pt x="39" y="7"/>
                    <a:pt x="39" y="7"/>
                  </a:cubicBezTo>
                  <a:cubicBezTo>
                    <a:pt x="37" y="2"/>
                    <a:pt x="31" y="0"/>
                    <a:pt x="27" y="2"/>
                  </a:cubicBezTo>
                  <a:cubicBezTo>
                    <a:pt x="6" y="11"/>
                    <a:pt x="6" y="11"/>
                    <a:pt x="6" y="11"/>
                  </a:cubicBezTo>
                  <a:cubicBezTo>
                    <a:pt x="2" y="13"/>
                    <a:pt x="0" y="18"/>
                    <a:pt x="2" y="23"/>
                  </a:cubicBezTo>
                  <a:close/>
                  <a:moveTo>
                    <a:pt x="75" y="119"/>
                  </a:moveTo>
                  <a:cubicBezTo>
                    <a:pt x="77" y="122"/>
                    <a:pt x="75" y="127"/>
                    <a:pt x="71" y="128"/>
                  </a:cubicBezTo>
                  <a:cubicBezTo>
                    <a:pt x="68" y="130"/>
                    <a:pt x="63" y="128"/>
                    <a:pt x="62" y="125"/>
                  </a:cubicBezTo>
                  <a:cubicBezTo>
                    <a:pt x="60" y="121"/>
                    <a:pt x="62" y="117"/>
                    <a:pt x="65" y="115"/>
                  </a:cubicBezTo>
                  <a:cubicBezTo>
                    <a:pt x="69" y="113"/>
                    <a:pt x="74" y="115"/>
                    <a:pt x="75" y="119"/>
                  </a:cubicBezTo>
                  <a:close/>
                  <a:moveTo>
                    <a:pt x="59" y="68"/>
                  </a:moveTo>
                  <a:cubicBezTo>
                    <a:pt x="61" y="74"/>
                    <a:pt x="61" y="74"/>
                    <a:pt x="61" y="74"/>
                  </a:cubicBezTo>
                  <a:cubicBezTo>
                    <a:pt x="56" y="76"/>
                    <a:pt x="56" y="76"/>
                    <a:pt x="56" y="76"/>
                  </a:cubicBezTo>
                  <a:cubicBezTo>
                    <a:pt x="53" y="71"/>
                    <a:pt x="53" y="71"/>
                    <a:pt x="53" y="71"/>
                  </a:cubicBezTo>
                  <a:cubicBezTo>
                    <a:pt x="59" y="68"/>
                    <a:pt x="59" y="68"/>
                    <a:pt x="59" y="68"/>
                  </a:cubicBezTo>
                  <a:cubicBezTo>
                    <a:pt x="59" y="68"/>
                    <a:pt x="59" y="68"/>
                    <a:pt x="59" y="68"/>
                  </a:cubicBezTo>
                  <a:close/>
                  <a:moveTo>
                    <a:pt x="49" y="73"/>
                  </a:moveTo>
                  <a:cubicBezTo>
                    <a:pt x="52" y="78"/>
                    <a:pt x="52" y="78"/>
                    <a:pt x="52" y="78"/>
                  </a:cubicBezTo>
                  <a:cubicBezTo>
                    <a:pt x="46" y="80"/>
                    <a:pt x="46" y="80"/>
                    <a:pt x="46" y="80"/>
                  </a:cubicBezTo>
                  <a:cubicBezTo>
                    <a:pt x="44" y="75"/>
                    <a:pt x="44" y="75"/>
                    <a:pt x="44" y="75"/>
                  </a:cubicBezTo>
                  <a:cubicBezTo>
                    <a:pt x="49" y="73"/>
                    <a:pt x="49" y="73"/>
                    <a:pt x="49" y="73"/>
                  </a:cubicBezTo>
                  <a:cubicBezTo>
                    <a:pt x="49" y="73"/>
                    <a:pt x="49" y="73"/>
                    <a:pt x="49" y="73"/>
                  </a:cubicBezTo>
                  <a:close/>
                  <a:moveTo>
                    <a:pt x="40" y="77"/>
                  </a:moveTo>
                  <a:cubicBezTo>
                    <a:pt x="43" y="82"/>
                    <a:pt x="43" y="82"/>
                    <a:pt x="43" y="82"/>
                  </a:cubicBezTo>
                  <a:cubicBezTo>
                    <a:pt x="37" y="84"/>
                    <a:pt x="37" y="84"/>
                    <a:pt x="37" y="84"/>
                  </a:cubicBezTo>
                  <a:cubicBezTo>
                    <a:pt x="35" y="79"/>
                    <a:pt x="35" y="79"/>
                    <a:pt x="35" y="79"/>
                  </a:cubicBezTo>
                  <a:cubicBezTo>
                    <a:pt x="40" y="77"/>
                    <a:pt x="40" y="77"/>
                    <a:pt x="40" y="77"/>
                  </a:cubicBezTo>
                  <a:cubicBezTo>
                    <a:pt x="40" y="77"/>
                    <a:pt x="40" y="77"/>
                    <a:pt x="40" y="77"/>
                  </a:cubicBezTo>
                  <a:close/>
                  <a:moveTo>
                    <a:pt x="54" y="58"/>
                  </a:moveTo>
                  <a:cubicBezTo>
                    <a:pt x="57" y="64"/>
                    <a:pt x="57" y="64"/>
                    <a:pt x="57" y="64"/>
                  </a:cubicBezTo>
                  <a:cubicBezTo>
                    <a:pt x="51" y="66"/>
                    <a:pt x="51" y="66"/>
                    <a:pt x="51" y="66"/>
                  </a:cubicBezTo>
                  <a:cubicBezTo>
                    <a:pt x="49" y="61"/>
                    <a:pt x="49" y="61"/>
                    <a:pt x="49" y="61"/>
                  </a:cubicBezTo>
                  <a:cubicBezTo>
                    <a:pt x="54" y="58"/>
                    <a:pt x="54" y="58"/>
                    <a:pt x="54" y="58"/>
                  </a:cubicBezTo>
                  <a:cubicBezTo>
                    <a:pt x="54" y="58"/>
                    <a:pt x="54" y="58"/>
                    <a:pt x="54" y="58"/>
                  </a:cubicBezTo>
                  <a:close/>
                  <a:moveTo>
                    <a:pt x="45" y="63"/>
                  </a:moveTo>
                  <a:cubicBezTo>
                    <a:pt x="47" y="68"/>
                    <a:pt x="47" y="68"/>
                    <a:pt x="47" y="68"/>
                  </a:cubicBezTo>
                  <a:cubicBezTo>
                    <a:pt x="42" y="70"/>
                    <a:pt x="42" y="70"/>
                    <a:pt x="42" y="70"/>
                  </a:cubicBezTo>
                  <a:cubicBezTo>
                    <a:pt x="39" y="65"/>
                    <a:pt x="39" y="65"/>
                    <a:pt x="39" y="65"/>
                  </a:cubicBezTo>
                  <a:cubicBezTo>
                    <a:pt x="45" y="63"/>
                    <a:pt x="45" y="63"/>
                    <a:pt x="45" y="63"/>
                  </a:cubicBezTo>
                  <a:cubicBezTo>
                    <a:pt x="45" y="63"/>
                    <a:pt x="45" y="63"/>
                    <a:pt x="45" y="63"/>
                  </a:cubicBezTo>
                  <a:close/>
                  <a:moveTo>
                    <a:pt x="36" y="67"/>
                  </a:moveTo>
                  <a:cubicBezTo>
                    <a:pt x="38" y="72"/>
                    <a:pt x="38" y="72"/>
                    <a:pt x="38" y="72"/>
                  </a:cubicBezTo>
                  <a:cubicBezTo>
                    <a:pt x="33" y="74"/>
                    <a:pt x="33" y="74"/>
                    <a:pt x="33" y="74"/>
                  </a:cubicBezTo>
                  <a:cubicBezTo>
                    <a:pt x="31" y="69"/>
                    <a:pt x="31" y="69"/>
                    <a:pt x="31" y="69"/>
                  </a:cubicBezTo>
                  <a:cubicBezTo>
                    <a:pt x="36" y="67"/>
                    <a:pt x="36" y="67"/>
                    <a:pt x="36" y="67"/>
                  </a:cubicBezTo>
                  <a:cubicBezTo>
                    <a:pt x="36" y="67"/>
                    <a:pt x="36" y="67"/>
                    <a:pt x="36" y="67"/>
                  </a:cubicBezTo>
                  <a:close/>
                  <a:moveTo>
                    <a:pt x="50" y="49"/>
                  </a:moveTo>
                  <a:cubicBezTo>
                    <a:pt x="52" y="54"/>
                    <a:pt x="52" y="54"/>
                    <a:pt x="52" y="54"/>
                  </a:cubicBezTo>
                  <a:cubicBezTo>
                    <a:pt x="47" y="56"/>
                    <a:pt x="47" y="56"/>
                    <a:pt x="47" y="56"/>
                  </a:cubicBezTo>
                  <a:cubicBezTo>
                    <a:pt x="44" y="51"/>
                    <a:pt x="44" y="51"/>
                    <a:pt x="44" y="51"/>
                  </a:cubicBezTo>
                  <a:cubicBezTo>
                    <a:pt x="50" y="49"/>
                    <a:pt x="50" y="49"/>
                    <a:pt x="50" y="49"/>
                  </a:cubicBezTo>
                  <a:cubicBezTo>
                    <a:pt x="50" y="49"/>
                    <a:pt x="50" y="49"/>
                    <a:pt x="50" y="49"/>
                  </a:cubicBezTo>
                  <a:close/>
                  <a:moveTo>
                    <a:pt x="40" y="53"/>
                  </a:moveTo>
                  <a:cubicBezTo>
                    <a:pt x="43" y="58"/>
                    <a:pt x="43" y="58"/>
                    <a:pt x="43" y="58"/>
                  </a:cubicBezTo>
                  <a:cubicBezTo>
                    <a:pt x="38" y="61"/>
                    <a:pt x="38" y="61"/>
                    <a:pt x="38" y="61"/>
                  </a:cubicBezTo>
                  <a:cubicBezTo>
                    <a:pt x="35" y="55"/>
                    <a:pt x="35" y="55"/>
                    <a:pt x="35" y="55"/>
                  </a:cubicBezTo>
                  <a:cubicBezTo>
                    <a:pt x="40" y="53"/>
                    <a:pt x="40" y="53"/>
                    <a:pt x="40" y="53"/>
                  </a:cubicBezTo>
                  <a:cubicBezTo>
                    <a:pt x="40" y="53"/>
                    <a:pt x="40" y="53"/>
                    <a:pt x="40" y="53"/>
                  </a:cubicBezTo>
                  <a:close/>
                  <a:moveTo>
                    <a:pt x="31" y="57"/>
                  </a:moveTo>
                  <a:cubicBezTo>
                    <a:pt x="34" y="62"/>
                    <a:pt x="34" y="62"/>
                    <a:pt x="34" y="62"/>
                  </a:cubicBezTo>
                  <a:cubicBezTo>
                    <a:pt x="29" y="65"/>
                    <a:pt x="29" y="65"/>
                    <a:pt x="29" y="65"/>
                  </a:cubicBezTo>
                  <a:cubicBezTo>
                    <a:pt x="26" y="59"/>
                    <a:pt x="26" y="59"/>
                    <a:pt x="26" y="59"/>
                  </a:cubicBezTo>
                  <a:cubicBezTo>
                    <a:pt x="31" y="57"/>
                    <a:pt x="31" y="57"/>
                    <a:pt x="31" y="57"/>
                  </a:cubicBezTo>
                  <a:cubicBezTo>
                    <a:pt x="31" y="57"/>
                    <a:pt x="31" y="57"/>
                    <a:pt x="31" y="57"/>
                  </a:cubicBezTo>
                  <a:close/>
                  <a:moveTo>
                    <a:pt x="45" y="39"/>
                  </a:moveTo>
                  <a:cubicBezTo>
                    <a:pt x="48" y="44"/>
                    <a:pt x="48" y="44"/>
                    <a:pt x="48" y="44"/>
                  </a:cubicBezTo>
                  <a:cubicBezTo>
                    <a:pt x="42" y="47"/>
                    <a:pt x="42" y="47"/>
                    <a:pt x="42" y="47"/>
                  </a:cubicBezTo>
                  <a:cubicBezTo>
                    <a:pt x="40" y="41"/>
                    <a:pt x="40" y="41"/>
                    <a:pt x="40" y="41"/>
                  </a:cubicBezTo>
                  <a:cubicBezTo>
                    <a:pt x="45" y="39"/>
                    <a:pt x="45" y="39"/>
                    <a:pt x="45" y="39"/>
                  </a:cubicBezTo>
                  <a:cubicBezTo>
                    <a:pt x="45" y="39"/>
                    <a:pt x="45" y="39"/>
                    <a:pt x="45" y="39"/>
                  </a:cubicBezTo>
                  <a:close/>
                  <a:moveTo>
                    <a:pt x="36" y="43"/>
                  </a:moveTo>
                  <a:cubicBezTo>
                    <a:pt x="38" y="48"/>
                    <a:pt x="38" y="48"/>
                    <a:pt x="38" y="48"/>
                  </a:cubicBezTo>
                  <a:cubicBezTo>
                    <a:pt x="33" y="51"/>
                    <a:pt x="33" y="51"/>
                    <a:pt x="33" y="51"/>
                  </a:cubicBezTo>
                  <a:cubicBezTo>
                    <a:pt x="31" y="45"/>
                    <a:pt x="31" y="45"/>
                    <a:pt x="31" y="45"/>
                  </a:cubicBezTo>
                  <a:cubicBezTo>
                    <a:pt x="36" y="43"/>
                    <a:pt x="36" y="43"/>
                    <a:pt x="36" y="43"/>
                  </a:cubicBezTo>
                  <a:cubicBezTo>
                    <a:pt x="36" y="43"/>
                    <a:pt x="36" y="43"/>
                    <a:pt x="36" y="43"/>
                  </a:cubicBezTo>
                  <a:close/>
                  <a:moveTo>
                    <a:pt x="27" y="47"/>
                  </a:moveTo>
                  <a:cubicBezTo>
                    <a:pt x="29" y="52"/>
                    <a:pt x="29" y="52"/>
                    <a:pt x="29" y="52"/>
                  </a:cubicBezTo>
                  <a:cubicBezTo>
                    <a:pt x="24" y="55"/>
                    <a:pt x="24" y="55"/>
                    <a:pt x="24" y="55"/>
                  </a:cubicBezTo>
                  <a:cubicBezTo>
                    <a:pt x="22" y="50"/>
                    <a:pt x="22" y="50"/>
                    <a:pt x="22" y="50"/>
                  </a:cubicBezTo>
                  <a:cubicBezTo>
                    <a:pt x="27" y="47"/>
                    <a:pt x="27" y="47"/>
                    <a:pt x="27" y="47"/>
                  </a:cubicBezTo>
                  <a:cubicBezTo>
                    <a:pt x="27" y="47"/>
                    <a:pt x="27" y="47"/>
                    <a:pt x="27" y="47"/>
                  </a:cubicBezTo>
                  <a:close/>
                  <a:moveTo>
                    <a:pt x="41" y="29"/>
                  </a:moveTo>
                  <a:cubicBezTo>
                    <a:pt x="43" y="34"/>
                    <a:pt x="43" y="34"/>
                    <a:pt x="43" y="34"/>
                  </a:cubicBezTo>
                  <a:cubicBezTo>
                    <a:pt x="38" y="37"/>
                    <a:pt x="38" y="37"/>
                    <a:pt x="38" y="37"/>
                  </a:cubicBezTo>
                  <a:cubicBezTo>
                    <a:pt x="36" y="31"/>
                    <a:pt x="36" y="31"/>
                    <a:pt x="36" y="31"/>
                  </a:cubicBezTo>
                  <a:cubicBezTo>
                    <a:pt x="41" y="29"/>
                    <a:pt x="41" y="29"/>
                    <a:pt x="41" y="29"/>
                  </a:cubicBezTo>
                  <a:cubicBezTo>
                    <a:pt x="41" y="29"/>
                    <a:pt x="41" y="29"/>
                    <a:pt x="41" y="29"/>
                  </a:cubicBezTo>
                  <a:close/>
                  <a:moveTo>
                    <a:pt x="32" y="33"/>
                  </a:moveTo>
                  <a:cubicBezTo>
                    <a:pt x="34" y="38"/>
                    <a:pt x="34" y="38"/>
                    <a:pt x="34" y="38"/>
                  </a:cubicBezTo>
                  <a:cubicBezTo>
                    <a:pt x="29" y="41"/>
                    <a:pt x="29" y="41"/>
                    <a:pt x="29" y="41"/>
                  </a:cubicBezTo>
                  <a:cubicBezTo>
                    <a:pt x="26" y="36"/>
                    <a:pt x="26" y="36"/>
                    <a:pt x="26" y="36"/>
                  </a:cubicBezTo>
                  <a:cubicBezTo>
                    <a:pt x="32" y="33"/>
                    <a:pt x="32" y="33"/>
                    <a:pt x="32" y="33"/>
                  </a:cubicBezTo>
                  <a:cubicBezTo>
                    <a:pt x="32" y="33"/>
                    <a:pt x="32" y="33"/>
                    <a:pt x="32" y="33"/>
                  </a:cubicBezTo>
                  <a:close/>
                  <a:moveTo>
                    <a:pt x="23" y="37"/>
                  </a:moveTo>
                  <a:cubicBezTo>
                    <a:pt x="25" y="43"/>
                    <a:pt x="25" y="43"/>
                    <a:pt x="25" y="43"/>
                  </a:cubicBezTo>
                  <a:cubicBezTo>
                    <a:pt x="20" y="45"/>
                    <a:pt x="20" y="45"/>
                    <a:pt x="20" y="45"/>
                  </a:cubicBezTo>
                  <a:cubicBezTo>
                    <a:pt x="17" y="40"/>
                    <a:pt x="17" y="40"/>
                    <a:pt x="17" y="40"/>
                  </a:cubicBezTo>
                  <a:cubicBezTo>
                    <a:pt x="23" y="37"/>
                    <a:pt x="23" y="37"/>
                    <a:pt x="23" y="37"/>
                  </a:cubicBezTo>
                  <a:cubicBezTo>
                    <a:pt x="23" y="37"/>
                    <a:pt x="23" y="37"/>
                    <a:pt x="23" y="37"/>
                  </a:cubicBezTo>
                  <a:close/>
                  <a:moveTo>
                    <a:pt x="36" y="19"/>
                  </a:moveTo>
                  <a:cubicBezTo>
                    <a:pt x="39" y="25"/>
                    <a:pt x="39" y="25"/>
                    <a:pt x="39" y="25"/>
                  </a:cubicBezTo>
                  <a:cubicBezTo>
                    <a:pt x="34" y="27"/>
                    <a:pt x="34" y="27"/>
                    <a:pt x="34" y="27"/>
                  </a:cubicBezTo>
                  <a:cubicBezTo>
                    <a:pt x="31" y="21"/>
                    <a:pt x="31" y="21"/>
                    <a:pt x="31" y="21"/>
                  </a:cubicBezTo>
                  <a:cubicBezTo>
                    <a:pt x="36" y="19"/>
                    <a:pt x="36" y="19"/>
                    <a:pt x="36" y="19"/>
                  </a:cubicBezTo>
                  <a:cubicBezTo>
                    <a:pt x="36" y="19"/>
                    <a:pt x="36" y="19"/>
                    <a:pt x="36" y="19"/>
                  </a:cubicBezTo>
                  <a:close/>
                  <a:moveTo>
                    <a:pt x="27" y="23"/>
                  </a:moveTo>
                  <a:cubicBezTo>
                    <a:pt x="30" y="29"/>
                    <a:pt x="30" y="29"/>
                    <a:pt x="30" y="29"/>
                  </a:cubicBezTo>
                  <a:cubicBezTo>
                    <a:pt x="24" y="31"/>
                    <a:pt x="24" y="31"/>
                    <a:pt x="24" y="31"/>
                  </a:cubicBezTo>
                  <a:cubicBezTo>
                    <a:pt x="22" y="26"/>
                    <a:pt x="22" y="26"/>
                    <a:pt x="22" y="26"/>
                  </a:cubicBezTo>
                  <a:cubicBezTo>
                    <a:pt x="27" y="23"/>
                    <a:pt x="27" y="23"/>
                    <a:pt x="27" y="23"/>
                  </a:cubicBezTo>
                  <a:cubicBezTo>
                    <a:pt x="27" y="23"/>
                    <a:pt x="27" y="23"/>
                    <a:pt x="27" y="23"/>
                  </a:cubicBezTo>
                  <a:close/>
                  <a:moveTo>
                    <a:pt x="18" y="27"/>
                  </a:moveTo>
                  <a:cubicBezTo>
                    <a:pt x="21" y="33"/>
                    <a:pt x="21" y="33"/>
                    <a:pt x="21" y="33"/>
                  </a:cubicBezTo>
                  <a:cubicBezTo>
                    <a:pt x="15" y="35"/>
                    <a:pt x="15" y="35"/>
                    <a:pt x="15" y="35"/>
                  </a:cubicBezTo>
                  <a:cubicBezTo>
                    <a:pt x="13" y="30"/>
                    <a:pt x="13" y="30"/>
                    <a:pt x="13" y="30"/>
                  </a:cubicBezTo>
                  <a:cubicBezTo>
                    <a:pt x="18" y="27"/>
                    <a:pt x="18" y="27"/>
                    <a:pt x="18" y="27"/>
                  </a:cubicBezTo>
                  <a:cubicBezTo>
                    <a:pt x="18" y="27"/>
                    <a:pt x="18" y="27"/>
                    <a:pt x="18" y="27"/>
                  </a:cubicBezTo>
                  <a:close/>
                  <a:moveTo>
                    <a:pt x="32" y="9"/>
                  </a:moveTo>
                  <a:cubicBezTo>
                    <a:pt x="34" y="15"/>
                    <a:pt x="34" y="15"/>
                    <a:pt x="34" y="15"/>
                  </a:cubicBezTo>
                  <a:cubicBezTo>
                    <a:pt x="29" y="17"/>
                    <a:pt x="29" y="17"/>
                    <a:pt x="29" y="17"/>
                  </a:cubicBezTo>
                  <a:cubicBezTo>
                    <a:pt x="27" y="12"/>
                    <a:pt x="27" y="12"/>
                    <a:pt x="27" y="12"/>
                  </a:cubicBezTo>
                  <a:cubicBezTo>
                    <a:pt x="32" y="9"/>
                    <a:pt x="32" y="9"/>
                    <a:pt x="32" y="9"/>
                  </a:cubicBezTo>
                  <a:cubicBezTo>
                    <a:pt x="32" y="9"/>
                    <a:pt x="32" y="9"/>
                    <a:pt x="32" y="9"/>
                  </a:cubicBezTo>
                  <a:close/>
                  <a:moveTo>
                    <a:pt x="23" y="14"/>
                  </a:moveTo>
                  <a:cubicBezTo>
                    <a:pt x="25" y="19"/>
                    <a:pt x="25" y="19"/>
                    <a:pt x="25" y="19"/>
                  </a:cubicBezTo>
                  <a:cubicBezTo>
                    <a:pt x="20" y="21"/>
                    <a:pt x="20" y="21"/>
                    <a:pt x="20" y="21"/>
                  </a:cubicBezTo>
                  <a:cubicBezTo>
                    <a:pt x="17" y="16"/>
                    <a:pt x="17" y="16"/>
                    <a:pt x="17" y="16"/>
                  </a:cubicBezTo>
                  <a:cubicBezTo>
                    <a:pt x="23" y="14"/>
                    <a:pt x="23" y="14"/>
                    <a:pt x="23" y="14"/>
                  </a:cubicBezTo>
                  <a:cubicBezTo>
                    <a:pt x="23" y="14"/>
                    <a:pt x="23" y="14"/>
                    <a:pt x="23" y="14"/>
                  </a:cubicBezTo>
                  <a:close/>
                  <a:moveTo>
                    <a:pt x="14" y="18"/>
                  </a:moveTo>
                  <a:cubicBezTo>
                    <a:pt x="16" y="23"/>
                    <a:pt x="16" y="23"/>
                    <a:pt x="16" y="23"/>
                  </a:cubicBezTo>
                  <a:cubicBezTo>
                    <a:pt x="11" y="25"/>
                    <a:pt x="11" y="25"/>
                    <a:pt x="11" y="25"/>
                  </a:cubicBezTo>
                  <a:cubicBezTo>
                    <a:pt x="8" y="20"/>
                    <a:pt x="8" y="20"/>
                    <a:pt x="8" y="20"/>
                  </a:cubicBezTo>
                  <a:cubicBezTo>
                    <a:pt x="14" y="18"/>
                    <a:pt x="14" y="18"/>
                    <a:pt x="14" y="18"/>
                  </a:cubicBezTo>
                  <a:cubicBezTo>
                    <a:pt x="14" y="18"/>
                    <a:pt x="14" y="18"/>
                    <a:pt x="14" y="18"/>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07" name="Freeform 2163"/>
            <p:cNvSpPr>
              <a:spLocks noEditPoints="1"/>
            </p:cNvSpPr>
            <p:nvPr/>
          </p:nvSpPr>
          <p:spPr bwMode="auto">
            <a:xfrm>
              <a:off x="22142450" y="3119438"/>
              <a:ext cx="331788" cy="560388"/>
            </a:xfrm>
            <a:custGeom>
              <a:avLst/>
              <a:gdLst>
                <a:gd name="T0" fmla="*/ 80 w 88"/>
                <a:gd name="T1" fmla="*/ 10 h 149"/>
                <a:gd name="T2" fmla="*/ 2 w 88"/>
                <a:gd name="T3" fmla="*/ 127 h 149"/>
                <a:gd name="T4" fmla="*/ 40 w 88"/>
                <a:gd name="T5" fmla="*/ 142 h 149"/>
                <a:gd name="T6" fmla="*/ 70 w 88"/>
                <a:gd name="T7" fmla="*/ 28 h 149"/>
                <a:gd name="T8" fmla="*/ 32 w 88"/>
                <a:gd name="T9" fmla="*/ 70 h 149"/>
                <a:gd name="T10" fmla="*/ 37 w 88"/>
                <a:gd name="T11" fmla="*/ 72 h 149"/>
                <a:gd name="T12" fmla="*/ 42 w 88"/>
                <a:gd name="T13" fmla="*/ 73 h 149"/>
                <a:gd name="T14" fmla="*/ 47 w 88"/>
                <a:gd name="T15" fmla="*/ 75 h 149"/>
                <a:gd name="T16" fmla="*/ 51 w 88"/>
                <a:gd name="T17" fmla="*/ 77 h 149"/>
                <a:gd name="T18" fmla="*/ 56 w 88"/>
                <a:gd name="T19" fmla="*/ 79 h 149"/>
                <a:gd name="T20" fmla="*/ 28 w 88"/>
                <a:gd name="T21" fmla="*/ 80 h 149"/>
                <a:gd name="T22" fmla="*/ 34 w 88"/>
                <a:gd name="T23" fmla="*/ 82 h 149"/>
                <a:gd name="T24" fmla="*/ 38 w 88"/>
                <a:gd name="T25" fmla="*/ 83 h 149"/>
                <a:gd name="T26" fmla="*/ 43 w 88"/>
                <a:gd name="T27" fmla="*/ 85 h 149"/>
                <a:gd name="T28" fmla="*/ 47 w 88"/>
                <a:gd name="T29" fmla="*/ 87 h 149"/>
                <a:gd name="T30" fmla="*/ 52 w 88"/>
                <a:gd name="T31" fmla="*/ 89 h 149"/>
                <a:gd name="T32" fmla="*/ 24 w 88"/>
                <a:gd name="T33" fmla="*/ 90 h 149"/>
                <a:gd name="T34" fmla="*/ 30 w 88"/>
                <a:gd name="T35" fmla="*/ 92 h 149"/>
                <a:gd name="T36" fmla="*/ 34 w 88"/>
                <a:gd name="T37" fmla="*/ 93 h 149"/>
                <a:gd name="T38" fmla="*/ 39 w 88"/>
                <a:gd name="T39" fmla="*/ 96 h 149"/>
                <a:gd name="T40" fmla="*/ 43 w 88"/>
                <a:gd name="T41" fmla="*/ 97 h 149"/>
                <a:gd name="T42" fmla="*/ 49 w 88"/>
                <a:gd name="T43" fmla="*/ 99 h 149"/>
                <a:gd name="T44" fmla="*/ 21 w 88"/>
                <a:gd name="T45" fmla="*/ 100 h 149"/>
                <a:gd name="T46" fmla="*/ 26 w 88"/>
                <a:gd name="T47" fmla="*/ 102 h 149"/>
                <a:gd name="T48" fmla="*/ 30 w 88"/>
                <a:gd name="T49" fmla="*/ 103 h 149"/>
                <a:gd name="T50" fmla="*/ 36 w 88"/>
                <a:gd name="T51" fmla="*/ 106 h 149"/>
                <a:gd name="T52" fmla="*/ 39 w 88"/>
                <a:gd name="T53" fmla="*/ 107 h 149"/>
                <a:gd name="T54" fmla="*/ 45 w 88"/>
                <a:gd name="T55" fmla="*/ 109 h 149"/>
                <a:gd name="T56" fmla="*/ 17 w 88"/>
                <a:gd name="T57" fmla="*/ 110 h 149"/>
                <a:gd name="T58" fmla="*/ 22 w 88"/>
                <a:gd name="T59" fmla="*/ 112 h 149"/>
                <a:gd name="T60" fmla="*/ 26 w 88"/>
                <a:gd name="T61" fmla="*/ 114 h 149"/>
                <a:gd name="T62" fmla="*/ 32 w 88"/>
                <a:gd name="T63" fmla="*/ 116 h 149"/>
                <a:gd name="T64" fmla="*/ 36 w 88"/>
                <a:gd name="T65" fmla="*/ 117 h 149"/>
                <a:gd name="T66" fmla="*/ 41 w 88"/>
                <a:gd name="T67" fmla="*/ 119 h 149"/>
                <a:gd name="T68" fmla="*/ 13 w 88"/>
                <a:gd name="T69" fmla="*/ 120 h 149"/>
                <a:gd name="T70" fmla="*/ 18 w 88"/>
                <a:gd name="T71" fmla="*/ 122 h 149"/>
                <a:gd name="T72" fmla="*/ 23 w 88"/>
                <a:gd name="T73" fmla="*/ 124 h 149"/>
                <a:gd name="T74" fmla="*/ 28 w 88"/>
                <a:gd name="T75" fmla="*/ 126 h 149"/>
                <a:gd name="T76" fmla="*/ 32 w 88"/>
                <a:gd name="T77" fmla="*/ 127 h 149"/>
                <a:gd name="T78" fmla="*/ 37 w 88"/>
                <a:gd name="T79" fmla="*/ 129 h 149"/>
                <a:gd name="T80" fmla="*/ 9 w 88"/>
                <a:gd name="T81" fmla="*/ 130 h 149"/>
                <a:gd name="T82" fmla="*/ 15 w 88"/>
                <a:gd name="T83" fmla="*/ 132 h 149"/>
                <a:gd name="T84" fmla="*/ 19 w 88"/>
                <a:gd name="T85" fmla="*/ 134 h 149"/>
                <a:gd name="T86" fmla="*/ 24 w 88"/>
                <a:gd name="T87" fmla="*/ 136 h 149"/>
                <a:gd name="T88" fmla="*/ 28 w 88"/>
                <a:gd name="T89" fmla="*/ 137 h 149"/>
                <a:gd name="T90" fmla="*/ 33 w 88"/>
                <a:gd name="T91" fmla="*/ 13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8" h="149">
                  <a:moveTo>
                    <a:pt x="40" y="142"/>
                  </a:moveTo>
                  <a:cubicBezTo>
                    <a:pt x="86" y="22"/>
                    <a:pt x="86" y="22"/>
                    <a:pt x="86" y="22"/>
                  </a:cubicBezTo>
                  <a:cubicBezTo>
                    <a:pt x="88" y="17"/>
                    <a:pt x="85" y="12"/>
                    <a:pt x="80" y="10"/>
                  </a:cubicBezTo>
                  <a:cubicBezTo>
                    <a:pt x="60" y="2"/>
                    <a:pt x="60" y="2"/>
                    <a:pt x="60" y="2"/>
                  </a:cubicBezTo>
                  <a:cubicBezTo>
                    <a:pt x="55" y="0"/>
                    <a:pt x="49" y="3"/>
                    <a:pt x="48" y="8"/>
                  </a:cubicBezTo>
                  <a:cubicBezTo>
                    <a:pt x="2" y="127"/>
                    <a:pt x="2" y="127"/>
                    <a:pt x="2" y="127"/>
                  </a:cubicBezTo>
                  <a:cubicBezTo>
                    <a:pt x="0" y="132"/>
                    <a:pt x="3" y="137"/>
                    <a:pt x="8" y="139"/>
                  </a:cubicBezTo>
                  <a:cubicBezTo>
                    <a:pt x="28" y="147"/>
                    <a:pt x="28" y="147"/>
                    <a:pt x="28" y="147"/>
                  </a:cubicBezTo>
                  <a:cubicBezTo>
                    <a:pt x="33" y="149"/>
                    <a:pt x="38" y="147"/>
                    <a:pt x="40" y="142"/>
                  </a:cubicBezTo>
                  <a:close/>
                  <a:moveTo>
                    <a:pt x="56" y="22"/>
                  </a:moveTo>
                  <a:cubicBezTo>
                    <a:pt x="57" y="19"/>
                    <a:pt x="62" y="17"/>
                    <a:pt x="65" y="18"/>
                  </a:cubicBezTo>
                  <a:cubicBezTo>
                    <a:pt x="69" y="20"/>
                    <a:pt x="71" y="24"/>
                    <a:pt x="70" y="28"/>
                  </a:cubicBezTo>
                  <a:cubicBezTo>
                    <a:pt x="68" y="31"/>
                    <a:pt x="64" y="33"/>
                    <a:pt x="60" y="32"/>
                  </a:cubicBezTo>
                  <a:cubicBezTo>
                    <a:pt x="56" y="30"/>
                    <a:pt x="54" y="26"/>
                    <a:pt x="56" y="22"/>
                  </a:cubicBezTo>
                  <a:close/>
                  <a:moveTo>
                    <a:pt x="32" y="70"/>
                  </a:moveTo>
                  <a:cubicBezTo>
                    <a:pt x="34" y="64"/>
                    <a:pt x="34" y="64"/>
                    <a:pt x="34" y="64"/>
                  </a:cubicBezTo>
                  <a:cubicBezTo>
                    <a:pt x="40" y="66"/>
                    <a:pt x="40" y="66"/>
                    <a:pt x="40" y="66"/>
                  </a:cubicBezTo>
                  <a:cubicBezTo>
                    <a:pt x="37" y="72"/>
                    <a:pt x="37" y="72"/>
                    <a:pt x="37" y="72"/>
                  </a:cubicBezTo>
                  <a:cubicBezTo>
                    <a:pt x="32" y="70"/>
                    <a:pt x="32" y="70"/>
                    <a:pt x="32" y="70"/>
                  </a:cubicBezTo>
                  <a:cubicBezTo>
                    <a:pt x="32" y="70"/>
                    <a:pt x="32" y="70"/>
                    <a:pt x="32" y="70"/>
                  </a:cubicBezTo>
                  <a:close/>
                  <a:moveTo>
                    <a:pt x="42" y="73"/>
                  </a:moveTo>
                  <a:cubicBezTo>
                    <a:pt x="44" y="68"/>
                    <a:pt x="44" y="68"/>
                    <a:pt x="44" y="68"/>
                  </a:cubicBezTo>
                  <a:cubicBezTo>
                    <a:pt x="49" y="70"/>
                    <a:pt x="49" y="70"/>
                    <a:pt x="49" y="70"/>
                  </a:cubicBezTo>
                  <a:cubicBezTo>
                    <a:pt x="47" y="75"/>
                    <a:pt x="47" y="75"/>
                    <a:pt x="47" y="75"/>
                  </a:cubicBezTo>
                  <a:cubicBezTo>
                    <a:pt x="42" y="73"/>
                    <a:pt x="42" y="73"/>
                    <a:pt x="42" y="73"/>
                  </a:cubicBezTo>
                  <a:cubicBezTo>
                    <a:pt x="42" y="73"/>
                    <a:pt x="42" y="73"/>
                    <a:pt x="42" y="73"/>
                  </a:cubicBezTo>
                  <a:close/>
                  <a:moveTo>
                    <a:pt x="51" y="77"/>
                  </a:moveTo>
                  <a:cubicBezTo>
                    <a:pt x="53" y="71"/>
                    <a:pt x="53" y="71"/>
                    <a:pt x="53" y="71"/>
                  </a:cubicBezTo>
                  <a:cubicBezTo>
                    <a:pt x="58" y="73"/>
                    <a:pt x="58" y="73"/>
                    <a:pt x="58" y="73"/>
                  </a:cubicBezTo>
                  <a:cubicBezTo>
                    <a:pt x="56" y="79"/>
                    <a:pt x="56" y="79"/>
                    <a:pt x="56" y="79"/>
                  </a:cubicBezTo>
                  <a:cubicBezTo>
                    <a:pt x="51" y="77"/>
                    <a:pt x="51" y="77"/>
                    <a:pt x="51" y="77"/>
                  </a:cubicBezTo>
                  <a:cubicBezTo>
                    <a:pt x="51" y="77"/>
                    <a:pt x="51" y="77"/>
                    <a:pt x="51" y="77"/>
                  </a:cubicBezTo>
                  <a:close/>
                  <a:moveTo>
                    <a:pt x="28" y="80"/>
                  </a:moveTo>
                  <a:cubicBezTo>
                    <a:pt x="30" y="74"/>
                    <a:pt x="30" y="74"/>
                    <a:pt x="30" y="74"/>
                  </a:cubicBezTo>
                  <a:cubicBezTo>
                    <a:pt x="36" y="76"/>
                    <a:pt x="36" y="76"/>
                    <a:pt x="36" y="76"/>
                  </a:cubicBezTo>
                  <a:cubicBezTo>
                    <a:pt x="34" y="82"/>
                    <a:pt x="34" y="82"/>
                    <a:pt x="34" y="82"/>
                  </a:cubicBezTo>
                  <a:cubicBezTo>
                    <a:pt x="28" y="80"/>
                    <a:pt x="28" y="80"/>
                    <a:pt x="28" y="80"/>
                  </a:cubicBezTo>
                  <a:cubicBezTo>
                    <a:pt x="28" y="80"/>
                    <a:pt x="28" y="80"/>
                    <a:pt x="28" y="80"/>
                  </a:cubicBezTo>
                  <a:close/>
                  <a:moveTo>
                    <a:pt x="38" y="83"/>
                  </a:moveTo>
                  <a:cubicBezTo>
                    <a:pt x="40" y="78"/>
                    <a:pt x="40" y="78"/>
                    <a:pt x="40" y="78"/>
                  </a:cubicBezTo>
                  <a:cubicBezTo>
                    <a:pt x="45" y="80"/>
                    <a:pt x="45" y="80"/>
                    <a:pt x="45" y="80"/>
                  </a:cubicBezTo>
                  <a:cubicBezTo>
                    <a:pt x="43" y="85"/>
                    <a:pt x="43" y="85"/>
                    <a:pt x="43" y="85"/>
                  </a:cubicBezTo>
                  <a:cubicBezTo>
                    <a:pt x="38" y="83"/>
                    <a:pt x="38" y="83"/>
                    <a:pt x="38" y="83"/>
                  </a:cubicBezTo>
                  <a:cubicBezTo>
                    <a:pt x="38" y="83"/>
                    <a:pt x="38" y="83"/>
                    <a:pt x="38" y="83"/>
                  </a:cubicBezTo>
                  <a:close/>
                  <a:moveTo>
                    <a:pt x="47" y="87"/>
                  </a:moveTo>
                  <a:cubicBezTo>
                    <a:pt x="49" y="81"/>
                    <a:pt x="49" y="81"/>
                    <a:pt x="49" y="81"/>
                  </a:cubicBezTo>
                  <a:cubicBezTo>
                    <a:pt x="55" y="83"/>
                    <a:pt x="55" y="83"/>
                    <a:pt x="55" y="83"/>
                  </a:cubicBezTo>
                  <a:cubicBezTo>
                    <a:pt x="52" y="89"/>
                    <a:pt x="52" y="89"/>
                    <a:pt x="52" y="89"/>
                  </a:cubicBezTo>
                  <a:cubicBezTo>
                    <a:pt x="47" y="87"/>
                    <a:pt x="47" y="87"/>
                    <a:pt x="47" y="87"/>
                  </a:cubicBezTo>
                  <a:cubicBezTo>
                    <a:pt x="47" y="87"/>
                    <a:pt x="47" y="87"/>
                    <a:pt x="47" y="87"/>
                  </a:cubicBezTo>
                  <a:close/>
                  <a:moveTo>
                    <a:pt x="24" y="90"/>
                  </a:moveTo>
                  <a:cubicBezTo>
                    <a:pt x="27" y="84"/>
                    <a:pt x="27" y="84"/>
                    <a:pt x="27" y="84"/>
                  </a:cubicBezTo>
                  <a:cubicBezTo>
                    <a:pt x="32" y="86"/>
                    <a:pt x="32" y="86"/>
                    <a:pt x="32" y="86"/>
                  </a:cubicBezTo>
                  <a:cubicBezTo>
                    <a:pt x="30" y="92"/>
                    <a:pt x="30" y="92"/>
                    <a:pt x="30" y="92"/>
                  </a:cubicBezTo>
                  <a:cubicBezTo>
                    <a:pt x="24" y="90"/>
                    <a:pt x="24" y="90"/>
                    <a:pt x="24" y="90"/>
                  </a:cubicBezTo>
                  <a:cubicBezTo>
                    <a:pt x="24" y="90"/>
                    <a:pt x="24" y="90"/>
                    <a:pt x="24" y="90"/>
                  </a:cubicBezTo>
                  <a:close/>
                  <a:moveTo>
                    <a:pt x="34" y="93"/>
                  </a:moveTo>
                  <a:cubicBezTo>
                    <a:pt x="36" y="88"/>
                    <a:pt x="36" y="88"/>
                    <a:pt x="36" y="88"/>
                  </a:cubicBezTo>
                  <a:cubicBezTo>
                    <a:pt x="42" y="90"/>
                    <a:pt x="42" y="90"/>
                    <a:pt x="42" y="90"/>
                  </a:cubicBezTo>
                  <a:cubicBezTo>
                    <a:pt x="39" y="96"/>
                    <a:pt x="39" y="96"/>
                    <a:pt x="39" y="96"/>
                  </a:cubicBezTo>
                  <a:cubicBezTo>
                    <a:pt x="34" y="93"/>
                    <a:pt x="34" y="93"/>
                    <a:pt x="34" y="93"/>
                  </a:cubicBezTo>
                  <a:cubicBezTo>
                    <a:pt x="34" y="93"/>
                    <a:pt x="34" y="93"/>
                    <a:pt x="34" y="93"/>
                  </a:cubicBezTo>
                  <a:close/>
                  <a:moveTo>
                    <a:pt x="43" y="97"/>
                  </a:moveTo>
                  <a:cubicBezTo>
                    <a:pt x="45" y="91"/>
                    <a:pt x="45" y="91"/>
                    <a:pt x="45" y="91"/>
                  </a:cubicBezTo>
                  <a:cubicBezTo>
                    <a:pt x="51" y="93"/>
                    <a:pt x="51" y="93"/>
                    <a:pt x="51" y="93"/>
                  </a:cubicBezTo>
                  <a:cubicBezTo>
                    <a:pt x="49" y="99"/>
                    <a:pt x="49" y="99"/>
                    <a:pt x="49" y="99"/>
                  </a:cubicBezTo>
                  <a:cubicBezTo>
                    <a:pt x="43" y="97"/>
                    <a:pt x="43" y="97"/>
                    <a:pt x="43" y="97"/>
                  </a:cubicBezTo>
                  <a:cubicBezTo>
                    <a:pt x="43" y="97"/>
                    <a:pt x="43" y="97"/>
                    <a:pt x="43" y="97"/>
                  </a:cubicBezTo>
                  <a:close/>
                  <a:moveTo>
                    <a:pt x="21" y="100"/>
                  </a:moveTo>
                  <a:cubicBezTo>
                    <a:pt x="23" y="94"/>
                    <a:pt x="23" y="94"/>
                    <a:pt x="23" y="94"/>
                  </a:cubicBezTo>
                  <a:cubicBezTo>
                    <a:pt x="28" y="96"/>
                    <a:pt x="28" y="96"/>
                    <a:pt x="28" y="96"/>
                  </a:cubicBezTo>
                  <a:cubicBezTo>
                    <a:pt x="26" y="102"/>
                    <a:pt x="26" y="102"/>
                    <a:pt x="26" y="102"/>
                  </a:cubicBezTo>
                  <a:cubicBezTo>
                    <a:pt x="21" y="100"/>
                    <a:pt x="21" y="100"/>
                    <a:pt x="21" y="100"/>
                  </a:cubicBezTo>
                  <a:cubicBezTo>
                    <a:pt x="21" y="100"/>
                    <a:pt x="21" y="100"/>
                    <a:pt x="21" y="100"/>
                  </a:cubicBezTo>
                  <a:close/>
                  <a:moveTo>
                    <a:pt x="30" y="103"/>
                  </a:moveTo>
                  <a:cubicBezTo>
                    <a:pt x="32" y="98"/>
                    <a:pt x="32" y="98"/>
                    <a:pt x="32" y="98"/>
                  </a:cubicBezTo>
                  <a:cubicBezTo>
                    <a:pt x="38" y="100"/>
                    <a:pt x="38" y="100"/>
                    <a:pt x="38" y="100"/>
                  </a:cubicBezTo>
                  <a:cubicBezTo>
                    <a:pt x="36" y="106"/>
                    <a:pt x="36" y="106"/>
                    <a:pt x="36" y="106"/>
                  </a:cubicBezTo>
                  <a:cubicBezTo>
                    <a:pt x="30" y="103"/>
                    <a:pt x="30" y="103"/>
                    <a:pt x="30" y="103"/>
                  </a:cubicBezTo>
                  <a:cubicBezTo>
                    <a:pt x="30" y="103"/>
                    <a:pt x="30" y="103"/>
                    <a:pt x="30" y="103"/>
                  </a:cubicBezTo>
                  <a:close/>
                  <a:moveTo>
                    <a:pt x="39" y="107"/>
                  </a:moveTo>
                  <a:cubicBezTo>
                    <a:pt x="41" y="102"/>
                    <a:pt x="41" y="102"/>
                    <a:pt x="41" y="102"/>
                  </a:cubicBezTo>
                  <a:cubicBezTo>
                    <a:pt x="47" y="104"/>
                    <a:pt x="47" y="104"/>
                    <a:pt x="47" y="104"/>
                  </a:cubicBezTo>
                  <a:cubicBezTo>
                    <a:pt x="45" y="109"/>
                    <a:pt x="45" y="109"/>
                    <a:pt x="45" y="109"/>
                  </a:cubicBezTo>
                  <a:cubicBezTo>
                    <a:pt x="39" y="107"/>
                    <a:pt x="39" y="107"/>
                    <a:pt x="39" y="107"/>
                  </a:cubicBezTo>
                  <a:cubicBezTo>
                    <a:pt x="39" y="107"/>
                    <a:pt x="39" y="107"/>
                    <a:pt x="39" y="107"/>
                  </a:cubicBezTo>
                  <a:close/>
                  <a:moveTo>
                    <a:pt x="17" y="110"/>
                  </a:moveTo>
                  <a:cubicBezTo>
                    <a:pt x="19" y="105"/>
                    <a:pt x="19" y="105"/>
                    <a:pt x="19" y="105"/>
                  </a:cubicBezTo>
                  <a:cubicBezTo>
                    <a:pt x="24" y="107"/>
                    <a:pt x="24" y="107"/>
                    <a:pt x="24" y="107"/>
                  </a:cubicBezTo>
                  <a:cubicBezTo>
                    <a:pt x="22" y="112"/>
                    <a:pt x="22" y="112"/>
                    <a:pt x="22" y="112"/>
                  </a:cubicBezTo>
                  <a:cubicBezTo>
                    <a:pt x="17" y="110"/>
                    <a:pt x="17" y="110"/>
                    <a:pt x="17" y="110"/>
                  </a:cubicBezTo>
                  <a:cubicBezTo>
                    <a:pt x="17" y="110"/>
                    <a:pt x="17" y="110"/>
                    <a:pt x="17" y="110"/>
                  </a:cubicBezTo>
                  <a:close/>
                  <a:moveTo>
                    <a:pt x="26" y="114"/>
                  </a:moveTo>
                  <a:cubicBezTo>
                    <a:pt x="28" y="108"/>
                    <a:pt x="28" y="108"/>
                    <a:pt x="28" y="108"/>
                  </a:cubicBezTo>
                  <a:cubicBezTo>
                    <a:pt x="34" y="110"/>
                    <a:pt x="34" y="110"/>
                    <a:pt x="34" y="110"/>
                  </a:cubicBezTo>
                  <a:cubicBezTo>
                    <a:pt x="32" y="116"/>
                    <a:pt x="32" y="116"/>
                    <a:pt x="32" y="116"/>
                  </a:cubicBezTo>
                  <a:cubicBezTo>
                    <a:pt x="26" y="114"/>
                    <a:pt x="26" y="114"/>
                    <a:pt x="26" y="114"/>
                  </a:cubicBezTo>
                  <a:cubicBezTo>
                    <a:pt x="26" y="114"/>
                    <a:pt x="26" y="114"/>
                    <a:pt x="26" y="114"/>
                  </a:cubicBezTo>
                  <a:close/>
                  <a:moveTo>
                    <a:pt x="36" y="117"/>
                  </a:moveTo>
                  <a:cubicBezTo>
                    <a:pt x="38" y="112"/>
                    <a:pt x="38" y="112"/>
                    <a:pt x="38" y="112"/>
                  </a:cubicBezTo>
                  <a:cubicBezTo>
                    <a:pt x="43" y="114"/>
                    <a:pt x="43" y="114"/>
                    <a:pt x="43" y="114"/>
                  </a:cubicBezTo>
                  <a:cubicBezTo>
                    <a:pt x="41" y="119"/>
                    <a:pt x="41" y="119"/>
                    <a:pt x="41" y="119"/>
                  </a:cubicBezTo>
                  <a:cubicBezTo>
                    <a:pt x="36" y="117"/>
                    <a:pt x="36" y="117"/>
                    <a:pt x="36" y="117"/>
                  </a:cubicBezTo>
                  <a:cubicBezTo>
                    <a:pt x="36" y="117"/>
                    <a:pt x="36" y="117"/>
                    <a:pt x="36" y="117"/>
                  </a:cubicBezTo>
                  <a:close/>
                  <a:moveTo>
                    <a:pt x="13" y="120"/>
                  </a:moveTo>
                  <a:cubicBezTo>
                    <a:pt x="15" y="115"/>
                    <a:pt x="15" y="115"/>
                    <a:pt x="15" y="115"/>
                  </a:cubicBezTo>
                  <a:cubicBezTo>
                    <a:pt x="20" y="117"/>
                    <a:pt x="20" y="117"/>
                    <a:pt x="20" y="117"/>
                  </a:cubicBezTo>
                  <a:cubicBezTo>
                    <a:pt x="18" y="122"/>
                    <a:pt x="18" y="122"/>
                    <a:pt x="18" y="122"/>
                  </a:cubicBezTo>
                  <a:cubicBezTo>
                    <a:pt x="13" y="120"/>
                    <a:pt x="13" y="120"/>
                    <a:pt x="13" y="120"/>
                  </a:cubicBezTo>
                  <a:cubicBezTo>
                    <a:pt x="13" y="120"/>
                    <a:pt x="13" y="120"/>
                    <a:pt x="13" y="120"/>
                  </a:cubicBezTo>
                  <a:close/>
                  <a:moveTo>
                    <a:pt x="23" y="124"/>
                  </a:moveTo>
                  <a:cubicBezTo>
                    <a:pt x="25" y="118"/>
                    <a:pt x="25" y="118"/>
                    <a:pt x="25" y="118"/>
                  </a:cubicBezTo>
                  <a:cubicBezTo>
                    <a:pt x="30" y="120"/>
                    <a:pt x="30" y="120"/>
                    <a:pt x="30" y="120"/>
                  </a:cubicBezTo>
                  <a:cubicBezTo>
                    <a:pt x="28" y="126"/>
                    <a:pt x="28" y="126"/>
                    <a:pt x="28" y="126"/>
                  </a:cubicBezTo>
                  <a:cubicBezTo>
                    <a:pt x="23" y="124"/>
                    <a:pt x="23" y="124"/>
                    <a:pt x="23" y="124"/>
                  </a:cubicBezTo>
                  <a:cubicBezTo>
                    <a:pt x="23" y="124"/>
                    <a:pt x="23" y="124"/>
                    <a:pt x="23" y="124"/>
                  </a:cubicBezTo>
                  <a:close/>
                  <a:moveTo>
                    <a:pt x="32" y="127"/>
                  </a:moveTo>
                  <a:cubicBezTo>
                    <a:pt x="34" y="122"/>
                    <a:pt x="34" y="122"/>
                    <a:pt x="34" y="122"/>
                  </a:cubicBezTo>
                  <a:cubicBezTo>
                    <a:pt x="39" y="124"/>
                    <a:pt x="39" y="124"/>
                    <a:pt x="39" y="124"/>
                  </a:cubicBezTo>
                  <a:cubicBezTo>
                    <a:pt x="37" y="129"/>
                    <a:pt x="37" y="129"/>
                    <a:pt x="37" y="129"/>
                  </a:cubicBezTo>
                  <a:cubicBezTo>
                    <a:pt x="32" y="127"/>
                    <a:pt x="32" y="127"/>
                    <a:pt x="32" y="127"/>
                  </a:cubicBezTo>
                  <a:cubicBezTo>
                    <a:pt x="32" y="127"/>
                    <a:pt x="32" y="127"/>
                    <a:pt x="32" y="127"/>
                  </a:cubicBezTo>
                  <a:close/>
                  <a:moveTo>
                    <a:pt x="9" y="130"/>
                  </a:moveTo>
                  <a:cubicBezTo>
                    <a:pt x="11" y="125"/>
                    <a:pt x="11" y="125"/>
                    <a:pt x="11" y="125"/>
                  </a:cubicBezTo>
                  <a:cubicBezTo>
                    <a:pt x="17" y="127"/>
                    <a:pt x="17" y="127"/>
                    <a:pt x="17" y="127"/>
                  </a:cubicBezTo>
                  <a:cubicBezTo>
                    <a:pt x="15" y="132"/>
                    <a:pt x="15" y="132"/>
                    <a:pt x="15" y="132"/>
                  </a:cubicBezTo>
                  <a:cubicBezTo>
                    <a:pt x="9" y="130"/>
                    <a:pt x="9" y="130"/>
                    <a:pt x="9" y="130"/>
                  </a:cubicBezTo>
                  <a:cubicBezTo>
                    <a:pt x="9" y="130"/>
                    <a:pt x="9" y="130"/>
                    <a:pt x="9" y="130"/>
                  </a:cubicBezTo>
                  <a:close/>
                  <a:moveTo>
                    <a:pt x="19" y="134"/>
                  </a:moveTo>
                  <a:cubicBezTo>
                    <a:pt x="21" y="128"/>
                    <a:pt x="21" y="128"/>
                    <a:pt x="21" y="128"/>
                  </a:cubicBezTo>
                  <a:cubicBezTo>
                    <a:pt x="26" y="130"/>
                    <a:pt x="26" y="130"/>
                    <a:pt x="26" y="130"/>
                  </a:cubicBezTo>
                  <a:cubicBezTo>
                    <a:pt x="24" y="136"/>
                    <a:pt x="24" y="136"/>
                    <a:pt x="24" y="136"/>
                  </a:cubicBezTo>
                  <a:cubicBezTo>
                    <a:pt x="19" y="134"/>
                    <a:pt x="19" y="134"/>
                    <a:pt x="19" y="134"/>
                  </a:cubicBezTo>
                  <a:cubicBezTo>
                    <a:pt x="19" y="134"/>
                    <a:pt x="19" y="134"/>
                    <a:pt x="19" y="134"/>
                  </a:cubicBezTo>
                  <a:close/>
                  <a:moveTo>
                    <a:pt x="28" y="137"/>
                  </a:moveTo>
                  <a:cubicBezTo>
                    <a:pt x="30" y="132"/>
                    <a:pt x="30" y="132"/>
                    <a:pt x="30" y="132"/>
                  </a:cubicBezTo>
                  <a:cubicBezTo>
                    <a:pt x="35" y="134"/>
                    <a:pt x="35" y="134"/>
                    <a:pt x="35" y="134"/>
                  </a:cubicBezTo>
                  <a:cubicBezTo>
                    <a:pt x="33" y="139"/>
                    <a:pt x="33" y="139"/>
                    <a:pt x="33" y="139"/>
                  </a:cubicBezTo>
                  <a:cubicBezTo>
                    <a:pt x="28" y="137"/>
                    <a:pt x="28" y="137"/>
                    <a:pt x="28" y="137"/>
                  </a:cubicBezTo>
                  <a:cubicBezTo>
                    <a:pt x="28" y="137"/>
                    <a:pt x="28" y="137"/>
                    <a:pt x="28" y="137"/>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08" name="Freeform 2164"/>
            <p:cNvSpPr>
              <a:spLocks noEditPoints="1"/>
            </p:cNvSpPr>
            <p:nvPr/>
          </p:nvSpPr>
          <p:spPr bwMode="auto">
            <a:xfrm>
              <a:off x="23085425" y="631825"/>
              <a:ext cx="327025" cy="560388"/>
            </a:xfrm>
            <a:custGeom>
              <a:avLst/>
              <a:gdLst>
                <a:gd name="T0" fmla="*/ 7 w 87"/>
                <a:gd name="T1" fmla="*/ 139 h 149"/>
                <a:gd name="T2" fmla="*/ 86 w 87"/>
                <a:gd name="T3" fmla="*/ 22 h 149"/>
                <a:gd name="T4" fmla="*/ 47 w 87"/>
                <a:gd name="T5" fmla="*/ 8 h 149"/>
                <a:gd name="T6" fmla="*/ 18 w 87"/>
                <a:gd name="T7" fmla="*/ 122 h 149"/>
                <a:gd name="T8" fmla="*/ 56 w 87"/>
                <a:gd name="T9" fmla="*/ 80 h 149"/>
                <a:gd name="T10" fmla="*/ 50 w 87"/>
                <a:gd name="T11" fmla="*/ 78 h 149"/>
                <a:gd name="T12" fmla="*/ 46 w 87"/>
                <a:gd name="T13" fmla="*/ 76 h 149"/>
                <a:gd name="T14" fmla="*/ 41 w 87"/>
                <a:gd name="T15" fmla="*/ 74 h 149"/>
                <a:gd name="T16" fmla="*/ 37 w 87"/>
                <a:gd name="T17" fmla="*/ 73 h 149"/>
                <a:gd name="T18" fmla="*/ 32 w 87"/>
                <a:gd name="T19" fmla="*/ 70 h 149"/>
                <a:gd name="T20" fmla="*/ 60 w 87"/>
                <a:gd name="T21" fmla="*/ 70 h 149"/>
                <a:gd name="T22" fmla="*/ 54 w 87"/>
                <a:gd name="T23" fmla="*/ 67 h 149"/>
                <a:gd name="T24" fmla="*/ 50 w 87"/>
                <a:gd name="T25" fmla="*/ 66 h 149"/>
                <a:gd name="T26" fmla="*/ 45 w 87"/>
                <a:gd name="T27" fmla="*/ 64 h 149"/>
                <a:gd name="T28" fmla="*/ 41 w 87"/>
                <a:gd name="T29" fmla="*/ 62 h 149"/>
                <a:gd name="T30" fmla="*/ 35 w 87"/>
                <a:gd name="T31" fmla="*/ 60 h 149"/>
                <a:gd name="T32" fmla="*/ 63 w 87"/>
                <a:gd name="T33" fmla="*/ 60 h 149"/>
                <a:gd name="T34" fmla="*/ 58 w 87"/>
                <a:gd name="T35" fmla="*/ 57 h 149"/>
                <a:gd name="T36" fmla="*/ 54 w 87"/>
                <a:gd name="T37" fmla="*/ 56 h 149"/>
                <a:gd name="T38" fmla="*/ 48 w 87"/>
                <a:gd name="T39" fmla="*/ 54 h 149"/>
                <a:gd name="T40" fmla="*/ 45 w 87"/>
                <a:gd name="T41" fmla="*/ 52 h 149"/>
                <a:gd name="T42" fmla="*/ 39 w 87"/>
                <a:gd name="T43" fmla="*/ 50 h 149"/>
                <a:gd name="T44" fmla="*/ 67 w 87"/>
                <a:gd name="T45" fmla="*/ 49 h 149"/>
                <a:gd name="T46" fmla="*/ 62 w 87"/>
                <a:gd name="T47" fmla="*/ 47 h 149"/>
                <a:gd name="T48" fmla="*/ 58 w 87"/>
                <a:gd name="T49" fmla="*/ 46 h 149"/>
                <a:gd name="T50" fmla="*/ 52 w 87"/>
                <a:gd name="T51" fmla="*/ 44 h 149"/>
                <a:gd name="T52" fmla="*/ 48 w 87"/>
                <a:gd name="T53" fmla="*/ 42 h 149"/>
                <a:gd name="T54" fmla="*/ 43 w 87"/>
                <a:gd name="T55" fmla="*/ 40 h 149"/>
                <a:gd name="T56" fmla="*/ 71 w 87"/>
                <a:gd name="T57" fmla="*/ 39 h 149"/>
                <a:gd name="T58" fmla="*/ 66 w 87"/>
                <a:gd name="T59" fmla="*/ 37 h 149"/>
                <a:gd name="T60" fmla="*/ 61 w 87"/>
                <a:gd name="T61" fmla="*/ 36 h 149"/>
                <a:gd name="T62" fmla="*/ 56 w 87"/>
                <a:gd name="T63" fmla="*/ 34 h 149"/>
                <a:gd name="T64" fmla="*/ 52 w 87"/>
                <a:gd name="T65" fmla="*/ 32 h 149"/>
                <a:gd name="T66" fmla="*/ 47 w 87"/>
                <a:gd name="T67" fmla="*/ 30 h 149"/>
                <a:gd name="T68" fmla="*/ 75 w 87"/>
                <a:gd name="T69" fmla="*/ 29 h 149"/>
                <a:gd name="T70" fmla="*/ 69 w 87"/>
                <a:gd name="T71" fmla="*/ 27 h 149"/>
                <a:gd name="T72" fmla="*/ 65 w 87"/>
                <a:gd name="T73" fmla="*/ 26 h 149"/>
                <a:gd name="T74" fmla="*/ 60 w 87"/>
                <a:gd name="T75" fmla="*/ 23 h 149"/>
                <a:gd name="T76" fmla="*/ 56 w 87"/>
                <a:gd name="T77" fmla="*/ 22 h 149"/>
                <a:gd name="T78" fmla="*/ 51 w 87"/>
                <a:gd name="T79" fmla="*/ 20 h 149"/>
                <a:gd name="T80" fmla="*/ 79 w 87"/>
                <a:gd name="T81" fmla="*/ 19 h 149"/>
                <a:gd name="T82" fmla="*/ 73 w 87"/>
                <a:gd name="T83" fmla="*/ 17 h 149"/>
                <a:gd name="T84" fmla="*/ 69 w 87"/>
                <a:gd name="T85" fmla="*/ 16 h 149"/>
                <a:gd name="T86" fmla="*/ 64 w 87"/>
                <a:gd name="T87" fmla="*/ 13 h 149"/>
                <a:gd name="T88" fmla="*/ 60 w 87"/>
                <a:gd name="T89" fmla="*/ 12 h 149"/>
                <a:gd name="T90" fmla="*/ 54 w 87"/>
                <a:gd name="T91" fmla="*/ 1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7" h="149">
                  <a:moveTo>
                    <a:pt x="47" y="8"/>
                  </a:moveTo>
                  <a:cubicBezTo>
                    <a:pt x="2" y="127"/>
                    <a:pt x="2" y="127"/>
                    <a:pt x="2" y="127"/>
                  </a:cubicBezTo>
                  <a:cubicBezTo>
                    <a:pt x="0" y="132"/>
                    <a:pt x="3" y="137"/>
                    <a:pt x="7" y="139"/>
                  </a:cubicBezTo>
                  <a:cubicBezTo>
                    <a:pt x="28" y="147"/>
                    <a:pt x="28" y="147"/>
                    <a:pt x="28" y="147"/>
                  </a:cubicBezTo>
                  <a:cubicBezTo>
                    <a:pt x="33" y="149"/>
                    <a:pt x="38" y="146"/>
                    <a:pt x="40" y="142"/>
                  </a:cubicBezTo>
                  <a:cubicBezTo>
                    <a:pt x="86" y="22"/>
                    <a:pt x="86" y="22"/>
                    <a:pt x="86" y="22"/>
                  </a:cubicBezTo>
                  <a:cubicBezTo>
                    <a:pt x="87" y="17"/>
                    <a:pt x="85" y="12"/>
                    <a:pt x="80" y="10"/>
                  </a:cubicBezTo>
                  <a:cubicBezTo>
                    <a:pt x="59" y="2"/>
                    <a:pt x="59" y="2"/>
                    <a:pt x="59" y="2"/>
                  </a:cubicBezTo>
                  <a:cubicBezTo>
                    <a:pt x="55" y="0"/>
                    <a:pt x="49" y="3"/>
                    <a:pt x="47" y="8"/>
                  </a:cubicBezTo>
                  <a:close/>
                  <a:moveTo>
                    <a:pt x="32" y="127"/>
                  </a:moveTo>
                  <a:cubicBezTo>
                    <a:pt x="30" y="131"/>
                    <a:pt x="26" y="133"/>
                    <a:pt x="22" y="131"/>
                  </a:cubicBezTo>
                  <a:cubicBezTo>
                    <a:pt x="18" y="130"/>
                    <a:pt x="17" y="126"/>
                    <a:pt x="18" y="122"/>
                  </a:cubicBezTo>
                  <a:cubicBezTo>
                    <a:pt x="20" y="118"/>
                    <a:pt x="24" y="116"/>
                    <a:pt x="28" y="117"/>
                  </a:cubicBezTo>
                  <a:cubicBezTo>
                    <a:pt x="31" y="119"/>
                    <a:pt x="33" y="123"/>
                    <a:pt x="32" y="127"/>
                  </a:cubicBezTo>
                  <a:close/>
                  <a:moveTo>
                    <a:pt x="56" y="80"/>
                  </a:moveTo>
                  <a:cubicBezTo>
                    <a:pt x="54" y="85"/>
                    <a:pt x="54" y="85"/>
                    <a:pt x="54" y="85"/>
                  </a:cubicBezTo>
                  <a:cubicBezTo>
                    <a:pt x="48" y="83"/>
                    <a:pt x="48" y="83"/>
                    <a:pt x="48" y="83"/>
                  </a:cubicBezTo>
                  <a:cubicBezTo>
                    <a:pt x="50" y="78"/>
                    <a:pt x="50" y="78"/>
                    <a:pt x="50" y="78"/>
                  </a:cubicBezTo>
                  <a:cubicBezTo>
                    <a:pt x="56" y="80"/>
                    <a:pt x="56" y="80"/>
                    <a:pt x="56" y="80"/>
                  </a:cubicBezTo>
                  <a:cubicBezTo>
                    <a:pt x="56" y="80"/>
                    <a:pt x="56" y="80"/>
                    <a:pt x="56" y="80"/>
                  </a:cubicBezTo>
                  <a:close/>
                  <a:moveTo>
                    <a:pt x="46" y="76"/>
                  </a:moveTo>
                  <a:cubicBezTo>
                    <a:pt x="44" y="81"/>
                    <a:pt x="44" y="81"/>
                    <a:pt x="44" y="81"/>
                  </a:cubicBezTo>
                  <a:cubicBezTo>
                    <a:pt x="39" y="79"/>
                    <a:pt x="39" y="79"/>
                    <a:pt x="39" y="79"/>
                  </a:cubicBezTo>
                  <a:cubicBezTo>
                    <a:pt x="41" y="74"/>
                    <a:pt x="41" y="74"/>
                    <a:pt x="41" y="74"/>
                  </a:cubicBezTo>
                  <a:cubicBezTo>
                    <a:pt x="46" y="76"/>
                    <a:pt x="46" y="76"/>
                    <a:pt x="46" y="76"/>
                  </a:cubicBezTo>
                  <a:cubicBezTo>
                    <a:pt x="46" y="76"/>
                    <a:pt x="46" y="76"/>
                    <a:pt x="46" y="76"/>
                  </a:cubicBezTo>
                  <a:close/>
                  <a:moveTo>
                    <a:pt x="37" y="73"/>
                  </a:moveTo>
                  <a:cubicBezTo>
                    <a:pt x="35" y="78"/>
                    <a:pt x="35" y="78"/>
                    <a:pt x="35" y="78"/>
                  </a:cubicBezTo>
                  <a:cubicBezTo>
                    <a:pt x="29" y="76"/>
                    <a:pt x="29" y="76"/>
                    <a:pt x="29" y="76"/>
                  </a:cubicBezTo>
                  <a:cubicBezTo>
                    <a:pt x="32" y="70"/>
                    <a:pt x="32" y="70"/>
                    <a:pt x="32" y="70"/>
                  </a:cubicBezTo>
                  <a:cubicBezTo>
                    <a:pt x="37" y="73"/>
                    <a:pt x="37" y="73"/>
                    <a:pt x="37" y="73"/>
                  </a:cubicBezTo>
                  <a:cubicBezTo>
                    <a:pt x="37" y="73"/>
                    <a:pt x="37" y="73"/>
                    <a:pt x="37" y="73"/>
                  </a:cubicBezTo>
                  <a:close/>
                  <a:moveTo>
                    <a:pt x="60" y="70"/>
                  </a:moveTo>
                  <a:cubicBezTo>
                    <a:pt x="57" y="75"/>
                    <a:pt x="57" y="75"/>
                    <a:pt x="57" y="75"/>
                  </a:cubicBezTo>
                  <a:cubicBezTo>
                    <a:pt x="52" y="73"/>
                    <a:pt x="52" y="73"/>
                    <a:pt x="52" y="73"/>
                  </a:cubicBezTo>
                  <a:cubicBezTo>
                    <a:pt x="54" y="67"/>
                    <a:pt x="54" y="67"/>
                    <a:pt x="54" y="67"/>
                  </a:cubicBezTo>
                  <a:cubicBezTo>
                    <a:pt x="60" y="70"/>
                    <a:pt x="60" y="70"/>
                    <a:pt x="60" y="70"/>
                  </a:cubicBezTo>
                  <a:cubicBezTo>
                    <a:pt x="60" y="70"/>
                    <a:pt x="60" y="70"/>
                    <a:pt x="60" y="70"/>
                  </a:cubicBezTo>
                  <a:close/>
                  <a:moveTo>
                    <a:pt x="50" y="66"/>
                  </a:moveTo>
                  <a:cubicBezTo>
                    <a:pt x="48" y="71"/>
                    <a:pt x="48" y="71"/>
                    <a:pt x="48" y="71"/>
                  </a:cubicBezTo>
                  <a:cubicBezTo>
                    <a:pt x="42" y="69"/>
                    <a:pt x="42" y="69"/>
                    <a:pt x="42" y="69"/>
                  </a:cubicBezTo>
                  <a:cubicBezTo>
                    <a:pt x="45" y="64"/>
                    <a:pt x="45" y="64"/>
                    <a:pt x="45" y="64"/>
                  </a:cubicBezTo>
                  <a:cubicBezTo>
                    <a:pt x="50" y="66"/>
                    <a:pt x="50" y="66"/>
                    <a:pt x="50" y="66"/>
                  </a:cubicBezTo>
                  <a:cubicBezTo>
                    <a:pt x="50" y="66"/>
                    <a:pt x="50" y="66"/>
                    <a:pt x="50" y="66"/>
                  </a:cubicBezTo>
                  <a:close/>
                  <a:moveTo>
                    <a:pt x="41" y="62"/>
                  </a:moveTo>
                  <a:cubicBezTo>
                    <a:pt x="39" y="68"/>
                    <a:pt x="39" y="68"/>
                    <a:pt x="39" y="68"/>
                  </a:cubicBezTo>
                  <a:cubicBezTo>
                    <a:pt x="33" y="66"/>
                    <a:pt x="33" y="66"/>
                    <a:pt x="33" y="66"/>
                  </a:cubicBezTo>
                  <a:cubicBezTo>
                    <a:pt x="35" y="60"/>
                    <a:pt x="35" y="60"/>
                    <a:pt x="35" y="60"/>
                  </a:cubicBezTo>
                  <a:cubicBezTo>
                    <a:pt x="41" y="62"/>
                    <a:pt x="41" y="62"/>
                    <a:pt x="41" y="62"/>
                  </a:cubicBezTo>
                  <a:cubicBezTo>
                    <a:pt x="41" y="62"/>
                    <a:pt x="41" y="62"/>
                    <a:pt x="41" y="62"/>
                  </a:cubicBezTo>
                  <a:close/>
                  <a:moveTo>
                    <a:pt x="63" y="60"/>
                  </a:moveTo>
                  <a:cubicBezTo>
                    <a:pt x="61" y="65"/>
                    <a:pt x="61" y="65"/>
                    <a:pt x="61" y="65"/>
                  </a:cubicBezTo>
                  <a:cubicBezTo>
                    <a:pt x="56" y="63"/>
                    <a:pt x="56" y="63"/>
                    <a:pt x="56" y="63"/>
                  </a:cubicBezTo>
                  <a:cubicBezTo>
                    <a:pt x="58" y="57"/>
                    <a:pt x="58" y="57"/>
                    <a:pt x="58" y="57"/>
                  </a:cubicBezTo>
                  <a:cubicBezTo>
                    <a:pt x="63" y="60"/>
                    <a:pt x="63" y="60"/>
                    <a:pt x="63" y="60"/>
                  </a:cubicBezTo>
                  <a:cubicBezTo>
                    <a:pt x="63" y="60"/>
                    <a:pt x="63" y="60"/>
                    <a:pt x="63" y="60"/>
                  </a:cubicBezTo>
                  <a:close/>
                  <a:moveTo>
                    <a:pt x="54" y="56"/>
                  </a:moveTo>
                  <a:cubicBezTo>
                    <a:pt x="52" y="61"/>
                    <a:pt x="52" y="61"/>
                    <a:pt x="52" y="61"/>
                  </a:cubicBezTo>
                  <a:cubicBezTo>
                    <a:pt x="46" y="59"/>
                    <a:pt x="46" y="59"/>
                    <a:pt x="46" y="59"/>
                  </a:cubicBezTo>
                  <a:cubicBezTo>
                    <a:pt x="48" y="54"/>
                    <a:pt x="48" y="54"/>
                    <a:pt x="48" y="54"/>
                  </a:cubicBezTo>
                  <a:cubicBezTo>
                    <a:pt x="54" y="56"/>
                    <a:pt x="54" y="56"/>
                    <a:pt x="54" y="56"/>
                  </a:cubicBezTo>
                  <a:cubicBezTo>
                    <a:pt x="54" y="56"/>
                    <a:pt x="54" y="56"/>
                    <a:pt x="54" y="56"/>
                  </a:cubicBezTo>
                  <a:close/>
                  <a:moveTo>
                    <a:pt x="45" y="52"/>
                  </a:moveTo>
                  <a:cubicBezTo>
                    <a:pt x="42" y="58"/>
                    <a:pt x="42" y="58"/>
                    <a:pt x="42" y="58"/>
                  </a:cubicBezTo>
                  <a:cubicBezTo>
                    <a:pt x="37" y="56"/>
                    <a:pt x="37" y="56"/>
                    <a:pt x="37" y="56"/>
                  </a:cubicBezTo>
                  <a:cubicBezTo>
                    <a:pt x="39" y="50"/>
                    <a:pt x="39" y="50"/>
                    <a:pt x="39" y="50"/>
                  </a:cubicBezTo>
                  <a:cubicBezTo>
                    <a:pt x="45" y="52"/>
                    <a:pt x="45" y="52"/>
                    <a:pt x="45" y="52"/>
                  </a:cubicBezTo>
                  <a:cubicBezTo>
                    <a:pt x="45" y="52"/>
                    <a:pt x="45" y="52"/>
                    <a:pt x="45" y="52"/>
                  </a:cubicBezTo>
                  <a:close/>
                  <a:moveTo>
                    <a:pt x="67" y="49"/>
                  </a:moveTo>
                  <a:cubicBezTo>
                    <a:pt x="65" y="55"/>
                    <a:pt x="65" y="55"/>
                    <a:pt x="65" y="55"/>
                  </a:cubicBezTo>
                  <a:cubicBezTo>
                    <a:pt x="60" y="53"/>
                    <a:pt x="60" y="53"/>
                    <a:pt x="60" y="53"/>
                  </a:cubicBezTo>
                  <a:cubicBezTo>
                    <a:pt x="62" y="47"/>
                    <a:pt x="62" y="47"/>
                    <a:pt x="62" y="47"/>
                  </a:cubicBezTo>
                  <a:cubicBezTo>
                    <a:pt x="67" y="49"/>
                    <a:pt x="67" y="49"/>
                    <a:pt x="67" y="49"/>
                  </a:cubicBezTo>
                  <a:cubicBezTo>
                    <a:pt x="67" y="49"/>
                    <a:pt x="67" y="49"/>
                    <a:pt x="67" y="49"/>
                  </a:cubicBezTo>
                  <a:close/>
                  <a:moveTo>
                    <a:pt x="58" y="46"/>
                  </a:moveTo>
                  <a:cubicBezTo>
                    <a:pt x="55" y="51"/>
                    <a:pt x="55" y="51"/>
                    <a:pt x="55" y="51"/>
                  </a:cubicBezTo>
                  <a:cubicBezTo>
                    <a:pt x="50" y="49"/>
                    <a:pt x="50" y="49"/>
                    <a:pt x="50" y="49"/>
                  </a:cubicBezTo>
                  <a:cubicBezTo>
                    <a:pt x="52" y="44"/>
                    <a:pt x="52" y="44"/>
                    <a:pt x="52" y="44"/>
                  </a:cubicBezTo>
                  <a:cubicBezTo>
                    <a:pt x="58" y="46"/>
                    <a:pt x="58" y="46"/>
                    <a:pt x="58" y="46"/>
                  </a:cubicBezTo>
                  <a:cubicBezTo>
                    <a:pt x="58" y="46"/>
                    <a:pt x="58" y="46"/>
                    <a:pt x="58" y="46"/>
                  </a:cubicBezTo>
                  <a:close/>
                  <a:moveTo>
                    <a:pt x="48" y="42"/>
                  </a:moveTo>
                  <a:cubicBezTo>
                    <a:pt x="46" y="48"/>
                    <a:pt x="46" y="48"/>
                    <a:pt x="46" y="48"/>
                  </a:cubicBezTo>
                  <a:cubicBezTo>
                    <a:pt x="41" y="46"/>
                    <a:pt x="41" y="46"/>
                    <a:pt x="41" y="46"/>
                  </a:cubicBezTo>
                  <a:cubicBezTo>
                    <a:pt x="43" y="40"/>
                    <a:pt x="43" y="40"/>
                    <a:pt x="43" y="40"/>
                  </a:cubicBezTo>
                  <a:cubicBezTo>
                    <a:pt x="48" y="42"/>
                    <a:pt x="48" y="42"/>
                    <a:pt x="48" y="42"/>
                  </a:cubicBezTo>
                  <a:cubicBezTo>
                    <a:pt x="48" y="42"/>
                    <a:pt x="48" y="42"/>
                    <a:pt x="48" y="42"/>
                  </a:cubicBezTo>
                  <a:close/>
                  <a:moveTo>
                    <a:pt x="71" y="39"/>
                  </a:moveTo>
                  <a:cubicBezTo>
                    <a:pt x="69" y="45"/>
                    <a:pt x="69" y="45"/>
                    <a:pt x="69" y="45"/>
                  </a:cubicBezTo>
                  <a:cubicBezTo>
                    <a:pt x="64" y="43"/>
                    <a:pt x="64" y="43"/>
                    <a:pt x="64" y="43"/>
                  </a:cubicBezTo>
                  <a:cubicBezTo>
                    <a:pt x="66" y="37"/>
                    <a:pt x="66" y="37"/>
                    <a:pt x="66" y="37"/>
                  </a:cubicBezTo>
                  <a:cubicBezTo>
                    <a:pt x="71" y="39"/>
                    <a:pt x="71" y="39"/>
                    <a:pt x="71" y="39"/>
                  </a:cubicBezTo>
                  <a:cubicBezTo>
                    <a:pt x="71" y="39"/>
                    <a:pt x="71" y="39"/>
                    <a:pt x="71" y="39"/>
                  </a:cubicBezTo>
                  <a:close/>
                  <a:moveTo>
                    <a:pt x="61" y="36"/>
                  </a:moveTo>
                  <a:cubicBezTo>
                    <a:pt x="59" y="41"/>
                    <a:pt x="59" y="41"/>
                    <a:pt x="59" y="41"/>
                  </a:cubicBezTo>
                  <a:cubicBezTo>
                    <a:pt x="54" y="39"/>
                    <a:pt x="54" y="39"/>
                    <a:pt x="54" y="39"/>
                  </a:cubicBezTo>
                  <a:cubicBezTo>
                    <a:pt x="56" y="34"/>
                    <a:pt x="56" y="34"/>
                    <a:pt x="56" y="34"/>
                  </a:cubicBezTo>
                  <a:cubicBezTo>
                    <a:pt x="61" y="36"/>
                    <a:pt x="61" y="36"/>
                    <a:pt x="61" y="36"/>
                  </a:cubicBezTo>
                  <a:cubicBezTo>
                    <a:pt x="61" y="36"/>
                    <a:pt x="61" y="36"/>
                    <a:pt x="61" y="36"/>
                  </a:cubicBezTo>
                  <a:close/>
                  <a:moveTo>
                    <a:pt x="52" y="32"/>
                  </a:moveTo>
                  <a:cubicBezTo>
                    <a:pt x="50" y="38"/>
                    <a:pt x="50" y="38"/>
                    <a:pt x="50" y="38"/>
                  </a:cubicBezTo>
                  <a:cubicBezTo>
                    <a:pt x="45" y="36"/>
                    <a:pt x="45" y="36"/>
                    <a:pt x="45" y="36"/>
                  </a:cubicBezTo>
                  <a:cubicBezTo>
                    <a:pt x="47" y="30"/>
                    <a:pt x="47" y="30"/>
                    <a:pt x="47" y="30"/>
                  </a:cubicBezTo>
                  <a:cubicBezTo>
                    <a:pt x="52" y="32"/>
                    <a:pt x="52" y="32"/>
                    <a:pt x="52" y="32"/>
                  </a:cubicBezTo>
                  <a:cubicBezTo>
                    <a:pt x="52" y="32"/>
                    <a:pt x="52" y="32"/>
                    <a:pt x="52" y="32"/>
                  </a:cubicBezTo>
                  <a:close/>
                  <a:moveTo>
                    <a:pt x="75" y="29"/>
                  </a:moveTo>
                  <a:cubicBezTo>
                    <a:pt x="73" y="35"/>
                    <a:pt x="73" y="35"/>
                    <a:pt x="73" y="35"/>
                  </a:cubicBezTo>
                  <a:cubicBezTo>
                    <a:pt x="67" y="33"/>
                    <a:pt x="67" y="33"/>
                    <a:pt x="67" y="33"/>
                  </a:cubicBezTo>
                  <a:cubicBezTo>
                    <a:pt x="69" y="27"/>
                    <a:pt x="69" y="27"/>
                    <a:pt x="69" y="27"/>
                  </a:cubicBezTo>
                  <a:cubicBezTo>
                    <a:pt x="75" y="29"/>
                    <a:pt x="75" y="29"/>
                    <a:pt x="75" y="29"/>
                  </a:cubicBezTo>
                  <a:cubicBezTo>
                    <a:pt x="75" y="29"/>
                    <a:pt x="75" y="29"/>
                    <a:pt x="75" y="29"/>
                  </a:cubicBezTo>
                  <a:close/>
                  <a:moveTo>
                    <a:pt x="65" y="26"/>
                  </a:moveTo>
                  <a:cubicBezTo>
                    <a:pt x="63" y="31"/>
                    <a:pt x="63" y="31"/>
                    <a:pt x="63" y="31"/>
                  </a:cubicBezTo>
                  <a:cubicBezTo>
                    <a:pt x="58" y="29"/>
                    <a:pt x="58" y="29"/>
                    <a:pt x="58" y="29"/>
                  </a:cubicBezTo>
                  <a:cubicBezTo>
                    <a:pt x="60" y="23"/>
                    <a:pt x="60" y="23"/>
                    <a:pt x="60" y="23"/>
                  </a:cubicBezTo>
                  <a:cubicBezTo>
                    <a:pt x="65" y="26"/>
                    <a:pt x="65" y="26"/>
                    <a:pt x="65" y="26"/>
                  </a:cubicBezTo>
                  <a:cubicBezTo>
                    <a:pt x="65" y="26"/>
                    <a:pt x="65" y="26"/>
                    <a:pt x="65" y="26"/>
                  </a:cubicBezTo>
                  <a:close/>
                  <a:moveTo>
                    <a:pt x="56" y="22"/>
                  </a:moveTo>
                  <a:cubicBezTo>
                    <a:pt x="54" y="28"/>
                    <a:pt x="54" y="28"/>
                    <a:pt x="54" y="28"/>
                  </a:cubicBezTo>
                  <a:cubicBezTo>
                    <a:pt x="49" y="26"/>
                    <a:pt x="49" y="26"/>
                    <a:pt x="49" y="26"/>
                  </a:cubicBezTo>
                  <a:cubicBezTo>
                    <a:pt x="51" y="20"/>
                    <a:pt x="51" y="20"/>
                    <a:pt x="51" y="20"/>
                  </a:cubicBezTo>
                  <a:cubicBezTo>
                    <a:pt x="56" y="22"/>
                    <a:pt x="56" y="22"/>
                    <a:pt x="56" y="22"/>
                  </a:cubicBezTo>
                  <a:cubicBezTo>
                    <a:pt x="56" y="22"/>
                    <a:pt x="56" y="22"/>
                    <a:pt x="56" y="22"/>
                  </a:cubicBezTo>
                  <a:close/>
                  <a:moveTo>
                    <a:pt x="79" y="19"/>
                  </a:moveTo>
                  <a:cubicBezTo>
                    <a:pt x="77" y="25"/>
                    <a:pt x="77" y="25"/>
                    <a:pt x="77" y="25"/>
                  </a:cubicBezTo>
                  <a:cubicBezTo>
                    <a:pt x="71" y="23"/>
                    <a:pt x="71" y="23"/>
                    <a:pt x="71" y="23"/>
                  </a:cubicBezTo>
                  <a:cubicBezTo>
                    <a:pt x="73" y="17"/>
                    <a:pt x="73" y="17"/>
                    <a:pt x="73" y="17"/>
                  </a:cubicBezTo>
                  <a:cubicBezTo>
                    <a:pt x="79" y="19"/>
                    <a:pt x="79" y="19"/>
                    <a:pt x="79" y="19"/>
                  </a:cubicBezTo>
                  <a:cubicBezTo>
                    <a:pt x="79" y="19"/>
                    <a:pt x="79" y="19"/>
                    <a:pt x="79" y="19"/>
                  </a:cubicBezTo>
                  <a:close/>
                  <a:moveTo>
                    <a:pt x="69" y="16"/>
                  </a:moveTo>
                  <a:cubicBezTo>
                    <a:pt x="67" y="21"/>
                    <a:pt x="67" y="21"/>
                    <a:pt x="67" y="21"/>
                  </a:cubicBezTo>
                  <a:cubicBezTo>
                    <a:pt x="62" y="19"/>
                    <a:pt x="62" y="19"/>
                    <a:pt x="62" y="19"/>
                  </a:cubicBezTo>
                  <a:cubicBezTo>
                    <a:pt x="64" y="13"/>
                    <a:pt x="64" y="13"/>
                    <a:pt x="64" y="13"/>
                  </a:cubicBezTo>
                  <a:cubicBezTo>
                    <a:pt x="69" y="16"/>
                    <a:pt x="69" y="16"/>
                    <a:pt x="69" y="16"/>
                  </a:cubicBezTo>
                  <a:cubicBezTo>
                    <a:pt x="69" y="16"/>
                    <a:pt x="69" y="16"/>
                    <a:pt x="69" y="16"/>
                  </a:cubicBezTo>
                  <a:close/>
                  <a:moveTo>
                    <a:pt x="60" y="12"/>
                  </a:moveTo>
                  <a:cubicBezTo>
                    <a:pt x="58" y="17"/>
                    <a:pt x="58" y="17"/>
                    <a:pt x="58" y="17"/>
                  </a:cubicBezTo>
                  <a:cubicBezTo>
                    <a:pt x="52" y="15"/>
                    <a:pt x="52" y="15"/>
                    <a:pt x="52" y="15"/>
                  </a:cubicBezTo>
                  <a:cubicBezTo>
                    <a:pt x="54" y="10"/>
                    <a:pt x="54" y="10"/>
                    <a:pt x="54" y="10"/>
                  </a:cubicBezTo>
                  <a:cubicBezTo>
                    <a:pt x="60" y="12"/>
                    <a:pt x="60" y="12"/>
                    <a:pt x="60" y="12"/>
                  </a:cubicBezTo>
                  <a:cubicBezTo>
                    <a:pt x="60" y="12"/>
                    <a:pt x="60" y="12"/>
                    <a:pt x="60" y="12"/>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09" name="Freeform 2165"/>
            <p:cNvSpPr>
              <a:spLocks noEditPoints="1"/>
            </p:cNvSpPr>
            <p:nvPr/>
          </p:nvSpPr>
          <p:spPr bwMode="auto">
            <a:xfrm>
              <a:off x="21297900" y="2471738"/>
              <a:ext cx="555625" cy="346075"/>
            </a:xfrm>
            <a:custGeom>
              <a:avLst/>
              <a:gdLst>
                <a:gd name="T0" fmla="*/ 146 w 148"/>
                <a:gd name="T1" fmla="*/ 27 h 92"/>
                <a:gd name="T2" fmla="*/ 7 w 148"/>
                <a:gd name="T3" fmla="*/ 53 h 92"/>
                <a:gd name="T4" fmla="*/ 23 w 148"/>
                <a:gd name="T5" fmla="*/ 90 h 92"/>
                <a:gd name="T6" fmla="*/ 126 w 148"/>
                <a:gd name="T7" fmla="*/ 32 h 92"/>
                <a:gd name="T8" fmla="*/ 69 w 148"/>
                <a:gd name="T9" fmla="*/ 34 h 92"/>
                <a:gd name="T10" fmla="*/ 72 w 148"/>
                <a:gd name="T11" fmla="*/ 39 h 92"/>
                <a:gd name="T12" fmla="*/ 73 w 148"/>
                <a:gd name="T13" fmla="*/ 43 h 92"/>
                <a:gd name="T14" fmla="*/ 76 w 148"/>
                <a:gd name="T15" fmla="*/ 49 h 92"/>
                <a:gd name="T16" fmla="*/ 77 w 148"/>
                <a:gd name="T17" fmla="*/ 52 h 92"/>
                <a:gd name="T18" fmla="*/ 80 w 148"/>
                <a:gd name="T19" fmla="*/ 58 h 92"/>
                <a:gd name="T20" fmla="*/ 59 w 148"/>
                <a:gd name="T21" fmla="*/ 38 h 92"/>
                <a:gd name="T22" fmla="*/ 62 w 148"/>
                <a:gd name="T23" fmla="*/ 44 h 92"/>
                <a:gd name="T24" fmla="*/ 63 w 148"/>
                <a:gd name="T25" fmla="*/ 48 h 92"/>
                <a:gd name="T26" fmla="*/ 66 w 148"/>
                <a:gd name="T27" fmla="*/ 53 h 92"/>
                <a:gd name="T28" fmla="*/ 67 w 148"/>
                <a:gd name="T29" fmla="*/ 57 h 92"/>
                <a:gd name="T30" fmla="*/ 70 w 148"/>
                <a:gd name="T31" fmla="*/ 62 h 92"/>
                <a:gd name="T32" fmla="*/ 50 w 148"/>
                <a:gd name="T33" fmla="*/ 43 h 92"/>
                <a:gd name="T34" fmla="*/ 52 w 148"/>
                <a:gd name="T35" fmla="*/ 48 h 92"/>
                <a:gd name="T36" fmla="*/ 54 w 148"/>
                <a:gd name="T37" fmla="*/ 52 h 92"/>
                <a:gd name="T38" fmla="*/ 56 w 148"/>
                <a:gd name="T39" fmla="*/ 57 h 92"/>
                <a:gd name="T40" fmla="*/ 58 w 148"/>
                <a:gd name="T41" fmla="*/ 61 h 92"/>
                <a:gd name="T42" fmla="*/ 60 w 148"/>
                <a:gd name="T43" fmla="*/ 66 h 92"/>
                <a:gd name="T44" fmla="*/ 40 w 148"/>
                <a:gd name="T45" fmla="*/ 47 h 92"/>
                <a:gd name="T46" fmla="*/ 42 w 148"/>
                <a:gd name="T47" fmla="*/ 52 h 92"/>
                <a:gd name="T48" fmla="*/ 44 w 148"/>
                <a:gd name="T49" fmla="*/ 56 h 92"/>
                <a:gd name="T50" fmla="*/ 46 w 148"/>
                <a:gd name="T51" fmla="*/ 62 h 92"/>
                <a:gd name="T52" fmla="*/ 48 w 148"/>
                <a:gd name="T53" fmla="*/ 65 h 92"/>
                <a:gd name="T54" fmla="*/ 50 w 148"/>
                <a:gd name="T55" fmla="*/ 71 h 92"/>
                <a:gd name="T56" fmla="*/ 30 w 148"/>
                <a:gd name="T57" fmla="*/ 51 h 92"/>
                <a:gd name="T58" fmla="*/ 32 w 148"/>
                <a:gd name="T59" fmla="*/ 56 h 92"/>
                <a:gd name="T60" fmla="*/ 34 w 148"/>
                <a:gd name="T61" fmla="*/ 61 h 92"/>
                <a:gd name="T62" fmla="*/ 36 w 148"/>
                <a:gd name="T63" fmla="*/ 66 h 92"/>
                <a:gd name="T64" fmla="*/ 38 w 148"/>
                <a:gd name="T65" fmla="*/ 70 h 92"/>
                <a:gd name="T66" fmla="*/ 40 w 148"/>
                <a:gd name="T67" fmla="*/ 75 h 92"/>
                <a:gd name="T68" fmla="*/ 20 w 148"/>
                <a:gd name="T69" fmla="*/ 55 h 92"/>
                <a:gd name="T70" fmla="*/ 22 w 148"/>
                <a:gd name="T71" fmla="*/ 61 h 92"/>
                <a:gd name="T72" fmla="*/ 24 w 148"/>
                <a:gd name="T73" fmla="*/ 65 h 92"/>
                <a:gd name="T74" fmla="*/ 26 w 148"/>
                <a:gd name="T75" fmla="*/ 70 h 92"/>
                <a:gd name="T76" fmla="*/ 28 w 148"/>
                <a:gd name="T77" fmla="*/ 74 h 92"/>
                <a:gd name="T78" fmla="*/ 30 w 148"/>
                <a:gd name="T79" fmla="*/ 79 h 92"/>
                <a:gd name="T80" fmla="*/ 10 w 148"/>
                <a:gd name="T81" fmla="*/ 60 h 92"/>
                <a:gd name="T82" fmla="*/ 12 w 148"/>
                <a:gd name="T83" fmla="*/ 65 h 92"/>
                <a:gd name="T84" fmla="*/ 14 w 148"/>
                <a:gd name="T85" fmla="*/ 69 h 92"/>
                <a:gd name="T86" fmla="*/ 16 w 148"/>
                <a:gd name="T87" fmla="*/ 74 h 92"/>
                <a:gd name="T88" fmla="*/ 18 w 148"/>
                <a:gd name="T89" fmla="*/ 78 h 92"/>
                <a:gd name="T90" fmla="*/ 20 w 148"/>
                <a:gd name="T91" fmla="*/ 8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8" h="92">
                  <a:moveTo>
                    <a:pt x="23" y="90"/>
                  </a:moveTo>
                  <a:cubicBezTo>
                    <a:pt x="141" y="39"/>
                    <a:pt x="141" y="39"/>
                    <a:pt x="141" y="39"/>
                  </a:cubicBezTo>
                  <a:cubicBezTo>
                    <a:pt x="146" y="37"/>
                    <a:pt x="148" y="32"/>
                    <a:pt x="146" y="27"/>
                  </a:cubicBezTo>
                  <a:cubicBezTo>
                    <a:pt x="137" y="7"/>
                    <a:pt x="137" y="7"/>
                    <a:pt x="137" y="7"/>
                  </a:cubicBezTo>
                  <a:cubicBezTo>
                    <a:pt x="135" y="2"/>
                    <a:pt x="129" y="0"/>
                    <a:pt x="125" y="2"/>
                  </a:cubicBezTo>
                  <a:cubicBezTo>
                    <a:pt x="7" y="53"/>
                    <a:pt x="7" y="53"/>
                    <a:pt x="7" y="53"/>
                  </a:cubicBezTo>
                  <a:cubicBezTo>
                    <a:pt x="2" y="55"/>
                    <a:pt x="0" y="60"/>
                    <a:pt x="2" y="65"/>
                  </a:cubicBezTo>
                  <a:cubicBezTo>
                    <a:pt x="11" y="85"/>
                    <a:pt x="11" y="85"/>
                    <a:pt x="11" y="85"/>
                  </a:cubicBezTo>
                  <a:cubicBezTo>
                    <a:pt x="13" y="90"/>
                    <a:pt x="19" y="92"/>
                    <a:pt x="23" y="90"/>
                  </a:cubicBezTo>
                  <a:close/>
                  <a:moveTo>
                    <a:pt x="120" y="18"/>
                  </a:moveTo>
                  <a:cubicBezTo>
                    <a:pt x="124" y="16"/>
                    <a:pt x="128" y="18"/>
                    <a:pt x="130" y="22"/>
                  </a:cubicBezTo>
                  <a:cubicBezTo>
                    <a:pt x="131" y="26"/>
                    <a:pt x="129" y="30"/>
                    <a:pt x="126" y="32"/>
                  </a:cubicBezTo>
                  <a:cubicBezTo>
                    <a:pt x="122" y="33"/>
                    <a:pt x="118" y="32"/>
                    <a:pt x="116" y="28"/>
                  </a:cubicBezTo>
                  <a:cubicBezTo>
                    <a:pt x="114" y="24"/>
                    <a:pt x="116" y="20"/>
                    <a:pt x="120" y="18"/>
                  </a:cubicBezTo>
                  <a:close/>
                  <a:moveTo>
                    <a:pt x="69" y="34"/>
                  </a:moveTo>
                  <a:cubicBezTo>
                    <a:pt x="75" y="32"/>
                    <a:pt x="75" y="32"/>
                    <a:pt x="75" y="32"/>
                  </a:cubicBezTo>
                  <a:cubicBezTo>
                    <a:pt x="77" y="37"/>
                    <a:pt x="77" y="37"/>
                    <a:pt x="77" y="37"/>
                  </a:cubicBezTo>
                  <a:cubicBezTo>
                    <a:pt x="72" y="39"/>
                    <a:pt x="72" y="39"/>
                    <a:pt x="72" y="39"/>
                  </a:cubicBezTo>
                  <a:cubicBezTo>
                    <a:pt x="69" y="34"/>
                    <a:pt x="69" y="34"/>
                    <a:pt x="69" y="34"/>
                  </a:cubicBezTo>
                  <a:cubicBezTo>
                    <a:pt x="69" y="34"/>
                    <a:pt x="69" y="34"/>
                    <a:pt x="69" y="34"/>
                  </a:cubicBezTo>
                  <a:close/>
                  <a:moveTo>
                    <a:pt x="73" y="43"/>
                  </a:moveTo>
                  <a:cubicBezTo>
                    <a:pt x="79" y="41"/>
                    <a:pt x="79" y="41"/>
                    <a:pt x="79" y="41"/>
                  </a:cubicBezTo>
                  <a:cubicBezTo>
                    <a:pt x="81" y="46"/>
                    <a:pt x="81" y="46"/>
                    <a:pt x="81" y="46"/>
                  </a:cubicBezTo>
                  <a:cubicBezTo>
                    <a:pt x="76" y="49"/>
                    <a:pt x="76" y="49"/>
                    <a:pt x="76" y="49"/>
                  </a:cubicBezTo>
                  <a:cubicBezTo>
                    <a:pt x="73" y="43"/>
                    <a:pt x="73" y="43"/>
                    <a:pt x="73" y="43"/>
                  </a:cubicBezTo>
                  <a:cubicBezTo>
                    <a:pt x="73" y="43"/>
                    <a:pt x="73" y="43"/>
                    <a:pt x="73" y="43"/>
                  </a:cubicBezTo>
                  <a:close/>
                  <a:moveTo>
                    <a:pt x="77" y="52"/>
                  </a:moveTo>
                  <a:cubicBezTo>
                    <a:pt x="83" y="50"/>
                    <a:pt x="83" y="50"/>
                    <a:pt x="83" y="50"/>
                  </a:cubicBezTo>
                  <a:cubicBezTo>
                    <a:pt x="85" y="55"/>
                    <a:pt x="85" y="55"/>
                    <a:pt x="85" y="55"/>
                  </a:cubicBezTo>
                  <a:cubicBezTo>
                    <a:pt x="80" y="58"/>
                    <a:pt x="80" y="58"/>
                    <a:pt x="80" y="58"/>
                  </a:cubicBezTo>
                  <a:cubicBezTo>
                    <a:pt x="77" y="52"/>
                    <a:pt x="77" y="52"/>
                    <a:pt x="77" y="52"/>
                  </a:cubicBezTo>
                  <a:cubicBezTo>
                    <a:pt x="77" y="52"/>
                    <a:pt x="77" y="52"/>
                    <a:pt x="77" y="52"/>
                  </a:cubicBezTo>
                  <a:close/>
                  <a:moveTo>
                    <a:pt x="59" y="38"/>
                  </a:moveTo>
                  <a:cubicBezTo>
                    <a:pt x="65" y="36"/>
                    <a:pt x="65" y="36"/>
                    <a:pt x="65" y="36"/>
                  </a:cubicBezTo>
                  <a:cubicBezTo>
                    <a:pt x="67" y="41"/>
                    <a:pt x="67" y="41"/>
                    <a:pt x="67" y="41"/>
                  </a:cubicBezTo>
                  <a:cubicBezTo>
                    <a:pt x="62" y="44"/>
                    <a:pt x="62" y="44"/>
                    <a:pt x="62" y="44"/>
                  </a:cubicBezTo>
                  <a:cubicBezTo>
                    <a:pt x="59" y="38"/>
                    <a:pt x="59" y="38"/>
                    <a:pt x="59" y="38"/>
                  </a:cubicBezTo>
                  <a:cubicBezTo>
                    <a:pt x="59" y="38"/>
                    <a:pt x="59" y="38"/>
                    <a:pt x="59" y="38"/>
                  </a:cubicBezTo>
                  <a:close/>
                  <a:moveTo>
                    <a:pt x="63" y="48"/>
                  </a:moveTo>
                  <a:cubicBezTo>
                    <a:pt x="69" y="45"/>
                    <a:pt x="69" y="45"/>
                    <a:pt x="69" y="45"/>
                  </a:cubicBezTo>
                  <a:cubicBezTo>
                    <a:pt x="71" y="51"/>
                    <a:pt x="71" y="51"/>
                    <a:pt x="71" y="51"/>
                  </a:cubicBezTo>
                  <a:cubicBezTo>
                    <a:pt x="66" y="53"/>
                    <a:pt x="66" y="53"/>
                    <a:pt x="66" y="53"/>
                  </a:cubicBezTo>
                  <a:cubicBezTo>
                    <a:pt x="63" y="48"/>
                    <a:pt x="63" y="48"/>
                    <a:pt x="63" y="48"/>
                  </a:cubicBezTo>
                  <a:cubicBezTo>
                    <a:pt x="63" y="48"/>
                    <a:pt x="63" y="48"/>
                    <a:pt x="63" y="48"/>
                  </a:cubicBezTo>
                  <a:close/>
                  <a:moveTo>
                    <a:pt x="67" y="57"/>
                  </a:moveTo>
                  <a:cubicBezTo>
                    <a:pt x="73" y="54"/>
                    <a:pt x="73" y="54"/>
                    <a:pt x="73" y="54"/>
                  </a:cubicBezTo>
                  <a:cubicBezTo>
                    <a:pt x="75" y="60"/>
                    <a:pt x="75" y="60"/>
                    <a:pt x="75" y="60"/>
                  </a:cubicBezTo>
                  <a:cubicBezTo>
                    <a:pt x="70" y="62"/>
                    <a:pt x="70" y="62"/>
                    <a:pt x="70" y="62"/>
                  </a:cubicBezTo>
                  <a:cubicBezTo>
                    <a:pt x="67" y="57"/>
                    <a:pt x="67" y="57"/>
                    <a:pt x="67" y="57"/>
                  </a:cubicBezTo>
                  <a:cubicBezTo>
                    <a:pt x="67" y="57"/>
                    <a:pt x="67" y="57"/>
                    <a:pt x="67" y="57"/>
                  </a:cubicBezTo>
                  <a:close/>
                  <a:moveTo>
                    <a:pt x="50" y="43"/>
                  </a:moveTo>
                  <a:cubicBezTo>
                    <a:pt x="55" y="40"/>
                    <a:pt x="55" y="40"/>
                    <a:pt x="55" y="40"/>
                  </a:cubicBezTo>
                  <a:cubicBezTo>
                    <a:pt x="57" y="45"/>
                    <a:pt x="57" y="45"/>
                    <a:pt x="57" y="45"/>
                  </a:cubicBezTo>
                  <a:cubicBezTo>
                    <a:pt x="52" y="48"/>
                    <a:pt x="52" y="48"/>
                    <a:pt x="52" y="48"/>
                  </a:cubicBezTo>
                  <a:cubicBezTo>
                    <a:pt x="50" y="43"/>
                    <a:pt x="50" y="43"/>
                    <a:pt x="50" y="43"/>
                  </a:cubicBezTo>
                  <a:cubicBezTo>
                    <a:pt x="50" y="43"/>
                    <a:pt x="50" y="43"/>
                    <a:pt x="50" y="43"/>
                  </a:cubicBezTo>
                  <a:close/>
                  <a:moveTo>
                    <a:pt x="54" y="52"/>
                  </a:moveTo>
                  <a:cubicBezTo>
                    <a:pt x="59" y="50"/>
                    <a:pt x="59" y="50"/>
                    <a:pt x="59" y="50"/>
                  </a:cubicBezTo>
                  <a:cubicBezTo>
                    <a:pt x="61" y="55"/>
                    <a:pt x="61" y="55"/>
                    <a:pt x="61" y="55"/>
                  </a:cubicBezTo>
                  <a:cubicBezTo>
                    <a:pt x="56" y="57"/>
                    <a:pt x="56" y="57"/>
                    <a:pt x="56" y="57"/>
                  </a:cubicBezTo>
                  <a:cubicBezTo>
                    <a:pt x="54" y="52"/>
                    <a:pt x="54" y="52"/>
                    <a:pt x="54" y="52"/>
                  </a:cubicBezTo>
                  <a:cubicBezTo>
                    <a:pt x="54" y="52"/>
                    <a:pt x="54" y="52"/>
                    <a:pt x="54" y="52"/>
                  </a:cubicBezTo>
                  <a:close/>
                  <a:moveTo>
                    <a:pt x="58" y="61"/>
                  </a:moveTo>
                  <a:cubicBezTo>
                    <a:pt x="63" y="59"/>
                    <a:pt x="63" y="59"/>
                    <a:pt x="63" y="59"/>
                  </a:cubicBezTo>
                  <a:cubicBezTo>
                    <a:pt x="65" y="64"/>
                    <a:pt x="65" y="64"/>
                    <a:pt x="65" y="64"/>
                  </a:cubicBezTo>
                  <a:cubicBezTo>
                    <a:pt x="60" y="66"/>
                    <a:pt x="60" y="66"/>
                    <a:pt x="60" y="66"/>
                  </a:cubicBezTo>
                  <a:cubicBezTo>
                    <a:pt x="58" y="61"/>
                    <a:pt x="58" y="61"/>
                    <a:pt x="58" y="61"/>
                  </a:cubicBezTo>
                  <a:cubicBezTo>
                    <a:pt x="58" y="61"/>
                    <a:pt x="58" y="61"/>
                    <a:pt x="58" y="61"/>
                  </a:cubicBezTo>
                  <a:close/>
                  <a:moveTo>
                    <a:pt x="40" y="47"/>
                  </a:moveTo>
                  <a:cubicBezTo>
                    <a:pt x="45" y="45"/>
                    <a:pt x="45" y="45"/>
                    <a:pt x="45" y="45"/>
                  </a:cubicBezTo>
                  <a:cubicBezTo>
                    <a:pt x="47" y="50"/>
                    <a:pt x="47" y="50"/>
                    <a:pt x="47" y="50"/>
                  </a:cubicBezTo>
                  <a:cubicBezTo>
                    <a:pt x="42" y="52"/>
                    <a:pt x="42" y="52"/>
                    <a:pt x="42" y="52"/>
                  </a:cubicBezTo>
                  <a:cubicBezTo>
                    <a:pt x="40" y="47"/>
                    <a:pt x="40" y="47"/>
                    <a:pt x="40" y="47"/>
                  </a:cubicBezTo>
                  <a:cubicBezTo>
                    <a:pt x="40" y="47"/>
                    <a:pt x="40" y="47"/>
                    <a:pt x="40" y="47"/>
                  </a:cubicBezTo>
                  <a:close/>
                  <a:moveTo>
                    <a:pt x="44" y="56"/>
                  </a:moveTo>
                  <a:cubicBezTo>
                    <a:pt x="49" y="54"/>
                    <a:pt x="49" y="54"/>
                    <a:pt x="49" y="54"/>
                  </a:cubicBezTo>
                  <a:cubicBezTo>
                    <a:pt x="51" y="59"/>
                    <a:pt x="51" y="59"/>
                    <a:pt x="51" y="59"/>
                  </a:cubicBezTo>
                  <a:cubicBezTo>
                    <a:pt x="46" y="62"/>
                    <a:pt x="46" y="62"/>
                    <a:pt x="46" y="62"/>
                  </a:cubicBezTo>
                  <a:cubicBezTo>
                    <a:pt x="44" y="56"/>
                    <a:pt x="44" y="56"/>
                    <a:pt x="44" y="56"/>
                  </a:cubicBezTo>
                  <a:cubicBezTo>
                    <a:pt x="44" y="56"/>
                    <a:pt x="44" y="56"/>
                    <a:pt x="44" y="56"/>
                  </a:cubicBezTo>
                  <a:close/>
                  <a:moveTo>
                    <a:pt x="48" y="65"/>
                  </a:moveTo>
                  <a:cubicBezTo>
                    <a:pt x="53" y="63"/>
                    <a:pt x="53" y="63"/>
                    <a:pt x="53" y="63"/>
                  </a:cubicBezTo>
                  <a:cubicBezTo>
                    <a:pt x="55" y="68"/>
                    <a:pt x="55" y="68"/>
                    <a:pt x="55" y="68"/>
                  </a:cubicBezTo>
                  <a:cubicBezTo>
                    <a:pt x="50" y="71"/>
                    <a:pt x="50" y="71"/>
                    <a:pt x="50" y="71"/>
                  </a:cubicBezTo>
                  <a:cubicBezTo>
                    <a:pt x="48" y="65"/>
                    <a:pt x="48" y="65"/>
                    <a:pt x="48" y="65"/>
                  </a:cubicBezTo>
                  <a:cubicBezTo>
                    <a:pt x="48" y="65"/>
                    <a:pt x="48" y="65"/>
                    <a:pt x="48" y="65"/>
                  </a:cubicBezTo>
                  <a:close/>
                  <a:moveTo>
                    <a:pt x="30" y="51"/>
                  </a:moveTo>
                  <a:cubicBezTo>
                    <a:pt x="35" y="49"/>
                    <a:pt x="35" y="49"/>
                    <a:pt x="35" y="49"/>
                  </a:cubicBezTo>
                  <a:cubicBezTo>
                    <a:pt x="37" y="54"/>
                    <a:pt x="37" y="54"/>
                    <a:pt x="37" y="54"/>
                  </a:cubicBezTo>
                  <a:cubicBezTo>
                    <a:pt x="32" y="56"/>
                    <a:pt x="32" y="56"/>
                    <a:pt x="32" y="56"/>
                  </a:cubicBezTo>
                  <a:cubicBezTo>
                    <a:pt x="30" y="51"/>
                    <a:pt x="30" y="51"/>
                    <a:pt x="30" y="51"/>
                  </a:cubicBezTo>
                  <a:cubicBezTo>
                    <a:pt x="30" y="51"/>
                    <a:pt x="30" y="51"/>
                    <a:pt x="30" y="51"/>
                  </a:cubicBezTo>
                  <a:close/>
                  <a:moveTo>
                    <a:pt x="34" y="61"/>
                  </a:moveTo>
                  <a:cubicBezTo>
                    <a:pt x="39" y="58"/>
                    <a:pt x="39" y="58"/>
                    <a:pt x="39" y="58"/>
                  </a:cubicBezTo>
                  <a:cubicBezTo>
                    <a:pt x="41" y="64"/>
                    <a:pt x="41" y="64"/>
                    <a:pt x="41" y="64"/>
                  </a:cubicBezTo>
                  <a:cubicBezTo>
                    <a:pt x="36" y="66"/>
                    <a:pt x="36" y="66"/>
                    <a:pt x="36" y="66"/>
                  </a:cubicBezTo>
                  <a:cubicBezTo>
                    <a:pt x="34" y="61"/>
                    <a:pt x="34" y="61"/>
                    <a:pt x="34" y="61"/>
                  </a:cubicBezTo>
                  <a:cubicBezTo>
                    <a:pt x="34" y="61"/>
                    <a:pt x="34" y="61"/>
                    <a:pt x="34" y="61"/>
                  </a:cubicBezTo>
                  <a:close/>
                  <a:moveTo>
                    <a:pt x="38" y="70"/>
                  </a:moveTo>
                  <a:cubicBezTo>
                    <a:pt x="43" y="67"/>
                    <a:pt x="43" y="67"/>
                    <a:pt x="43" y="67"/>
                  </a:cubicBezTo>
                  <a:cubicBezTo>
                    <a:pt x="45" y="73"/>
                    <a:pt x="45" y="73"/>
                    <a:pt x="45" y="73"/>
                  </a:cubicBezTo>
                  <a:cubicBezTo>
                    <a:pt x="40" y="75"/>
                    <a:pt x="40" y="75"/>
                    <a:pt x="40" y="75"/>
                  </a:cubicBezTo>
                  <a:cubicBezTo>
                    <a:pt x="38" y="70"/>
                    <a:pt x="38" y="70"/>
                    <a:pt x="38" y="70"/>
                  </a:cubicBezTo>
                  <a:cubicBezTo>
                    <a:pt x="38" y="70"/>
                    <a:pt x="38" y="70"/>
                    <a:pt x="38" y="70"/>
                  </a:cubicBezTo>
                  <a:close/>
                  <a:moveTo>
                    <a:pt x="20" y="55"/>
                  </a:moveTo>
                  <a:cubicBezTo>
                    <a:pt x="25" y="53"/>
                    <a:pt x="25" y="53"/>
                    <a:pt x="25" y="53"/>
                  </a:cubicBezTo>
                  <a:cubicBezTo>
                    <a:pt x="28" y="58"/>
                    <a:pt x="28" y="58"/>
                    <a:pt x="28" y="58"/>
                  </a:cubicBezTo>
                  <a:cubicBezTo>
                    <a:pt x="22" y="61"/>
                    <a:pt x="22" y="61"/>
                    <a:pt x="22" y="61"/>
                  </a:cubicBezTo>
                  <a:cubicBezTo>
                    <a:pt x="20" y="55"/>
                    <a:pt x="20" y="55"/>
                    <a:pt x="20" y="55"/>
                  </a:cubicBezTo>
                  <a:cubicBezTo>
                    <a:pt x="20" y="55"/>
                    <a:pt x="20" y="55"/>
                    <a:pt x="20" y="55"/>
                  </a:cubicBezTo>
                  <a:close/>
                  <a:moveTo>
                    <a:pt x="24" y="65"/>
                  </a:moveTo>
                  <a:cubicBezTo>
                    <a:pt x="29" y="63"/>
                    <a:pt x="29" y="63"/>
                    <a:pt x="29" y="63"/>
                  </a:cubicBezTo>
                  <a:cubicBezTo>
                    <a:pt x="32" y="68"/>
                    <a:pt x="32" y="68"/>
                    <a:pt x="32" y="68"/>
                  </a:cubicBezTo>
                  <a:cubicBezTo>
                    <a:pt x="26" y="70"/>
                    <a:pt x="26" y="70"/>
                    <a:pt x="26" y="70"/>
                  </a:cubicBezTo>
                  <a:cubicBezTo>
                    <a:pt x="24" y="65"/>
                    <a:pt x="24" y="65"/>
                    <a:pt x="24" y="65"/>
                  </a:cubicBezTo>
                  <a:cubicBezTo>
                    <a:pt x="24" y="65"/>
                    <a:pt x="24" y="65"/>
                    <a:pt x="24" y="65"/>
                  </a:cubicBezTo>
                  <a:close/>
                  <a:moveTo>
                    <a:pt x="28" y="74"/>
                  </a:moveTo>
                  <a:cubicBezTo>
                    <a:pt x="33" y="72"/>
                    <a:pt x="33" y="72"/>
                    <a:pt x="33" y="72"/>
                  </a:cubicBezTo>
                  <a:cubicBezTo>
                    <a:pt x="36" y="77"/>
                    <a:pt x="36" y="77"/>
                    <a:pt x="36" y="77"/>
                  </a:cubicBezTo>
                  <a:cubicBezTo>
                    <a:pt x="30" y="79"/>
                    <a:pt x="30" y="79"/>
                    <a:pt x="30" y="79"/>
                  </a:cubicBezTo>
                  <a:cubicBezTo>
                    <a:pt x="28" y="74"/>
                    <a:pt x="28" y="74"/>
                    <a:pt x="28" y="74"/>
                  </a:cubicBezTo>
                  <a:cubicBezTo>
                    <a:pt x="28" y="74"/>
                    <a:pt x="28" y="74"/>
                    <a:pt x="28" y="74"/>
                  </a:cubicBezTo>
                  <a:close/>
                  <a:moveTo>
                    <a:pt x="10" y="60"/>
                  </a:moveTo>
                  <a:cubicBezTo>
                    <a:pt x="15" y="57"/>
                    <a:pt x="15" y="57"/>
                    <a:pt x="15" y="57"/>
                  </a:cubicBezTo>
                  <a:cubicBezTo>
                    <a:pt x="18" y="63"/>
                    <a:pt x="18" y="63"/>
                    <a:pt x="18" y="63"/>
                  </a:cubicBezTo>
                  <a:cubicBezTo>
                    <a:pt x="12" y="65"/>
                    <a:pt x="12" y="65"/>
                    <a:pt x="12" y="65"/>
                  </a:cubicBezTo>
                  <a:cubicBezTo>
                    <a:pt x="10" y="60"/>
                    <a:pt x="10" y="60"/>
                    <a:pt x="10" y="60"/>
                  </a:cubicBezTo>
                  <a:cubicBezTo>
                    <a:pt x="10" y="60"/>
                    <a:pt x="10" y="60"/>
                    <a:pt x="10" y="60"/>
                  </a:cubicBezTo>
                  <a:close/>
                  <a:moveTo>
                    <a:pt x="14" y="69"/>
                  </a:moveTo>
                  <a:cubicBezTo>
                    <a:pt x="19" y="67"/>
                    <a:pt x="19" y="67"/>
                    <a:pt x="19" y="67"/>
                  </a:cubicBezTo>
                  <a:cubicBezTo>
                    <a:pt x="22" y="72"/>
                    <a:pt x="22" y="72"/>
                    <a:pt x="22" y="72"/>
                  </a:cubicBezTo>
                  <a:cubicBezTo>
                    <a:pt x="16" y="74"/>
                    <a:pt x="16" y="74"/>
                    <a:pt x="16" y="74"/>
                  </a:cubicBezTo>
                  <a:cubicBezTo>
                    <a:pt x="14" y="69"/>
                    <a:pt x="14" y="69"/>
                    <a:pt x="14" y="69"/>
                  </a:cubicBezTo>
                  <a:cubicBezTo>
                    <a:pt x="14" y="69"/>
                    <a:pt x="14" y="69"/>
                    <a:pt x="14" y="69"/>
                  </a:cubicBezTo>
                  <a:close/>
                  <a:moveTo>
                    <a:pt x="18" y="78"/>
                  </a:moveTo>
                  <a:cubicBezTo>
                    <a:pt x="23" y="76"/>
                    <a:pt x="23" y="76"/>
                    <a:pt x="23" y="76"/>
                  </a:cubicBezTo>
                  <a:cubicBezTo>
                    <a:pt x="26" y="81"/>
                    <a:pt x="26" y="81"/>
                    <a:pt x="26" y="81"/>
                  </a:cubicBezTo>
                  <a:cubicBezTo>
                    <a:pt x="20" y="83"/>
                    <a:pt x="20" y="83"/>
                    <a:pt x="20" y="83"/>
                  </a:cubicBezTo>
                  <a:cubicBezTo>
                    <a:pt x="18" y="78"/>
                    <a:pt x="18" y="78"/>
                    <a:pt x="18" y="78"/>
                  </a:cubicBezTo>
                  <a:cubicBezTo>
                    <a:pt x="18" y="78"/>
                    <a:pt x="18" y="78"/>
                    <a:pt x="18" y="78"/>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10" name="Freeform 2166"/>
            <p:cNvSpPr>
              <a:spLocks noEditPoints="1"/>
            </p:cNvSpPr>
            <p:nvPr/>
          </p:nvSpPr>
          <p:spPr bwMode="auto">
            <a:xfrm>
              <a:off x="23734713" y="1411288"/>
              <a:ext cx="552450" cy="349250"/>
            </a:xfrm>
            <a:custGeom>
              <a:avLst/>
              <a:gdLst>
                <a:gd name="T0" fmla="*/ 2 w 147"/>
                <a:gd name="T1" fmla="*/ 66 h 93"/>
                <a:gd name="T2" fmla="*/ 140 w 147"/>
                <a:gd name="T3" fmla="*/ 40 h 93"/>
                <a:gd name="T4" fmla="*/ 124 w 147"/>
                <a:gd name="T5" fmla="*/ 2 h 93"/>
                <a:gd name="T6" fmla="*/ 22 w 147"/>
                <a:gd name="T7" fmla="*/ 61 h 93"/>
                <a:gd name="T8" fmla="*/ 78 w 147"/>
                <a:gd name="T9" fmla="*/ 59 h 93"/>
                <a:gd name="T10" fmla="*/ 76 w 147"/>
                <a:gd name="T11" fmla="*/ 53 h 93"/>
                <a:gd name="T12" fmla="*/ 74 w 147"/>
                <a:gd name="T13" fmla="*/ 49 h 93"/>
                <a:gd name="T14" fmla="*/ 72 w 147"/>
                <a:gd name="T15" fmla="*/ 44 h 93"/>
                <a:gd name="T16" fmla="*/ 70 w 147"/>
                <a:gd name="T17" fmla="*/ 40 h 93"/>
                <a:gd name="T18" fmla="*/ 68 w 147"/>
                <a:gd name="T19" fmla="*/ 35 h 93"/>
                <a:gd name="T20" fmla="*/ 88 w 147"/>
                <a:gd name="T21" fmla="*/ 54 h 93"/>
                <a:gd name="T22" fmla="*/ 86 w 147"/>
                <a:gd name="T23" fmla="*/ 49 h 93"/>
                <a:gd name="T24" fmla="*/ 84 w 147"/>
                <a:gd name="T25" fmla="*/ 45 h 93"/>
                <a:gd name="T26" fmla="*/ 82 w 147"/>
                <a:gd name="T27" fmla="*/ 40 h 93"/>
                <a:gd name="T28" fmla="*/ 80 w 147"/>
                <a:gd name="T29" fmla="*/ 36 h 93"/>
                <a:gd name="T30" fmla="*/ 78 w 147"/>
                <a:gd name="T31" fmla="*/ 31 h 93"/>
                <a:gd name="T32" fmla="*/ 98 w 147"/>
                <a:gd name="T33" fmla="*/ 50 h 93"/>
                <a:gd name="T34" fmla="*/ 96 w 147"/>
                <a:gd name="T35" fmla="*/ 45 h 93"/>
                <a:gd name="T36" fmla="*/ 94 w 147"/>
                <a:gd name="T37" fmla="*/ 41 h 93"/>
                <a:gd name="T38" fmla="*/ 92 w 147"/>
                <a:gd name="T39" fmla="*/ 35 h 93"/>
                <a:gd name="T40" fmla="*/ 90 w 147"/>
                <a:gd name="T41" fmla="*/ 32 h 93"/>
                <a:gd name="T42" fmla="*/ 88 w 147"/>
                <a:gd name="T43" fmla="*/ 26 h 93"/>
                <a:gd name="T44" fmla="*/ 108 w 147"/>
                <a:gd name="T45" fmla="*/ 46 h 93"/>
                <a:gd name="T46" fmla="*/ 106 w 147"/>
                <a:gd name="T47" fmla="*/ 40 h 93"/>
                <a:gd name="T48" fmla="*/ 104 w 147"/>
                <a:gd name="T49" fmla="*/ 36 h 93"/>
                <a:gd name="T50" fmla="*/ 102 w 147"/>
                <a:gd name="T51" fmla="*/ 31 h 93"/>
                <a:gd name="T52" fmla="*/ 100 w 147"/>
                <a:gd name="T53" fmla="*/ 27 h 93"/>
                <a:gd name="T54" fmla="*/ 98 w 147"/>
                <a:gd name="T55" fmla="*/ 22 h 93"/>
                <a:gd name="T56" fmla="*/ 118 w 147"/>
                <a:gd name="T57" fmla="*/ 41 h 93"/>
                <a:gd name="T58" fmla="*/ 116 w 147"/>
                <a:gd name="T59" fmla="*/ 36 h 93"/>
                <a:gd name="T60" fmla="*/ 114 w 147"/>
                <a:gd name="T61" fmla="*/ 32 h 93"/>
                <a:gd name="T62" fmla="*/ 111 w 147"/>
                <a:gd name="T63" fmla="*/ 27 h 93"/>
                <a:gd name="T64" fmla="*/ 110 w 147"/>
                <a:gd name="T65" fmla="*/ 23 h 93"/>
                <a:gd name="T66" fmla="*/ 108 w 147"/>
                <a:gd name="T67" fmla="*/ 18 h 93"/>
                <a:gd name="T68" fmla="*/ 128 w 147"/>
                <a:gd name="T69" fmla="*/ 37 h 93"/>
                <a:gd name="T70" fmla="*/ 126 w 147"/>
                <a:gd name="T71" fmla="*/ 32 h 93"/>
                <a:gd name="T72" fmla="*/ 124 w 147"/>
                <a:gd name="T73" fmla="*/ 28 h 93"/>
                <a:gd name="T74" fmla="*/ 121 w 147"/>
                <a:gd name="T75" fmla="*/ 22 h 93"/>
                <a:gd name="T76" fmla="*/ 120 w 147"/>
                <a:gd name="T77" fmla="*/ 19 h 93"/>
                <a:gd name="T78" fmla="*/ 118 w 147"/>
                <a:gd name="T79" fmla="*/ 13 h 93"/>
                <a:gd name="T80" fmla="*/ 138 w 147"/>
                <a:gd name="T81" fmla="*/ 33 h 93"/>
                <a:gd name="T82" fmla="*/ 135 w 147"/>
                <a:gd name="T83" fmla="*/ 28 h 93"/>
                <a:gd name="T84" fmla="*/ 134 w 147"/>
                <a:gd name="T85" fmla="*/ 23 h 93"/>
                <a:gd name="T86" fmla="*/ 131 w 147"/>
                <a:gd name="T87" fmla="*/ 18 h 93"/>
                <a:gd name="T88" fmla="*/ 130 w 147"/>
                <a:gd name="T89" fmla="*/ 14 h 93"/>
                <a:gd name="T90" fmla="*/ 127 w 147"/>
                <a:gd name="T91" fmla="*/ 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7" h="93">
                  <a:moveTo>
                    <a:pt x="124" y="2"/>
                  </a:moveTo>
                  <a:cubicBezTo>
                    <a:pt x="7" y="53"/>
                    <a:pt x="7" y="53"/>
                    <a:pt x="7" y="53"/>
                  </a:cubicBezTo>
                  <a:cubicBezTo>
                    <a:pt x="2" y="55"/>
                    <a:pt x="0" y="61"/>
                    <a:pt x="2" y="66"/>
                  </a:cubicBezTo>
                  <a:cubicBezTo>
                    <a:pt x="11" y="86"/>
                    <a:pt x="11" y="86"/>
                    <a:pt x="11" y="86"/>
                  </a:cubicBezTo>
                  <a:cubicBezTo>
                    <a:pt x="13" y="91"/>
                    <a:pt x="18" y="93"/>
                    <a:pt x="23" y="91"/>
                  </a:cubicBezTo>
                  <a:cubicBezTo>
                    <a:pt x="140" y="40"/>
                    <a:pt x="140" y="40"/>
                    <a:pt x="140" y="40"/>
                  </a:cubicBezTo>
                  <a:cubicBezTo>
                    <a:pt x="145" y="38"/>
                    <a:pt x="147" y="32"/>
                    <a:pt x="145" y="27"/>
                  </a:cubicBezTo>
                  <a:cubicBezTo>
                    <a:pt x="136" y="7"/>
                    <a:pt x="136" y="7"/>
                    <a:pt x="136" y="7"/>
                  </a:cubicBezTo>
                  <a:cubicBezTo>
                    <a:pt x="134" y="2"/>
                    <a:pt x="129" y="0"/>
                    <a:pt x="124" y="2"/>
                  </a:cubicBezTo>
                  <a:close/>
                  <a:moveTo>
                    <a:pt x="28" y="74"/>
                  </a:moveTo>
                  <a:cubicBezTo>
                    <a:pt x="24" y="76"/>
                    <a:pt x="20" y="74"/>
                    <a:pt x="18" y="71"/>
                  </a:cubicBezTo>
                  <a:cubicBezTo>
                    <a:pt x="16" y="67"/>
                    <a:pt x="18" y="63"/>
                    <a:pt x="22" y="61"/>
                  </a:cubicBezTo>
                  <a:cubicBezTo>
                    <a:pt x="26" y="59"/>
                    <a:pt x="30" y="61"/>
                    <a:pt x="32" y="65"/>
                  </a:cubicBezTo>
                  <a:cubicBezTo>
                    <a:pt x="33" y="69"/>
                    <a:pt x="31" y="73"/>
                    <a:pt x="28" y="74"/>
                  </a:cubicBezTo>
                  <a:close/>
                  <a:moveTo>
                    <a:pt x="78" y="59"/>
                  </a:moveTo>
                  <a:cubicBezTo>
                    <a:pt x="73" y="61"/>
                    <a:pt x="73" y="61"/>
                    <a:pt x="73" y="61"/>
                  </a:cubicBezTo>
                  <a:cubicBezTo>
                    <a:pt x="71" y="56"/>
                    <a:pt x="71" y="56"/>
                    <a:pt x="71" y="56"/>
                  </a:cubicBezTo>
                  <a:cubicBezTo>
                    <a:pt x="76" y="53"/>
                    <a:pt x="76" y="53"/>
                    <a:pt x="76" y="53"/>
                  </a:cubicBezTo>
                  <a:cubicBezTo>
                    <a:pt x="78" y="59"/>
                    <a:pt x="78" y="59"/>
                    <a:pt x="78" y="59"/>
                  </a:cubicBezTo>
                  <a:cubicBezTo>
                    <a:pt x="78" y="59"/>
                    <a:pt x="78" y="59"/>
                    <a:pt x="78" y="59"/>
                  </a:cubicBezTo>
                  <a:close/>
                  <a:moveTo>
                    <a:pt x="74" y="49"/>
                  </a:moveTo>
                  <a:cubicBezTo>
                    <a:pt x="69" y="51"/>
                    <a:pt x="69" y="51"/>
                    <a:pt x="69" y="51"/>
                  </a:cubicBezTo>
                  <a:cubicBezTo>
                    <a:pt x="67" y="46"/>
                    <a:pt x="67" y="46"/>
                    <a:pt x="67" y="46"/>
                  </a:cubicBezTo>
                  <a:cubicBezTo>
                    <a:pt x="72" y="44"/>
                    <a:pt x="72" y="44"/>
                    <a:pt x="72" y="44"/>
                  </a:cubicBezTo>
                  <a:cubicBezTo>
                    <a:pt x="74" y="49"/>
                    <a:pt x="74" y="49"/>
                    <a:pt x="74" y="49"/>
                  </a:cubicBezTo>
                  <a:cubicBezTo>
                    <a:pt x="74" y="49"/>
                    <a:pt x="74" y="49"/>
                    <a:pt x="74" y="49"/>
                  </a:cubicBezTo>
                  <a:close/>
                  <a:moveTo>
                    <a:pt x="70" y="40"/>
                  </a:moveTo>
                  <a:cubicBezTo>
                    <a:pt x="65" y="42"/>
                    <a:pt x="65" y="42"/>
                    <a:pt x="65" y="42"/>
                  </a:cubicBezTo>
                  <a:cubicBezTo>
                    <a:pt x="63" y="37"/>
                    <a:pt x="63" y="37"/>
                    <a:pt x="63" y="37"/>
                  </a:cubicBezTo>
                  <a:cubicBezTo>
                    <a:pt x="68" y="35"/>
                    <a:pt x="68" y="35"/>
                    <a:pt x="68" y="35"/>
                  </a:cubicBezTo>
                  <a:cubicBezTo>
                    <a:pt x="70" y="40"/>
                    <a:pt x="70" y="40"/>
                    <a:pt x="70" y="40"/>
                  </a:cubicBezTo>
                  <a:cubicBezTo>
                    <a:pt x="70" y="40"/>
                    <a:pt x="70" y="40"/>
                    <a:pt x="70" y="40"/>
                  </a:cubicBezTo>
                  <a:close/>
                  <a:moveTo>
                    <a:pt x="88" y="54"/>
                  </a:moveTo>
                  <a:cubicBezTo>
                    <a:pt x="83" y="57"/>
                    <a:pt x="83" y="57"/>
                    <a:pt x="83" y="57"/>
                  </a:cubicBezTo>
                  <a:cubicBezTo>
                    <a:pt x="80" y="51"/>
                    <a:pt x="80" y="51"/>
                    <a:pt x="80" y="51"/>
                  </a:cubicBezTo>
                  <a:cubicBezTo>
                    <a:pt x="86" y="49"/>
                    <a:pt x="86" y="49"/>
                    <a:pt x="86" y="49"/>
                  </a:cubicBezTo>
                  <a:cubicBezTo>
                    <a:pt x="88" y="54"/>
                    <a:pt x="88" y="54"/>
                    <a:pt x="88" y="54"/>
                  </a:cubicBezTo>
                  <a:cubicBezTo>
                    <a:pt x="88" y="54"/>
                    <a:pt x="88" y="54"/>
                    <a:pt x="88" y="54"/>
                  </a:cubicBezTo>
                  <a:close/>
                  <a:moveTo>
                    <a:pt x="84" y="45"/>
                  </a:moveTo>
                  <a:cubicBezTo>
                    <a:pt x="79" y="47"/>
                    <a:pt x="79" y="47"/>
                    <a:pt x="79" y="47"/>
                  </a:cubicBezTo>
                  <a:cubicBezTo>
                    <a:pt x="76" y="42"/>
                    <a:pt x="76" y="42"/>
                    <a:pt x="76" y="42"/>
                  </a:cubicBezTo>
                  <a:cubicBezTo>
                    <a:pt x="82" y="40"/>
                    <a:pt x="82" y="40"/>
                    <a:pt x="82" y="40"/>
                  </a:cubicBezTo>
                  <a:cubicBezTo>
                    <a:pt x="84" y="45"/>
                    <a:pt x="84" y="45"/>
                    <a:pt x="84" y="45"/>
                  </a:cubicBezTo>
                  <a:cubicBezTo>
                    <a:pt x="84" y="45"/>
                    <a:pt x="84" y="45"/>
                    <a:pt x="84" y="45"/>
                  </a:cubicBezTo>
                  <a:close/>
                  <a:moveTo>
                    <a:pt x="80" y="36"/>
                  </a:moveTo>
                  <a:cubicBezTo>
                    <a:pt x="75" y="38"/>
                    <a:pt x="75" y="38"/>
                    <a:pt x="75" y="38"/>
                  </a:cubicBezTo>
                  <a:cubicBezTo>
                    <a:pt x="73" y="33"/>
                    <a:pt x="73" y="33"/>
                    <a:pt x="73" y="33"/>
                  </a:cubicBezTo>
                  <a:cubicBezTo>
                    <a:pt x="78" y="31"/>
                    <a:pt x="78" y="31"/>
                    <a:pt x="78" y="31"/>
                  </a:cubicBezTo>
                  <a:cubicBezTo>
                    <a:pt x="80" y="36"/>
                    <a:pt x="80" y="36"/>
                    <a:pt x="80" y="36"/>
                  </a:cubicBezTo>
                  <a:cubicBezTo>
                    <a:pt x="80" y="36"/>
                    <a:pt x="80" y="36"/>
                    <a:pt x="80" y="36"/>
                  </a:cubicBezTo>
                  <a:close/>
                  <a:moveTo>
                    <a:pt x="98" y="50"/>
                  </a:moveTo>
                  <a:cubicBezTo>
                    <a:pt x="93" y="52"/>
                    <a:pt x="93" y="52"/>
                    <a:pt x="93" y="52"/>
                  </a:cubicBezTo>
                  <a:cubicBezTo>
                    <a:pt x="90" y="47"/>
                    <a:pt x="90" y="47"/>
                    <a:pt x="90" y="47"/>
                  </a:cubicBezTo>
                  <a:cubicBezTo>
                    <a:pt x="96" y="45"/>
                    <a:pt x="96" y="45"/>
                    <a:pt x="96" y="45"/>
                  </a:cubicBezTo>
                  <a:cubicBezTo>
                    <a:pt x="98" y="50"/>
                    <a:pt x="98" y="50"/>
                    <a:pt x="98" y="50"/>
                  </a:cubicBezTo>
                  <a:cubicBezTo>
                    <a:pt x="98" y="50"/>
                    <a:pt x="98" y="50"/>
                    <a:pt x="98" y="50"/>
                  </a:cubicBezTo>
                  <a:close/>
                  <a:moveTo>
                    <a:pt x="94" y="41"/>
                  </a:moveTo>
                  <a:cubicBezTo>
                    <a:pt x="89" y="43"/>
                    <a:pt x="89" y="43"/>
                    <a:pt x="89" y="43"/>
                  </a:cubicBezTo>
                  <a:cubicBezTo>
                    <a:pt x="86" y="38"/>
                    <a:pt x="86" y="38"/>
                    <a:pt x="86" y="38"/>
                  </a:cubicBezTo>
                  <a:cubicBezTo>
                    <a:pt x="92" y="35"/>
                    <a:pt x="92" y="35"/>
                    <a:pt x="92" y="35"/>
                  </a:cubicBezTo>
                  <a:cubicBezTo>
                    <a:pt x="94" y="41"/>
                    <a:pt x="94" y="41"/>
                    <a:pt x="94" y="41"/>
                  </a:cubicBezTo>
                  <a:cubicBezTo>
                    <a:pt x="94" y="41"/>
                    <a:pt x="94" y="41"/>
                    <a:pt x="94" y="41"/>
                  </a:cubicBezTo>
                  <a:close/>
                  <a:moveTo>
                    <a:pt x="90" y="32"/>
                  </a:moveTo>
                  <a:cubicBezTo>
                    <a:pt x="85" y="34"/>
                    <a:pt x="85" y="34"/>
                    <a:pt x="85" y="34"/>
                  </a:cubicBezTo>
                  <a:cubicBezTo>
                    <a:pt x="82" y="29"/>
                    <a:pt x="82" y="29"/>
                    <a:pt x="82" y="29"/>
                  </a:cubicBezTo>
                  <a:cubicBezTo>
                    <a:pt x="88" y="26"/>
                    <a:pt x="88" y="26"/>
                    <a:pt x="88" y="26"/>
                  </a:cubicBezTo>
                  <a:cubicBezTo>
                    <a:pt x="90" y="32"/>
                    <a:pt x="90" y="32"/>
                    <a:pt x="90" y="32"/>
                  </a:cubicBezTo>
                  <a:cubicBezTo>
                    <a:pt x="90" y="32"/>
                    <a:pt x="90" y="32"/>
                    <a:pt x="90" y="32"/>
                  </a:cubicBezTo>
                  <a:close/>
                  <a:moveTo>
                    <a:pt x="108" y="46"/>
                  </a:moveTo>
                  <a:cubicBezTo>
                    <a:pt x="103" y="48"/>
                    <a:pt x="103" y="48"/>
                    <a:pt x="103" y="48"/>
                  </a:cubicBezTo>
                  <a:cubicBezTo>
                    <a:pt x="100" y="43"/>
                    <a:pt x="100" y="43"/>
                    <a:pt x="100" y="43"/>
                  </a:cubicBezTo>
                  <a:cubicBezTo>
                    <a:pt x="106" y="40"/>
                    <a:pt x="106" y="40"/>
                    <a:pt x="106" y="40"/>
                  </a:cubicBezTo>
                  <a:cubicBezTo>
                    <a:pt x="108" y="46"/>
                    <a:pt x="108" y="46"/>
                    <a:pt x="108" y="46"/>
                  </a:cubicBezTo>
                  <a:cubicBezTo>
                    <a:pt x="108" y="46"/>
                    <a:pt x="108" y="46"/>
                    <a:pt x="108" y="46"/>
                  </a:cubicBezTo>
                  <a:close/>
                  <a:moveTo>
                    <a:pt x="104" y="36"/>
                  </a:moveTo>
                  <a:cubicBezTo>
                    <a:pt x="99" y="39"/>
                    <a:pt x="99" y="39"/>
                    <a:pt x="99" y="39"/>
                  </a:cubicBezTo>
                  <a:cubicBezTo>
                    <a:pt x="96" y="33"/>
                    <a:pt x="96" y="33"/>
                    <a:pt x="96" y="33"/>
                  </a:cubicBezTo>
                  <a:cubicBezTo>
                    <a:pt x="102" y="31"/>
                    <a:pt x="102" y="31"/>
                    <a:pt x="102" y="31"/>
                  </a:cubicBezTo>
                  <a:cubicBezTo>
                    <a:pt x="104" y="36"/>
                    <a:pt x="104" y="36"/>
                    <a:pt x="104" y="36"/>
                  </a:cubicBezTo>
                  <a:cubicBezTo>
                    <a:pt x="104" y="36"/>
                    <a:pt x="104" y="36"/>
                    <a:pt x="104" y="36"/>
                  </a:cubicBezTo>
                  <a:close/>
                  <a:moveTo>
                    <a:pt x="100" y="27"/>
                  </a:moveTo>
                  <a:cubicBezTo>
                    <a:pt x="95" y="30"/>
                    <a:pt x="95" y="30"/>
                    <a:pt x="95" y="30"/>
                  </a:cubicBezTo>
                  <a:cubicBezTo>
                    <a:pt x="92" y="24"/>
                    <a:pt x="92" y="24"/>
                    <a:pt x="92" y="24"/>
                  </a:cubicBezTo>
                  <a:cubicBezTo>
                    <a:pt x="98" y="22"/>
                    <a:pt x="98" y="22"/>
                    <a:pt x="98" y="22"/>
                  </a:cubicBezTo>
                  <a:cubicBezTo>
                    <a:pt x="100" y="27"/>
                    <a:pt x="100" y="27"/>
                    <a:pt x="100" y="27"/>
                  </a:cubicBezTo>
                  <a:cubicBezTo>
                    <a:pt x="100" y="27"/>
                    <a:pt x="100" y="27"/>
                    <a:pt x="100" y="27"/>
                  </a:cubicBezTo>
                  <a:close/>
                  <a:moveTo>
                    <a:pt x="118" y="41"/>
                  </a:moveTo>
                  <a:cubicBezTo>
                    <a:pt x="113" y="44"/>
                    <a:pt x="113" y="44"/>
                    <a:pt x="113" y="44"/>
                  </a:cubicBezTo>
                  <a:cubicBezTo>
                    <a:pt x="110" y="38"/>
                    <a:pt x="110" y="38"/>
                    <a:pt x="110" y="38"/>
                  </a:cubicBezTo>
                  <a:cubicBezTo>
                    <a:pt x="116" y="36"/>
                    <a:pt x="116" y="36"/>
                    <a:pt x="116" y="36"/>
                  </a:cubicBezTo>
                  <a:cubicBezTo>
                    <a:pt x="118" y="41"/>
                    <a:pt x="118" y="41"/>
                    <a:pt x="118" y="41"/>
                  </a:cubicBezTo>
                  <a:cubicBezTo>
                    <a:pt x="118" y="41"/>
                    <a:pt x="118" y="41"/>
                    <a:pt x="118" y="41"/>
                  </a:cubicBezTo>
                  <a:close/>
                  <a:moveTo>
                    <a:pt x="114" y="32"/>
                  </a:moveTo>
                  <a:cubicBezTo>
                    <a:pt x="108" y="34"/>
                    <a:pt x="108" y="34"/>
                    <a:pt x="108" y="34"/>
                  </a:cubicBezTo>
                  <a:cubicBezTo>
                    <a:pt x="106" y="29"/>
                    <a:pt x="106" y="29"/>
                    <a:pt x="106" y="29"/>
                  </a:cubicBezTo>
                  <a:cubicBezTo>
                    <a:pt x="111" y="27"/>
                    <a:pt x="111" y="27"/>
                    <a:pt x="111" y="27"/>
                  </a:cubicBezTo>
                  <a:cubicBezTo>
                    <a:pt x="114" y="32"/>
                    <a:pt x="114" y="32"/>
                    <a:pt x="114" y="32"/>
                  </a:cubicBezTo>
                  <a:cubicBezTo>
                    <a:pt x="114" y="32"/>
                    <a:pt x="114" y="32"/>
                    <a:pt x="114" y="32"/>
                  </a:cubicBezTo>
                  <a:close/>
                  <a:moveTo>
                    <a:pt x="110" y="23"/>
                  </a:moveTo>
                  <a:cubicBezTo>
                    <a:pt x="105" y="25"/>
                    <a:pt x="105" y="25"/>
                    <a:pt x="105" y="25"/>
                  </a:cubicBezTo>
                  <a:cubicBezTo>
                    <a:pt x="102" y="20"/>
                    <a:pt x="102" y="20"/>
                    <a:pt x="102" y="20"/>
                  </a:cubicBezTo>
                  <a:cubicBezTo>
                    <a:pt x="108" y="18"/>
                    <a:pt x="108" y="18"/>
                    <a:pt x="108" y="18"/>
                  </a:cubicBezTo>
                  <a:cubicBezTo>
                    <a:pt x="110" y="23"/>
                    <a:pt x="110" y="23"/>
                    <a:pt x="110" y="23"/>
                  </a:cubicBezTo>
                  <a:cubicBezTo>
                    <a:pt x="110" y="23"/>
                    <a:pt x="110" y="23"/>
                    <a:pt x="110" y="23"/>
                  </a:cubicBezTo>
                  <a:close/>
                  <a:moveTo>
                    <a:pt x="128" y="37"/>
                  </a:moveTo>
                  <a:cubicBezTo>
                    <a:pt x="122" y="39"/>
                    <a:pt x="122" y="39"/>
                    <a:pt x="122" y="39"/>
                  </a:cubicBezTo>
                  <a:cubicBezTo>
                    <a:pt x="120" y="34"/>
                    <a:pt x="120" y="34"/>
                    <a:pt x="120" y="34"/>
                  </a:cubicBezTo>
                  <a:cubicBezTo>
                    <a:pt x="126" y="32"/>
                    <a:pt x="126" y="32"/>
                    <a:pt x="126" y="32"/>
                  </a:cubicBezTo>
                  <a:cubicBezTo>
                    <a:pt x="128" y="37"/>
                    <a:pt x="128" y="37"/>
                    <a:pt x="128" y="37"/>
                  </a:cubicBezTo>
                  <a:cubicBezTo>
                    <a:pt x="128" y="37"/>
                    <a:pt x="128" y="37"/>
                    <a:pt x="128" y="37"/>
                  </a:cubicBezTo>
                  <a:close/>
                  <a:moveTo>
                    <a:pt x="124" y="28"/>
                  </a:moveTo>
                  <a:cubicBezTo>
                    <a:pt x="118" y="30"/>
                    <a:pt x="118" y="30"/>
                    <a:pt x="118" y="30"/>
                  </a:cubicBezTo>
                  <a:cubicBezTo>
                    <a:pt x="116" y="25"/>
                    <a:pt x="116" y="25"/>
                    <a:pt x="116" y="25"/>
                  </a:cubicBezTo>
                  <a:cubicBezTo>
                    <a:pt x="121" y="22"/>
                    <a:pt x="121" y="22"/>
                    <a:pt x="121" y="22"/>
                  </a:cubicBezTo>
                  <a:cubicBezTo>
                    <a:pt x="124" y="28"/>
                    <a:pt x="124" y="28"/>
                    <a:pt x="124" y="28"/>
                  </a:cubicBezTo>
                  <a:cubicBezTo>
                    <a:pt x="124" y="28"/>
                    <a:pt x="124" y="28"/>
                    <a:pt x="124" y="28"/>
                  </a:cubicBezTo>
                  <a:close/>
                  <a:moveTo>
                    <a:pt x="120" y="19"/>
                  </a:moveTo>
                  <a:cubicBezTo>
                    <a:pt x="114" y="21"/>
                    <a:pt x="114" y="21"/>
                    <a:pt x="114" y="21"/>
                  </a:cubicBezTo>
                  <a:cubicBezTo>
                    <a:pt x="112" y="16"/>
                    <a:pt x="112" y="16"/>
                    <a:pt x="112" y="16"/>
                  </a:cubicBezTo>
                  <a:cubicBezTo>
                    <a:pt x="118" y="13"/>
                    <a:pt x="118" y="13"/>
                    <a:pt x="118" y="13"/>
                  </a:cubicBezTo>
                  <a:cubicBezTo>
                    <a:pt x="120" y="19"/>
                    <a:pt x="120" y="19"/>
                    <a:pt x="120" y="19"/>
                  </a:cubicBezTo>
                  <a:cubicBezTo>
                    <a:pt x="120" y="19"/>
                    <a:pt x="120" y="19"/>
                    <a:pt x="120" y="19"/>
                  </a:cubicBezTo>
                  <a:close/>
                  <a:moveTo>
                    <a:pt x="138" y="33"/>
                  </a:moveTo>
                  <a:cubicBezTo>
                    <a:pt x="132" y="35"/>
                    <a:pt x="132" y="35"/>
                    <a:pt x="132" y="35"/>
                  </a:cubicBezTo>
                  <a:cubicBezTo>
                    <a:pt x="130" y="30"/>
                    <a:pt x="130" y="30"/>
                    <a:pt x="130" y="30"/>
                  </a:cubicBezTo>
                  <a:cubicBezTo>
                    <a:pt x="135" y="28"/>
                    <a:pt x="135" y="28"/>
                    <a:pt x="135" y="28"/>
                  </a:cubicBezTo>
                  <a:cubicBezTo>
                    <a:pt x="138" y="33"/>
                    <a:pt x="138" y="33"/>
                    <a:pt x="138" y="33"/>
                  </a:cubicBezTo>
                  <a:cubicBezTo>
                    <a:pt x="138" y="33"/>
                    <a:pt x="138" y="33"/>
                    <a:pt x="138" y="33"/>
                  </a:cubicBezTo>
                  <a:close/>
                  <a:moveTo>
                    <a:pt x="134" y="23"/>
                  </a:moveTo>
                  <a:cubicBezTo>
                    <a:pt x="128" y="26"/>
                    <a:pt x="128" y="26"/>
                    <a:pt x="128" y="26"/>
                  </a:cubicBezTo>
                  <a:cubicBezTo>
                    <a:pt x="126" y="20"/>
                    <a:pt x="126" y="20"/>
                    <a:pt x="126" y="20"/>
                  </a:cubicBezTo>
                  <a:cubicBezTo>
                    <a:pt x="131" y="18"/>
                    <a:pt x="131" y="18"/>
                    <a:pt x="131" y="18"/>
                  </a:cubicBezTo>
                  <a:cubicBezTo>
                    <a:pt x="134" y="23"/>
                    <a:pt x="134" y="23"/>
                    <a:pt x="134" y="23"/>
                  </a:cubicBezTo>
                  <a:cubicBezTo>
                    <a:pt x="134" y="23"/>
                    <a:pt x="134" y="23"/>
                    <a:pt x="134" y="23"/>
                  </a:cubicBezTo>
                  <a:close/>
                  <a:moveTo>
                    <a:pt x="130" y="14"/>
                  </a:moveTo>
                  <a:cubicBezTo>
                    <a:pt x="124" y="17"/>
                    <a:pt x="124" y="17"/>
                    <a:pt x="124" y="17"/>
                  </a:cubicBezTo>
                  <a:cubicBezTo>
                    <a:pt x="122" y="11"/>
                    <a:pt x="122" y="11"/>
                    <a:pt x="122" y="11"/>
                  </a:cubicBezTo>
                  <a:cubicBezTo>
                    <a:pt x="127" y="9"/>
                    <a:pt x="127" y="9"/>
                    <a:pt x="127" y="9"/>
                  </a:cubicBezTo>
                  <a:cubicBezTo>
                    <a:pt x="130" y="14"/>
                    <a:pt x="130" y="14"/>
                    <a:pt x="130" y="14"/>
                  </a:cubicBezTo>
                  <a:cubicBezTo>
                    <a:pt x="130" y="14"/>
                    <a:pt x="130" y="14"/>
                    <a:pt x="130" y="14"/>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11" name="Freeform 2167"/>
            <p:cNvSpPr>
              <a:spLocks noEditPoints="1"/>
            </p:cNvSpPr>
            <p:nvPr/>
          </p:nvSpPr>
          <p:spPr bwMode="auto">
            <a:xfrm>
              <a:off x="23768050" y="2506663"/>
              <a:ext cx="555625" cy="341313"/>
            </a:xfrm>
            <a:custGeom>
              <a:avLst/>
              <a:gdLst>
                <a:gd name="T0" fmla="*/ 11 w 148"/>
                <a:gd name="T1" fmla="*/ 7 h 91"/>
                <a:gd name="T2" fmla="*/ 126 w 148"/>
                <a:gd name="T3" fmla="*/ 89 h 91"/>
                <a:gd name="T4" fmla="*/ 141 w 148"/>
                <a:gd name="T5" fmla="*/ 51 h 91"/>
                <a:gd name="T6" fmla="*/ 28 w 148"/>
                <a:gd name="T7" fmla="*/ 18 h 91"/>
                <a:gd name="T8" fmla="*/ 69 w 148"/>
                <a:gd name="T9" fmla="*/ 57 h 91"/>
                <a:gd name="T10" fmla="*/ 71 w 148"/>
                <a:gd name="T11" fmla="*/ 52 h 91"/>
                <a:gd name="T12" fmla="*/ 73 w 148"/>
                <a:gd name="T13" fmla="*/ 48 h 91"/>
                <a:gd name="T14" fmla="*/ 75 w 148"/>
                <a:gd name="T15" fmla="*/ 42 h 91"/>
                <a:gd name="T16" fmla="*/ 77 w 148"/>
                <a:gd name="T17" fmla="*/ 39 h 91"/>
                <a:gd name="T18" fmla="*/ 79 w 148"/>
                <a:gd name="T19" fmla="*/ 33 h 91"/>
                <a:gd name="T20" fmla="*/ 79 w 148"/>
                <a:gd name="T21" fmla="*/ 61 h 91"/>
                <a:gd name="T22" fmla="*/ 81 w 148"/>
                <a:gd name="T23" fmla="*/ 56 h 91"/>
                <a:gd name="T24" fmla="*/ 83 w 148"/>
                <a:gd name="T25" fmla="*/ 52 h 91"/>
                <a:gd name="T26" fmla="*/ 85 w 148"/>
                <a:gd name="T27" fmla="*/ 46 h 91"/>
                <a:gd name="T28" fmla="*/ 87 w 148"/>
                <a:gd name="T29" fmla="*/ 43 h 91"/>
                <a:gd name="T30" fmla="*/ 89 w 148"/>
                <a:gd name="T31" fmla="*/ 37 h 91"/>
                <a:gd name="T32" fmla="*/ 89 w 148"/>
                <a:gd name="T33" fmla="*/ 65 h 91"/>
                <a:gd name="T34" fmla="*/ 91 w 148"/>
                <a:gd name="T35" fmla="*/ 60 h 91"/>
                <a:gd name="T36" fmla="*/ 93 w 148"/>
                <a:gd name="T37" fmla="*/ 56 h 91"/>
                <a:gd name="T38" fmla="*/ 95 w 148"/>
                <a:gd name="T39" fmla="*/ 50 h 91"/>
                <a:gd name="T40" fmla="*/ 96 w 148"/>
                <a:gd name="T41" fmla="*/ 47 h 91"/>
                <a:gd name="T42" fmla="*/ 99 w 148"/>
                <a:gd name="T43" fmla="*/ 41 h 91"/>
                <a:gd name="T44" fmla="*/ 99 w 148"/>
                <a:gd name="T45" fmla="*/ 69 h 91"/>
                <a:gd name="T46" fmla="*/ 101 w 148"/>
                <a:gd name="T47" fmla="*/ 64 h 91"/>
                <a:gd name="T48" fmla="*/ 103 w 148"/>
                <a:gd name="T49" fmla="*/ 60 h 91"/>
                <a:gd name="T50" fmla="*/ 105 w 148"/>
                <a:gd name="T51" fmla="*/ 55 h 91"/>
                <a:gd name="T52" fmla="*/ 106 w 148"/>
                <a:gd name="T53" fmla="*/ 51 h 91"/>
                <a:gd name="T54" fmla="*/ 109 w 148"/>
                <a:gd name="T55" fmla="*/ 45 h 91"/>
                <a:gd name="T56" fmla="*/ 109 w 148"/>
                <a:gd name="T57" fmla="*/ 74 h 91"/>
                <a:gd name="T58" fmla="*/ 111 w 148"/>
                <a:gd name="T59" fmla="*/ 68 h 91"/>
                <a:gd name="T60" fmla="*/ 113 w 148"/>
                <a:gd name="T61" fmla="*/ 64 h 91"/>
                <a:gd name="T62" fmla="*/ 115 w 148"/>
                <a:gd name="T63" fmla="*/ 59 h 91"/>
                <a:gd name="T64" fmla="*/ 116 w 148"/>
                <a:gd name="T65" fmla="*/ 55 h 91"/>
                <a:gd name="T66" fmla="*/ 119 w 148"/>
                <a:gd name="T67" fmla="*/ 50 h 91"/>
                <a:gd name="T68" fmla="*/ 119 w 148"/>
                <a:gd name="T69" fmla="*/ 78 h 91"/>
                <a:gd name="T70" fmla="*/ 121 w 148"/>
                <a:gd name="T71" fmla="*/ 72 h 91"/>
                <a:gd name="T72" fmla="*/ 123 w 148"/>
                <a:gd name="T73" fmla="*/ 68 h 91"/>
                <a:gd name="T74" fmla="*/ 125 w 148"/>
                <a:gd name="T75" fmla="*/ 63 h 91"/>
                <a:gd name="T76" fmla="*/ 126 w 148"/>
                <a:gd name="T77" fmla="*/ 59 h 91"/>
                <a:gd name="T78" fmla="*/ 129 w 148"/>
                <a:gd name="T79" fmla="*/ 54 h 91"/>
                <a:gd name="T80" fmla="*/ 129 w 148"/>
                <a:gd name="T81" fmla="*/ 82 h 91"/>
                <a:gd name="T82" fmla="*/ 131 w 148"/>
                <a:gd name="T83" fmla="*/ 76 h 91"/>
                <a:gd name="T84" fmla="*/ 133 w 148"/>
                <a:gd name="T85" fmla="*/ 72 h 91"/>
                <a:gd name="T86" fmla="*/ 135 w 148"/>
                <a:gd name="T87" fmla="*/ 67 h 91"/>
                <a:gd name="T88" fmla="*/ 136 w 148"/>
                <a:gd name="T89" fmla="*/ 63 h 91"/>
                <a:gd name="T90" fmla="*/ 139 w 148"/>
                <a:gd name="T91" fmla="*/ 5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8" h="91">
                  <a:moveTo>
                    <a:pt x="141" y="51"/>
                  </a:moveTo>
                  <a:cubicBezTo>
                    <a:pt x="23" y="2"/>
                    <a:pt x="23" y="2"/>
                    <a:pt x="23" y="2"/>
                  </a:cubicBezTo>
                  <a:cubicBezTo>
                    <a:pt x="18" y="0"/>
                    <a:pt x="13" y="3"/>
                    <a:pt x="11" y="7"/>
                  </a:cubicBezTo>
                  <a:cubicBezTo>
                    <a:pt x="2" y="28"/>
                    <a:pt x="2" y="28"/>
                    <a:pt x="2" y="28"/>
                  </a:cubicBezTo>
                  <a:cubicBezTo>
                    <a:pt x="0" y="33"/>
                    <a:pt x="3" y="38"/>
                    <a:pt x="7" y="40"/>
                  </a:cubicBezTo>
                  <a:cubicBezTo>
                    <a:pt x="126" y="89"/>
                    <a:pt x="126" y="89"/>
                    <a:pt x="126" y="89"/>
                  </a:cubicBezTo>
                  <a:cubicBezTo>
                    <a:pt x="130" y="91"/>
                    <a:pt x="136" y="88"/>
                    <a:pt x="138" y="83"/>
                  </a:cubicBezTo>
                  <a:cubicBezTo>
                    <a:pt x="146" y="63"/>
                    <a:pt x="146" y="63"/>
                    <a:pt x="146" y="63"/>
                  </a:cubicBezTo>
                  <a:cubicBezTo>
                    <a:pt x="148" y="58"/>
                    <a:pt x="146" y="53"/>
                    <a:pt x="141" y="51"/>
                  </a:cubicBezTo>
                  <a:close/>
                  <a:moveTo>
                    <a:pt x="22" y="32"/>
                  </a:moveTo>
                  <a:cubicBezTo>
                    <a:pt x="18" y="31"/>
                    <a:pt x="17" y="26"/>
                    <a:pt x="18" y="22"/>
                  </a:cubicBezTo>
                  <a:cubicBezTo>
                    <a:pt x="20" y="19"/>
                    <a:pt x="24" y="17"/>
                    <a:pt x="28" y="18"/>
                  </a:cubicBezTo>
                  <a:cubicBezTo>
                    <a:pt x="32" y="20"/>
                    <a:pt x="33" y="24"/>
                    <a:pt x="32" y="28"/>
                  </a:cubicBezTo>
                  <a:cubicBezTo>
                    <a:pt x="30" y="32"/>
                    <a:pt x="26" y="34"/>
                    <a:pt x="22" y="32"/>
                  </a:cubicBezTo>
                  <a:close/>
                  <a:moveTo>
                    <a:pt x="69" y="57"/>
                  </a:moveTo>
                  <a:cubicBezTo>
                    <a:pt x="64" y="55"/>
                    <a:pt x="64" y="55"/>
                    <a:pt x="64" y="55"/>
                  </a:cubicBezTo>
                  <a:cubicBezTo>
                    <a:pt x="66" y="50"/>
                    <a:pt x="66" y="50"/>
                    <a:pt x="66" y="50"/>
                  </a:cubicBezTo>
                  <a:cubicBezTo>
                    <a:pt x="71" y="52"/>
                    <a:pt x="71" y="52"/>
                    <a:pt x="71" y="52"/>
                  </a:cubicBezTo>
                  <a:cubicBezTo>
                    <a:pt x="69" y="57"/>
                    <a:pt x="69" y="57"/>
                    <a:pt x="69" y="57"/>
                  </a:cubicBezTo>
                  <a:cubicBezTo>
                    <a:pt x="69" y="57"/>
                    <a:pt x="69" y="57"/>
                    <a:pt x="69" y="57"/>
                  </a:cubicBezTo>
                  <a:close/>
                  <a:moveTo>
                    <a:pt x="73" y="48"/>
                  </a:moveTo>
                  <a:cubicBezTo>
                    <a:pt x="67" y="45"/>
                    <a:pt x="67" y="45"/>
                    <a:pt x="67" y="45"/>
                  </a:cubicBezTo>
                  <a:cubicBezTo>
                    <a:pt x="70" y="40"/>
                    <a:pt x="70" y="40"/>
                    <a:pt x="70" y="40"/>
                  </a:cubicBezTo>
                  <a:cubicBezTo>
                    <a:pt x="75" y="42"/>
                    <a:pt x="75" y="42"/>
                    <a:pt x="75" y="42"/>
                  </a:cubicBezTo>
                  <a:cubicBezTo>
                    <a:pt x="73" y="48"/>
                    <a:pt x="73" y="48"/>
                    <a:pt x="73" y="48"/>
                  </a:cubicBezTo>
                  <a:cubicBezTo>
                    <a:pt x="73" y="48"/>
                    <a:pt x="73" y="48"/>
                    <a:pt x="73" y="48"/>
                  </a:cubicBezTo>
                  <a:close/>
                  <a:moveTo>
                    <a:pt x="77" y="39"/>
                  </a:moveTo>
                  <a:cubicBezTo>
                    <a:pt x="71" y="36"/>
                    <a:pt x="71" y="36"/>
                    <a:pt x="71" y="36"/>
                  </a:cubicBezTo>
                  <a:cubicBezTo>
                    <a:pt x="73" y="31"/>
                    <a:pt x="73" y="31"/>
                    <a:pt x="73" y="31"/>
                  </a:cubicBezTo>
                  <a:cubicBezTo>
                    <a:pt x="79" y="33"/>
                    <a:pt x="79" y="33"/>
                    <a:pt x="79" y="33"/>
                  </a:cubicBezTo>
                  <a:cubicBezTo>
                    <a:pt x="77" y="39"/>
                    <a:pt x="77" y="39"/>
                    <a:pt x="77" y="39"/>
                  </a:cubicBezTo>
                  <a:cubicBezTo>
                    <a:pt x="77" y="39"/>
                    <a:pt x="77" y="39"/>
                    <a:pt x="77" y="39"/>
                  </a:cubicBezTo>
                  <a:close/>
                  <a:moveTo>
                    <a:pt x="79" y="61"/>
                  </a:moveTo>
                  <a:cubicBezTo>
                    <a:pt x="73" y="59"/>
                    <a:pt x="73" y="59"/>
                    <a:pt x="73" y="59"/>
                  </a:cubicBezTo>
                  <a:cubicBezTo>
                    <a:pt x="76" y="54"/>
                    <a:pt x="76" y="54"/>
                    <a:pt x="76" y="54"/>
                  </a:cubicBezTo>
                  <a:cubicBezTo>
                    <a:pt x="81" y="56"/>
                    <a:pt x="81" y="56"/>
                    <a:pt x="81" y="56"/>
                  </a:cubicBezTo>
                  <a:cubicBezTo>
                    <a:pt x="79" y="61"/>
                    <a:pt x="79" y="61"/>
                    <a:pt x="79" y="61"/>
                  </a:cubicBezTo>
                  <a:cubicBezTo>
                    <a:pt x="79" y="61"/>
                    <a:pt x="79" y="61"/>
                    <a:pt x="79" y="61"/>
                  </a:cubicBezTo>
                  <a:close/>
                  <a:moveTo>
                    <a:pt x="83" y="52"/>
                  </a:moveTo>
                  <a:cubicBezTo>
                    <a:pt x="77" y="50"/>
                    <a:pt x="77" y="50"/>
                    <a:pt x="77" y="50"/>
                  </a:cubicBezTo>
                  <a:cubicBezTo>
                    <a:pt x="80" y="44"/>
                    <a:pt x="80" y="44"/>
                    <a:pt x="80" y="44"/>
                  </a:cubicBezTo>
                  <a:cubicBezTo>
                    <a:pt x="85" y="46"/>
                    <a:pt x="85" y="46"/>
                    <a:pt x="85" y="46"/>
                  </a:cubicBezTo>
                  <a:cubicBezTo>
                    <a:pt x="83" y="52"/>
                    <a:pt x="83" y="52"/>
                    <a:pt x="83" y="52"/>
                  </a:cubicBezTo>
                  <a:cubicBezTo>
                    <a:pt x="83" y="52"/>
                    <a:pt x="83" y="52"/>
                    <a:pt x="83" y="52"/>
                  </a:cubicBezTo>
                  <a:close/>
                  <a:moveTo>
                    <a:pt x="87" y="43"/>
                  </a:moveTo>
                  <a:cubicBezTo>
                    <a:pt x="81" y="40"/>
                    <a:pt x="81" y="40"/>
                    <a:pt x="81" y="40"/>
                  </a:cubicBezTo>
                  <a:cubicBezTo>
                    <a:pt x="83" y="35"/>
                    <a:pt x="83" y="35"/>
                    <a:pt x="83" y="35"/>
                  </a:cubicBezTo>
                  <a:cubicBezTo>
                    <a:pt x="89" y="37"/>
                    <a:pt x="89" y="37"/>
                    <a:pt x="89" y="37"/>
                  </a:cubicBezTo>
                  <a:cubicBezTo>
                    <a:pt x="87" y="43"/>
                    <a:pt x="87" y="43"/>
                    <a:pt x="87" y="43"/>
                  </a:cubicBezTo>
                  <a:cubicBezTo>
                    <a:pt x="87" y="43"/>
                    <a:pt x="87" y="43"/>
                    <a:pt x="87" y="43"/>
                  </a:cubicBezTo>
                  <a:close/>
                  <a:moveTo>
                    <a:pt x="89" y="65"/>
                  </a:moveTo>
                  <a:cubicBezTo>
                    <a:pt x="83" y="63"/>
                    <a:pt x="83" y="63"/>
                    <a:pt x="83" y="63"/>
                  </a:cubicBezTo>
                  <a:cubicBezTo>
                    <a:pt x="86" y="58"/>
                    <a:pt x="86" y="58"/>
                    <a:pt x="86" y="58"/>
                  </a:cubicBezTo>
                  <a:cubicBezTo>
                    <a:pt x="91" y="60"/>
                    <a:pt x="91" y="60"/>
                    <a:pt x="91" y="60"/>
                  </a:cubicBezTo>
                  <a:cubicBezTo>
                    <a:pt x="89" y="65"/>
                    <a:pt x="89" y="65"/>
                    <a:pt x="89" y="65"/>
                  </a:cubicBezTo>
                  <a:cubicBezTo>
                    <a:pt x="89" y="65"/>
                    <a:pt x="89" y="65"/>
                    <a:pt x="89" y="65"/>
                  </a:cubicBezTo>
                  <a:close/>
                  <a:moveTo>
                    <a:pt x="93" y="56"/>
                  </a:moveTo>
                  <a:cubicBezTo>
                    <a:pt x="87" y="54"/>
                    <a:pt x="87" y="54"/>
                    <a:pt x="87" y="54"/>
                  </a:cubicBezTo>
                  <a:cubicBezTo>
                    <a:pt x="89" y="48"/>
                    <a:pt x="89" y="48"/>
                    <a:pt x="89" y="48"/>
                  </a:cubicBezTo>
                  <a:cubicBezTo>
                    <a:pt x="95" y="50"/>
                    <a:pt x="95" y="50"/>
                    <a:pt x="95" y="50"/>
                  </a:cubicBezTo>
                  <a:cubicBezTo>
                    <a:pt x="93" y="56"/>
                    <a:pt x="93" y="56"/>
                    <a:pt x="93" y="56"/>
                  </a:cubicBezTo>
                  <a:cubicBezTo>
                    <a:pt x="93" y="56"/>
                    <a:pt x="93" y="56"/>
                    <a:pt x="93" y="56"/>
                  </a:cubicBezTo>
                  <a:close/>
                  <a:moveTo>
                    <a:pt x="96" y="47"/>
                  </a:moveTo>
                  <a:cubicBezTo>
                    <a:pt x="91" y="44"/>
                    <a:pt x="91" y="44"/>
                    <a:pt x="91" y="44"/>
                  </a:cubicBezTo>
                  <a:cubicBezTo>
                    <a:pt x="93" y="39"/>
                    <a:pt x="93" y="39"/>
                    <a:pt x="93" y="39"/>
                  </a:cubicBezTo>
                  <a:cubicBezTo>
                    <a:pt x="99" y="41"/>
                    <a:pt x="99" y="41"/>
                    <a:pt x="99" y="41"/>
                  </a:cubicBezTo>
                  <a:cubicBezTo>
                    <a:pt x="96" y="47"/>
                    <a:pt x="96" y="47"/>
                    <a:pt x="96" y="47"/>
                  </a:cubicBezTo>
                  <a:cubicBezTo>
                    <a:pt x="96" y="47"/>
                    <a:pt x="96" y="47"/>
                    <a:pt x="96" y="47"/>
                  </a:cubicBezTo>
                  <a:close/>
                  <a:moveTo>
                    <a:pt x="99" y="69"/>
                  </a:moveTo>
                  <a:cubicBezTo>
                    <a:pt x="93" y="67"/>
                    <a:pt x="93" y="67"/>
                    <a:pt x="93" y="67"/>
                  </a:cubicBezTo>
                  <a:cubicBezTo>
                    <a:pt x="96" y="62"/>
                    <a:pt x="96" y="62"/>
                    <a:pt x="96" y="62"/>
                  </a:cubicBezTo>
                  <a:cubicBezTo>
                    <a:pt x="101" y="64"/>
                    <a:pt x="101" y="64"/>
                    <a:pt x="101" y="64"/>
                  </a:cubicBezTo>
                  <a:cubicBezTo>
                    <a:pt x="99" y="69"/>
                    <a:pt x="99" y="69"/>
                    <a:pt x="99" y="69"/>
                  </a:cubicBezTo>
                  <a:cubicBezTo>
                    <a:pt x="99" y="69"/>
                    <a:pt x="99" y="69"/>
                    <a:pt x="99" y="69"/>
                  </a:cubicBezTo>
                  <a:close/>
                  <a:moveTo>
                    <a:pt x="103" y="60"/>
                  </a:moveTo>
                  <a:cubicBezTo>
                    <a:pt x="97" y="58"/>
                    <a:pt x="97" y="58"/>
                    <a:pt x="97" y="58"/>
                  </a:cubicBezTo>
                  <a:cubicBezTo>
                    <a:pt x="100" y="52"/>
                    <a:pt x="100" y="52"/>
                    <a:pt x="100" y="52"/>
                  </a:cubicBezTo>
                  <a:cubicBezTo>
                    <a:pt x="105" y="55"/>
                    <a:pt x="105" y="55"/>
                    <a:pt x="105" y="55"/>
                  </a:cubicBezTo>
                  <a:cubicBezTo>
                    <a:pt x="103" y="60"/>
                    <a:pt x="103" y="60"/>
                    <a:pt x="103" y="60"/>
                  </a:cubicBezTo>
                  <a:cubicBezTo>
                    <a:pt x="103" y="60"/>
                    <a:pt x="103" y="60"/>
                    <a:pt x="103" y="60"/>
                  </a:cubicBezTo>
                  <a:close/>
                  <a:moveTo>
                    <a:pt x="106" y="51"/>
                  </a:moveTo>
                  <a:cubicBezTo>
                    <a:pt x="101" y="49"/>
                    <a:pt x="101" y="49"/>
                    <a:pt x="101" y="49"/>
                  </a:cubicBezTo>
                  <a:cubicBezTo>
                    <a:pt x="103" y="43"/>
                    <a:pt x="103" y="43"/>
                    <a:pt x="103" y="43"/>
                  </a:cubicBezTo>
                  <a:cubicBezTo>
                    <a:pt x="109" y="45"/>
                    <a:pt x="109" y="45"/>
                    <a:pt x="109" y="45"/>
                  </a:cubicBezTo>
                  <a:cubicBezTo>
                    <a:pt x="106" y="51"/>
                    <a:pt x="106" y="51"/>
                    <a:pt x="106" y="51"/>
                  </a:cubicBezTo>
                  <a:cubicBezTo>
                    <a:pt x="106" y="51"/>
                    <a:pt x="106" y="51"/>
                    <a:pt x="106" y="51"/>
                  </a:cubicBezTo>
                  <a:close/>
                  <a:moveTo>
                    <a:pt x="109" y="74"/>
                  </a:moveTo>
                  <a:cubicBezTo>
                    <a:pt x="103" y="71"/>
                    <a:pt x="103" y="71"/>
                    <a:pt x="103" y="71"/>
                  </a:cubicBezTo>
                  <a:cubicBezTo>
                    <a:pt x="106" y="66"/>
                    <a:pt x="106" y="66"/>
                    <a:pt x="106" y="66"/>
                  </a:cubicBezTo>
                  <a:cubicBezTo>
                    <a:pt x="111" y="68"/>
                    <a:pt x="111" y="68"/>
                    <a:pt x="111" y="68"/>
                  </a:cubicBezTo>
                  <a:cubicBezTo>
                    <a:pt x="109" y="74"/>
                    <a:pt x="109" y="74"/>
                    <a:pt x="109" y="74"/>
                  </a:cubicBezTo>
                  <a:cubicBezTo>
                    <a:pt x="109" y="74"/>
                    <a:pt x="109" y="74"/>
                    <a:pt x="109" y="74"/>
                  </a:cubicBezTo>
                  <a:close/>
                  <a:moveTo>
                    <a:pt x="113" y="64"/>
                  </a:moveTo>
                  <a:cubicBezTo>
                    <a:pt x="107" y="62"/>
                    <a:pt x="107" y="62"/>
                    <a:pt x="107" y="62"/>
                  </a:cubicBezTo>
                  <a:cubicBezTo>
                    <a:pt x="110" y="56"/>
                    <a:pt x="110" y="56"/>
                    <a:pt x="110" y="56"/>
                  </a:cubicBezTo>
                  <a:cubicBezTo>
                    <a:pt x="115" y="59"/>
                    <a:pt x="115" y="59"/>
                    <a:pt x="115" y="59"/>
                  </a:cubicBezTo>
                  <a:cubicBezTo>
                    <a:pt x="113" y="64"/>
                    <a:pt x="113" y="64"/>
                    <a:pt x="113" y="64"/>
                  </a:cubicBezTo>
                  <a:cubicBezTo>
                    <a:pt x="113" y="64"/>
                    <a:pt x="113" y="64"/>
                    <a:pt x="113" y="64"/>
                  </a:cubicBezTo>
                  <a:close/>
                  <a:moveTo>
                    <a:pt x="116" y="55"/>
                  </a:moveTo>
                  <a:cubicBezTo>
                    <a:pt x="111" y="53"/>
                    <a:pt x="111" y="53"/>
                    <a:pt x="111" y="53"/>
                  </a:cubicBezTo>
                  <a:cubicBezTo>
                    <a:pt x="113" y="47"/>
                    <a:pt x="113" y="47"/>
                    <a:pt x="113" y="47"/>
                  </a:cubicBezTo>
                  <a:cubicBezTo>
                    <a:pt x="119" y="50"/>
                    <a:pt x="119" y="50"/>
                    <a:pt x="119" y="50"/>
                  </a:cubicBezTo>
                  <a:cubicBezTo>
                    <a:pt x="116" y="55"/>
                    <a:pt x="116" y="55"/>
                    <a:pt x="116" y="55"/>
                  </a:cubicBezTo>
                  <a:cubicBezTo>
                    <a:pt x="116" y="55"/>
                    <a:pt x="116" y="55"/>
                    <a:pt x="116" y="55"/>
                  </a:cubicBezTo>
                  <a:close/>
                  <a:moveTo>
                    <a:pt x="119" y="78"/>
                  </a:moveTo>
                  <a:cubicBezTo>
                    <a:pt x="113" y="75"/>
                    <a:pt x="113" y="75"/>
                    <a:pt x="113" y="75"/>
                  </a:cubicBezTo>
                  <a:cubicBezTo>
                    <a:pt x="116" y="70"/>
                    <a:pt x="116" y="70"/>
                    <a:pt x="116" y="70"/>
                  </a:cubicBezTo>
                  <a:cubicBezTo>
                    <a:pt x="121" y="72"/>
                    <a:pt x="121" y="72"/>
                    <a:pt x="121" y="72"/>
                  </a:cubicBezTo>
                  <a:cubicBezTo>
                    <a:pt x="119" y="78"/>
                    <a:pt x="119" y="78"/>
                    <a:pt x="119" y="78"/>
                  </a:cubicBezTo>
                  <a:cubicBezTo>
                    <a:pt x="119" y="78"/>
                    <a:pt x="119" y="78"/>
                    <a:pt x="119" y="78"/>
                  </a:cubicBezTo>
                  <a:close/>
                  <a:moveTo>
                    <a:pt x="123" y="68"/>
                  </a:moveTo>
                  <a:cubicBezTo>
                    <a:pt x="117" y="66"/>
                    <a:pt x="117" y="66"/>
                    <a:pt x="117" y="66"/>
                  </a:cubicBezTo>
                  <a:cubicBezTo>
                    <a:pt x="119" y="61"/>
                    <a:pt x="119" y="61"/>
                    <a:pt x="119" y="61"/>
                  </a:cubicBezTo>
                  <a:cubicBezTo>
                    <a:pt x="125" y="63"/>
                    <a:pt x="125" y="63"/>
                    <a:pt x="125" y="63"/>
                  </a:cubicBezTo>
                  <a:cubicBezTo>
                    <a:pt x="123" y="68"/>
                    <a:pt x="123" y="68"/>
                    <a:pt x="123" y="68"/>
                  </a:cubicBezTo>
                  <a:cubicBezTo>
                    <a:pt x="123" y="68"/>
                    <a:pt x="123" y="68"/>
                    <a:pt x="123" y="68"/>
                  </a:cubicBezTo>
                  <a:close/>
                  <a:moveTo>
                    <a:pt x="126" y="59"/>
                  </a:moveTo>
                  <a:cubicBezTo>
                    <a:pt x="121" y="57"/>
                    <a:pt x="121" y="57"/>
                    <a:pt x="121" y="57"/>
                  </a:cubicBezTo>
                  <a:cubicBezTo>
                    <a:pt x="123" y="51"/>
                    <a:pt x="123" y="51"/>
                    <a:pt x="123" y="51"/>
                  </a:cubicBezTo>
                  <a:cubicBezTo>
                    <a:pt x="129" y="54"/>
                    <a:pt x="129" y="54"/>
                    <a:pt x="129" y="54"/>
                  </a:cubicBezTo>
                  <a:cubicBezTo>
                    <a:pt x="126" y="59"/>
                    <a:pt x="126" y="59"/>
                    <a:pt x="126" y="59"/>
                  </a:cubicBezTo>
                  <a:cubicBezTo>
                    <a:pt x="126" y="59"/>
                    <a:pt x="126" y="59"/>
                    <a:pt x="126" y="59"/>
                  </a:cubicBezTo>
                  <a:close/>
                  <a:moveTo>
                    <a:pt x="129" y="82"/>
                  </a:moveTo>
                  <a:cubicBezTo>
                    <a:pt x="123" y="79"/>
                    <a:pt x="123" y="79"/>
                    <a:pt x="123" y="79"/>
                  </a:cubicBezTo>
                  <a:cubicBezTo>
                    <a:pt x="126" y="74"/>
                    <a:pt x="126" y="74"/>
                    <a:pt x="126" y="74"/>
                  </a:cubicBezTo>
                  <a:cubicBezTo>
                    <a:pt x="131" y="76"/>
                    <a:pt x="131" y="76"/>
                    <a:pt x="131" y="76"/>
                  </a:cubicBezTo>
                  <a:cubicBezTo>
                    <a:pt x="129" y="82"/>
                    <a:pt x="129" y="82"/>
                    <a:pt x="129" y="82"/>
                  </a:cubicBezTo>
                  <a:cubicBezTo>
                    <a:pt x="129" y="82"/>
                    <a:pt x="129" y="82"/>
                    <a:pt x="129" y="82"/>
                  </a:cubicBezTo>
                  <a:close/>
                  <a:moveTo>
                    <a:pt x="133" y="72"/>
                  </a:moveTo>
                  <a:cubicBezTo>
                    <a:pt x="127" y="70"/>
                    <a:pt x="127" y="70"/>
                    <a:pt x="127" y="70"/>
                  </a:cubicBezTo>
                  <a:cubicBezTo>
                    <a:pt x="130" y="65"/>
                    <a:pt x="130" y="65"/>
                    <a:pt x="130" y="65"/>
                  </a:cubicBezTo>
                  <a:cubicBezTo>
                    <a:pt x="135" y="67"/>
                    <a:pt x="135" y="67"/>
                    <a:pt x="135" y="67"/>
                  </a:cubicBezTo>
                  <a:cubicBezTo>
                    <a:pt x="133" y="72"/>
                    <a:pt x="133" y="72"/>
                    <a:pt x="133" y="72"/>
                  </a:cubicBezTo>
                  <a:cubicBezTo>
                    <a:pt x="133" y="72"/>
                    <a:pt x="133" y="72"/>
                    <a:pt x="133" y="72"/>
                  </a:cubicBezTo>
                  <a:close/>
                  <a:moveTo>
                    <a:pt x="136" y="63"/>
                  </a:moveTo>
                  <a:cubicBezTo>
                    <a:pt x="131" y="61"/>
                    <a:pt x="131" y="61"/>
                    <a:pt x="131" y="61"/>
                  </a:cubicBezTo>
                  <a:cubicBezTo>
                    <a:pt x="133" y="56"/>
                    <a:pt x="133" y="56"/>
                    <a:pt x="133" y="56"/>
                  </a:cubicBezTo>
                  <a:cubicBezTo>
                    <a:pt x="139" y="58"/>
                    <a:pt x="139" y="58"/>
                    <a:pt x="139" y="58"/>
                  </a:cubicBezTo>
                  <a:cubicBezTo>
                    <a:pt x="136" y="63"/>
                    <a:pt x="136" y="63"/>
                    <a:pt x="136" y="63"/>
                  </a:cubicBezTo>
                  <a:cubicBezTo>
                    <a:pt x="136" y="63"/>
                    <a:pt x="136" y="63"/>
                    <a:pt x="136" y="63"/>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12" name="Freeform 2168"/>
            <p:cNvSpPr>
              <a:spLocks noEditPoints="1"/>
            </p:cNvSpPr>
            <p:nvPr/>
          </p:nvSpPr>
          <p:spPr bwMode="auto">
            <a:xfrm>
              <a:off x="21313775" y="1497013"/>
              <a:ext cx="555625" cy="338138"/>
            </a:xfrm>
            <a:custGeom>
              <a:avLst/>
              <a:gdLst>
                <a:gd name="T0" fmla="*/ 138 w 148"/>
                <a:gd name="T1" fmla="*/ 83 h 90"/>
                <a:gd name="T2" fmla="*/ 23 w 148"/>
                <a:gd name="T3" fmla="*/ 2 h 90"/>
                <a:gd name="T4" fmla="*/ 7 w 148"/>
                <a:gd name="T5" fmla="*/ 40 h 90"/>
                <a:gd name="T6" fmla="*/ 120 w 148"/>
                <a:gd name="T7" fmla="*/ 72 h 90"/>
                <a:gd name="T8" fmla="*/ 79 w 148"/>
                <a:gd name="T9" fmla="*/ 34 h 90"/>
                <a:gd name="T10" fmla="*/ 77 w 148"/>
                <a:gd name="T11" fmla="*/ 39 h 90"/>
                <a:gd name="T12" fmla="*/ 75 w 148"/>
                <a:gd name="T13" fmla="*/ 43 h 90"/>
                <a:gd name="T14" fmla="*/ 73 w 148"/>
                <a:gd name="T15" fmla="*/ 48 h 90"/>
                <a:gd name="T16" fmla="*/ 72 w 148"/>
                <a:gd name="T17" fmla="*/ 52 h 90"/>
                <a:gd name="T18" fmla="*/ 70 w 148"/>
                <a:gd name="T19" fmla="*/ 58 h 90"/>
                <a:gd name="T20" fmla="*/ 69 w 148"/>
                <a:gd name="T21" fmla="*/ 29 h 90"/>
                <a:gd name="T22" fmla="*/ 67 w 148"/>
                <a:gd name="T23" fmla="*/ 35 h 90"/>
                <a:gd name="T24" fmla="*/ 65 w 148"/>
                <a:gd name="T25" fmla="*/ 39 h 90"/>
                <a:gd name="T26" fmla="*/ 63 w 148"/>
                <a:gd name="T27" fmla="*/ 44 h 90"/>
                <a:gd name="T28" fmla="*/ 62 w 148"/>
                <a:gd name="T29" fmla="*/ 48 h 90"/>
                <a:gd name="T30" fmla="*/ 59 w 148"/>
                <a:gd name="T31" fmla="*/ 53 h 90"/>
                <a:gd name="T32" fmla="*/ 59 w 148"/>
                <a:gd name="T33" fmla="*/ 25 h 90"/>
                <a:gd name="T34" fmla="*/ 57 w 148"/>
                <a:gd name="T35" fmla="*/ 31 h 90"/>
                <a:gd name="T36" fmla="*/ 55 w 148"/>
                <a:gd name="T37" fmla="*/ 35 h 90"/>
                <a:gd name="T38" fmla="*/ 53 w 148"/>
                <a:gd name="T39" fmla="*/ 40 h 90"/>
                <a:gd name="T40" fmla="*/ 52 w 148"/>
                <a:gd name="T41" fmla="*/ 44 h 90"/>
                <a:gd name="T42" fmla="*/ 50 w 148"/>
                <a:gd name="T43" fmla="*/ 49 h 90"/>
                <a:gd name="T44" fmla="*/ 49 w 148"/>
                <a:gd name="T45" fmla="*/ 21 h 90"/>
                <a:gd name="T46" fmla="*/ 47 w 148"/>
                <a:gd name="T47" fmla="*/ 27 h 90"/>
                <a:gd name="T48" fmla="*/ 46 w 148"/>
                <a:gd name="T49" fmla="*/ 31 h 90"/>
                <a:gd name="T50" fmla="*/ 43 w 148"/>
                <a:gd name="T51" fmla="*/ 36 h 90"/>
                <a:gd name="T52" fmla="*/ 42 w 148"/>
                <a:gd name="T53" fmla="*/ 40 h 90"/>
                <a:gd name="T54" fmla="*/ 40 w 148"/>
                <a:gd name="T55" fmla="*/ 45 h 90"/>
                <a:gd name="T56" fmla="*/ 39 w 148"/>
                <a:gd name="T57" fmla="*/ 17 h 90"/>
                <a:gd name="T58" fmla="*/ 37 w 148"/>
                <a:gd name="T59" fmla="*/ 23 h 90"/>
                <a:gd name="T60" fmla="*/ 36 w 148"/>
                <a:gd name="T61" fmla="*/ 27 h 90"/>
                <a:gd name="T62" fmla="*/ 33 w 148"/>
                <a:gd name="T63" fmla="*/ 32 h 90"/>
                <a:gd name="T64" fmla="*/ 32 w 148"/>
                <a:gd name="T65" fmla="*/ 36 h 90"/>
                <a:gd name="T66" fmla="*/ 30 w 148"/>
                <a:gd name="T67" fmla="*/ 41 h 90"/>
                <a:gd name="T68" fmla="*/ 29 w 148"/>
                <a:gd name="T69" fmla="*/ 13 h 90"/>
                <a:gd name="T70" fmla="*/ 27 w 148"/>
                <a:gd name="T71" fmla="*/ 18 h 90"/>
                <a:gd name="T72" fmla="*/ 25 w 148"/>
                <a:gd name="T73" fmla="*/ 23 h 90"/>
                <a:gd name="T74" fmla="*/ 23 w 148"/>
                <a:gd name="T75" fmla="*/ 28 h 90"/>
                <a:gd name="T76" fmla="*/ 22 w 148"/>
                <a:gd name="T77" fmla="*/ 32 h 90"/>
                <a:gd name="T78" fmla="*/ 20 w 148"/>
                <a:gd name="T79" fmla="*/ 37 h 90"/>
                <a:gd name="T80" fmla="*/ 19 w 148"/>
                <a:gd name="T81" fmla="*/ 9 h 90"/>
                <a:gd name="T82" fmla="*/ 17 w 148"/>
                <a:gd name="T83" fmla="*/ 14 h 90"/>
                <a:gd name="T84" fmla="*/ 16 w 148"/>
                <a:gd name="T85" fmla="*/ 19 h 90"/>
                <a:gd name="T86" fmla="*/ 13 w 148"/>
                <a:gd name="T87" fmla="*/ 24 h 90"/>
                <a:gd name="T88" fmla="*/ 12 w 148"/>
                <a:gd name="T89" fmla="*/ 28 h 90"/>
                <a:gd name="T90" fmla="*/ 10 w 148"/>
                <a:gd name="T91" fmla="*/ 3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8" h="90">
                  <a:moveTo>
                    <a:pt x="7" y="40"/>
                  </a:moveTo>
                  <a:cubicBezTo>
                    <a:pt x="125" y="88"/>
                    <a:pt x="125" y="88"/>
                    <a:pt x="125" y="88"/>
                  </a:cubicBezTo>
                  <a:cubicBezTo>
                    <a:pt x="130" y="90"/>
                    <a:pt x="136" y="88"/>
                    <a:pt x="138" y="83"/>
                  </a:cubicBezTo>
                  <a:cubicBezTo>
                    <a:pt x="146" y="63"/>
                    <a:pt x="146" y="63"/>
                    <a:pt x="146" y="63"/>
                  </a:cubicBezTo>
                  <a:cubicBezTo>
                    <a:pt x="148" y="58"/>
                    <a:pt x="146" y="53"/>
                    <a:pt x="141" y="51"/>
                  </a:cubicBezTo>
                  <a:cubicBezTo>
                    <a:pt x="23" y="2"/>
                    <a:pt x="23" y="2"/>
                    <a:pt x="23" y="2"/>
                  </a:cubicBezTo>
                  <a:cubicBezTo>
                    <a:pt x="18" y="0"/>
                    <a:pt x="12" y="2"/>
                    <a:pt x="10" y="7"/>
                  </a:cubicBezTo>
                  <a:cubicBezTo>
                    <a:pt x="2" y="28"/>
                    <a:pt x="2" y="28"/>
                    <a:pt x="2" y="28"/>
                  </a:cubicBezTo>
                  <a:cubicBezTo>
                    <a:pt x="0" y="33"/>
                    <a:pt x="2" y="38"/>
                    <a:pt x="7" y="40"/>
                  </a:cubicBezTo>
                  <a:close/>
                  <a:moveTo>
                    <a:pt x="126" y="59"/>
                  </a:moveTo>
                  <a:cubicBezTo>
                    <a:pt x="130" y="60"/>
                    <a:pt x="132" y="65"/>
                    <a:pt x="130" y="68"/>
                  </a:cubicBezTo>
                  <a:cubicBezTo>
                    <a:pt x="128" y="72"/>
                    <a:pt x="124" y="74"/>
                    <a:pt x="120" y="72"/>
                  </a:cubicBezTo>
                  <a:cubicBezTo>
                    <a:pt x="117" y="71"/>
                    <a:pt x="115" y="67"/>
                    <a:pt x="116" y="63"/>
                  </a:cubicBezTo>
                  <a:cubicBezTo>
                    <a:pt x="118" y="59"/>
                    <a:pt x="122" y="57"/>
                    <a:pt x="126" y="59"/>
                  </a:cubicBezTo>
                  <a:close/>
                  <a:moveTo>
                    <a:pt x="79" y="34"/>
                  </a:moveTo>
                  <a:cubicBezTo>
                    <a:pt x="85" y="36"/>
                    <a:pt x="85" y="36"/>
                    <a:pt x="85" y="36"/>
                  </a:cubicBezTo>
                  <a:cubicBezTo>
                    <a:pt x="83" y="41"/>
                    <a:pt x="83" y="41"/>
                    <a:pt x="83" y="41"/>
                  </a:cubicBezTo>
                  <a:cubicBezTo>
                    <a:pt x="77" y="39"/>
                    <a:pt x="77" y="39"/>
                    <a:pt x="77" y="39"/>
                  </a:cubicBezTo>
                  <a:cubicBezTo>
                    <a:pt x="79" y="34"/>
                    <a:pt x="79" y="34"/>
                    <a:pt x="79" y="34"/>
                  </a:cubicBezTo>
                  <a:cubicBezTo>
                    <a:pt x="79" y="34"/>
                    <a:pt x="79" y="34"/>
                    <a:pt x="79" y="34"/>
                  </a:cubicBezTo>
                  <a:close/>
                  <a:moveTo>
                    <a:pt x="75" y="43"/>
                  </a:moveTo>
                  <a:cubicBezTo>
                    <a:pt x="81" y="45"/>
                    <a:pt x="81" y="45"/>
                    <a:pt x="81" y="45"/>
                  </a:cubicBezTo>
                  <a:cubicBezTo>
                    <a:pt x="79" y="51"/>
                    <a:pt x="79" y="51"/>
                    <a:pt x="79" y="51"/>
                  </a:cubicBezTo>
                  <a:cubicBezTo>
                    <a:pt x="73" y="48"/>
                    <a:pt x="73" y="48"/>
                    <a:pt x="73" y="48"/>
                  </a:cubicBezTo>
                  <a:cubicBezTo>
                    <a:pt x="75" y="43"/>
                    <a:pt x="75" y="43"/>
                    <a:pt x="75" y="43"/>
                  </a:cubicBezTo>
                  <a:cubicBezTo>
                    <a:pt x="75" y="43"/>
                    <a:pt x="75" y="43"/>
                    <a:pt x="75" y="43"/>
                  </a:cubicBezTo>
                  <a:close/>
                  <a:moveTo>
                    <a:pt x="72" y="52"/>
                  </a:moveTo>
                  <a:cubicBezTo>
                    <a:pt x="77" y="54"/>
                    <a:pt x="77" y="54"/>
                    <a:pt x="77" y="54"/>
                  </a:cubicBezTo>
                  <a:cubicBezTo>
                    <a:pt x="75" y="60"/>
                    <a:pt x="75" y="60"/>
                    <a:pt x="75" y="60"/>
                  </a:cubicBezTo>
                  <a:cubicBezTo>
                    <a:pt x="70" y="58"/>
                    <a:pt x="70" y="58"/>
                    <a:pt x="70" y="58"/>
                  </a:cubicBezTo>
                  <a:cubicBezTo>
                    <a:pt x="72" y="52"/>
                    <a:pt x="72" y="52"/>
                    <a:pt x="72" y="52"/>
                  </a:cubicBezTo>
                  <a:cubicBezTo>
                    <a:pt x="72" y="52"/>
                    <a:pt x="72" y="52"/>
                    <a:pt x="72" y="52"/>
                  </a:cubicBezTo>
                  <a:close/>
                  <a:moveTo>
                    <a:pt x="69" y="29"/>
                  </a:moveTo>
                  <a:cubicBezTo>
                    <a:pt x="75" y="32"/>
                    <a:pt x="75" y="32"/>
                    <a:pt x="75" y="32"/>
                  </a:cubicBezTo>
                  <a:cubicBezTo>
                    <a:pt x="73" y="37"/>
                    <a:pt x="73" y="37"/>
                    <a:pt x="73" y="37"/>
                  </a:cubicBezTo>
                  <a:cubicBezTo>
                    <a:pt x="67" y="35"/>
                    <a:pt x="67" y="35"/>
                    <a:pt x="67" y="35"/>
                  </a:cubicBezTo>
                  <a:cubicBezTo>
                    <a:pt x="69" y="29"/>
                    <a:pt x="69" y="29"/>
                    <a:pt x="69" y="29"/>
                  </a:cubicBezTo>
                  <a:cubicBezTo>
                    <a:pt x="69" y="29"/>
                    <a:pt x="69" y="29"/>
                    <a:pt x="69" y="29"/>
                  </a:cubicBezTo>
                  <a:close/>
                  <a:moveTo>
                    <a:pt x="65" y="39"/>
                  </a:moveTo>
                  <a:cubicBezTo>
                    <a:pt x="71" y="41"/>
                    <a:pt x="71" y="41"/>
                    <a:pt x="71" y="41"/>
                  </a:cubicBezTo>
                  <a:cubicBezTo>
                    <a:pt x="69" y="47"/>
                    <a:pt x="69" y="47"/>
                    <a:pt x="69" y="47"/>
                  </a:cubicBezTo>
                  <a:cubicBezTo>
                    <a:pt x="63" y="44"/>
                    <a:pt x="63" y="44"/>
                    <a:pt x="63" y="44"/>
                  </a:cubicBezTo>
                  <a:cubicBezTo>
                    <a:pt x="65" y="39"/>
                    <a:pt x="65" y="39"/>
                    <a:pt x="65" y="39"/>
                  </a:cubicBezTo>
                  <a:cubicBezTo>
                    <a:pt x="65" y="39"/>
                    <a:pt x="65" y="39"/>
                    <a:pt x="65" y="39"/>
                  </a:cubicBezTo>
                  <a:close/>
                  <a:moveTo>
                    <a:pt x="62" y="48"/>
                  </a:moveTo>
                  <a:cubicBezTo>
                    <a:pt x="67" y="50"/>
                    <a:pt x="67" y="50"/>
                    <a:pt x="67" y="50"/>
                  </a:cubicBezTo>
                  <a:cubicBezTo>
                    <a:pt x="65" y="56"/>
                    <a:pt x="65" y="56"/>
                    <a:pt x="65" y="56"/>
                  </a:cubicBezTo>
                  <a:cubicBezTo>
                    <a:pt x="59" y="53"/>
                    <a:pt x="59" y="53"/>
                    <a:pt x="59" y="53"/>
                  </a:cubicBezTo>
                  <a:cubicBezTo>
                    <a:pt x="62" y="48"/>
                    <a:pt x="62" y="48"/>
                    <a:pt x="62" y="48"/>
                  </a:cubicBezTo>
                  <a:cubicBezTo>
                    <a:pt x="62" y="48"/>
                    <a:pt x="62" y="48"/>
                    <a:pt x="62" y="48"/>
                  </a:cubicBezTo>
                  <a:close/>
                  <a:moveTo>
                    <a:pt x="59" y="25"/>
                  </a:moveTo>
                  <a:cubicBezTo>
                    <a:pt x="65" y="28"/>
                    <a:pt x="65" y="28"/>
                    <a:pt x="65" y="28"/>
                  </a:cubicBezTo>
                  <a:cubicBezTo>
                    <a:pt x="63" y="33"/>
                    <a:pt x="63" y="33"/>
                    <a:pt x="63" y="33"/>
                  </a:cubicBezTo>
                  <a:cubicBezTo>
                    <a:pt x="57" y="31"/>
                    <a:pt x="57" y="31"/>
                    <a:pt x="57" y="31"/>
                  </a:cubicBezTo>
                  <a:cubicBezTo>
                    <a:pt x="59" y="25"/>
                    <a:pt x="59" y="25"/>
                    <a:pt x="59" y="25"/>
                  </a:cubicBezTo>
                  <a:cubicBezTo>
                    <a:pt x="59" y="25"/>
                    <a:pt x="59" y="25"/>
                    <a:pt x="59" y="25"/>
                  </a:cubicBezTo>
                  <a:close/>
                  <a:moveTo>
                    <a:pt x="55" y="35"/>
                  </a:moveTo>
                  <a:cubicBezTo>
                    <a:pt x="61" y="37"/>
                    <a:pt x="61" y="37"/>
                    <a:pt x="61" y="37"/>
                  </a:cubicBezTo>
                  <a:cubicBezTo>
                    <a:pt x="59" y="42"/>
                    <a:pt x="59" y="42"/>
                    <a:pt x="59" y="42"/>
                  </a:cubicBezTo>
                  <a:cubicBezTo>
                    <a:pt x="53" y="40"/>
                    <a:pt x="53" y="40"/>
                    <a:pt x="53" y="40"/>
                  </a:cubicBezTo>
                  <a:cubicBezTo>
                    <a:pt x="55" y="35"/>
                    <a:pt x="55" y="35"/>
                    <a:pt x="55" y="35"/>
                  </a:cubicBezTo>
                  <a:cubicBezTo>
                    <a:pt x="55" y="35"/>
                    <a:pt x="55" y="35"/>
                    <a:pt x="55" y="35"/>
                  </a:cubicBezTo>
                  <a:close/>
                  <a:moveTo>
                    <a:pt x="52" y="44"/>
                  </a:moveTo>
                  <a:cubicBezTo>
                    <a:pt x="57" y="46"/>
                    <a:pt x="57" y="46"/>
                    <a:pt x="57" y="46"/>
                  </a:cubicBezTo>
                  <a:cubicBezTo>
                    <a:pt x="55" y="52"/>
                    <a:pt x="55" y="52"/>
                    <a:pt x="55" y="52"/>
                  </a:cubicBezTo>
                  <a:cubicBezTo>
                    <a:pt x="50" y="49"/>
                    <a:pt x="50" y="49"/>
                    <a:pt x="50" y="49"/>
                  </a:cubicBezTo>
                  <a:cubicBezTo>
                    <a:pt x="52" y="44"/>
                    <a:pt x="52" y="44"/>
                    <a:pt x="52" y="44"/>
                  </a:cubicBezTo>
                  <a:cubicBezTo>
                    <a:pt x="52" y="44"/>
                    <a:pt x="52" y="44"/>
                    <a:pt x="52" y="44"/>
                  </a:cubicBezTo>
                  <a:close/>
                  <a:moveTo>
                    <a:pt x="49" y="21"/>
                  </a:moveTo>
                  <a:cubicBezTo>
                    <a:pt x="55" y="24"/>
                    <a:pt x="55" y="24"/>
                    <a:pt x="55" y="24"/>
                  </a:cubicBezTo>
                  <a:cubicBezTo>
                    <a:pt x="53" y="29"/>
                    <a:pt x="53" y="29"/>
                    <a:pt x="53" y="29"/>
                  </a:cubicBezTo>
                  <a:cubicBezTo>
                    <a:pt x="47" y="27"/>
                    <a:pt x="47" y="27"/>
                    <a:pt x="47" y="27"/>
                  </a:cubicBezTo>
                  <a:cubicBezTo>
                    <a:pt x="49" y="21"/>
                    <a:pt x="49" y="21"/>
                    <a:pt x="49" y="21"/>
                  </a:cubicBezTo>
                  <a:cubicBezTo>
                    <a:pt x="49" y="21"/>
                    <a:pt x="49" y="21"/>
                    <a:pt x="49" y="21"/>
                  </a:cubicBezTo>
                  <a:close/>
                  <a:moveTo>
                    <a:pt x="46" y="31"/>
                  </a:moveTo>
                  <a:cubicBezTo>
                    <a:pt x="51" y="33"/>
                    <a:pt x="51" y="33"/>
                    <a:pt x="51" y="33"/>
                  </a:cubicBezTo>
                  <a:cubicBezTo>
                    <a:pt x="49" y="38"/>
                    <a:pt x="49" y="38"/>
                    <a:pt x="49" y="38"/>
                  </a:cubicBezTo>
                  <a:cubicBezTo>
                    <a:pt x="43" y="36"/>
                    <a:pt x="43" y="36"/>
                    <a:pt x="43" y="36"/>
                  </a:cubicBezTo>
                  <a:cubicBezTo>
                    <a:pt x="46" y="31"/>
                    <a:pt x="46" y="31"/>
                    <a:pt x="46" y="31"/>
                  </a:cubicBezTo>
                  <a:cubicBezTo>
                    <a:pt x="46" y="31"/>
                    <a:pt x="46" y="31"/>
                    <a:pt x="46" y="31"/>
                  </a:cubicBezTo>
                  <a:close/>
                  <a:moveTo>
                    <a:pt x="42" y="40"/>
                  </a:moveTo>
                  <a:cubicBezTo>
                    <a:pt x="47" y="42"/>
                    <a:pt x="47" y="42"/>
                    <a:pt x="47" y="42"/>
                  </a:cubicBezTo>
                  <a:cubicBezTo>
                    <a:pt x="45" y="47"/>
                    <a:pt x="45" y="47"/>
                    <a:pt x="45" y="47"/>
                  </a:cubicBezTo>
                  <a:cubicBezTo>
                    <a:pt x="40" y="45"/>
                    <a:pt x="40" y="45"/>
                    <a:pt x="40" y="45"/>
                  </a:cubicBezTo>
                  <a:cubicBezTo>
                    <a:pt x="42" y="40"/>
                    <a:pt x="42" y="40"/>
                    <a:pt x="42" y="40"/>
                  </a:cubicBezTo>
                  <a:cubicBezTo>
                    <a:pt x="42" y="40"/>
                    <a:pt x="42" y="40"/>
                    <a:pt x="42" y="40"/>
                  </a:cubicBezTo>
                  <a:close/>
                  <a:moveTo>
                    <a:pt x="39" y="17"/>
                  </a:moveTo>
                  <a:cubicBezTo>
                    <a:pt x="45" y="19"/>
                    <a:pt x="45" y="19"/>
                    <a:pt x="45" y="19"/>
                  </a:cubicBezTo>
                  <a:cubicBezTo>
                    <a:pt x="43" y="25"/>
                    <a:pt x="43" y="25"/>
                    <a:pt x="43" y="25"/>
                  </a:cubicBezTo>
                  <a:cubicBezTo>
                    <a:pt x="37" y="23"/>
                    <a:pt x="37" y="23"/>
                    <a:pt x="37" y="23"/>
                  </a:cubicBezTo>
                  <a:cubicBezTo>
                    <a:pt x="39" y="17"/>
                    <a:pt x="39" y="17"/>
                    <a:pt x="39" y="17"/>
                  </a:cubicBezTo>
                  <a:cubicBezTo>
                    <a:pt x="39" y="17"/>
                    <a:pt x="39" y="17"/>
                    <a:pt x="39" y="17"/>
                  </a:cubicBezTo>
                  <a:close/>
                  <a:moveTo>
                    <a:pt x="36" y="27"/>
                  </a:moveTo>
                  <a:cubicBezTo>
                    <a:pt x="41" y="29"/>
                    <a:pt x="41" y="29"/>
                    <a:pt x="41" y="29"/>
                  </a:cubicBezTo>
                  <a:cubicBezTo>
                    <a:pt x="39" y="34"/>
                    <a:pt x="39" y="34"/>
                    <a:pt x="39" y="34"/>
                  </a:cubicBezTo>
                  <a:cubicBezTo>
                    <a:pt x="33" y="32"/>
                    <a:pt x="33" y="32"/>
                    <a:pt x="33" y="32"/>
                  </a:cubicBezTo>
                  <a:cubicBezTo>
                    <a:pt x="36" y="27"/>
                    <a:pt x="36" y="27"/>
                    <a:pt x="36" y="27"/>
                  </a:cubicBezTo>
                  <a:cubicBezTo>
                    <a:pt x="36" y="27"/>
                    <a:pt x="36" y="27"/>
                    <a:pt x="36" y="27"/>
                  </a:cubicBezTo>
                  <a:close/>
                  <a:moveTo>
                    <a:pt x="32" y="36"/>
                  </a:moveTo>
                  <a:cubicBezTo>
                    <a:pt x="37" y="38"/>
                    <a:pt x="37" y="38"/>
                    <a:pt x="37" y="38"/>
                  </a:cubicBezTo>
                  <a:cubicBezTo>
                    <a:pt x="35" y="43"/>
                    <a:pt x="35" y="43"/>
                    <a:pt x="35" y="43"/>
                  </a:cubicBezTo>
                  <a:cubicBezTo>
                    <a:pt x="30" y="41"/>
                    <a:pt x="30" y="41"/>
                    <a:pt x="30" y="41"/>
                  </a:cubicBezTo>
                  <a:cubicBezTo>
                    <a:pt x="32" y="36"/>
                    <a:pt x="32" y="36"/>
                    <a:pt x="32" y="36"/>
                  </a:cubicBezTo>
                  <a:cubicBezTo>
                    <a:pt x="32" y="36"/>
                    <a:pt x="32" y="36"/>
                    <a:pt x="32" y="36"/>
                  </a:cubicBezTo>
                  <a:close/>
                  <a:moveTo>
                    <a:pt x="29" y="13"/>
                  </a:moveTo>
                  <a:cubicBezTo>
                    <a:pt x="35" y="15"/>
                    <a:pt x="35" y="15"/>
                    <a:pt x="35" y="15"/>
                  </a:cubicBezTo>
                  <a:cubicBezTo>
                    <a:pt x="33" y="21"/>
                    <a:pt x="33" y="21"/>
                    <a:pt x="33" y="21"/>
                  </a:cubicBezTo>
                  <a:cubicBezTo>
                    <a:pt x="27" y="18"/>
                    <a:pt x="27" y="18"/>
                    <a:pt x="27" y="18"/>
                  </a:cubicBezTo>
                  <a:cubicBezTo>
                    <a:pt x="29" y="13"/>
                    <a:pt x="29" y="13"/>
                    <a:pt x="29" y="13"/>
                  </a:cubicBezTo>
                  <a:cubicBezTo>
                    <a:pt x="29" y="13"/>
                    <a:pt x="29" y="13"/>
                    <a:pt x="29" y="13"/>
                  </a:cubicBezTo>
                  <a:close/>
                  <a:moveTo>
                    <a:pt x="25" y="23"/>
                  </a:moveTo>
                  <a:cubicBezTo>
                    <a:pt x="31" y="25"/>
                    <a:pt x="31" y="25"/>
                    <a:pt x="31" y="25"/>
                  </a:cubicBezTo>
                  <a:cubicBezTo>
                    <a:pt x="29" y="30"/>
                    <a:pt x="29" y="30"/>
                    <a:pt x="29" y="30"/>
                  </a:cubicBezTo>
                  <a:cubicBezTo>
                    <a:pt x="23" y="28"/>
                    <a:pt x="23" y="28"/>
                    <a:pt x="23" y="28"/>
                  </a:cubicBezTo>
                  <a:cubicBezTo>
                    <a:pt x="25" y="23"/>
                    <a:pt x="25" y="23"/>
                    <a:pt x="25" y="23"/>
                  </a:cubicBezTo>
                  <a:cubicBezTo>
                    <a:pt x="25" y="23"/>
                    <a:pt x="25" y="23"/>
                    <a:pt x="25" y="23"/>
                  </a:cubicBezTo>
                  <a:close/>
                  <a:moveTo>
                    <a:pt x="22" y="32"/>
                  </a:moveTo>
                  <a:cubicBezTo>
                    <a:pt x="27" y="34"/>
                    <a:pt x="27" y="34"/>
                    <a:pt x="27" y="34"/>
                  </a:cubicBezTo>
                  <a:cubicBezTo>
                    <a:pt x="25" y="39"/>
                    <a:pt x="25" y="39"/>
                    <a:pt x="25" y="39"/>
                  </a:cubicBezTo>
                  <a:cubicBezTo>
                    <a:pt x="20" y="37"/>
                    <a:pt x="20" y="37"/>
                    <a:pt x="20" y="37"/>
                  </a:cubicBezTo>
                  <a:cubicBezTo>
                    <a:pt x="22" y="32"/>
                    <a:pt x="22" y="32"/>
                    <a:pt x="22" y="32"/>
                  </a:cubicBezTo>
                  <a:cubicBezTo>
                    <a:pt x="22" y="32"/>
                    <a:pt x="22" y="32"/>
                    <a:pt x="22" y="32"/>
                  </a:cubicBezTo>
                  <a:close/>
                  <a:moveTo>
                    <a:pt x="19" y="9"/>
                  </a:moveTo>
                  <a:cubicBezTo>
                    <a:pt x="25" y="11"/>
                    <a:pt x="25" y="11"/>
                    <a:pt x="25" y="11"/>
                  </a:cubicBezTo>
                  <a:cubicBezTo>
                    <a:pt x="23" y="17"/>
                    <a:pt x="23" y="17"/>
                    <a:pt x="23" y="17"/>
                  </a:cubicBezTo>
                  <a:cubicBezTo>
                    <a:pt x="17" y="14"/>
                    <a:pt x="17" y="14"/>
                    <a:pt x="17" y="14"/>
                  </a:cubicBezTo>
                  <a:cubicBezTo>
                    <a:pt x="19" y="9"/>
                    <a:pt x="19" y="9"/>
                    <a:pt x="19" y="9"/>
                  </a:cubicBezTo>
                  <a:cubicBezTo>
                    <a:pt x="19" y="9"/>
                    <a:pt x="19" y="9"/>
                    <a:pt x="19" y="9"/>
                  </a:cubicBezTo>
                  <a:close/>
                  <a:moveTo>
                    <a:pt x="16" y="19"/>
                  </a:moveTo>
                  <a:cubicBezTo>
                    <a:pt x="21" y="21"/>
                    <a:pt x="21" y="21"/>
                    <a:pt x="21" y="21"/>
                  </a:cubicBezTo>
                  <a:cubicBezTo>
                    <a:pt x="19" y="26"/>
                    <a:pt x="19" y="26"/>
                    <a:pt x="19" y="26"/>
                  </a:cubicBezTo>
                  <a:cubicBezTo>
                    <a:pt x="13" y="24"/>
                    <a:pt x="13" y="24"/>
                    <a:pt x="13" y="24"/>
                  </a:cubicBezTo>
                  <a:cubicBezTo>
                    <a:pt x="16" y="19"/>
                    <a:pt x="16" y="19"/>
                    <a:pt x="16" y="19"/>
                  </a:cubicBezTo>
                  <a:cubicBezTo>
                    <a:pt x="16" y="19"/>
                    <a:pt x="16" y="19"/>
                    <a:pt x="16" y="19"/>
                  </a:cubicBezTo>
                  <a:close/>
                  <a:moveTo>
                    <a:pt x="12" y="28"/>
                  </a:moveTo>
                  <a:cubicBezTo>
                    <a:pt x="17" y="30"/>
                    <a:pt x="17" y="30"/>
                    <a:pt x="17" y="30"/>
                  </a:cubicBezTo>
                  <a:cubicBezTo>
                    <a:pt x="15" y="35"/>
                    <a:pt x="15" y="35"/>
                    <a:pt x="15" y="35"/>
                  </a:cubicBezTo>
                  <a:cubicBezTo>
                    <a:pt x="10" y="33"/>
                    <a:pt x="10" y="33"/>
                    <a:pt x="10" y="33"/>
                  </a:cubicBezTo>
                  <a:cubicBezTo>
                    <a:pt x="12" y="28"/>
                    <a:pt x="12" y="28"/>
                    <a:pt x="12" y="28"/>
                  </a:cubicBezTo>
                  <a:cubicBezTo>
                    <a:pt x="12" y="28"/>
                    <a:pt x="12" y="28"/>
                    <a:pt x="12" y="28"/>
                  </a:cubicBezTo>
                  <a:close/>
                </a:path>
              </a:pathLst>
            </a:custGeom>
            <a:grp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grpSp>
        <p:nvGrpSpPr>
          <p:cNvPr id="2359" name="Group 2358"/>
          <p:cNvGrpSpPr/>
          <p:nvPr/>
        </p:nvGrpSpPr>
        <p:grpSpPr>
          <a:xfrm>
            <a:off x="5921340" y="1271352"/>
            <a:ext cx="1960300" cy="1722447"/>
            <a:chOff x="15782925" y="1093788"/>
            <a:chExt cx="3446463" cy="2555875"/>
          </a:xfrm>
          <a:solidFill>
            <a:schemeClr val="tx1">
              <a:lumMod val="50000"/>
              <a:lumOff val="50000"/>
            </a:schemeClr>
          </a:solidFill>
        </p:grpSpPr>
        <p:sp>
          <p:nvSpPr>
            <p:cNvPr id="2251" name="Freeform 2107"/>
            <p:cNvSpPr>
              <a:spLocks noEditPoints="1"/>
            </p:cNvSpPr>
            <p:nvPr/>
          </p:nvSpPr>
          <p:spPr bwMode="auto">
            <a:xfrm>
              <a:off x="15782925" y="2416175"/>
              <a:ext cx="153988" cy="549275"/>
            </a:xfrm>
            <a:custGeom>
              <a:avLst/>
              <a:gdLst>
                <a:gd name="T0" fmla="*/ 10 w 41"/>
                <a:gd name="T1" fmla="*/ 146 h 146"/>
                <a:gd name="T2" fmla="*/ 41 w 41"/>
                <a:gd name="T3" fmla="*/ 9 h 146"/>
                <a:gd name="T4" fmla="*/ 0 w 41"/>
                <a:gd name="T5" fmla="*/ 9 h 146"/>
                <a:gd name="T6" fmla="*/ 13 w 41"/>
                <a:gd name="T7" fmla="*/ 126 h 146"/>
                <a:gd name="T8" fmla="*/ 34 w 41"/>
                <a:gd name="T9" fmla="*/ 74 h 146"/>
                <a:gd name="T10" fmla="*/ 28 w 41"/>
                <a:gd name="T11" fmla="*/ 74 h 146"/>
                <a:gd name="T12" fmla="*/ 23 w 41"/>
                <a:gd name="T13" fmla="*/ 74 h 146"/>
                <a:gd name="T14" fmla="*/ 18 w 41"/>
                <a:gd name="T15" fmla="*/ 74 h 146"/>
                <a:gd name="T16" fmla="*/ 13 w 41"/>
                <a:gd name="T17" fmla="*/ 74 h 146"/>
                <a:gd name="T18" fmla="*/ 8 w 41"/>
                <a:gd name="T19" fmla="*/ 74 h 146"/>
                <a:gd name="T20" fmla="*/ 34 w 41"/>
                <a:gd name="T21" fmla="*/ 63 h 146"/>
                <a:gd name="T22" fmla="*/ 28 w 41"/>
                <a:gd name="T23" fmla="*/ 63 h 146"/>
                <a:gd name="T24" fmla="*/ 23 w 41"/>
                <a:gd name="T25" fmla="*/ 63 h 146"/>
                <a:gd name="T26" fmla="*/ 18 w 41"/>
                <a:gd name="T27" fmla="*/ 63 h 146"/>
                <a:gd name="T28" fmla="*/ 13 w 41"/>
                <a:gd name="T29" fmla="*/ 63 h 146"/>
                <a:gd name="T30" fmla="*/ 8 w 41"/>
                <a:gd name="T31" fmla="*/ 63 h 146"/>
                <a:gd name="T32" fmla="*/ 34 w 41"/>
                <a:gd name="T33" fmla="*/ 52 h 146"/>
                <a:gd name="T34" fmla="*/ 28 w 41"/>
                <a:gd name="T35" fmla="*/ 52 h 146"/>
                <a:gd name="T36" fmla="*/ 23 w 41"/>
                <a:gd name="T37" fmla="*/ 52 h 146"/>
                <a:gd name="T38" fmla="*/ 18 w 41"/>
                <a:gd name="T39" fmla="*/ 52 h 146"/>
                <a:gd name="T40" fmla="*/ 13 w 41"/>
                <a:gd name="T41" fmla="*/ 52 h 146"/>
                <a:gd name="T42" fmla="*/ 8 w 41"/>
                <a:gd name="T43" fmla="*/ 52 h 146"/>
                <a:gd name="T44" fmla="*/ 34 w 41"/>
                <a:gd name="T45" fmla="*/ 41 h 146"/>
                <a:gd name="T46" fmla="*/ 28 w 41"/>
                <a:gd name="T47" fmla="*/ 41 h 146"/>
                <a:gd name="T48" fmla="*/ 23 w 41"/>
                <a:gd name="T49" fmla="*/ 41 h 146"/>
                <a:gd name="T50" fmla="*/ 18 w 41"/>
                <a:gd name="T51" fmla="*/ 41 h 146"/>
                <a:gd name="T52" fmla="*/ 13 w 41"/>
                <a:gd name="T53" fmla="*/ 41 h 146"/>
                <a:gd name="T54" fmla="*/ 8 w 41"/>
                <a:gd name="T55" fmla="*/ 41 h 146"/>
                <a:gd name="T56" fmla="*/ 34 w 41"/>
                <a:gd name="T57" fmla="*/ 31 h 146"/>
                <a:gd name="T58" fmla="*/ 28 w 41"/>
                <a:gd name="T59" fmla="*/ 31 h 146"/>
                <a:gd name="T60" fmla="*/ 23 w 41"/>
                <a:gd name="T61" fmla="*/ 31 h 146"/>
                <a:gd name="T62" fmla="*/ 18 w 41"/>
                <a:gd name="T63" fmla="*/ 31 h 146"/>
                <a:gd name="T64" fmla="*/ 13 w 41"/>
                <a:gd name="T65" fmla="*/ 31 h 146"/>
                <a:gd name="T66" fmla="*/ 8 w 41"/>
                <a:gd name="T67" fmla="*/ 31 h 146"/>
                <a:gd name="T68" fmla="*/ 34 w 41"/>
                <a:gd name="T69" fmla="*/ 20 h 146"/>
                <a:gd name="T70" fmla="*/ 28 w 41"/>
                <a:gd name="T71" fmla="*/ 20 h 146"/>
                <a:gd name="T72" fmla="*/ 23 w 41"/>
                <a:gd name="T73" fmla="*/ 20 h 146"/>
                <a:gd name="T74" fmla="*/ 18 w 41"/>
                <a:gd name="T75" fmla="*/ 20 h 146"/>
                <a:gd name="T76" fmla="*/ 13 w 41"/>
                <a:gd name="T77" fmla="*/ 20 h 146"/>
                <a:gd name="T78" fmla="*/ 8 w 41"/>
                <a:gd name="T79" fmla="*/ 20 h 146"/>
                <a:gd name="T80" fmla="*/ 34 w 41"/>
                <a:gd name="T81" fmla="*/ 9 h 146"/>
                <a:gd name="T82" fmla="*/ 28 w 41"/>
                <a:gd name="T83" fmla="*/ 9 h 146"/>
                <a:gd name="T84" fmla="*/ 23 w 41"/>
                <a:gd name="T85" fmla="*/ 9 h 146"/>
                <a:gd name="T86" fmla="*/ 18 w 41"/>
                <a:gd name="T87" fmla="*/ 9 h 146"/>
                <a:gd name="T88" fmla="*/ 13 w 41"/>
                <a:gd name="T89" fmla="*/ 9 h 146"/>
                <a:gd name="T90" fmla="*/ 8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10" y="146"/>
                  </a:cubicBezTo>
                  <a:cubicBezTo>
                    <a:pt x="32" y="146"/>
                    <a:pt x="32" y="146"/>
                    <a:pt x="32" y="146"/>
                  </a:cubicBezTo>
                  <a:cubicBezTo>
                    <a:pt x="37" y="146"/>
                    <a:pt x="41" y="142"/>
                    <a:pt x="41" y="137"/>
                  </a:cubicBezTo>
                  <a:cubicBezTo>
                    <a:pt x="41" y="9"/>
                    <a:pt x="41" y="9"/>
                    <a:pt x="41" y="9"/>
                  </a:cubicBezTo>
                  <a:cubicBezTo>
                    <a:pt x="41" y="4"/>
                    <a:pt x="37" y="0"/>
                    <a:pt x="32" y="0"/>
                  </a:cubicBezTo>
                  <a:cubicBezTo>
                    <a:pt x="10" y="0"/>
                    <a:pt x="10" y="0"/>
                    <a:pt x="10" y="0"/>
                  </a:cubicBezTo>
                  <a:cubicBezTo>
                    <a:pt x="4" y="0"/>
                    <a:pt x="0" y="4"/>
                    <a:pt x="0" y="9"/>
                  </a:cubicBezTo>
                  <a:close/>
                  <a:moveTo>
                    <a:pt x="28" y="126"/>
                  </a:moveTo>
                  <a:cubicBezTo>
                    <a:pt x="28" y="130"/>
                    <a:pt x="25" y="134"/>
                    <a:pt x="21" y="134"/>
                  </a:cubicBezTo>
                  <a:cubicBezTo>
                    <a:pt x="17" y="134"/>
                    <a:pt x="13" y="130"/>
                    <a:pt x="13" y="126"/>
                  </a:cubicBezTo>
                  <a:cubicBezTo>
                    <a:pt x="13" y="122"/>
                    <a:pt x="17" y="119"/>
                    <a:pt x="21" y="119"/>
                  </a:cubicBezTo>
                  <a:cubicBezTo>
                    <a:pt x="25" y="119"/>
                    <a:pt x="28" y="122"/>
                    <a:pt x="28" y="126"/>
                  </a:cubicBezTo>
                  <a:close/>
                  <a:moveTo>
                    <a:pt x="34" y="74"/>
                  </a:moveTo>
                  <a:cubicBezTo>
                    <a:pt x="34" y="79"/>
                    <a:pt x="34" y="79"/>
                    <a:pt x="34" y="79"/>
                  </a:cubicBezTo>
                  <a:cubicBezTo>
                    <a:pt x="28" y="79"/>
                    <a:pt x="28" y="79"/>
                    <a:pt x="28" y="79"/>
                  </a:cubicBezTo>
                  <a:cubicBezTo>
                    <a:pt x="28" y="74"/>
                    <a:pt x="28" y="74"/>
                    <a:pt x="28" y="74"/>
                  </a:cubicBezTo>
                  <a:cubicBezTo>
                    <a:pt x="34" y="74"/>
                    <a:pt x="34" y="74"/>
                    <a:pt x="34" y="74"/>
                  </a:cubicBezTo>
                  <a:cubicBezTo>
                    <a:pt x="34" y="74"/>
                    <a:pt x="34" y="74"/>
                    <a:pt x="34" y="74"/>
                  </a:cubicBezTo>
                  <a:close/>
                  <a:moveTo>
                    <a:pt x="23" y="74"/>
                  </a:moveTo>
                  <a:cubicBezTo>
                    <a:pt x="23" y="79"/>
                    <a:pt x="23" y="79"/>
                    <a:pt x="23" y="79"/>
                  </a:cubicBezTo>
                  <a:cubicBezTo>
                    <a:pt x="18" y="79"/>
                    <a:pt x="18" y="79"/>
                    <a:pt x="18" y="79"/>
                  </a:cubicBezTo>
                  <a:cubicBezTo>
                    <a:pt x="18" y="74"/>
                    <a:pt x="18" y="74"/>
                    <a:pt x="18" y="74"/>
                  </a:cubicBezTo>
                  <a:cubicBezTo>
                    <a:pt x="23" y="74"/>
                    <a:pt x="23" y="74"/>
                    <a:pt x="23" y="74"/>
                  </a:cubicBezTo>
                  <a:cubicBezTo>
                    <a:pt x="23" y="74"/>
                    <a:pt x="23" y="74"/>
                    <a:pt x="23" y="74"/>
                  </a:cubicBezTo>
                  <a:close/>
                  <a:moveTo>
                    <a:pt x="13" y="74"/>
                  </a:moveTo>
                  <a:cubicBezTo>
                    <a:pt x="13" y="79"/>
                    <a:pt x="13" y="79"/>
                    <a:pt x="13" y="79"/>
                  </a:cubicBezTo>
                  <a:cubicBezTo>
                    <a:pt x="8" y="79"/>
                    <a:pt x="8" y="79"/>
                    <a:pt x="8" y="79"/>
                  </a:cubicBezTo>
                  <a:cubicBezTo>
                    <a:pt x="8" y="74"/>
                    <a:pt x="8" y="74"/>
                    <a:pt x="8" y="74"/>
                  </a:cubicBezTo>
                  <a:cubicBezTo>
                    <a:pt x="13" y="74"/>
                    <a:pt x="13" y="74"/>
                    <a:pt x="13" y="74"/>
                  </a:cubicBezTo>
                  <a:cubicBezTo>
                    <a:pt x="13" y="74"/>
                    <a:pt x="13" y="74"/>
                    <a:pt x="13" y="74"/>
                  </a:cubicBezTo>
                  <a:close/>
                  <a:moveTo>
                    <a:pt x="34" y="63"/>
                  </a:moveTo>
                  <a:cubicBezTo>
                    <a:pt x="34" y="69"/>
                    <a:pt x="34" y="69"/>
                    <a:pt x="34" y="69"/>
                  </a:cubicBezTo>
                  <a:cubicBezTo>
                    <a:pt x="28" y="69"/>
                    <a:pt x="28" y="69"/>
                    <a:pt x="28" y="69"/>
                  </a:cubicBezTo>
                  <a:cubicBezTo>
                    <a:pt x="28" y="63"/>
                    <a:pt x="28" y="63"/>
                    <a:pt x="28" y="63"/>
                  </a:cubicBezTo>
                  <a:cubicBezTo>
                    <a:pt x="34" y="63"/>
                    <a:pt x="34" y="63"/>
                    <a:pt x="34" y="63"/>
                  </a:cubicBezTo>
                  <a:cubicBezTo>
                    <a:pt x="34" y="63"/>
                    <a:pt x="34" y="63"/>
                    <a:pt x="34" y="63"/>
                  </a:cubicBezTo>
                  <a:close/>
                  <a:moveTo>
                    <a:pt x="23" y="63"/>
                  </a:moveTo>
                  <a:cubicBezTo>
                    <a:pt x="23" y="69"/>
                    <a:pt x="23" y="69"/>
                    <a:pt x="23" y="69"/>
                  </a:cubicBezTo>
                  <a:cubicBezTo>
                    <a:pt x="18" y="69"/>
                    <a:pt x="18" y="69"/>
                    <a:pt x="18" y="69"/>
                  </a:cubicBezTo>
                  <a:cubicBezTo>
                    <a:pt x="18" y="63"/>
                    <a:pt x="18" y="63"/>
                    <a:pt x="18" y="63"/>
                  </a:cubicBezTo>
                  <a:cubicBezTo>
                    <a:pt x="23" y="63"/>
                    <a:pt x="23" y="63"/>
                    <a:pt x="23" y="63"/>
                  </a:cubicBezTo>
                  <a:cubicBezTo>
                    <a:pt x="23" y="63"/>
                    <a:pt x="23" y="63"/>
                    <a:pt x="23" y="63"/>
                  </a:cubicBezTo>
                  <a:close/>
                  <a:moveTo>
                    <a:pt x="13" y="63"/>
                  </a:moveTo>
                  <a:cubicBezTo>
                    <a:pt x="13" y="69"/>
                    <a:pt x="13" y="69"/>
                    <a:pt x="13" y="69"/>
                  </a:cubicBezTo>
                  <a:cubicBezTo>
                    <a:pt x="8" y="69"/>
                    <a:pt x="8" y="69"/>
                    <a:pt x="8" y="69"/>
                  </a:cubicBezTo>
                  <a:cubicBezTo>
                    <a:pt x="8" y="63"/>
                    <a:pt x="8" y="63"/>
                    <a:pt x="8" y="63"/>
                  </a:cubicBezTo>
                  <a:cubicBezTo>
                    <a:pt x="13" y="63"/>
                    <a:pt x="13" y="63"/>
                    <a:pt x="13" y="63"/>
                  </a:cubicBezTo>
                  <a:cubicBezTo>
                    <a:pt x="13" y="63"/>
                    <a:pt x="13" y="63"/>
                    <a:pt x="13" y="63"/>
                  </a:cubicBezTo>
                  <a:close/>
                  <a:moveTo>
                    <a:pt x="34" y="52"/>
                  </a:moveTo>
                  <a:cubicBezTo>
                    <a:pt x="34" y="58"/>
                    <a:pt x="34" y="58"/>
                    <a:pt x="34" y="58"/>
                  </a:cubicBezTo>
                  <a:cubicBezTo>
                    <a:pt x="28" y="58"/>
                    <a:pt x="28" y="58"/>
                    <a:pt x="28" y="58"/>
                  </a:cubicBezTo>
                  <a:cubicBezTo>
                    <a:pt x="28" y="52"/>
                    <a:pt x="28" y="52"/>
                    <a:pt x="28" y="52"/>
                  </a:cubicBezTo>
                  <a:cubicBezTo>
                    <a:pt x="34" y="52"/>
                    <a:pt x="34" y="52"/>
                    <a:pt x="34" y="52"/>
                  </a:cubicBezTo>
                  <a:cubicBezTo>
                    <a:pt x="34" y="52"/>
                    <a:pt x="34" y="52"/>
                    <a:pt x="34" y="52"/>
                  </a:cubicBezTo>
                  <a:close/>
                  <a:moveTo>
                    <a:pt x="23" y="52"/>
                  </a:moveTo>
                  <a:cubicBezTo>
                    <a:pt x="23" y="58"/>
                    <a:pt x="23" y="58"/>
                    <a:pt x="23" y="58"/>
                  </a:cubicBezTo>
                  <a:cubicBezTo>
                    <a:pt x="18" y="58"/>
                    <a:pt x="18" y="58"/>
                    <a:pt x="18" y="58"/>
                  </a:cubicBezTo>
                  <a:cubicBezTo>
                    <a:pt x="18" y="52"/>
                    <a:pt x="18" y="52"/>
                    <a:pt x="18" y="52"/>
                  </a:cubicBezTo>
                  <a:cubicBezTo>
                    <a:pt x="23" y="52"/>
                    <a:pt x="23" y="52"/>
                    <a:pt x="23" y="52"/>
                  </a:cubicBezTo>
                  <a:cubicBezTo>
                    <a:pt x="23" y="52"/>
                    <a:pt x="23" y="52"/>
                    <a:pt x="23" y="52"/>
                  </a:cubicBezTo>
                  <a:close/>
                  <a:moveTo>
                    <a:pt x="13" y="52"/>
                  </a:moveTo>
                  <a:cubicBezTo>
                    <a:pt x="13" y="58"/>
                    <a:pt x="13" y="58"/>
                    <a:pt x="13" y="58"/>
                  </a:cubicBezTo>
                  <a:cubicBezTo>
                    <a:pt x="8" y="58"/>
                    <a:pt x="8" y="58"/>
                    <a:pt x="8" y="58"/>
                  </a:cubicBezTo>
                  <a:cubicBezTo>
                    <a:pt x="8" y="52"/>
                    <a:pt x="8" y="52"/>
                    <a:pt x="8" y="52"/>
                  </a:cubicBezTo>
                  <a:cubicBezTo>
                    <a:pt x="13" y="52"/>
                    <a:pt x="13" y="52"/>
                    <a:pt x="13" y="52"/>
                  </a:cubicBezTo>
                  <a:cubicBezTo>
                    <a:pt x="13" y="52"/>
                    <a:pt x="13" y="52"/>
                    <a:pt x="13" y="52"/>
                  </a:cubicBezTo>
                  <a:close/>
                  <a:moveTo>
                    <a:pt x="34" y="41"/>
                  </a:moveTo>
                  <a:cubicBezTo>
                    <a:pt x="34" y="47"/>
                    <a:pt x="34" y="47"/>
                    <a:pt x="34" y="47"/>
                  </a:cubicBezTo>
                  <a:cubicBezTo>
                    <a:pt x="28" y="47"/>
                    <a:pt x="28" y="47"/>
                    <a:pt x="28" y="47"/>
                  </a:cubicBezTo>
                  <a:cubicBezTo>
                    <a:pt x="28" y="41"/>
                    <a:pt x="28" y="41"/>
                    <a:pt x="28" y="41"/>
                  </a:cubicBezTo>
                  <a:cubicBezTo>
                    <a:pt x="34" y="41"/>
                    <a:pt x="34" y="41"/>
                    <a:pt x="34" y="41"/>
                  </a:cubicBezTo>
                  <a:cubicBezTo>
                    <a:pt x="34" y="41"/>
                    <a:pt x="34" y="41"/>
                    <a:pt x="34" y="41"/>
                  </a:cubicBezTo>
                  <a:close/>
                  <a:moveTo>
                    <a:pt x="23" y="41"/>
                  </a:moveTo>
                  <a:cubicBezTo>
                    <a:pt x="23" y="47"/>
                    <a:pt x="23" y="47"/>
                    <a:pt x="23" y="47"/>
                  </a:cubicBezTo>
                  <a:cubicBezTo>
                    <a:pt x="18" y="47"/>
                    <a:pt x="18" y="47"/>
                    <a:pt x="18" y="47"/>
                  </a:cubicBezTo>
                  <a:cubicBezTo>
                    <a:pt x="18" y="41"/>
                    <a:pt x="18" y="41"/>
                    <a:pt x="18" y="41"/>
                  </a:cubicBezTo>
                  <a:cubicBezTo>
                    <a:pt x="23" y="41"/>
                    <a:pt x="23" y="41"/>
                    <a:pt x="23" y="41"/>
                  </a:cubicBezTo>
                  <a:cubicBezTo>
                    <a:pt x="23" y="41"/>
                    <a:pt x="23" y="41"/>
                    <a:pt x="23" y="41"/>
                  </a:cubicBezTo>
                  <a:close/>
                  <a:moveTo>
                    <a:pt x="13" y="41"/>
                  </a:moveTo>
                  <a:cubicBezTo>
                    <a:pt x="13" y="47"/>
                    <a:pt x="13" y="47"/>
                    <a:pt x="13" y="47"/>
                  </a:cubicBezTo>
                  <a:cubicBezTo>
                    <a:pt x="8" y="47"/>
                    <a:pt x="8" y="47"/>
                    <a:pt x="8" y="47"/>
                  </a:cubicBezTo>
                  <a:cubicBezTo>
                    <a:pt x="8" y="41"/>
                    <a:pt x="8" y="41"/>
                    <a:pt x="8" y="41"/>
                  </a:cubicBezTo>
                  <a:cubicBezTo>
                    <a:pt x="13" y="41"/>
                    <a:pt x="13" y="41"/>
                    <a:pt x="13" y="41"/>
                  </a:cubicBezTo>
                  <a:cubicBezTo>
                    <a:pt x="13" y="41"/>
                    <a:pt x="13" y="41"/>
                    <a:pt x="13" y="41"/>
                  </a:cubicBezTo>
                  <a:close/>
                  <a:moveTo>
                    <a:pt x="34" y="31"/>
                  </a:moveTo>
                  <a:cubicBezTo>
                    <a:pt x="34" y="36"/>
                    <a:pt x="34" y="36"/>
                    <a:pt x="34" y="36"/>
                  </a:cubicBezTo>
                  <a:cubicBezTo>
                    <a:pt x="28" y="36"/>
                    <a:pt x="28" y="36"/>
                    <a:pt x="28" y="36"/>
                  </a:cubicBezTo>
                  <a:cubicBezTo>
                    <a:pt x="28" y="31"/>
                    <a:pt x="28" y="31"/>
                    <a:pt x="28" y="31"/>
                  </a:cubicBezTo>
                  <a:cubicBezTo>
                    <a:pt x="34" y="31"/>
                    <a:pt x="34" y="31"/>
                    <a:pt x="34" y="31"/>
                  </a:cubicBezTo>
                  <a:cubicBezTo>
                    <a:pt x="34" y="31"/>
                    <a:pt x="34" y="31"/>
                    <a:pt x="34" y="31"/>
                  </a:cubicBezTo>
                  <a:close/>
                  <a:moveTo>
                    <a:pt x="23" y="31"/>
                  </a:moveTo>
                  <a:cubicBezTo>
                    <a:pt x="23" y="36"/>
                    <a:pt x="23" y="36"/>
                    <a:pt x="23" y="36"/>
                  </a:cubicBezTo>
                  <a:cubicBezTo>
                    <a:pt x="18" y="36"/>
                    <a:pt x="18" y="36"/>
                    <a:pt x="18" y="36"/>
                  </a:cubicBezTo>
                  <a:cubicBezTo>
                    <a:pt x="18" y="31"/>
                    <a:pt x="18" y="31"/>
                    <a:pt x="18" y="31"/>
                  </a:cubicBezTo>
                  <a:cubicBezTo>
                    <a:pt x="23" y="31"/>
                    <a:pt x="23" y="31"/>
                    <a:pt x="23" y="31"/>
                  </a:cubicBezTo>
                  <a:cubicBezTo>
                    <a:pt x="23" y="31"/>
                    <a:pt x="23" y="31"/>
                    <a:pt x="23" y="31"/>
                  </a:cubicBezTo>
                  <a:close/>
                  <a:moveTo>
                    <a:pt x="13" y="31"/>
                  </a:moveTo>
                  <a:cubicBezTo>
                    <a:pt x="13" y="36"/>
                    <a:pt x="13" y="36"/>
                    <a:pt x="13" y="36"/>
                  </a:cubicBezTo>
                  <a:cubicBezTo>
                    <a:pt x="8" y="36"/>
                    <a:pt x="8" y="36"/>
                    <a:pt x="8" y="36"/>
                  </a:cubicBezTo>
                  <a:cubicBezTo>
                    <a:pt x="8" y="31"/>
                    <a:pt x="8" y="31"/>
                    <a:pt x="8" y="31"/>
                  </a:cubicBezTo>
                  <a:cubicBezTo>
                    <a:pt x="13" y="31"/>
                    <a:pt x="13" y="31"/>
                    <a:pt x="13" y="31"/>
                  </a:cubicBezTo>
                  <a:cubicBezTo>
                    <a:pt x="13" y="31"/>
                    <a:pt x="13" y="31"/>
                    <a:pt x="13" y="31"/>
                  </a:cubicBezTo>
                  <a:close/>
                  <a:moveTo>
                    <a:pt x="34" y="20"/>
                  </a:moveTo>
                  <a:cubicBezTo>
                    <a:pt x="34" y="26"/>
                    <a:pt x="34" y="26"/>
                    <a:pt x="34" y="26"/>
                  </a:cubicBezTo>
                  <a:cubicBezTo>
                    <a:pt x="28" y="26"/>
                    <a:pt x="28" y="26"/>
                    <a:pt x="28" y="26"/>
                  </a:cubicBezTo>
                  <a:cubicBezTo>
                    <a:pt x="28" y="20"/>
                    <a:pt x="28" y="20"/>
                    <a:pt x="28" y="20"/>
                  </a:cubicBezTo>
                  <a:cubicBezTo>
                    <a:pt x="34" y="20"/>
                    <a:pt x="34" y="20"/>
                    <a:pt x="34" y="20"/>
                  </a:cubicBezTo>
                  <a:cubicBezTo>
                    <a:pt x="34" y="20"/>
                    <a:pt x="34" y="20"/>
                    <a:pt x="34" y="20"/>
                  </a:cubicBezTo>
                  <a:close/>
                  <a:moveTo>
                    <a:pt x="23" y="20"/>
                  </a:moveTo>
                  <a:cubicBezTo>
                    <a:pt x="23" y="26"/>
                    <a:pt x="23" y="26"/>
                    <a:pt x="23" y="26"/>
                  </a:cubicBezTo>
                  <a:cubicBezTo>
                    <a:pt x="18" y="26"/>
                    <a:pt x="18" y="26"/>
                    <a:pt x="18" y="26"/>
                  </a:cubicBezTo>
                  <a:cubicBezTo>
                    <a:pt x="18" y="20"/>
                    <a:pt x="18" y="20"/>
                    <a:pt x="18" y="20"/>
                  </a:cubicBezTo>
                  <a:cubicBezTo>
                    <a:pt x="23" y="20"/>
                    <a:pt x="23" y="20"/>
                    <a:pt x="23" y="20"/>
                  </a:cubicBezTo>
                  <a:cubicBezTo>
                    <a:pt x="23" y="20"/>
                    <a:pt x="23" y="20"/>
                    <a:pt x="23" y="20"/>
                  </a:cubicBezTo>
                  <a:close/>
                  <a:moveTo>
                    <a:pt x="13" y="20"/>
                  </a:moveTo>
                  <a:cubicBezTo>
                    <a:pt x="13" y="26"/>
                    <a:pt x="13" y="26"/>
                    <a:pt x="13" y="26"/>
                  </a:cubicBezTo>
                  <a:cubicBezTo>
                    <a:pt x="8" y="26"/>
                    <a:pt x="8" y="26"/>
                    <a:pt x="8" y="26"/>
                  </a:cubicBezTo>
                  <a:cubicBezTo>
                    <a:pt x="8" y="20"/>
                    <a:pt x="8" y="20"/>
                    <a:pt x="8" y="20"/>
                  </a:cubicBezTo>
                  <a:cubicBezTo>
                    <a:pt x="13" y="20"/>
                    <a:pt x="13" y="20"/>
                    <a:pt x="13" y="20"/>
                  </a:cubicBezTo>
                  <a:cubicBezTo>
                    <a:pt x="13" y="20"/>
                    <a:pt x="13" y="20"/>
                    <a:pt x="13" y="20"/>
                  </a:cubicBezTo>
                  <a:close/>
                  <a:moveTo>
                    <a:pt x="34" y="9"/>
                  </a:moveTo>
                  <a:cubicBezTo>
                    <a:pt x="34" y="15"/>
                    <a:pt x="34" y="15"/>
                    <a:pt x="34" y="15"/>
                  </a:cubicBezTo>
                  <a:cubicBezTo>
                    <a:pt x="28" y="15"/>
                    <a:pt x="28" y="15"/>
                    <a:pt x="28" y="15"/>
                  </a:cubicBezTo>
                  <a:cubicBezTo>
                    <a:pt x="28" y="9"/>
                    <a:pt x="28" y="9"/>
                    <a:pt x="28" y="9"/>
                  </a:cubicBezTo>
                  <a:cubicBezTo>
                    <a:pt x="34" y="9"/>
                    <a:pt x="34" y="9"/>
                    <a:pt x="34" y="9"/>
                  </a:cubicBezTo>
                  <a:cubicBezTo>
                    <a:pt x="34" y="9"/>
                    <a:pt x="34" y="9"/>
                    <a:pt x="34" y="9"/>
                  </a:cubicBezTo>
                  <a:close/>
                  <a:moveTo>
                    <a:pt x="23" y="9"/>
                  </a:moveTo>
                  <a:cubicBezTo>
                    <a:pt x="23" y="15"/>
                    <a:pt x="23" y="15"/>
                    <a:pt x="23" y="15"/>
                  </a:cubicBezTo>
                  <a:cubicBezTo>
                    <a:pt x="18" y="15"/>
                    <a:pt x="18" y="15"/>
                    <a:pt x="18" y="15"/>
                  </a:cubicBezTo>
                  <a:cubicBezTo>
                    <a:pt x="18" y="9"/>
                    <a:pt x="18" y="9"/>
                    <a:pt x="18" y="9"/>
                  </a:cubicBezTo>
                  <a:cubicBezTo>
                    <a:pt x="23" y="9"/>
                    <a:pt x="23" y="9"/>
                    <a:pt x="23" y="9"/>
                  </a:cubicBezTo>
                  <a:cubicBezTo>
                    <a:pt x="23" y="9"/>
                    <a:pt x="23" y="9"/>
                    <a:pt x="23" y="9"/>
                  </a:cubicBezTo>
                  <a:close/>
                  <a:moveTo>
                    <a:pt x="13" y="9"/>
                  </a:moveTo>
                  <a:cubicBezTo>
                    <a:pt x="13" y="15"/>
                    <a:pt x="13" y="15"/>
                    <a:pt x="13" y="15"/>
                  </a:cubicBezTo>
                  <a:cubicBezTo>
                    <a:pt x="8" y="15"/>
                    <a:pt x="8" y="15"/>
                    <a:pt x="8" y="15"/>
                  </a:cubicBezTo>
                  <a:cubicBezTo>
                    <a:pt x="8" y="9"/>
                    <a:pt x="8" y="9"/>
                    <a:pt x="8"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52" name="Freeform 2108"/>
            <p:cNvSpPr>
              <a:spLocks noEditPoints="1"/>
            </p:cNvSpPr>
            <p:nvPr/>
          </p:nvSpPr>
          <p:spPr bwMode="auto">
            <a:xfrm>
              <a:off x="16005175" y="2416175"/>
              <a:ext cx="149225" cy="549275"/>
            </a:xfrm>
            <a:custGeom>
              <a:avLst/>
              <a:gdLst>
                <a:gd name="T0" fmla="*/ 9 w 40"/>
                <a:gd name="T1" fmla="*/ 146 h 146"/>
                <a:gd name="T2" fmla="*/ 40 w 40"/>
                <a:gd name="T3" fmla="*/ 9 h 146"/>
                <a:gd name="T4" fmla="*/ 0 w 40"/>
                <a:gd name="T5" fmla="*/ 9 h 146"/>
                <a:gd name="T6" fmla="*/ 13 w 40"/>
                <a:gd name="T7" fmla="*/ 126 h 146"/>
                <a:gd name="T8" fmla="*/ 33 w 40"/>
                <a:gd name="T9" fmla="*/ 74 h 146"/>
                <a:gd name="T10" fmla="*/ 27 w 40"/>
                <a:gd name="T11" fmla="*/ 74 h 146"/>
                <a:gd name="T12" fmla="*/ 23 w 40"/>
                <a:gd name="T13" fmla="*/ 74 h 146"/>
                <a:gd name="T14" fmla="*/ 17 w 40"/>
                <a:gd name="T15" fmla="*/ 74 h 146"/>
                <a:gd name="T16" fmla="*/ 13 w 40"/>
                <a:gd name="T17" fmla="*/ 74 h 146"/>
                <a:gd name="T18" fmla="*/ 7 w 40"/>
                <a:gd name="T19" fmla="*/ 74 h 146"/>
                <a:gd name="T20" fmla="*/ 33 w 40"/>
                <a:gd name="T21" fmla="*/ 63 h 146"/>
                <a:gd name="T22" fmla="*/ 27 w 40"/>
                <a:gd name="T23" fmla="*/ 63 h 146"/>
                <a:gd name="T24" fmla="*/ 23 w 40"/>
                <a:gd name="T25" fmla="*/ 63 h 146"/>
                <a:gd name="T26" fmla="*/ 17 w 40"/>
                <a:gd name="T27" fmla="*/ 63 h 146"/>
                <a:gd name="T28" fmla="*/ 13 w 40"/>
                <a:gd name="T29" fmla="*/ 63 h 146"/>
                <a:gd name="T30" fmla="*/ 7 w 40"/>
                <a:gd name="T31" fmla="*/ 63 h 146"/>
                <a:gd name="T32" fmla="*/ 33 w 40"/>
                <a:gd name="T33" fmla="*/ 52 h 146"/>
                <a:gd name="T34" fmla="*/ 27 w 40"/>
                <a:gd name="T35" fmla="*/ 52 h 146"/>
                <a:gd name="T36" fmla="*/ 23 w 40"/>
                <a:gd name="T37" fmla="*/ 52 h 146"/>
                <a:gd name="T38" fmla="*/ 17 w 40"/>
                <a:gd name="T39" fmla="*/ 52 h 146"/>
                <a:gd name="T40" fmla="*/ 13 w 40"/>
                <a:gd name="T41" fmla="*/ 52 h 146"/>
                <a:gd name="T42" fmla="*/ 7 w 40"/>
                <a:gd name="T43" fmla="*/ 52 h 146"/>
                <a:gd name="T44" fmla="*/ 33 w 40"/>
                <a:gd name="T45" fmla="*/ 41 h 146"/>
                <a:gd name="T46" fmla="*/ 27 w 40"/>
                <a:gd name="T47" fmla="*/ 41 h 146"/>
                <a:gd name="T48" fmla="*/ 23 w 40"/>
                <a:gd name="T49" fmla="*/ 41 h 146"/>
                <a:gd name="T50" fmla="*/ 17 w 40"/>
                <a:gd name="T51" fmla="*/ 41 h 146"/>
                <a:gd name="T52" fmla="*/ 13 w 40"/>
                <a:gd name="T53" fmla="*/ 41 h 146"/>
                <a:gd name="T54" fmla="*/ 7 w 40"/>
                <a:gd name="T55" fmla="*/ 41 h 146"/>
                <a:gd name="T56" fmla="*/ 33 w 40"/>
                <a:gd name="T57" fmla="*/ 31 h 146"/>
                <a:gd name="T58" fmla="*/ 27 w 40"/>
                <a:gd name="T59" fmla="*/ 31 h 146"/>
                <a:gd name="T60" fmla="*/ 23 w 40"/>
                <a:gd name="T61" fmla="*/ 31 h 146"/>
                <a:gd name="T62" fmla="*/ 17 w 40"/>
                <a:gd name="T63" fmla="*/ 31 h 146"/>
                <a:gd name="T64" fmla="*/ 13 w 40"/>
                <a:gd name="T65" fmla="*/ 31 h 146"/>
                <a:gd name="T66" fmla="*/ 7 w 40"/>
                <a:gd name="T67" fmla="*/ 31 h 146"/>
                <a:gd name="T68" fmla="*/ 33 w 40"/>
                <a:gd name="T69" fmla="*/ 20 h 146"/>
                <a:gd name="T70" fmla="*/ 27 w 40"/>
                <a:gd name="T71" fmla="*/ 20 h 146"/>
                <a:gd name="T72" fmla="*/ 23 w 40"/>
                <a:gd name="T73" fmla="*/ 20 h 146"/>
                <a:gd name="T74" fmla="*/ 17 w 40"/>
                <a:gd name="T75" fmla="*/ 20 h 146"/>
                <a:gd name="T76" fmla="*/ 13 w 40"/>
                <a:gd name="T77" fmla="*/ 20 h 146"/>
                <a:gd name="T78" fmla="*/ 7 w 40"/>
                <a:gd name="T79" fmla="*/ 20 h 146"/>
                <a:gd name="T80" fmla="*/ 33 w 40"/>
                <a:gd name="T81" fmla="*/ 9 h 146"/>
                <a:gd name="T82" fmla="*/ 27 w 40"/>
                <a:gd name="T83" fmla="*/ 9 h 146"/>
                <a:gd name="T84" fmla="*/ 23 w 40"/>
                <a:gd name="T85" fmla="*/ 9 h 146"/>
                <a:gd name="T86" fmla="*/ 17 w 40"/>
                <a:gd name="T87" fmla="*/ 9 h 146"/>
                <a:gd name="T88" fmla="*/ 13 w 40"/>
                <a:gd name="T89" fmla="*/ 9 h 146"/>
                <a:gd name="T90" fmla="*/ 7 w 40"/>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 h="146">
                  <a:moveTo>
                    <a:pt x="0" y="9"/>
                  </a:moveTo>
                  <a:cubicBezTo>
                    <a:pt x="0" y="137"/>
                    <a:pt x="0" y="137"/>
                    <a:pt x="0" y="137"/>
                  </a:cubicBezTo>
                  <a:cubicBezTo>
                    <a:pt x="0" y="142"/>
                    <a:pt x="4" y="146"/>
                    <a:pt x="9" y="146"/>
                  </a:cubicBezTo>
                  <a:cubicBezTo>
                    <a:pt x="31" y="146"/>
                    <a:pt x="31" y="146"/>
                    <a:pt x="31" y="146"/>
                  </a:cubicBezTo>
                  <a:cubicBezTo>
                    <a:pt x="36" y="146"/>
                    <a:pt x="40" y="142"/>
                    <a:pt x="40" y="137"/>
                  </a:cubicBezTo>
                  <a:cubicBezTo>
                    <a:pt x="40" y="9"/>
                    <a:pt x="40" y="9"/>
                    <a:pt x="40" y="9"/>
                  </a:cubicBezTo>
                  <a:cubicBezTo>
                    <a:pt x="40" y="4"/>
                    <a:pt x="36" y="0"/>
                    <a:pt x="31" y="0"/>
                  </a:cubicBezTo>
                  <a:cubicBezTo>
                    <a:pt x="9" y="0"/>
                    <a:pt x="9" y="0"/>
                    <a:pt x="9" y="0"/>
                  </a:cubicBezTo>
                  <a:cubicBezTo>
                    <a:pt x="4" y="0"/>
                    <a:pt x="0" y="4"/>
                    <a:pt x="0" y="9"/>
                  </a:cubicBezTo>
                  <a:close/>
                  <a:moveTo>
                    <a:pt x="27" y="126"/>
                  </a:moveTo>
                  <a:cubicBezTo>
                    <a:pt x="27" y="130"/>
                    <a:pt x="24" y="134"/>
                    <a:pt x="20" y="134"/>
                  </a:cubicBezTo>
                  <a:cubicBezTo>
                    <a:pt x="16" y="134"/>
                    <a:pt x="13" y="130"/>
                    <a:pt x="13" y="126"/>
                  </a:cubicBezTo>
                  <a:cubicBezTo>
                    <a:pt x="13" y="122"/>
                    <a:pt x="16" y="119"/>
                    <a:pt x="20" y="119"/>
                  </a:cubicBezTo>
                  <a:cubicBezTo>
                    <a:pt x="24" y="119"/>
                    <a:pt x="27" y="122"/>
                    <a:pt x="27" y="126"/>
                  </a:cubicBezTo>
                  <a:close/>
                  <a:moveTo>
                    <a:pt x="33" y="74"/>
                  </a:moveTo>
                  <a:cubicBezTo>
                    <a:pt x="33" y="79"/>
                    <a:pt x="33" y="79"/>
                    <a:pt x="33" y="79"/>
                  </a:cubicBezTo>
                  <a:cubicBezTo>
                    <a:pt x="27" y="79"/>
                    <a:pt x="27" y="79"/>
                    <a:pt x="27" y="79"/>
                  </a:cubicBezTo>
                  <a:cubicBezTo>
                    <a:pt x="27" y="74"/>
                    <a:pt x="27" y="74"/>
                    <a:pt x="27"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7" y="79"/>
                    <a:pt x="7" y="79"/>
                    <a:pt x="7" y="79"/>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1"/>
                  </a:moveTo>
                  <a:cubicBezTo>
                    <a:pt x="33" y="36"/>
                    <a:pt x="33" y="36"/>
                    <a:pt x="33" y="36"/>
                  </a:cubicBezTo>
                  <a:cubicBezTo>
                    <a:pt x="27" y="36"/>
                    <a:pt x="27" y="36"/>
                    <a:pt x="27" y="36"/>
                  </a:cubicBezTo>
                  <a:cubicBezTo>
                    <a:pt x="27" y="31"/>
                    <a:pt x="27" y="31"/>
                    <a:pt x="27"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7" y="36"/>
                    <a:pt x="7" y="36"/>
                    <a:pt x="7" y="36"/>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53" name="Freeform 2109"/>
            <p:cNvSpPr>
              <a:spLocks noEditPoints="1"/>
            </p:cNvSpPr>
            <p:nvPr/>
          </p:nvSpPr>
          <p:spPr bwMode="auto">
            <a:xfrm>
              <a:off x="16222663" y="2416175"/>
              <a:ext cx="153988" cy="549275"/>
            </a:xfrm>
            <a:custGeom>
              <a:avLst/>
              <a:gdLst>
                <a:gd name="T0" fmla="*/ 9 w 41"/>
                <a:gd name="T1" fmla="*/ 146 h 146"/>
                <a:gd name="T2" fmla="*/ 41 w 41"/>
                <a:gd name="T3" fmla="*/ 9 h 146"/>
                <a:gd name="T4" fmla="*/ 0 w 41"/>
                <a:gd name="T5" fmla="*/ 9 h 146"/>
                <a:gd name="T6" fmla="*/ 13 w 41"/>
                <a:gd name="T7" fmla="*/ 126 h 146"/>
                <a:gd name="T8" fmla="*/ 33 w 41"/>
                <a:gd name="T9" fmla="*/ 74 h 146"/>
                <a:gd name="T10" fmla="*/ 27 w 41"/>
                <a:gd name="T11" fmla="*/ 74 h 146"/>
                <a:gd name="T12" fmla="*/ 23 w 41"/>
                <a:gd name="T13" fmla="*/ 74 h 146"/>
                <a:gd name="T14" fmla="*/ 17 w 41"/>
                <a:gd name="T15" fmla="*/ 74 h 146"/>
                <a:gd name="T16" fmla="*/ 13 w 41"/>
                <a:gd name="T17" fmla="*/ 74 h 146"/>
                <a:gd name="T18" fmla="*/ 7 w 41"/>
                <a:gd name="T19" fmla="*/ 74 h 146"/>
                <a:gd name="T20" fmla="*/ 33 w 41"/>
                <a:gd name="T21" fmla="*/ 63 h 146"/>
                <a:gd name="T22" fmla="*/ 27 w 41"/>
                <a:gd name="T23" fmla="*/ 63 h 146"/>
                <a:gd name="T24" fmla="*/ 23 w 41"/>
                <a:gd name="T25" fmla="*/ 63 h 146"/>
                <a:gd name="T26" fmla="*/ 17 w 41"/>
                <a:gd name="T27" fmla="*/ 63 h 146"/>
                <a:gd name="T28" fmla="*/ 13 w 41"/>
                <a:gd name="T29" fmla="*/ 63 h 146"/>
                <a:gd name="T30" fmla="*/ 7 w 41"/>
                <a:gd name="T31" fmla="*/ 63 h 146"/>
                <a:gd name="T32" fmla="*/ 33 w 41"/>
                <a:gd name="T33" fmla="*/ 52 h 146"/>
                <a:gd name="T34" fmla="*/ 27 w 41"/>
                <a:gd name="T35" fmla="*/ 52 h 146"/>
                <a:gd name="T36" fmla="*/ 23 w 41"/>
                <a:gd name="T37" fmla="*/ 52 h 146"/>
                <a:gd name="T38" fmla="*/ 17 w 41"/>
                <a:gd name="T39" fmla="*/ 52 h 146"/>
                <a:gd name="T40" fmla="*/ 13 w 41"/>
                <a:gd name="T41" fmla="*/ 52 h 146"/>
                <a:gd name="T42" fmla="*/ 7 w 41"/>
                <a:gd name="T43" fmla="*/ 52 h 146"/>
                <a:gd name="T44" fmla="*/ 33 w 41"/>
                <a:gd name="T45" fmla="*/ 41 h 146"/>
                <a:gd name="T46" fmla="*/ 27 w 41"/>
                <a:gd name="T47" fmla="*/ 41 h 146"/>
                <a:gd name="T48" fmla="*/ 23 w 41"/>
                <a:gd name="T49" fmla="*/ 41 h 146"/>
                <a:gd name="T50" fmla="*/ 17 w 41"/>
                <a:gd name="T51" fmla="*/ 41 h 146"/>
                <a:gd name="T52" fmla="*/ 13 w 41"/>
                <a:gd name="T53" fmla="*/ 41 h 146"/>
                <a:gd name="T54" fmla="*/ 7 w 41"/>
                <a:gd name="T55" fmla="*/ 41 h 146"/>
                <a:gd name="T56" fmla="*/ 33 w 41"/>
                <a:gd name="T57" fmla="*/ 31 h 146"/>
                <a:gd name="T58" fmla="*/ 27 w 41"/>
                <a:gd name="T59" fmla="*/ 31 h 146"/>
                <a:gd name="T60" fmla="*/ 23 w 41"/>
                <a:gd name="T61" fmla="*/ 31 h 146"/>
                <a:gd name="T62" fmla="*/ 17 w 41"/>
                <a:gd name="T63" fmla="*/ 31 h 146"/>
                <a:gd name="T64" fmla="*/ 13 w 41"/>
                <a:gd name="T65" fmla="*/ 31 h 146"/>
                <a:gd name="T66" fmla="*/ 7 w 41"/>
                <a:gd name="T67" fmla="*/ 31 h 146"/>
                <a:gd name="T68" fmla="*/ 33 w 41"/>
                <a:gd name="T69" fmla="*/ 20 h 146"/>
                <a:gd name="T70" fmla="*/ 27 w 41"/>
                <a:gd name="T71" fmla="*/ 20 h 146"/>
                <a:gd name="T72" fmla="*/ 23 w 41"/>
                <a:gd name="T73" fmla="*/ 20 h 146"/>
                <a:gd name="T74" fmla="*/ 17 w 41"/>
                <a:gd name="T75" fmla="*/ 20 h 146"/>
                <a:gd name="T76" fmla="*/ 13 w 41"/>
                <a:gd name="T77" fmla="*/ 20 h 146"/>
                <a:gd name="T78" fmla="*/ 7 w 41"/>
                <a:gd name="T79" fmla="*/ 20 h 146"/>
                <a:gd name="T80" fmla="*/ 33 w 41"/>
                <a:gd name="T81" fmla="*/ 9 h 146"/>
                <a:gd name="T82" fmla="*/ 27 w 41"/>
                <a:gd name="T83" fmla="*/ 9 h 146"/>
                <a:gd name="T84" fmla="*/ 23 w 41"/>
                <a:gd name="T85" fmla="*/ 9 h 146"/>
                <a:gd name="T86" fmla="*/ 17 w 41"/>
                <a:gd name="T87" fmla="*/ 9 h 146"/>
                <a:gd name="T88" fmla="*/ 13 w 41"/>
                <a:gd name="T89" fmla="*/ 9 h 146"/>
                <a:gd name="T90" fmla="*/ 7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1" y="146"/>
                    <a:pt x="31" y="146"/>
                    <a:pt x="31" y="146"/>
                  </a:cubicBezTo>
                  <a:cubicBezTo>
                    <a:pt x="36" y="146"/>
                    <a:pt x="41" y="142"/>
                    <a:pt x="41" y="137"/>
                  </a:cubicBezTo>
                  <a:cubicBezTo>
                    <a:pt x="41" y="9"/>
                    <a:pt x="41" y="9"/>
                    <a:pt x="41" y="9"/>
                  </a:cubicBezTo>
                  <a:cubicBezTo>
                    <a:pt x="41" y="4"/>
                    <a:pt x="36" y="0"/>
                    <a:pt x="31" y="0"/>
                  </a:cubicBezTo>
                  <a:cubicBezTo>
                    <a:pt x="9" y="0"/>
                    <a:pt x="9" y="0"/>
                    <a:pt x="9" y="0"/>
                  </a:cubicBezTo>
                  <a:cubicBezTo>
                    <a:pt x="4" y="0"/>
                    <a:pt x="0" y="4"/>
                    <a:pt x="0" y="9"/>
                  </a:cubicBezTo>
                  <a:close/>
                  <a:moveTo>
                    <a:pt x="28" y="126"/>
                  </a:moveTo>
                  <a:cubicBezTo>
                    <a:pt x="28" y="130"/>
                    <a:pt x="24" y="134"/>
                    <a:pt x="20" y="134"/>
                  </a:cubicBezTo>
                  <a:cubicBezTo>
                    <a:pt x="16" y="134"/>
                    <a:pt x="13" y="130"/>
                    <a:pt x="13" y="126"/>
                  </a:cubicBezTo>
                  <a:cubicBezTo>
                    <a:pt x="13" y="122"/>
                    <a:pt x="16" y="119"/>
                    <a:pt x="20" y="119"/>
                  </a:cubicBezTo>
                  <a:cubicBezTo>
                    <a:pt x="24" y="119"/>
                    <a:pt x="28" y="122"/>
                    <a:pt x="28" y="126"/>
                  </a:cubicBezTo>
                  <a:close/>
                  <a:moveTo>
                    <a:pt x="33" y="74"/>
                  </a:moveTo>
                  <a:cubicBezTo>
                    <a:pt x="33" y="79"/>
                    <a:pt x="33" y="79"/>
                    <a:pt x="33" y="79"/>
                  </a:cubicBezTo>
                  <a:cubicBezTo>
                    <a:pt x="27" y="79"/>
                    <a:pt x="27" y="79"/>
                    <a:pt x="27" y="79"/>
                  </a:cubicBezTo>
                  <a:cubicBezTo>
                    <a:pt x="27" y="74"/>
                    <a:pt x="27" y="74"/>
                    <a:pt x="27"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7" y="79"/>
                    <a:pt x="7" y="79"/>
                    <a:pt x="7" y="79"/>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1"/>
                  </a:moveTo>
                  <a:cubicBezTo>
                    <a:pt x="33" y="36"/>
                    <a:pt x="33" y="36"/>
                    <a:pt x="33" y="36"/>
                  </a:cubicBezTo>
                  <a:cubicBezTo>
                    <a:pt x="27" y="36"/>
                    <a:pt x="27" y="36"/>
                    <a:pt x="27" y="36"/>
                  </a:cubicBezTo>
                  <a:cubicBezTo>
                    <a:pt x="27" y="31"/>
                    <a:pt x="27" y="31"/>
                    <a:pt x="27"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7" y="36"/>
                    <a:pt x="7" y="36"/>
                    <a:pt x="7" y="36"/>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54" name="Freeform 2110"/>
            <p:cNvSpPr>
              <a:spLocks noEditPoints="1"/>
            </p:cNvSpPr>
            <p:nvPr/>
          </p:nvSpPr>
          <p:spPr bwMode="auto">
            <a:xfrm>
              <a:off x="16440150" y="2416175"/>
              <a:ext cx="153988" cy="549275"/>
            </a:xfrm>
            <a:custGeom>
              <a:avLst/>
              <a:gdLst>
                <a:gd name="T0" fmla="*/ 9 w 41"/>
                <a:gd name="T1" fmla="*/ 146 h 146"/>
                <a:gd name="T2" fmla="*/ 41 w 41"/>
                <a:gd name="T3" fmla="*/ 9 h 146"/>
                <a:gd name="T4" fmla="*/ 0 w 41"/>
                <a:gd name="T5" fmla="*/ 9 h 146"/>
                <a:gd name="T6" fmla="*/ 13 w 41"/>
                <a:gd name="T7" fmla="*/ 126 h 146"/>
                <a:gd name="T8" fmla="*/ 33 w 41"/>
                <a:gd name="T9" fmla="*/ 74 h 146"/>
                <a:gd name="T10" fmla="*/ 28 w 41"/>
                <a:gd name="T11" fmla="*/ 74 h 146"/>
                <a:gd name="T12" fmla="*/ 23 w 41"/>
                <a:gd name="T13" fmla="*/ 74 h 146"/>
                <a:gd name="T14" fmla="*/ 17 w 41"/>
                <a:gd name="T15" fmla="*/ 74 h 146"/>
                <a:gd name="T16" fmla="*/ 13 w 41"/>
                <a:gd name="T17" fmla="*/ 74 h 146"/>
                <a:gd name="T18" fmla="*/ 7 w 41"/>
                <a:gd name="T19" fmla="*/ 74 h 146"/>
                <a:gd name="T20" fmla="*/ 33 w 41"/>
                <a:gd name="T21" fmla="*/ 63 h 146"/>
                <a:gd name="T22" fmla="*/ 28 w 41"/>
                <a:gd name="T23" fmla="*/ 63 h 146"/>
                <a:gd name="T24" fmla="*/ 23 w 41"/>
                <a:gd name="T25" fmla="*/ 63 h 146"/>
                <a:gd name="T26" fmla="*/ 17 w 41"/>
                <a:gd name="T27" fmla="*/ 63 h 146"/>
                <a:gd name="T28" fmla="*/ 13 w 41"/>
                <a:gd name="T29" fmla="*/ 63 h 146"/>
                <a:gd name="T30" fmla="*/ 7 w 41"/>
                <a:gd name="T31" fmla="*/ 63 h 146"/>
                <a:gd name="T32" fmla="*/ 33 w 41"/>
                <a:gd name="T33" fmla="*/ 52 h 146"/>
                <a:gd name="T34" fmla="*/ 28 w 41"/>
                <a:gd name="T35" fmla="*/ 52 h 146"/>
                <a:gd name="T36" fmla="*/ 23 w 41"/>
                <a:gd name="T37" fmla="*/ 52 h 146"/>
                <a:gd name="T38" fmla="*/ 17 w 41"/>
                <a:gd name="T39" fmla="*/ 52 h 146"/>
                <a:gd name="T40" fmla="*/ 13 w 41"/>
                <a:gd name="T41" fmla="*/ 52 h 146"/>
                <a:gd name="T42" fmla="*/ 7 w 41"/>
                <a:gd name="T43" fmla="*/ 52 h 146"/>
                <a:gd name="T44" fmla="*/ 33 w 41"/>
                <a:gd name="T45" fmla="*/ 41 h 146"/>
                <a:gd name="T46" fmla="*/ 28 w 41"/>
                <a:gd name="T47" fmla="*/ 41 h 146"/>
                <a:gd name="T48" fmla="*/ 23 w 41"/>
                <a:gd name="T49" fmla="*/ 41 h 146"/>
                <a:gd name="T50" fmla="*/ 17 w 41"/>
                <a:gd name="T51" fmla="*/ 41 h 146"/>
                <a:gd name="T52" fmla="*/ 13 w 41"/>
                <a:gd name="T53" fmla="*/ 41 h 146"/>
                <a:gd name="T54" fmla="*/ 7 w 41"/>
                <a:gd name="T55" fmla="*/ 41 h 146"/>
                <a:gd name="T56" fmla="*/ 33 w 41"/>
                <a:gd name="T57" fmla="*/ 31 h 146"/>
                <a:gd name="T58" fmla="*/ 28 w 41"/>
                <a:gd name="T59" fmla="*/ 31 h 146"/>
                <a:gd name="T60" fmla="*/ 23 w 41"/>
                <a:gd name="T61" fmla="*/ 31 h 146"/>
                <a:gd name="T62" fmla="*/ 17 w 41"/>
                <a:gd name="T63" fmla="*/ 31 h 146"/>
                <a:gd name="T64" fmla="*/ 13 w 41"/>
                <a:gd name="T65" fmla="*/ 31 h 146"/>
                <a:gd name="T66" fmla="*/ 7 w 41"/>
                <a:gd name="T67" fmla="*/ 31 h 146"/>
                <a:gd name="T68" fmla="*/ 33 w 41"/>
                <a:gd name="T69" fmla="*/ 20 h 146"/>
                <a:gd name="T70" fmla="*/ 28 w 41"/>
                <a:gd name="T71" fmla="*/ 20 h 146"/>
                <a:gd name="T72" fmla="*/ 23 w 41"/>
                <a:gd name="T73" fmla="*/ 20 h 146"/>
                <a:gd name="T74" fmla="*/ 17 w 41"/>
                <a:gd name="T75" fmla="*/ 20 h 146"/>
                <a:gd name="T76" fmla="*/ 13 w 41"/>
                <a:gd name="T77" fmla="*/ 20 h 146"/>
                <a:gd name="T78" fmla="*/ 7 w 41"/>
                <a:gd name="T79" fmla="*/ 20 h 146"/>
                <a:gd name="T80" fmla="*/ 33 w 41"/>
                <a:gd name="T81" fmla="*/ 9 h 146"/>
                <a:gd name="T82" fmla="*/ 28 w 41"/>
                <a:gd name="T83" fmla="*/ 9 h 146"/>
                <a:gd name="T84" fmla="*/ 23 w 41"/>
                <a:gd name="T85" fmla="*/ 9 h 146"/>
                <a:gd name="T86" fmla="*/ 17 w 41"/>
                <a:gd name="T87" fmla="*/ 9 h 146"/>
                <a:gd name="T88" fmla="*/ 13 w 41"/>
                <a:gd name="T89" fmla="*/ 9 h 146"/>
                <a:gd name="T90" fmla="*/ 7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1" y="146"/>
                    <a:pt x="31" y="146"/>
                    <a:pt x="31" y="146"/>
                  </a:cubicBezTo>
                  <a:cubicBezTo>
                    <a:pt x="37" y="146"/>
                    <a:pt x="41" y="142"/>
                    <a:pt x="41" y="137"/>
                  </a:cubicBezTo>
                  <a:cubicBezTo>
                    <a:pt x="41" y="9"/>
                    <a:pt x="41" y="9"/>
                    <a:pt x="41" y="9"/>
                  </a:cubicBezTo>
                  <a:cubicBezTo>
                    <a:pt x="41" y="4"/>
                    <a:pt x="37" y="0"/>
                    <a:pt x="31" y="0"/>
                  </a:cubicBezTo>
                  <a:cubicBezTo>
                    <a:pt x="9" y="0"/>
                    <a:pt x="9" y="0"/>
                    <a:pt x="9" y="0"/>
                  </a:cubicBezTo>
                  <a:cubicBezTo>
                    <a:pt x="4" y="0"/>
                    <a:pt x="0" y="4"/>
                    <a:pt x="0" y="9"/>
                  </a:cubicBezTo>
                  <a:close/>
                  <a:moveTo>
                    <a:pt x="28" y="126"/>
                  </a:moveTo>
                  <a:cubicBezTo>
                    <a:pt x="28" y="130"/>
                    <a:pt x="25" y="134"/>
                    <a:pt x="20" y="134"/>
                  </a:cubicBezTo>
                  <a:cubicBezTo>
                    <a:pt x="16" y="134"/>
                    <a:pt x="13" y="130"/>
                    <a:pt x="13" y="126"/>
                  </a:cubicBezTo>
                  <a:cubicBezTo>
                    <a:pt x="13" y="122"/>
                    <a:pt x="16" y="119"/>
                    <a:pt x="20" y="119"/>
                  </a:cubicBezTo>
                  <a:cubicBezTo>
                    <a:pt x="25" y="119"/>
                    <a:pt x="28" y="122"/>
                    <a:pt x="28" y="126"/>
                  </a:cubicBezTo>
                  <a:close/>
                  <a:moveTo>
                    <a:pt x="33" y="74"/>
                  </a:moveTo>
                  <a:cubicBezTo>
                    <a:pt x="33" y="79"/>
                    <a:pt x="33" y="79"/>
                    <a:pt x="33" y="79"/>
                  </a:cubicBezTo>
                  <a:cubicBezTo>
                    <a:pt x="28" y="79"/>
                    <a:pt x="28" y="79"/>
                    <a:pt x="28" y="79"/>
                  </a:cubicBezTo>
                  <a:cubicBezTo>
                    <a:pt x="28" y="74"/>
                    <a:pt x="28" y="74"/>
                    <a:pt x="28"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7" y="79"/>
                    <a:pt x="7" y="79"/>
                    <a:pt x="7" y="79"/>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8" y="69"/>
                    <a:pt x="28" y="69"/>
                    <a:pt x="28" y="69"/>
                  </a:cubicBezTo>
                  <a:cubicBezTo>
                    <a:pt x="28" y="63"/>
                    <a:pt x="28" y="63"/>
                    <a:pt x="28"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8" y="58"/>
                    <a:pt x="28" y="58"/>
                    <a:pt x="28" y="58"/>
                  </a:cubicBezTo>
                  <a:cubicBezTo>
                    <a:pt x="28" y="52"/>
                    <a:pt x="28" y="52"/>
                    <a:pt x="28"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8" y="47"/>
                    <a:pt x="28" y="47"/>
                    <a:pt x="28" y="47"/>
                  </a:cubicBezTo>
                  <a:cubicBezTo>
                    <a:pt x="28" y="41"/>
                    <a:pt x="28" y="41"/>
                    <a:pt x="28"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1"/>
                  </a:moveTo>
                  <a:cubicBezTo>
                    <a:pt x="33" y="36"/>
                    <a:pt x="33" y="36"/>
                    <a:pt x="33" y="36"/>
                  </a:cubicBezTo>
                  <a:cubicBezTo>
                    <a:pt x="28" y="36"/>
                    <a:pt x="28" y="36"/>
                    <a:pt x="28" y="36"/>
                  </a:cubicBezTo>
                  <a:cubicBezTo>
                    <a:pt x="28" y="31"/>
                    <a:pt x="28" y="31"/>
                    <a:pt x="28"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7" y="36"/>
                    <a:pt x="7" y="36"/>
                    <a:pt x="7" y="36"/>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8" y="26"/>
                    <a:pt x="28" y="26"/>
                    <a:pt x="28" y="26"/>
                  </a:cubicBezTo>
                  <a:cubicBezTo>
                    <a:pt x="28" y="20"/>
                    <a:pt x="28" y="20"/>
                    <a:pt x="28"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8" y="15"/>
                    <a:pt x="28" y="15"/>
                    <a:pt x="28" y="15"/>
                  </a:cubicBezTo>
                  <a:cubicBezTo>
                    <a:pt x="28" y="9"/>
                    <a:pt x="28" y="9"/>
                    <a:pt x="28"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55" name="Freeform 2111"/>
            <p:cNvSpPr>
              <a:spLocks noEditPoints="1"/>
            </p:cNvSpPr>
            <p:nvPr/>
          </p:nvSpPr>
          <p:spPr bwMode="auto">
            <a:xfrm>
              <a:off x="16657638" y="2416175"/>
              <a:ext cx="153988" cy="549275"/>
            </a:xfrm>
            <a:custGeom>
              <a:avLst/>
              <a:gdLst>
                <a:gd name="T0" fmla="*/ 10 w 41"/>
                <a:gd name="T1" fmla="*/ 146 h 146"/>
                <a:gd name="T2" fmla="*/ 41 w 41"/>
                <a:gd name="T3" fmla="*/ 9 h 146"/>
                <a:gd name="T4" fmla="*/ 0 w 41"/>
                <a:gd name="T5" fmla="*/ 9 h 146"/>
                <a:gd name="T6" fmla="*/ 13 w 41"/>
                <a:gd name="T7" fmla="*/ 126 h 146"/>
                <a:gd name="T8" fmla="*/ 34 w 41"/>
                <a:gd name="T9" fmla="*/ 74 h 146"/>
                <a:gd name="T10" fmla="*/ 28 w 41"/>
                <a:gd name="T11" fmla="*/ 74 h 146"/>
                <a:gd name="T12" fmla="*/ 23 w 41"/>
                <a:gd name="T13" fmla="*/ 74 h 146"/>
                <a:gd name="T14" fmla="*/ 18 w 41"/>
                <a:gd name="T15" fmla="*/ 74 h 146"/>
                <a:gd name="T16" fmla="*/ 14 w 41"/>
                <a:gd name="T17" fmla="*/ 74 h 146"/>
                <a:gd name="T18" fmla="*/ 8 w 41"/>
                <a:gd name="T19" fmla="*/ 74 h 146"/>
                <a:gd name="T20" fmla="*/ 34 w 41"/>
                <a:gd name="T21" fmla="*/ 63 h 146"/>
                <a:gd name="T22" fmla="*/ 28 w 41"/>
                <a:gd name="T23" fmla="*/ 63 h 146"/>
                <a:gd name="T24" fmla="*/ 23 w 41"/>
                <a:gd name="T25" fmla="*/ 63 h 146"/>
                <a:gd name="T26" fmla="*/ 18 w 41"/>
                <a:gd name="T27" fmla="*/ 63 h 146"/>
                <a:gd name="T28" fmla="*/ 14 w 41"/>
                <a:gd name="T29" fmla="*/ 63 h 146"/>
                <a:gd name="T30" fmla="*/ 8 w 41"/>
                <a:gd name="T31" fmla="*/ 63 h 146"/>
                <a:gd name="T32" fmla="*/ 34 w 41"/>
                <a:gd name="T33" fmla="*/ 52 h 146"/>
                <a:gd name="T34" fmla="*/ 28 w 41"/>
                <a:gd name="T35" fmla="*/ 52 h 146"/>
                <a:gd name="T36" fmla="*/ 23 w 41"/>
                <a:gd name="T37" fmla="*/ 52 h 146"/>
                <a:gd name="T38" fmla="*/ 18 w 41"/>
                <a:gd name="T39" fmla="*/ 52 h 146"/>
                <a:gd name="T40" fmla="*/ 14 w 41"/>
                <a:gd name="T41" fmla="*/ 52 h 146"/>
                <a:gd name="T42" fmla="*/ 8 w 41"/>
                <a:gd name="T43" fmla="*/ 52 h 146"/>
                <a:gd name="T44" fmla="*/ 34 w 41"/>
                <a:gd name="T45" fmla="*/ 41 h 146"/>
                <a:gd name="T46" fmla="*/ 28 w 41"/>
                <a:gd name="T47" fmla="*/ 41 h 146"/>
                <a:gd name="T48" fmla="*/ 23 w 41"/>
                <a:gd name="T49" fmla="*/ 41 h 146"/>
                <a:gd name="T50" fmla="*/ 18 w 41"/>
                <a:gd name="T51" fmla="*/ 41 h 146"/>
                <a:gd name="T52" fmla="*/ 14 w 41"/>
                <a:gd name="T53" fmla="*/ 41 h 146"/>
                <a:gd name="T54" fmla="*/ 8 w 41"/>
                <a:gd name="T55" fmla="*/ 41 h 146"/>
                <a:gd name="T56" fmla="*/ 34 w 41"/>
                <a:gd name="T57" fmla="*/ 31 h 146"/>
                <a:gd name="T58" fmla="*/ 28 w 41"/>
                <a:gd name="T59" fmla="*/ 31 h 146"/>
                <a:gd name="T60" fmla="*/ 23 w 41"/>
                <a:gd name="T61" fmla="*/ 31 h 146"/>
                <a:gd name="T62" fmla="*/ 18 w 41"/>
                <a:gd name="T63" fmla="*/ 31 h 146"/>
                <a:gd name="T64" fmla="*/ 14 w 41"/>
                <a:gd name="T65" fmla="*/ 31 h 146"/>
                <a:gd name="T66" fmla="*/ 8 w 41"/>
                <a:gd name="T67" fmla="*/ 31 h 146"/>
                <a:gd name="T68" fmla="*/ 34 w 41"/>
                <a:gd name="T69" fmla="*/ 20 h 146"/>
                <a:gd name="T70" fmla="*/ 28 w 41"/>
                <a:gd name="T71" fmla="*/ 20 h 146"/>
                <a:gd name="T72" fmla="*/ 23 w 41"/>
                <a:gd name="T73" fmla="*/ 20 h 146"/>
                <a:gd name="T74" fmla="*/ 18 w 41"/>
                <a:gd name="T75" fmla="*/ 20 h 146"/>
                <a:gd name="T76" fmla="*/ 14 w 41"/>
                <a:gd name="T77" fmla="*/ 20 h 146"/>
                <a:gd name="T78" fmla="*/ 8 w 41"/>
                <a:gd name="T79" fmla="*/ 20 h 146"/>
                <a:gd name="T80" fmla="*/ 34 w 41"/>
                <a:gd name="T81" fmla="*/ 9 h 146"/>
                <a:gd name="T82" fmla="*/ 28 w 41"/>
                <a:gd name="T83" fmla="*/ 9 h 146"/>
                <a:gd name="T84" fmla="*/ 23 w 41"/>
                <a:gd name="T85" fmla="*/ 9 h 146"/>
                <a:gd name="T86" fmla="*/ 18 w 41"/>
                <a:gd name="T87" fmla="*/ 9 h 146"/>
                <a:gd name="T88" fmla="*/ 14 w 41"/>
                <a:gd name="T89" fmla="*/ 9 h 146"/>
                <a:gd name="T90" fmla="*/ 8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10" y="146"/>
                  </a:cubicBezTo>
                  <a:cubicBezTo>
                    <a:pt x="32" y="146"/>
                    <a:pt x="32" y="146"/>
                    <a:pt x="32" y="146"/>
                  </a:cubicBezTo>
                  <a:cubicBezTo>
                    <a:pt x="37" y="146"/>
                    <a:pt x="41" y="142"/>
                    <a:pt x="41" y="137"/>
                  </a:cubicBezTo>
                  <a:cubicBezTo>
                    <a:pt x="41" y="9"/>
                    <a:pt x="41" y="9"/>
                    <a:pt x="41" y="9"/>
                  </a:cubicBezTo>
                  <a:cubicBezTo>
                    <a:pt x="41" y="4"/>
                    <a:pt x="37" y="0"/>
                    <a:pt x="32" y="0"/>
                  </a:cubicBezTo>
                  <a:cubicBezTo>
                    <a:pt x="10" y="0"/>
                    <a:pt x="10" y="0"/>
                    <a:pt x="10" y="0"/>
                  </a:cubicBezTo>
                  <a:cubicBezTo>
                    <a:pt x="4" y="0"/>
                    <a:pt x="0" y="4"/>
                    <a:pt x="0" y="9"/>
                  </a:cubicBezTo>
                  <a:close/>
                  <a:moveTo>
                    <a:pt x="28" y="126"/>
                  </a:moveTo>
                  <a:cubicBezTo>
                    <a:pt x="28" y="130"/>
                    <a:pt x="25" y="134"/>
                    <a:pt x="21" y="134"/>
                  </a:cubicBezTo>
                  <a:cubicBezTo>
                    <a:pt x="17" y="134"/>
                    <a:pt x="13" y="130"/>
                    <a:pt x="13" y="126"/>
                  </a:cubicBezTo>
                  <a:cubicBezTo>
                    <a:pt x="13" y="122"/>
                    <a:pt x="17" y="119"/>
                    <a:pt x="21" y="119"/>
                  </a:cubicBezTo>
                  <a:cubicBezTo>
                    <a:pt x="25" y="119"/>
                    <a:pt x="28" y="122"/>
                    <a:pt x="28" y="126"/>
                  </a:cubicBezTo>
                  <a:close/>
                  <a:moveTo>
                    <a:pt x="34" y="74"/>
                  </a:moveTo>
                  <a:cubicBezTo>
                    <a:pt x="34" y="79"/>
                    <a:pt x="34" y="79"/>
                    <a:pt x="34" y="79"/>
                  </a:cubicBezTo>
                  <a:cubicBezTo>
                    <a:pt x="28" y="79"/>
                    <a:pt x="28" y="79"/>
                    <a:pt x="28" y="79"/>
                  </a:cubicBezTo>
                  <a:cubicBezTo>
                    <a:pt x="28" y="74"/>
                    <a:pt x="28" y="74"/>
                    <a:pt x="28" y="74"/>
                  </a:cubicBezTo>
                  <a:cubicBezTo>
                    <a:pt x="34" y="74"/>
                    <a:pt x="34" y="74"/>
                    <a:pt x="34" y="74"/>
                  </a:cubicBezTo>
                  <a:cubicBezTo>
                    <a:pt x="34" y="74"/>
                    <a:pt x="34" y="74"/>
                    <a:pt x="34" y="74"/>
                  </a:cubicBezTo>
                  <a:close/>
                  <a:moveTo>
                    <a:pt x="23" y="74"/>
                  </a:moveTo>
                  <a:cubicBezTo>
                    <a:pt x="23" y="79"/>
                    <a:pt x="23" y="79"/>
                    <a:pt x="23" y="79"/>
                  </a:cubicBezTo>
                  <a:cubicBezTo>
                    <a:pt x="18" y="79"/>
                    <a:pt x="18" y="79"/>
                    <a:pt x="18" y="79"/>
                  </a:cubicBezTo>
                  <a:cubicBezTo>
                    <a:pt x="18" y="74"/>
                    <a:pt x="18" y="74"/>
                    <a:pt x="18" y="74"/>
                  </a:cubicBezTo>
                  <a:cubicBezTo>
                    <a:pt x="23" y="74"/>
                    <a:pt x="23" y="74"/>
                    <a:pt x="23" y="74"/>
                  </a:cubicBezTo>
                  <a:cubicBezTo>
                    <a:pt x="23" y="74"/>
                    <a:pt x="23" y="74"/>
                    <a:pt x="23" y="74"/>
                  </a:cubicBezTo>
                  <a:close/>
                  <a:moveTo>
                    <a:pt x="14" y="74"/>
                  </a:moveTo>
                  <a:cubicBezTo>
                    <a:pt x="14" y="79"/>
                    <a:pt x="14" y="79"/>
                    <a:pt x="14" y="79"/>
                  </a:cubicBezTo>
                  <a:cubicBezTo>
                    <a:pt x="8" y="79"/>
                    <a:pt x="8" y="79"/>
                    <a:pt x="8" y="79"/>
                  </a:cubicBezTo>
                  <a:cubicBezTo>
                    <a:pt x="8" y="74"/>
                    <a:pt x="8" y="74"/>
                    <a:pt x="8" y="74"/>
                  </a:cubicBezTo>
                  <a:cubicBezTo>
                    <a:pt x="14" y="74"/>
                    <a:pt x="14" y="74"/>
                    <a:pt x="14" y="74"/>
                  </a:cubicBezTo>
                  <a:cubicBezTo>
                    <a:pt x="14" y="74"/>
                    <a:pt x="14" y="74"/>
                    <a:pt x="14" y="74"/>
                  </a:cubicBezTo>
                  <a:close/>
                  <a:moveTo>
                    <a:pt x="34" y="63"/>
                  </a:moveTo>
                  <a:cubicBezTo>
                    <a:pt x="34" y="69"/>
                    <a:pt x="34" y="69"/>
                    <a:pt x="34" y="69"/>
                  </a:cubicBezTo>
                  <a:cubicBezTo>
                    <a:pt x="28" y="69"/>
                    <a:pt x="28" y="69"/>
                    <a:pt x="28" y="69"/>
                  </a:cubicBezTo>
                  <a:cubicBezTo>
                    <a:pt x="28" y="63"/>
                    <a:pt x="28" y="63"/>
                    <a:pt x="28" y="63"/>
                  </a:cubicBezTo>
                  <a:cubicBezTo>
                    <a:pt x="34" y="63"/>
                    <a:pt x="34" y="63"/>
                    <a:pt x="34" y="63"/>
                  </a:cubicBezTo>
                  <a:cubicBezTo>
                    <a:pt x="34" y="63"/>
                    <a:pt x="34" y="63"/>
                    <a:pt x="34" y="63"/>
                  </a:cubicBezTo>
                  <a:close/>
                  <a:moveTo>
                    <a:pt x="23" y="63"/>
                  </a:moveTo>
                  <a:cubicBezTo>
                    <a:pt x="23" y="69"/>
                    <a:pt x="23" y="69"/>
                    <a:pt x="23" y="69"/>
                  </a:cubicBezTo>
                  <a:cubicBezTo>
                    <a:pt x="18" y="69"/>
                    <a:pt x="18" y="69"/>
                    <a:pt x="18" y="69"/>
                  </a:cubicBezTo>
                  <a:cubicBezTo>
                    <a:pt x="18" y="63"/>
                    <a:pt x="18" y="63"/>
                    <a:pt x="18" y="63"/>
                  </a:cubicBezTo>
                  <a:cubicBezTo>
                    <a:pt x="23" y="63"/>
                    <a:pt x="23" y="63"/>
                    <a:pt x="23" y="63"/>
                  </a:cubicBezTo>
                  <a:cubicBezTo>
                    <a:pt x="23" y="63"/>
                    <a:pt x="23" y="63"/>
                    <a:pt x="23" y="63"/>
                  </a:cubicBezTo>
                  <a:close/>
                  <a:moveTo>
                    <a:pt x="14" y="63"/>
                  </a:moveTo>
                  <a:cubicBezTo>
                    <a:pt x="14" y="69"/>
                    <a:pt x="14" y="69"/>
                    <a:pt x="14" y="69"/>
                  </a:cubicBezTo>
                  <a:cubicBezTo>
                    <a:pt x="8" y="69"/>
                    <a:pt x="8" y="69"/>
                    <a:pt x="8" y="69"/>
                  </a:cubicBezTo>
                  <a:cubicBezTo>
                    <a:pt x="8" y="63"/>
                    <a:pt x="8" y="63"/>
                    <a:pt x="8" y="63"/>
                  </a:cubicBezTo>
                  <a:cubicBezTo>
                    <a:pt x="14" y="63"/>
                    <a:pt x="14" y="63"/>
                    <a:pt x="14" y="63"/>
                  </a:cubicBezTo>
                  <a:cubicBezTo>
                    <a:pt x="14" y="63"/>
                    <a:pt x="14" y="63"/>
                    <a:pt x="14" y="63"/>
                  </a:cubicBezTo>
                  <a:close/>
                  <a:moveTo>
                    <a:pt x="34" y="52"/>
                  </a:moveTo>
                  <a:cubicBezTo>
                    <a:pt x="34" y="58"/>
                    <a:pt x="34" y="58"/>
                    <a:pt x="34" y="58"/>
                  </a:cubicBezTo>
                  <a:cubicBezTo>
                    <a:pt x="28" y="58"/>
                    <a:pt x="28" y="58"/>
                    <a:pt x="28" y="58"/>
                  </a:cubicBezTo>
                  <a:cubicBezTo>
                    <a:pt x="28" y="52"/>
                    <a:pt x="28" y="52"/>
                    <a:pt x="28" y="52"/>
                  </a:cubicBezTo>
                  <a:cubicBezTo>
                    <a:pt x="34" y="52"/>
                    <a:pt x="34" y="52"/>
                    <a:pt x="34" y="52"/>
                  </a:cubicBezTo>
                  <a:cubicBezTo>
                    <a:pt x="34" y="52"/>
                    <a:pt x="34" y="52"/>
                    <a:pt x="34" y="52"/>
                  </a:cubicBezTo>
                  <a:close/>
                  <a:moveTo>
                    <a:pt x="23" y="52"/>
                  </a:moveTo>
                  <a:cubicBezTo>
                    <a:pt x="23" y="58"/>
                    <a:pt x="23" y="58"/>
                    <a:pt x="23" y="58"/>
                  </a:cubicBezTo>
                  <a:cubicBezTo>
                    <a:pt x="18" y="58"/>
                    <a:pt x="18" y="58"/>
                    <a:pt x="18" y="58"/>
                  </a:cubicBezTo>
                  <a:cubicBezTo>
                    <a:pt x="18" y="52"/>
                    <a:pt x="18" y="52"/>
                    <a:pt x="18" y="52"/>
                  </a:cubicBezTo>
                  <a:cubicBezTo>
                    <a:pt x="23" y="52"/>
                    <a:pt x="23" y="52"/>
                    <a:pt x="23" y="52"/>
                  </a:cubicBezTo>
                  <a:cubicBezTo>
                    <a:pt x="23" y="52"/>
                    <a:pt x="23" y="52"/>
                    <a:pt x="23" y="52"/>
                  </a:cubicBezTo>
                  <a:close/>
                  <a:moveTo>
                    <a:pt x="14" y="52"/>
                  </a:moveTo>
                  <a:cubicBezTo>
                    <a:pt x="14" y="58"/>
                    <a:pt x="14" y="58"/>
                    <a:pt x="14" y="58"/>
                  </a:cubicBezTo>
                  <a:cubicBezTo>
                    <a:pt x="8" y="58"/>
                    <a:pt x="8" y="58"/>
                    <a:pt x="8" y="58"/>
                  </a:cubicBezTo>
                  <a:cubicBezTo>
                    <a:pt x="8" y="52"/>
                    <a:pt x="8" y="52"/>
                    <a:pt x="8" y="52"/>
                  </a:cubicBezTo>
                  <a:cubicBezTo>
                    <a:pt x="14" y="52"/>
                    <a:pt x="14" y="52"/>
                    <a:pt x="14" y="52"/>
                  </a:cubicBezTo>
                  <a:cubicBezTo>
                    <a:pt x="14" y="52"/>
                    <a:pt x="14" y="52"/>
                    <a:pt x="14" y="52"/>
                  </a:cubicBezTo>
                  <a:close/>
                  <a:moveTo>
                    <a:pt x="34" y="41"/>
                  </a:moveTo>
                  <a:cubicBezTo>
                    <a:pt x="34" y="47"/>
                    <a:pt x="34" y="47"/>
                    <a:pt x="34" y="47"/>
                  </a:cubicBezTo>
                  <a:cubicBezTo>
                    <a:pt x="28" y="47"/>
                    <a:pt x="28" y="47"/>
                    <a:pt x="28" y="47"/>
                  </a:cubicBezTo>
                  <a:cubicBezTo>
                    <a:pt x="28" y="41"/>
                    <a:pt x="28" y="41"/>
                    <a:pt x="28" y="41"/>
                  </a:cubicBezTo>
                  <a:cubicBezTo>
                    <a:pt x="34" y="41"/>
                    <a:pt x="34" y="41"/>
                    <a:pt x="34" y="41"/>
                  </a:cubicBezTo>
                  <a:cubicBezTo>
                    <a:pt x="34" y="41"/>
                    <a:pt x="34" y="41"/>
                    <a:pt x="34" y="41"/>
                  </a:cubicBezTo>
                  <a:close/>
                  <a:moveTo>
                    <a:pt x="23" y="41"/>
                  </a:moveTo>
                  <a:cubicBezTo>
                    <a:pt x="23" y="47"/>
                    <a:pt x="23" y="47"/>
                    <a:pt x="23" y="47"/>
                  </a:cubicBezTo>
                  <a:cubicBezTo>
                    <a:pt x="18" y="47"/>
                    <a:pt x="18" y="47"/>
                    <a:pt x="18" y="47"/>
                  </a:cubicBezTo>
                  <a:cubicBezTo>
                    <a:pt x="18" y="41"/>
                    <a:pt x="18" y="41"/>
                    <a:pt x="18" y="41"/>
                  </a:cubicBezTo>
                  <a:cubicBezTo>
                    <a:pt x="23" y="41"/>
                    <a:pt x="23" y="41"/>
                    <a:pt x="23" y="41"/>
                  </a:cubicBezTo>
                  <a:cubicBezTo>
                    <a:pt x="23" y="41"/>
                    <a:pt x="23" y="41"/>
                    <a:pt x="23" y="41"/>
                  </a:cubicBezTo>
                  <a:close/>
                  <a:moveTo>
                    <a:pt x="14" y="41"/>
                  </a:moveTo>
                  <a:cubicBezTo>
                    <a:pt x="14" y="47"/>
                    <a:pt x="14" y="47"/>
                    <a:pt x="14" y="47"/>
                  </a:cubicBezTo>
                  <a:cubicBezTo>
                    <a:pt x="8" y="47"/>
                    <a:pt x="8" y="47"/>
                    <a:pt x="8" y="47"/>
                  </a:cubicBezTo>
                  <a:cubicBezTo>
                    <a:pt x="8" y="41"/>
                    <a:pt x="8" y="41"/>
                    <a:pt x="8" y="41"/>
                  </a:cubicBezTo>
                  <a:cubicBezTo>
                    <a:pt x="14" y="41"/>
                    <a:pt x="14" y="41"/>
                    <a:pt x="14" y="41"/>
                  </a:cubicBezTo>
                  <a:cubicBezTo>
                    <a:pt x="14" y="41"/>
                    <a:pt x="14" y="41"/>
                    <a:pt x="14" y="41"/>
                  </a:cubicBezTo>
                  <a:close/>
                  <a:moveTo>
                    <a:pt x="34" y="31"/>
                  </a:moveTo>
                  <a:cubicBezTo>
                    <a:pt x="34" y="36"/>
                    <a:pt x="34" y="36"/>
                    <a:pt x="34" y="36"/>
                  </a:cubicBezTo>
                  <a:cubicBezTo>
                    <a:pt x="28" y="36"/>
                    <a:pt x="28" y="36"/>
                    <a:pt x="28" y="36"/>
                  </a:cubicBezTo>
                  <a:cubicBezTo>
                    <a:pt x="28" y="31"/>
                    <a:pt x="28" y="31"/>
                    <a:pt x="28" y="31"/>
                  </a:cubicBezTo>
                  <a:cubicBezTo>
                    <a:pt x="34" y="31"/>
                    <a:pt x="34" y="31"/>
                    <a:pt x="34" y="31"/>
                  </a:cubicBezTo>
                  <a:cubicBezTo>
                    <a:pt x="34" y="31"/>
                    <a:pt x="34" y="31"/>
                    <a:pt x="34" y="31"/>
                  </a:cubicBezTo>
                  <a:close/>
                  <a:moveTo>
                    <a:pt x="23" y="31"/>
                  </a:moveTo>
                  <a:cubicBezTo>
                    <a:pt x="23" y="36"/>
                    <a:pt x="23" y="36"/>
                    <a:pt x="23" y="36"/>
                  </a:cubicBezTo>
                  <a:cubicBezTo>
                    <a:pt x="18" y="36"/>
                    <a:pt x="18" y="36"/>
                    <a:pt x="18" y="36"/>
                  </a:cubicBezTo>
                  <a:cubicBezTo>
                    <a:pt x="18" y="31"/>
                    <a:pt x="18" y="31"/>
                    <a:pt x="18" y="31"/>
                  </a:cubicBezTo>
                  <a:cubicBezTo>
                    <a:pt x="23" y="31"/>
                    <a:pt x="23" y="31"/>
                    <a:pt x="23" y="31"/>
                  </a:cubicBezTo>
                  <a:cubicBezTo>
                    <a:pt x="23" y="31"/>
                    <a:pt x="23" y="31"/>
                    <a:pt x="23" y="31"/>
                  </a:cubicBezTo>
                  <a:close/>
                  <a:moveTo>
                    <a:pt x="14" y="31"/>
                  </a:moveTo>
                  <a:cubicBezTo>
                    <a:pt x="14" y="36"/>
                    <a:pt x="14" y="36"/>
                    <a:pt x="14" y="36"/>
                  </a:cubicBezTo>
                  <a:cubicBezTo>
                    <a:pt x="8" y="36"/>
                    <a:pt x="8" y="36"/>
                    <a:pt x="8" y="36"/>
                  </a:cubicBezTo>
                  <a:cubicBezTo>
                    <a:pt x="8" y="31"/>
                    <a:pt x="8" y="31"/>
                    <a:pt x="8" y="31"/>
                  </a:cubicBezTo>
                  <a:cubicBezTo>
                    <a:pt x="14" y="31"/>
                    <a:pt x="14" y="31"/>
                    <a:pt x="14" y="31"/>
                  </a:cubicBezTo>
                  <a:cubicBezTo>
                    <a:pt x="14" y="31"/>
                    <a:pt x="14" y="31"/>
                    <a:pt x="14" y="31"/>
                  </a:cubicBezTo>
                  <a:close/>
                  <a:moveTo>
                    <a:pt x="34" y="20"/>
                  </a:moveTo>
                  <a:cubicBezTo>
                    <a:pt x="34" y="26"/>
                    <a:pt x="34" y="26"/>
                    <a:pt x="34" y="26"/>
                  </a:cubicBezTo>
                  <a:cubicBezTo>
                    <a:pt x="28" y="26"/>
                    <a:pt x="28" y="26"/>
                    <a:pt x="28" y="26"/>
                  </a:cubicBezTo>
                  <a:cubicBezTo>
                    <a:pt x="28" y="20"/>
                    <a:pt x="28" y="20"/>
                    <a:pt x="28" y="20"/>
                  </a:cubicBezTo>
                  <a:cubicBezTo>
                    <a:pt x="34" y="20"/>
                    <a:pt x="34" y="20"/>
                    <a:pt x="34" y="20"/>
                  </a:cubicBezTo>
                  <a:cubicBezTo>
                    <a:pt x="34" y="20"/>
                    <a:pt x="34" y="20"/>
                    <a:pt x="34" y="20"/>
                  </a:cubicBezTo>
                  <a:close/>
                  <a:moveTo>
                    <a:pt x="23" y="20"/>
                  </a:moveTo>
                  <a:cubicBezTo>
                    <a:pt x="23" y="26"/>
                    <a:pt x="23" y="26"/>
                    <a:pt x="23" y="26"/>
                  </a:cubicBezTo>
                  <a:cubicBezTo>
                    <a:pt x="18" y="26"/>
                    <a:pt x="18" y="26"/>
                    <a:pt x="18" y="26"/>
                  </a:cubicBezTo>
                  <a:cubicBezTo>
                    <a:pt x="18" y="20"/>
                    <a:pt x="18" y="20"/>
                    <a:pt x="18" y="20"/>
                  </a:cubicBezTo>
                  <a:cubicBezTo>
                    <a:pt x="23" y="20"/>
                    <a:pt x="23" y="20"/>
                    <a:pt x="23" y="20"/>
                  </a:cubicBezTo>
                  <a:cubicBezTo>
                    <a:pt x="23" y="20"/>
                    <a:pt x="23" y="20"/>
                    <a:pt x="23" y="20"/>
                  </a:cubicBezTo>
                  <a:close/>
                  <a:moveTo>
                    <a:pt x="14" y="20"/>
                  </a:moveTo>
                  <a:cubicBezTo>
                    <a:pt x="14" y="26"/>
                    <a:pt x="14" y="26"/>
                    <a:pt x="14" y="26"/>
                  </a:cubicBezTo>
                  <a:cubicBezTo>
                    <a:pt x="8" y="26"/>
                    <a:pt x="8" y="26"/>
                    <a:pt x="8" y="26"/>
                  </a:cubicBezTo>
                  <a:cubicBezTo>
                    <a:pt x="8" y="20"/>
                    <a:pt x="8" y="20"/>
                    <a:pt x="8" y="20"/>
                  </a:cubicBezTo>
                  <a:cubicBezTo>
                    <a:pt x="14" y="20"/>
                    <a:pt x="14" y="20"/>
                    <a:pt x="14" y="20"/>
                  </a:cubicBezTo>
                  <a:cubicBezTo>
                    <a:pt x="14" y="20"/>
                    <a:pt x="14" y="20"/>
                    <a:pt x="14" y="20"/>
                  </a:cubicBezTo>
                  <a:close/>
                  <a:moveTo>
                    <a:pt x="34" y="9"/>
                  </a:moveTo>
                  <a:cubicBezTo>
                    <a:pt x="34" y="15"/>
                    <a:pt x="34" y="15"/>
                    <a:pt x="34" y="15"/>
                  </a:cubicBezTo>
                  <a:cubicBezTo>
                    <a:pt x="28" y="15"/>
                    <a:pt x="28" y="15"/>
                    <a:pt x="28" y="15"/>
                  </a:cubicBezTo>
                  <a:cubicBezTo>
                    <a:pt x="28" y="9"/>
                    <a:pt x="28" y="9"/>
                    <a:pt x="28" y="9"/>
                  </a:cubicBezTo>
                  <a:cubicBezTo>
                    <a:pt x="34" y="9"/>
                    <a:pt x="34" y="9"/>
                    <a:pt x="34" y="9"/>
                  </a:cubicBezTo>
                  <a:cubicBezTo>
                    <a:pt x="34" y="9"/>
                    <a:pt x="34" y="9"/>
                    <a:pt x="34" y="9"/>
                  </a:cubicBezTo>
                  <a:close/>
                  <a:moveTo>
                    <a:pt x="23" y="9"/>
                  </a:moveTo>
                  <a:cubicBezTo>
                    <a:pt x="23" y="15"/>
                    <a:pt x="23" y="15"/>
                    <a:pt x="23" y="15"/>
                  </a:cubicBezTo>
                  <a:cubicBezTo>
                    <a:pt x="18" y="15"/>
                    <a:pt x="18" y="15"/>
                    <a:pt x="18" y="15"/>
                  </a:cubicBezTo>
                  <a:cubicBezTo>
                    <a:pt x="18" y="9"/>
                    <a:pt x="18" y="9"/>
                    <a:pt x="18" y="9"/>
                  </a:cubicBezTo>
                  <a:cubicBezTo>
                    <a:pt x="23" y="9"/>
                    <a:pt x="23" y="9"/>
                    <a:pt x="23" y="9"/>
                  </a:cubicBezTo>
                  <a:cubicBezTo>
                    <a:pt x="23" y="9"/>
                    <a:pt x="23" y="9"/>
                    <a:pt x="23" y="9"/>
                  </a:cubicBezTo>
                  <a:close/>
                  <a:moveTo>
                    <a:pt x="14" y="9"/>
                  </a:moveTo>
                  <a:cubicBezTo>
                    <a:pt x="14" y="15"/>
                    <a:pt x="14" y="15"/>
                    <a:pt x="14" y="15"/>
                  </a:cubicBezTo>
                  <a:cubicBezTo>
                    <a:pt x="8" y="15"/>
                    <a:pt x="8" y="15"/>
                    <a:pt x="8" y="15"/>
                  </a:cubicBezTo>
                  <a:cubicBezTo>
                    <a:pt x="8" y="9"/>
                    <a:pt x="8" y="9"/>
                    <a:pt x="8" y="9"/>
                  </a:cubicBezTo>
                  <a:cubicBezTo>
                    <a:pt x="14" y="9"/>
                    <a:pt x="14" y="9"/>
                    <a:pt x="14" y="9"/>
                  </a:cubicBezTo>
                  <a:cubicBezTo>
                    <a:pt x="14" y="9"/>
                    <a:pt x="14" y="9"/>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56" name="Freeform 2112"/>
            <p:cNvSpPr>
              <a:spLocks noEditPoints="1"/>
            </p:cNvSpPr>
            <p:nvPr/>
          </p:nvSpPr>
          <p:spPr bwMode="auto">
            <a:xfrm>
              <a:off x="16879888" y="2416175"/>
              <a:ext cx="149225" cy="549275"/>
            </a:xfrm>
            <a:custGeom>
              <a:avLst/>
              <a:gdLst>
                <a:gd name="T0" fmla="*/ 9 w 40"/>
                <a:gd name="T1" fmla="*/ 146 h 146"/>
                <a:gd name="T2" fmla="*/ 40 w 40"/>
                <a:gd name="T3" fmla="*/ 9 h 146"/>
                <a:gd name="T4" fmla="*/ 0 w 40"/>
                <a:gd name="T5" fmla="*/ 9 h 146"/>
                <a:gd name="T6" fmla="*/ 13 w 40"/>
                <a:gd name="T7" fmla="*/ 126 h 146"/>
                <a:gd name="T8" fmla="*/ 33 w 40"/>
                <a:gd name="T9" fmla="*/ 74 h 146"/>
                <a:gd name="T10" fmla="*/ 27 w 40"/>
                <a:gd name="T11" fmla="*/ 74 h 146"/>
                <a:gd name="T12" fmla="*/ 23 w 40"/>
                <a:gd name="T13" fmla="*/ 74 h 146"/>
                <a:gd name="T14" fmla="*/ 17 w 40"/>
                <a:gd name="T15" fmla="*/ 74 h 146"/>
                <a:gd name="T16" fmla="*/ 13 w 40"/>
                <a:gd name="T17" fmla="*/ 74 h 146"/>
                <a:gd name="T18" fmla="*/ 7 w 40"/>
                <a:gd name="T19" fmla="*/ 74 h 146"/>
                <a:gd name="T20" fmla="*/ 33 w 40"/>
                <a:gd name="T21" fmla="*/ 63 h 146"/>
                <a:gd name="T22" fmla="*/ 27 w 40"/>
                <a:gd name="T23" fmla="*/ 63 h 146"/>
                <a:gd name="T24" fmla="*/ 23 w 40"/>
                <a:gd name="T25" fmla="*/ 63 h 146"/>
                <a:gd name="T26" fmla="*/ 17 w 40"/>
                <a:gd name="T27" fmla="*/ 63 h 146"/>
                <a:gd name="T28" fmla="*/ 13 w 40"/>
                <a:gd name="T29" fmla="*/ 63 h 146"/>
                <a:gd name="T30" fmla="*/ 7 w 40"/>
                <a:gd name="T31" fmla="*/ 63 h 146"/>
                <a:gd name="T32" fmla="*/ 33 w 40"/>
                <a:gd name="T33" fmla="*/ 52 h 146"/>
                <a:gd name="T34" fmla="*/ 27 w 40"/>
                <a:gd name="T35" fmla="*/ 52 h 146"/>
                <a:gd name="T36" fmla="*/ 23 w 40"/>
                <a:gd name="T37" fmla="*/ 52 h 146"/>
                <a:gd name="T38" fmla="*/ 17 w 40"/>
                <a:gd name="T39" fmla="*/ 52 h 146"/>
                <a:gd name="T40" fmla="*/ 13 w 40"/>
                <a:gd name="T41" fmla="*/ 52 h 146"/>
                <a:gd name="T42" fmla="*/ 7 w 40"/>
                <a:gd name="T43" fmla="*/ 52 h 146"/>
                <a:gd name="T44" fmla="*/ 33 w 40"/>
                <a:gd name="T45" fmla="*/ 41 h 146"/>
                <a:gd name="T46" fmla="*/ 27 w 40"/>
                <a:gd name="T47" fmla="*/ 41 h 146"/>
                <a:gd name="T48" fmla="*/ 23 w 40"/>
                <a:gd name="T49" fmla="*/ 41 h 146"/>
                <a:gd name="T50" fmla="*/ 17 w 40"/>
                <a:gd name="T51" fmla="*/ 41 h 146"/>
                <a:gd name="T52" fmla="*/ 13 w 40"/>
                <a:gd name="T53" fmla="*/ 41 h 146"/>
                <a:gd name="T54" fmla="*/ 7 w 40"/>
                <a:gd name="T55" fmla="*/ 41 h 146"/>
                <a:gd name="T56" fmla="*/ 33 w 40"/>
                <a:gd name="T57" fmla="*/ 31 h 146"/>
                <a:gd name="T58" fmla="*/ 27 w 40"/>
                <a:gd name="T59" fmla="*/ 31 h 146"/>
                <a:gd name="T60" fmla="*/ 23 w 40"/>
                <a:gd name="T61" fmla="*/ 31 h 146"/>
                <a:gd name="T62" fmla="*/ 17 w 40"/>
                <a:gd name="T63" fmla="*/ 31 h 146"/>
                <a:gd name="T64" fmla="*/ 13 w 40"/>
                <a:gd name="T65" fmla="*/ 31 h 146"/>
                <a:gd name="T66" fmla="*/ 7 w 40"/>
                <a:gd name="T67" fmla="*/ 31 h 146"/>
                <a:gd name="T68" fmla="*/ 33 w 40"/>
                <a:gd name="T69" fmla="*/ 20 h 146"/>
                <a:gd name="T70" fmla="*/ 27 w 40"/>
                <a:gd name="T71" fmla="*/ 20 h 146"/>
                <a:gd name="T72" fmla="*/ 23 w 40"/>
                <a:gd name="T73" fmla="*/ 20 h 146"/>
                <a:gd name="T74" fmla="*/ 17 w 40"/>
                <a:gd name="T75" fmla="*/ 20 h 146"/>
                <a:gd name="T76" fmla="*/ 13 w 40"/>
                <a:gd name="T77" fmla="*/ 20 h 146"/>
                <a:gd name="T78" fmla="*/ 7 w 40"/>
                <a:gd name="T79" fmla="*/ 20 h 146"/>
                <a:gd name="T80" fmla="*/ 33 w 40"/>
                <a:gd name="T81" fmla="*/ 9 h 146"/>
                <a:gd name="T82" fmla="*/ 27 w 40"/>
                <a:gd name="T83" fmla="*/ 9 h 146"/>
                <a:gd name="T84" fmla="*/ 23 w 40"/>
                <a:gd name="T85" fmla="*/ 9 h 146"/>
                <a:gd name="T86" fmla="*/ 17 w 40"/>
                <a:gd name="T87" fmla="*/ 9 h 146"/>
                <a:gd name="T88" fmla="*/ 13 w 40"/>
                <a:gd name="T89" fmla="*/ 9 h 146"/>
                <a:gd name="T90" fmla="*/ 7 w 40"/>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 h="146">
                  <a:moveTo>
                    <a:pt x="0" y="9"/>
                  </a:moveTo>
                  <a:cubicBezTo>
                    <a:pt x="0" y="137"/>
                    <a:pt x="0" y="137"/>
                    <a:pt x="0" y="137"/>
                  </a:cubicBezTo>
                  <a:cubicBezTo>
                    <a:pt x="0" y="142"/>
                    <a:pt x="4" y="146"/>
                    <a:pt x="9" y="146"/>
                  </a:cubicBezTo>
                  <a:cubicBezTo>
                    <a:pt x="31" y="146"/>
                    <a:pt x="31" y="146"/>
                    <a:pt x="31" y="146"/>
                  </a:cubicBezTo>
                  <a:cubicBezTo>
                    <a:pt x="36" y="146"/>
                    <a:pt x="40" y="142"/>
                    <a:pt x="40" y="137"/>
                  </a:cubicBezTo>
                  <a:cubicBezTo>
                    <a:pt x="40" y="9"/>
                    <a:pt x="40" y="9"/>
                    <a:pt x="40" y="9"/>
                  </a:cubicBezTo>
                  <a:cubicBezTo>
                    <a:pt x="40" y="4"/>
                    <a:pt x="36" y="0"/>
                    <a:pt x="31" y="0"/>
                  </a:cubicBezTo>
                  <a:cubicBezTo>
                    <a:pt x="9" y="0"/>
                    <a:pt x="9" y="0"/>
                    <a:pt x="9" y="0"/>
                  </a:cubicBezTo>
                  <a:cubicBezTo>
                    <a:pt x="4" y="0"/>
                    <a:pt x="0" y="4"/>
                    <a:pt x="0" y="9"/>
                  </a:cubicBezTo>
                  <a:close/>
                  <a:moveTo>
                    <a:pt x="27" y="126"/>
                  </a:moveTo>
                  <a:cubicBezTo>
                    <a:pt x="27" y="130"/>
                    <a:pt x="24" y="134"/>
                    <a:pt x="20" y="134"/>
                  </a:cubicBezTo>
                  <a:cubicBezTo>
                    <a:pt x="16" y="134"/>
                    <a:pt x="13" y="130"/>
                    <a:pt x="13" y="126"/>
                  </a:cubicBezTo>
                  <a:cubicBezTo>
                    <a:pt x="13" y="122"/>
                    <a:pt x="16" y="119"/>
                    <a:pt x="20" y="119"/>
                  </a:cubicBezTo>
                  <a:cubicBezTo>
                    <a:pt x="24" y="119"/>
                    <a:pt x="27" y="122"/>
                    <a:pt x="27" y="126"/>
                  </a:cubicBezTo>
                  <a:close/>
                  <a:moveTo>
                    <a:pt x="33" y="74"/>
                  </a:moveTo>
                  <a:cubicBezTo>
                    <a:pt x="33" y="79"/>
                    <a:pt x="33" y="79"/>
                    <a:pt x="33" y="79"/>
                  </a:cubicBezTo>
                  <a:cubicBezTo>
                    <a:pt x="27" y="79"/>
                    <a:pt x="27" y="79"/>
                    <a:pt x="27" y="79"/>
                  </a:cubicBezTo>
                  <a:cubicBezTo>
                    <a:pt x="27" y="74"/>
                    <a:pt x="27" y="74"/>
                    <a:pt x="27"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7" y="79"/>
                    <a:pt x="7" y="79"/>
                    <a:pt x="7" y="79"/>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1"/>
                  </a:moveTo>
                  <a:cubicBezTo>
                    <a:pt x="33" y="36"/>
                    <a:pt x="33" y="36"/>
                    <a:pt x="33" y="36"/>
                  </a:cubicBezTo>
                  <a:cubicBezTo>
                    <a:pt x="27" y="36"/>
                    <a:pt x="27" y="36"/>
                    <a:pt x="27" y="36"/>
                  </a:cubicBezTo>
                  <a:cubicBezTo>
                    <a:pt x="27" y="31"/>
                    <a:pt x="27" y="31"/>
                    <a:pt x="27"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7" y="36"/>
                    <a:pt x="7" y="36"/>
                    <a:pt x="7" y="36"/>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57" name="Freeform 2113"/>
            <p:cNvSpPr>
              <a:spLocks noEditPoints="1"/>
            </p:cNvSpPr>
            <p:nvPr/>
          </p:nvSpPr>
          <p:spPr bwMode="auto">
            <a:xfrm>
              <a:off x="17097375" y="2416175"/>
              <a:ext cx="153988" cy="549275"/>
            </a:xfrm>
            <a:custGeom>
              <a:avLst/>
              <a:gdLst>
                <a:gd name="T0" fmla="*/ 9 w 41"/>
                <a:gd name="T1" fmla="*/ 146 h 146"/>
                <a:gd name="T2" fmla="*/ 41 w 41"/>
                <a:gd name="T3" fmla="*/ 9 h 146"/>
                <a:gd name="T4" fmla="*/ 0 w 41"/>
                <a:gd name="T5" fmla="*/ 9 h 146"/>
                <a:gd name="T6" fmla="*/ 13 w 41"/>
                <a:gd name="T7" fmla="*/ 126 h 146"/>
                <a:gd name="T8" fmla="*/ 33 w 41"/>
                <a:gd name="T9" fmla="*/ 74 h 146"/>
                <a:gd name="T10" fmla="*/ 27 w 41"/>
                <a:gd name="T11" fmla="*/ 74 h 146"/>
                <a:gd name="T12" fmla="*/ 23 w 41"/>
                <a:gd name="T13" fmla="*/ 74 h 146"/>
                <a:gd name="T14" fmla="*/ 17 w 41"/>
                <a:gd name="T15" fmla="*/ 74 h 146"/>
                <a:gd name="T16" fmla="*/ 13 w 41"/>
                <a:gd name="T17" fmla="*/ 74 h 146"/>
                <a:gd name="T18" fmla="*/ 7 w 41"/>
                <a:gd name="T19" fmla="*/ 74 h 146"/>
                <a:gd name="T20" fmla="*/ 33 w 41"/>
                <a:gd name="T21" fmla="*/ 63 h 146"/>
                <a:gd name="T22" fmla="*/ 27 w 41"/>
                <a:gd name="T23" fmla="*/ 63 h 146"/>
                <a:gd name="T24" fmla="*/ 23 w 41"/>
                <a:gd name="T25" fmla="*/ 63 h 146"/>
                <a:gd name="T26" fmla="*/ 17 w 41"/>
                <a:gd name="T27" fmla="*/ 63 h 146"/>
                <a:gd name="T28" fmla="*/ 13 w 41"/>
                <a:gd name="T29" fmla="*/ 63 h 146"/>
                <a:gd name="T30" fmla="*/ 7 w 41"/>
                <a:gd name="T31" fmla="*/ 63 h 146"/>
                <a:gd name="T32" fmla="*/ 33 w 41"/>
                <a:gd name="T33" fmla="*/ 52 h 146"/>
                <a:gd name="T34" fmla="*/ 27 w 41"/>
                <a:gd name="T35" fmla="*/ 52 h 146"/>
                <a:gd name="T36" fmla="*/ 23 w 41"/>
                <a:gd name="T37" fmla="*/ 52 h 146"/>
                <a:gd name="T38" fmla="*/ 17 w 41"/>
                <a:gd name="T39" fmla="*/ 52 h 146"/>
                <a:gd name="T40" fmla="*/ 13 w 41"/>
                <a:gd name="T41" fmla="*/ 52 h 146"/>
                <a:gd name="T42" fmla="*/ 7 w 41"/>
                <a:gd name="T43" fmla="*/ 52 h 146"/>
                <a:gd name="T44" fmla="*/ 33 w 41"/>
                <a:gd name="T45" fmla="*/ 41 h 146"/>
                <a:gd name="T46" fmla="*/ 27 w 41"/>
                <a:gd name="T47" fmla="*/ 41 h 146"/>
                <a:gd name="T48" fmla="*/ 23 w 41"/>
                <a:gd name="T49" fmla="*/ 41 h 146"/>
                <a:gd name="T50" fmla="*/ 17 w 41"/>
                <a:gd name="T51" fmla="*/ 41 h 146"/>
                <a:gd name="T52" fmla="*/ 13 w 41"/>
                <a:gd name="T53" fmla="*/ 41 h 146"/>
                <a:gd name="T54" fmla="*/ 7 w 41"/>
                <a:gd name="T55" fmla="*/ 41 h 146"/>
                <a:gd name="T56" fmla="*/ 33 w 41"/>
                <a:gd name="T57" fmla="*/ 31 h 146"/>
                <a:gd name="T58" fmla="*/ 27 w 41"/>
                <a:gd name="T59" fmla="*/ 31 h 146"/>
                <a:gd name="T60" fmla="*/ 23 w 41"/>
                <a:gd name="T61" fmla="*/ 31 h 146"/>
                <a:gd name="T62" fmla="*/ 17 w 41"/>
                <a:gd name="T63" fmla="*/ 31 h 146"/>
                <a:gd name="T64" fmla="*/ 13 w 41"/>
                <a:gd name="T65" fmla="*/ 31 h 146"/>
                <a:gd name="T66" fmla="*/ 7 w 41"/>
                <a:gd name="T67" fmla="*/ 31 h 146"/>
                <a:gd name="T68" fmla="*/ 33 w 41"/>
                <a:gd name="T69" fmla="*/ 20 h 146"/>
                <a:gd name="T70" fmla="*/ 27 w 41"/>
                <a:gd name="T71" fmla="*/ 20 h 146"/>
                <a:gd name="T72" fmla="*/ 23 w 41"/>
                <a:gd name="T73" fmla="*/ 20 h 146"/>
                <a:gd name="T74" fmla="*/ 17 w 41"/>
                <a:gd name="T75" fmla="*/ 20 h 146"/>
                <a:gd name="T76" fmla="*/ 13 w 41"/>
                <a:gd name="T77" fmla="*/ 20 h 146"/>
                <a:gd name="T78" fmla="*/ 7 w 41"/>
                <a:gd name="T79" fmla="*/ 20 h 146"/>
                <a:gd name="T80" fmla="*/ 33 w 41"/>
                <a:gd name="T81" fmla="*/ 9 h 146"/>
                <a:gd name="T82" fmla="*/ 27 w 41"/>
                <a:gd name="T83" fmla="*/ 9 h 146"/>
                <a:gd name="T84" fmla="*/ 23 w 41"/>
                <a:gd name="T85" fmla="*/ 9 h 146"/>
                <a:gd name="T86" fmla="*/ 17 w 41"/>
                <a:gd name="T87" fmla="*/ 9 h 146"/>
                <a:gd name="T88" fmla="*/ 13 w 41"/>
                <a:gd name="T89" fmla="*/ 9 h 146"/>
                <a:gd name="T90" fmla="*/ 7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1" y="146"/>
                    <a:pt x="31" y="146"/>
                    <a:pt x="31" y="146"/>
                  </a:cubicBezTo>
                  <a:cubicBezTo>
                    <a:pt x="36" y="146"/>
                    <a:pt x="41" y="142"/>
                    <a:pt x="41" y="137"/>
                  </a:cubicBezTo>
                  <a:cubicBezTo>
                    <a:pt x="41" y="9"/>
                    <a:pt x="41" y="9"/>
                    <a:pt x="41" y="9"/>
                  </a:cubicBezTo>
                  <a:cubicBezTo>
                    <a:pt x="41" y="4"/>
                    <a:pt x="36" y="0"/>
                    <a:pt x="31" y="0"/>
                  </a:cubicBezTo>
                  <a:cubicBezTo>
                    <a:pt x="9" y="0"/>
                    <a:pt x="9" y="0"/>
                    <a:pt x="9" y="0"/>
                  </a:cubicBezTo>
                  <a:cubicBezTo>
                    <a:pt x="4" y="0"/>
                    <a:pt x="0" y="4"/>
                    <a:pt x="0" y="9"/>
                  </a:cubicBezTo>
                  <a:close/>
                  <a:moveTo>
                    <a:pt x="28" y="126"/>
                  </a:moveTo>
                  <a:cubicBezTo>
                    <a:pt x="28" y="130"/>
                    <a:pt x="24" y="134"/>
                    <a:pt x="20" y="134"/>
                  </a:cubicBezTo>
                  <a:cubicBezTo>
                    <a:pt x="16" y="134"/>
                    <a:pt x="13" y="130"/>
                    <a:pt x="13" y="126"/>
                  </a:cubicBezTo>
                  <a:cubicBezTo>
                    <a:pt x="13" y="122"/>
                    <a:pt x="16" y="119"/>
                    <a:pt x="20" y="119"/>
                  </a:cubicBezTo>
                  <a:cubicBezTo>
                    <a:pt x="24" y="119"/>
                    <a:pt x="28" y="122"/>
                    <a:pt x="28" y="126"/>
                  </a:cubicBezTo>
                  <a:close/>
                  <a:moveTo>
                    <a:pt x="33" y="74"/>
                  </a:moveTo>
                  <a:cubicBezTo>
                    <a:pt x="33" y="79"/>
                    <a:pt x="33" y="79"/>
                    <a:pt x="33" y="79"/>
                  </a:cubicBezTo>
                  <a:cubicBezTo>
                    <a:pt x="27" y="79"/>
                    <a:pt x="27" y="79"/>
                    <a:pt x="27" y="79"/>
                  </a:cubicBezTo>
                  <a:cubicBezTo>
                    <a:pt x="27" y="74"/>
                    <a:pt x="27" y="74"/>
                    <a:pt x="27"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7" y="79"/>
                    <a:pt x="7" y="79"/>
                    <a:pt x="7" y="79"/>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1"/>
                  </a:moveTo>
                  <a:cubicBezTo>
                    <a:pt x="33" y="36"/>
                    <a:pt x="33" y="36"/>
                    <a:pt x="33" y="36"/>
                  </a:cubicBezTo>
                  <a:cubicBezTo>
                    <a:pt x="27" y="36"/>
                    <a:pt x="27" y="36"/>
                    <a:pt x="27" y="36"/>
                  </a:cubicBezTo>
                  <a:cubicBezTo>
                    <a:pt x="27" y="31"/>
                    <a:pt x="27" y="31"/>
                    <a:pt x="27"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7" y="36"/>
                    <a:pt x="7" y="36"/>
                    <a:pt x="7" y="36"/>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58" name="Freeform 2114"/>
            <p:cNvSpPr>
              <a:spLocks noEditPoints="1"/>
            </p:cNvSpPr>
            <p:nvPr/>
          </p:nvSpPr>
          <p:spPr bwMode="auto">
            <a:xfrm>
              <a:off x="17314863" y="2416175"/>
              <a:ext cx="153988" cy="549275"/>
            </a:xfrm>
            <a:custGeom>
              <a:avLst/>
              <a:gdLst>
                <a:gd name="T0" fmla="*/ 9 w 41"/>
                <a:gd name="T1" fmla="*/ 146 h 146"/>
                <a:gd name="T2" fmla="*/ 41 w 41"/>
                <a:gd name="T3" fmla="*/ 9 h 146"/>
                <a:gd name="T4" fmla="*/ 0 w 41"/>
                <a:gd name="T5" fmla="*/ 9 h 146"/>
                <a:gd name="T6" fmla="*/ 13 w 41"/>
                <a:gd name="T7" fmla="*/ 126 h 146"/>
                <a:gd name="T8" fmla="*/ 33 w 41"/>
                <a:gd name="T9" fmla="*/ 74 h 146"/>
                <a:gd name="T10" fmla="*/ 28 w 41"/>
                <a:gd name="T11" fmla="*/ 74 h 146"/>
                <a:gd name="T12" fmla="*/ 23 w 41"/>
                <a:gd name="T13" fmla="*/ 74 h 146"/>
                <a:gd name="T14" fmla="*/ 17 w 41"/>
                <a:gd name="T15" fmla="*/ 74 h 146"/>
                <a:gd name="T16" fmla="*/ 13 w 41"/>
                <a:gd name="T17" fmla="*/ 74 h 146"/>
                <a:gd name="T18" fmla="*/ 8 w 41"/>
                <a:gd name="T19" fmla="*/ 74 h 146"/>
                <a:gd name="T20" fmla="*/ 33 w 41"/>
                <a:gd name="T21" fmla="*/ 63 h 146"/>
                <a:gd name="T22" fmla="*/ 28 w 41"/>
                <a:gd name="T23" fmla="*/ 63 h 146"/>
                <a:gd name="T24" fmla="*/ 23 w 41"/>
                <a:gd name="T25" fmla="*/ 63 h 146"/>
                <a:gd name="T26" fmla="*/ 17 w 41"/>
                <a:gd name="T27" fmla="*/ 63 h 146"/>
                <a:gd name="T28" fmla="*/ 13 w 41"/>
                <a:gd name="T29" fmla="*/ 63 h 146"/>
                <a:gd name="T30" fmla="*/ 8 w 41"/>
                <a:gd name="T31" fmla="*/ 63 h 146"/>
                <a:gd name="T32" fmla="*/ 33 w 41"/>
                <a:gd name="T33" fmla="*/ 52 h 146"/>
                <a:gd name="T34" fmla="*/ 28 w 41"/>
                <a:gd name="T35" fmla="*/ 52 h 146"/>
                <a:gd name="T36" fmla="*/ 23 w 41"/>
                <a:gd name="T37" fmla="*/ 52 h 146"/>
                <a:gd name="T38" fmla="*/ 17 w 41"/>
                <a:gd name="T39" fmla="*/ 52 h 146"/>
                <a:gd name="T40" fmla="*/ 13 w 41"/>
                <a:gd name="T41" fmla="*/ 52 h 146"/>
                <a:gd name="T42" fmla="*/ 8 w 41"/>
                <a:gd name="T43" fmla="*/ 52 h 146"/>
                <a:gd name="T44" fmla="*/ 33 w 41"/>
                <a:gd name="T45" fmla="*/ 41 h 146"/>
                <a:gd name="T46" fmla="*/ 28 w 41"/>
                <a:gd name="T47" fmla="*/ 41 h 146"/>
                <a:gd name="T48" fmla="*/ 23 w 41"/>
                <a:gd name="T49" fmla="*/ 41 h 146"/>
                <a:gd name="T50" fmla="*/ 17 w 41"/>
                <a:gd name="T51" fmla="*/ 41 h 146"/>
                <a:gd name="T52" fmla="*/ 13 w 41"/>
                <a:gd name="T53" fmla="*/ 41 h 146"/>
                <a:gd name="T54" fmla="*/ 8 w 41"/>
                <a:gd name="T55" fmla="*/ 41 h 146"/>
                <a:gd name="T56" fmla="*/ 33 w 41"/>
                <a:gd name="T57" fmla="*/ 31 h 146"/>
                <a:gd name="T58" fmla="*/ 28 w 41"/>
                <a:gd name="T59" fmla="*/ 31 h 146"/>
                <a:gd name="T60" fmla="*/ 23 w 41"/>
                <a:gd name="T61" fmla="*/ 31 h 146"/>
                <a:gd name="T62" fmla="*/ 17 w 41"/>
                <a:gd name="T63" fmla="*/ 31 h 146"/>
                <a:gd name="T64" fmla="*/ 13 w 41"/>
                <a:gd name="T65" fmla="*/ 31 h 146"/>
                <a:gd name="T66" fmla="*/ 8 w 41"/>
                <a:gd name="T67" fmla="*/ 31 h 146"/>
                <a:gd name="T68" fmla="*/ 33 w 41"/>
                <a:gd name="T69" fmla="*/ 20 h 146"/>
                <a:gd name="T70" fmla="*/ 28 w 41"/>
                <a:gd name="T71" fmla="*/ 20 h 146"/>
                <a:gd name="T72" fmla="*/ 23 w 41"/>
                <a:gd name="T73" fmla="*/ 20 h 146"/>
                <a:gd name="T74" fmla="*/ 17 w 41"/>
                <a:gd name="T75" fmla="*/ 20 h 146"/>
                <a:gd name="T76" fmla="*/ 13 w 41"/>
                <a:gd name="T77" fmla="*/ 20 h 146"/>
                <a:gd name="T78" fmla="*/ 8 w 41"/>
                <a:gd name="T79" fmla="*/ 20 h 146"/>
                <a:gd name="T80" fmla="*/ 33 w 41"/>
                <a:gd name="T81" fmla="*/ 9 h 146"/>
                <a:gd name="T82" fmla="*/ 28 w 41"/>
                <a:gd name="T83" fmla="*/ 9 h 146"/>
                <a:gd name="T84" fmla="*/ 23 w 41"/>
                <a:gd name="T85" fmla="*/ 9 h 146"/>
                <a:gd name="T86" fmla="*/ 17 w 41"/>
                <a:gd name="T87" fmla="*/ 9 h 146"/>
                <a:gd name="T88" fmla="*/ 13 w 41"/>
                <a:gd name="T89" fmla="*/ 9 h 146"/>
                <a:gd name="T90" fmla="*/ 8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2" y="146"/>
                    <a:pt x="32" y="146"/>
                    <a:pt x="32" y="146"/>
                  </a:cubicBezTo>
                  <a:cubicBezTo>
                    <a:pt x="37" y="146"/>
                    <a:pt x="41" y="142"/>
                    <a:pt x="41" y="137"/>
                  </a:cubicBezTo>
                  <a:cubicBezTo>
                    <a:pt x="41" y="9"/>
                    <a:pt x="41" y="9"/>
                    <a:pt x="41" y="9"/>
                  </a:cubicBezTo>
                  <a:cubicBezTo>
                    <a:pt x="41" y="4"/>
                    <a:pt x="37" y="0"/>
                    <a:pt x="32" y="0"/>
                  </a:cubicBezTo>
                  <a:cubicBezTo>
                    <a:pt x="9" y="0"/>
                    <a:pt x="9" y="0"/>
                    <a:pt x="9" y="0"/>
                  </a:cubicBezTo>
                  <a:cubicBezTo>
                    <a:pt x="4" y="0"/>
                    <a:pt x="0" y="4"/>
                    <a:pt x="0" y="9"/>
                  </a:cubicBezTo>
                  <a:close/>
                  <a:moveTo>
                    <a:pt x="28" y="126"/>
                  </a:moveTo>
                  <a:cubicBezTo>
                    <a:pt x="28" y="130"/>
                    <a:pt x="25" y="134"/>
                    <a:pt x="21" y="134"/>
                  </a:cubicBezTo>
                  <a:cubicBezTo>
                    <a:pt x="16" y="134"/>
                    <a:pt x="13" y="130"/>
                    <a:pt x="13" y="126"/>
                  </a:cubicBezTo>
                  <a:cubicBezTo>
                    <a:pt x="13" y="122"/>
                    <a:pt x="16" y="119"/>
                    <a:pt x="21" y="119"/>
                  </a:cubicBezTo>
                  <a:cubicBezTo>
                    <a:pt x="25" y="119"/>
                    <a:pt x="28" y="122"/>
                    <a:pt x="28" y="126"/>
                  </a:cubicBezTo>
                  <a:close/>
                  <a:moveTo>
                    <a:pt x="33" y="74"/>
                  </a:moveTo>
                  <a:cubicBezTo>
                    <a:pt x="33" y="79"/>
                    <a:pt x="33" y="79"/>
                    <a:pt x="33" y="79"/>
                  </a:cubicBezTo>
                  <a:cubicBezTo>
                    <a:pt x="28" y="79"/>
                    <a:pt x="28" y="79"/>
                    <a:pt x="28" y="79"/>
                  </a:cubicBezTo>
                  <a:cubicBezTo>
                    <a:pt x="28" y="74"/>
                    <a:pt x="28" y="74"/>
                    <a:pt x="28"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8" y="79"/>
                    <a:pt x="8" y="79"/>
                    <a:pt x="8" y="79"/>
                  </a:cubicBezTo>
                  <a:cubicBezTo>
                    <a:pt x="8" y="74"/>
                    <a:pt x="8" y="74"/>
                    <a:pt x="8" y="74"/>
                  </a:cubicBezTo>
                  <a:cubicBezTo>
                    <a:pt x="13" y="74"/>
                    <a:pt x="13" y="74"/>
                    <a:pt x="13" y="74"/>
                  </a:cubicBezTo>
                  <a:cubicBezTo>
                    <a:pt x="13" y="74"/>
                    <a:pt x="13" y="74"/>
                    <a:pt x="13" y="74"/>
                  </a:cubicBezTo>
                  <a:close/>
                  <a:moveTo>
                    <a:pt x="33" y="63"/>
                  </a:moveTo>
                  <a:cubicBezTo>
                    <a:pt x="33" y="69"/>
                    <a:pt x="33" y="69"/>
                    <a:pt x="33" y="69"/>
                  </a:cubicBezTo>
                  <a:cubicBezTo>
                    <a:pt x="28" y="69"/>
                    <a:pt x="28" y="69"/>
                    <a:pt x="28" y="69"/>
                  </a:cubicBezTo>
                  <a:cubicBezTo>
                    <a:pt x="28" y="63"/>
                    <a:pt x="28" y="63"/>
                    <a:pt x="28"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8" y="69"/>
                    <a:pt x="8" y="69"/>
                    <a:pt x="8" y="69"/>
                  </a:cubicBezTo>
                  <a:cubicBezTo>
                    <a:pt x="8" y="63"/>
                    <a:pt x="8" y="63"/>
                    <a:pt x="8" y="63"/>
                  </a:cubicBezTo>
                  <a:cubicBezTo>
                    <a:pt x="13" y="63"/>
                    <a:pt x="13" y="63"/>
                    <a:pt x="13" y="63"/>
                  </a:cubicBezTo>
                  <a:cubicBezTo>
                    <a:pt x="13" y="63"/>
                    <a:pt x="13" y="63"/>
                    <a:pt x="13" y="63"/>
                  </a:cubicBezTo>
                  <a:close/>
                  <a:moveTo>
                    <a:pt x="33" y="52"/>
                  </a:moveTo>
                  <a:cubicBezTo>
                    <a:pt x="33" y="58"/>
                    <a:pt x="33" y="58"/>
                    <a:pt x="33" y="58"/>
                  </a:cubicBezTo>
                  <a:cubicBezTo>
                    <a:pt x="28" y="58"/>
                    <a:pt x="28" y="58"/>
                    <a:pt x="28" y="58"/>
                  </a:cubicBezTo>
                  <a:cubicBezTo>
                    <a:pt x="28" y="52"/>
                    <a:pt x="28" y="52"/>
                    <a:pt x="28"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8" y="58"/>
                    <a:pt x="8" y="58"/>
                    <a:pt x="8" y="58"/>
                  </a:cubicBezTo>
                  <a:cubicBezTo>
                    <a:pt x="8" y="52"/>
                    <a:pt x="8" y="52"/>
                    <a:pt x="8" y="52"/>
                  </a:cubicBezTo>
                  <a:cubicBezTo>
                    <a:pt x="13" y="52"/>
                    <a:pt x="13" y="52"/>
                    <a:pt x="13" y="52"/>
                  </a:cubicBezTo>
                  <a:cubicBezTo>
                    <a:pt x="13" y="52"/>
                    <a:pt x="13" y="52"/>
                    <a:pt x="13" y="52"/>
                  </a:cubicBezTo>
                  <a:close/>
                  <a:moveTo>
                    <a:pt x="33" y="41"/>
                  </a:moveTo>
                  <a:cubicBezTo>
                    <a:pt x="33" y="47"/>
                    <a:pt x="33" y="47"/>
                    <a:pt x="33" y="47"/>
                  </a:cubicBezTo>
                  <a:cubicBezTo>
                    <a:pt x="28" y="47"/>
                    <a:pt x="28" y="47"/>
                    <a:pt x="28" y="47"/>
                  </a:cubicBezTo>
                  <a:cubicBezTo>
                    <a:pt x="28" y="41"/>
                    <a:pt x="28" y="41"/>
                    <a:pt x="28"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8" y="47"/>
                    <a:pt x="8" y="47"/>
                    <a:pt x="8" y="47"/>
                  </a:cubicBezTo>
                  <a:cubicBezTo>
                    <a:pt x="8" y="41"/>
                    <a:pt x="8" y="41"/>
                    <a:pt x="8" y="41"/>
                  </a:cubicBezTo>
                  <a:cubicBezTo>
                    <a:pt x="13" y="41"/>
                    <a:pt x="13" y="41"/>
                    <a:pt x="13" y="41"/>
                  </a:cubicBezTo>
                  <a:cubicBezTo>
                    <a:pt x="13" y="41"/>
                    <a:pt x="13" y="41"/>
                    <a:pt x="13" y="41"/>
                  </a:cubicBezTo>
                  <a:close/>
                  <a:moveTo>
                    <a:pt x="33" y="31"/>
                  </a:moveTo>
                  <a:cubicBezTo>
                    <a:pt x="33" y="36"/>
                    <a:pt x="33" y="36"/>
                    <a:pt x="33" y="36"/>
                  </a:cubicBezTo>
                  <a:cubicBezTo>
                    <a:pt x="28" y="36"/>
                    <a:pt x="28" y="36"/>
                    <a:pt x="28" y="36"/>
                  </a:cubicBezTo>
                  <a:cubicBezTo>
                    <a:pt x="28" y="31"/>
                    <a:pt x="28" y="31"/>
                    <a:pt x="28"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8" y="36"/>
                    <a:pt x="8" y="36"/>
                    <a:pt x="8" y="36"/>
                  </a:cubicBezTo>
                  <a:cubicBezTo>
                    <a:pt x="8" y="31"/>
                    <a:pt x="8" y="31"/>
                    <a:pt x="8" y="31"/>
                  </a:cubicBezTo>
                  <a:cubicBezTo>
                    <a:pt x="13" y="31"/>
                    <a:pt x="13" y="31"/>
                    <a:pt x="13" y="31"/>
                  </a:cubicBezTo>
                  <a:cubicBezTo>
                    <a:pt x="13" y="31"/>
                    <a:pt x="13" y="31"/>
                    <a:pt x="13" y="31"/>
                  </a:cubicBezTo>
                  <a:close/>
                  <a:moveTo>
                    <a:pt x="33" y="20"/>
                  </a:moveTo>
                  <a:cubicBezTo>
                    <a:pt x="33" y="26"/>
                    <a:pt x="33" y="26"/>
                    <a:pt x="33" y="26"/>
                  </a:cubicBezTo>
                  <a:cubicBezTo>
                    <a:pt x="28" y="26"/>
                    <a:pt x="28" y="26"/>
                    <a:pt x="28" y="26"/>
                  </a:cubicBezTo>
                  <a:cubicBezTo>
                    <a:pt x="28" y="20"/>
                    <a:pt x="28" y="20"/>
                    <a:pt x="28"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8" y="26"/>
                    <a:pt x="8" y="26"/>
                    <a:pt x="8" y="26"/>
                  </a:cubicBezTo>
                  <a:cubicBezTo>
                    <a:pt x="8" y="20"/>
                    <a:pt x="8" y="20"/>
                    <a:pt x="8" y="20"/>
                  </a:cubicBezTo>
                  <a:cubicBezTo>
                    <a:pt x="13" y="20"/>
                    <a:pt x="13" y="20"/>
                    <a:pt x="13" y="20"/>
                  </a:cubicBezTo>
                  <a:cubicBezTo>
                    <a:pt x="13" y="20"/>
                    <a:pt x="13" y="20"/>
                    <a:pt x="13" y="20"/>
                  </a:cubicBezTo>
                  <a:close/>
                  <a:moveTo>
                    <a:pt x="33" y="9"/>
                  </a:moveTo>
                  <a:cubicBezTo>
                    <a:pt x="33" y="15"/>
                    <a:pt x="33" y="15"/>
                    <a:pt x="33" y="15"/>
                  </a:cubicBezTo>
                  <a:cubicBezTo>
                    <a:pt x="28" y="15"/>
                    <a:pt x="28" y="15"/>
                    <a:pt x="28" y="15"/>
                  </a:cubicBezTo>
                  <a:cubicBezTo>
                    <a:pt x="28" y="9"/>
                    <a:pt x="28" y="9"/>
                    <a:pt x="28"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8" y="15"/>
                    <a:pt x="8" y="15"/>
                    <a:pt x="8" y="15"/>
                  </a:cubicBezTo>
                  <a:cubicBezTo>
                    <a:pt x="8" y="9"/>
                    <a:pt x="8" y="9"/>
                    <a:pt x="8"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59" name="Freeform 2115"/>
            <p:cNvSpPr>
              <a:spLocks noEditPoints="1"/>
            </p:cNvSpPr>
            <p:nvPr/>
          </p:nvSpPr>
          <p:spPr bwMode="auto">
            <a:xfrm>
              <a:off x="17548225" y="2416175"/>
              <a:ext cx="149225" cy="549275"/>
            </a:xfrm>
            <a:custGeom>
              <a:avLst/>
              <a:gdLst>
                <a:gd name="T0" fmla="*/ 9 w 40"/>
                <a:gd name="T1" fmla="*/ 146 h 146"/>
                <a:gd name="T2" fmla="*/ 40 w 40"/>
                <a:gd name="T3" fmla="*/ 9 h 146"/>
                <a:gd name="T4" fmla="*/ 0 w 40"/>
                <a:gd name="T5" fmla="*/ 9 h 146"/>
                <a:gd name="T6" fmla="*/ 13 w 40"/>
                <a:gd name="T7" fmla="*/ 126 h 146"/>
                <a:gd name="T8" fmla="*/ 33 w 40"/>
                <a:gd name="T9" fmla="*/ 74 h 146"/>
                <a:gd name="T10" fmla="*/ 27 w 40"/>
                <a:gd name="T11" fmla="*/ 74 h 146"/>
                <a:gd name="T12" fmla="*/ 23 w 40"/>
                <a:gd name="T13" fmla="*/ 74 h 146"/>
                <a:gd name="T14" fmla="*/ 17 w 40"/>
                <a:gd name="T15" fmla="*/ 74 h 146"/>
                <a:gd name="T16" fmla="*/ 13 w 40"/>
                <a:gd name="T17" fmla="*/ 74 h 146"/>
                <a:gd name="T18" fmla="*/ 7 w 40"/>
                <a:gd name="T19" fmla="*/ 74 h 146"/>
                <a:gd name="T20" fmla="*/ 33 w 40"/>
                <a:gd name="T21" fmla="*/ 63 h 146"/>
                <a:gd name="T22" fmla="*/ 27 w 40"/>
                <a:gd name="T23" fmla="*/ 63 h 146"/>
                <a:gd name="T24" fmla="*/ 23 w 40"/>
                <a:gd name="T25" fmla="*/ 63 h 146"/>
                <a:gd name="T26" fmla="*/ 17 w 40"/>
                <a:gd name="T27" fmla="*/ 63 h 146"/>
                <a:gd name="T28" fmla="*/ 13 w 40"/>
                <a:gd name="T29" fmla="*/ 63 h 146"/>
                <a:gd name="T30" fmla="*/ 7 w 40"/>
                <a:gd name="T31" fmla="*/ 63 h 146"/>
                <a:gd name="T32" fmla="*/ 33 w 40"/>
                <a:gd name="T33" fmla="*/ 52 h 146"/>
                <a:gd name="T34" fmla="*/ 27 w 40"/>
                <a:gd name="T35" fmla="*/ 52 h 146"/>
                <a:gd name="T36" fmla="*/ 23 w 40"/>
                <a:gd name="T37" fmla="*/ 52 h 146"/>
                <a:gd name="T38" fmla="*/ 17 w 40"/>
                <a:gd name="T39" fmla="*/ 52 h 146"/>
                <a:gd name="T40" fmla="*/ 13 w 40"/>
                <a:gd name="T41" fmla="*/ 52 h 146"/>
                <a:gd name="T42" fmla="*/ 7 w 40"/>
                <a:gd name="T43" fmla="*/ 52 h 146"/>
                <a:gd name="T44" fmla="*/ 33 w 40"/>
                <a:gd name="T45" fmla="*/ 41 h 146"/>
                <a:gd name="T46" fmla="*/ 27 w 40"/>
                <a:gd name="T47" fmla="*/ 41 h 146"/>
                <a:gd name="T48" fmla="*/ 23 w 40"/>
                <a:gd name="T49" fmla="*/ 41 h 146"/>
                <a:gd name="T50" fmla="*/ 17 w 40"/>
                <a:gd name="T51" fmla="*/ 41 h 146"/>
                <a:gd name="T52" fmla="*/ 13 w 40"/>
                <a:gd name="T53" fmla="*/ 41 h 146"/>
                <a:gd name="T54" fmla="*/ 7 w 40"/>
                <a:gd name="T55" fmla="*/ 41 h 146"/>
                <a:gd name="T56" fmla="*/ 33 w 40"/>
                <a:gd name="T57" fmla="*/ 31 h 146"/>
                <a:gd name="T58" fmla="*/ 27 w 40"/>
                <a:gd name="T59" fmla="*/ 31 h 146"/>
                <a:gd name="T60" fmla="*/ 23 w 40"/>
                <a:gd name="T61" fmla="*/ 31 h 146"/>
                <a:gd name="T62" fmla="*/ 17 w 40"/>
                <a:gd name="T63" fmla="*/ 31 h 146"/>
                <a:gd name="T64" fmla="*/ 13 w 40"/>
                <a:gd name="T65" fmla="*/ 31 h 146"/>
                <a:gd name="T66" fmla="*/ 7 w 40"/>
                <a:gd name="T67" fmla="*/ 31 h 146"/>
                <a:gd name="T68" fmla="*/ 33 w 40"/>
                <a:gd name="T69" fmla="*/ 20 h 146"/>
                <a:gd name="T70" fmla="*/ 27 w 40"/>
                <a:gd name="T71" fmla="*/ 20 h 146"/>
                <a:gd name="T72" fmla="*/ 23 w 40"/>
                <a:gd name="T73" fmla="*/ 20 h 146"/>
                <a:gd name="T74" fmla="*/ 17 w 40"/>
                <a:gd name="T75" fmla="*/ 20 h 146"/>
                <a:gd name="T76" fmla="*/ 13 w 40"/>
                <a:gd name="T77" fmla="*/ 20 h 146"/>
                <a:gd name="T78" fmla="*/ 7 w 40"/>
                <a:gd name="T79" fmla="*/ 20 h 146"/>
                <a:gd name="T80" fmla="*/ 33 w 40"/>
                <a:gd name="T81" fmla="*/ 9 h 146"/>
                <a:gd name="T82" fmla="*/ 27 w 40"/>
                <a:gd name="T83" fmla="*/ 9 h 146"/>
                <a:gd name="T84" fmla="*/ 23 w 40"/>
                <a:gd name="T85" fmla="*/ 9 h 146"/>
                <a:gd name="T86" fmla="*/ 17 w 40"/>
                <a:gd name="T87" fmla="*/ 9 h 146"/>
                <a:gd name="T88" fmla="*/ 13 w 40"/>
                <a:gd name="T89" fmla="*/ 9 h 146"/>
                <a:gd name="T90" fmla="*/ 7 w 40"/>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 h="146">
                  <a:moveTo>
                    <a:pt x="0" y="9"/>
                  </a:moveTo>
                  <a:cubicBezTo>
                    <a:pt x="0" y="137"/>
                    <a:pt x="0" y="137"/>
                    <a:pt x="0" y="137"/>
                  </a:cubicBezTo>
                  <a:cubicBezTo>
                    <a:pt x="0" y="142"/>
                    <a:pt x="4" y="146"/>
                    <a:pt x="9" y="146"/>
                  </a:cubicBezTo>
                  <a:cubicBezTo>
                    <a:pt x="31" y="146"/>
                    <a:pt x="31" y="146"/>
                    <a:pt x="31" y="146"/>
                  </a:cubicBezTo>
                  <a:cubicBezTo>
                    <a:pt x="36" y="146"/>
                    <a:pt x="40" y="142"/>
                    <a:pt x="40" y="137"/>
                  </a:cubicBezTo>
                  <a:cubicBezTo>
                    <a:pt x="40" y="9"/>
                    <a:pt x="40" y="9"/>
                    <a:pt x="40" y="9"/>
                  </a:cubicBezTo>
                  <a:cubicBezTo>
                    <a:pt x="40" y="4"/>
                    <a:pt x="36" y="0"/>
                    <a:pt x="31" y="0"/>
                  </a:cubicBezTo>
                  <a:cubicBezTo>
                    <a:pt x="9" y="0"/>
                    <a:pt x="9" y="0"/>
                    <a:pt x="9" y="0"/>
                  </a:cubicBezTo>
                  <a:cubicBezTo>
                    <a:pt x="4" y="0"/>
                    <a:pt x="0" y="4"/>
                    <a:pt x="0" y="9"/>
                  </a:cubicBezTo>
                  <a:close/>
                  <a:moveTo>
                    <a:pt x="27" y="126"/>
                  </a:moveTo>
                  <a:cubicBezTo>
                    <a:pt x="27" y="130"/>
                    <a:pt x="24" y="134"/>
                    <a:pt x="20" y="134"/>
                  </a:cubicBezTo>
                  <a:cubicBezTo>
                    <a:pt x="16" y="134"/>
                    <a:pt x="13" y="130"/>
                    <a:pt x="13" y="126"/>
                  </a:cubicBezTo>
                  <a:cubicBezTo>
                    <a:pt x="13" y="122"/>
                    <a:pt x="16" y="119"/>
                    <a:pt x="20" y="119"/>
                  </a:cubicBezTo>
                  <a:cubicBezTo>
                    <a:pt x="24" y="119"/>
                    <a:pt x="27" y="122"/>
                    <a:pt x="27" y="126"/>
                  </a:cubicBezTo>
                  <a:close/>
                  <a:moveTo>
                    <a:pt x="33" y="74"/>
                  </a:moveTo>
                  <a:cubicBezTo>
                    <a:pt x="33" y="79"/>
                    <a:pt x="33" y="79"/>
                    <a:pt x="33" y="79"/>
                  </a:cubicBezTo>
                  <a:cubicBezTo>
                    <a:pt x="27" y="79"/>
                    <a:pt x="27" y="79"/>
                    <a:pt x="27" y="79"/>
                  </a:cubicBezTo>
                  <a:cubicBezTo>
                    <a:pt x="27" y="74"/>
                    <a:pt x="27" y="74"/>
                    <a:pt x="27"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7" y="79"/>
                    <a:pt x="7" y="79"/>
                    <a:pt x="7" y="79"/>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1"/>
                  </a:moveTo>
                  <a:cubicBezTo>
                    <a:pt x="33" y="36"/>
                    <a:pt x="33" y="36"/>
                    <a:pt x="33" y="36"/>
                  </a:cubicBezTo>
                  <a:cubicBezTo>
                    <a:pt x="27" y="36"/>
                    <a:pt x="27" y="36"/>
                    <a:pt x="27" y="36"/>
                  </a:cubicBezTo>
                  <a:cubicBezTo>
                    <a:pt x="27" y="31"/>
                    <a:pt x="27" y="31"/>
                    <a:pt x="27"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7" y="36"/>
                    <a:pt x="7" y="36"/>
                    <a:pt x="7" y="36"/>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60" name="Freeform 2116"/>
            <p:cNvSpPr>
              <a:spLocks noEditPoints="1"/>
            </p:cNvSpPr>
            <p:nvPr/>
          </p:nvSpPr>
          <p:spPr bwMode="auto">
            <a:xfrm>
              <a:off x="17765713" y="2416175"/>
              <a:ext cx="153988" cy="549275"/>
            </a:xfrm>
            <a:custGeom>
              <a:avLst/>
              <a:gdLst>
                <a:gd name="T0" fmla="*/ 9 w 41"/>
                <a:gd name="T1" fmla="*/ 146 h 146"/>
                <a:gd name="T2" fmla="*/ 41 w 41"/>
                <a:gd name="T3" fmla="*/ 9 h 146"/>
                <a:gd name="T4" fmla="*/ 0 w 41"/>
                <a:gd name="T5" fmla="*/ 9 h 146"/>
                <a:gd name="T6" fmla="*/ 13 w 41"/>
                <a:gd name="T7" fmla="*/ 126 h 146"/>
                <a:gd name="T8" fmla="*/ 33 w 41"/>
                <a:gd name="T9" fmla="*/ 74 h 146"/>
                <a:gd name="T10" fmla="*/ 27 w 41"/>
                <a:gd name="T11" fmla="*/ 74 h 146"/>
                <a:gd name="T12" fmla="*/ 23 w 41"/>
                <a:gd name="T13" fmla="*/ 74 h 146"/>
                <a:gd name="T14" fmla="*/ 17 w 41"/>
                <a:gd name="T15" fmla="*/ 74 h 146"/>
                <a:gd name="T16" fmla="*/ 13 w 41"/>
                <a:gd name="T17" fmla="*/ 74 h 146"/>
                <a:gd name="T18" fmla="*/ 7 w 41"/>
                <a:gd name="T19" fmla="*/ 74 h 146"/>
                <a:gd name="T20" fmla="*/ 33 w 41"/>
                <a:gd name="T21" fmla="*/ 63 h 146"/>
                <a:gd name="T22" fmla="*/ 27 w 41"/>
                <a:gd name="T23" fmla="*/ 63 h 146"/>
                <a:gd name="T24" fmla="*/ 23 w 41"/>
                <a:gd name="T25" fmla="*/ 63 h 146"/>
                <a:gd name="T26" fmla="*/ 17 w 41"/>
                <a:gd name="T27" fmla="*/ 63 h 146"/>
                <a:gd name="T28" fmla="*/ 13 w 41"/>
                <a:gd name="T29" fmla="*/ 63 h 146"/>
                <a:gd name="T30" fmla="*/ 7 w 41"/>
                <a:gd name="T31" fmla="*/ 63 h 146"/>
                <a:gd name="T32" fmla="*/ 33 w 41"/>
                <a:gd name="T33" fmla="*/ 52 h 146"/>
                <a:gd name="T34" fmla="*/ 27 w 41"/>
                <a:gd name="T35" fmla="*/ 52 h 146"/>
                <a:gd name="T36" fmla="*/ 23 w 41"/>
                <a:gd name="T37" fmla="*/ 52 h 146"/>
                <a:gd name="T38" fmla="*/ 17 w 41"/>
                <a:gd name="T39" fmla="*/ 52 h 146"/>
                <a:gd name="T40" fmla="*/ 13 w 41"/>
                <a:gd name="T41" fmla="*/ 52 h 146"/>
                <a:gd name="T42" fmla="*/ 7 w 41"/>
                <a:gd name="T43" fmla="*/ 52 h 146"/>
                <a:gd name="T44" fmla="*/ 33 w 41"/>
                <a:gd name="T45" fmla="*/ 41 h 146"/>
                <a:gd name="T46" fmla="*/ 27 w 41"/>
                <a:gd name="T47" fmla="*/ 41 h 146"/>
                <a:gd name="T48" fmla="*/ 23 w 41"/>
                <a:gd name="T49" fmla="*/ 41 h 146"/>
                <a:gd name="T50" fmla="*/ 17 w 41"/>
                <a:gd name="T51" fmla="*/ 41 h 146"/>
                <a:gd name="T52" fmla="*/ 13 w 41"/>
                <a:gd name="T53" fmla="*/ 41 h 146"/>
                <a:gd name="T54" fmla="*/ 7 w 41"/>
                <a:gd name="T55" fmla="*/ 41 h 146"/>
                <a:gd name="T56" fmla="*/ 33 w 41"/>
                <a:gd name="T57" fmla="*/ 31 h 146"/>
                <a:gd name="T58" fmla="*/ 27 w 41"/>
                <a:gd name="T59" fmla="*/ 31 h 146"/>
                <a:gd name="T60" fmla="*/ 23 w 41"/>
                <a:gd name="T61" fmla="*/ 31 h 146"/>
                <a:gd name="T62" fmla="*/ 17 w 41"/>
                <a:gd name="T63" fmla="*/ 31 h 146"/>
                <a:gd name="T64" fmla="*/ 13 w 41"/>
                <a:gd name="T65" fmla="*/ 31 h 146"/>
                <a:gd name="T66" fmla="*/ 7 w 41"/>
                <a:gd name="T67" fmla="*/ 31 h 146"/>
                <a:gd name="T68" fmla="*/ 33 w 41"/>
                <a:gd name="T69" fmla="*/ 20 h 146"/>
                <a:gd name="T70" fmla="*/ 27 w 41"/>
                <a:gd name="T71" fmla="*/ 20 h 146"/>
                <a:gd name="T72" fmla="*/ 23 w 41"/>
                <a:gd name="T73" fmla="*/ 20 h 146"/>
                <a:gd name="T74" fmla="*/ 17 w 41"/>
                <a:gd name="T75" fmla="*/ 20 h 146"/>
                <a:gd name="T76" fmla="*/ 13 w 41"/>
                <a:gd name="T77" fmla="*/ 20 h 146"/>
                <a:gd name="T78" fmla="*/ 7 w 41"/>
                <a:gd name="T79" fmla="*/ 20 h 146"/>
                <a:gd name="T80" fmla="*/ 33 w 41"/>
                <a:gd name="T81" fmla="*/ 9 h 146"/>
                <a:gd name="T82" fmla="*/ 27 w 41"/>
                <a:gd name="T83" fmla="*/ 9 h 146"/>
                <a:gd name="T84" fmla="*/ 23 w 41"/>
                <a:gd name="T85" fmla="*/ 9 h 146"/>
                <a:gd name="T86" fmla="*/ 17 w 41"/>
                <a:gd name="T87" fmla="*/ 9 h 146"/>
                <a:gd name="T88" fmla="*/ 13 w 41"/>
                <a:gd name="T89" fmla="*/ 9 h 146"/>
                <a:gd name="T90" fmla="*/ 7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1" y="146"/>
                    <a:pt x="31" y="146"/>
                    <a:pt x="31" y="146"/>
                  </a:cubicBezTo>
                  <a:cubicBezTo>
                    <a:pt x="36" y="146"/>
                    <a:pt x="41" y="142"/>
                    <a:pt x="41" y="137"/>
                  </a:cubicBezTo>
                  <a:cubicBezTo>
                    <a:pt x="41" y="9"/>
                    <a:pt x="41" y="9"/>
                    <a:pt x="41" y="9"/>
                  </a:cubicBezTo>
                  <a:cubicBezTo>
                    <a:pt x="41" y="4"/>
                    <a:pt x="36" y="0"/>
                    <a:pt x="31" y="0"/>
                  </a:cubicBezTo>
                  <a:cubicBezTo>
                    <a:pt x="9" y="0"/>
                    <a:pt x="9" y="0"/>
                    <a:pt x="9" y="0"/>
                  </a:cubicBezTo>
                  <a:cubicBezTo>
                    <a:pt x="4" y="0"/>
                    <a:pt x="0" y="4"/>
                    <a:pt x="0" y="9"/>
                  </a:cubicBezTo>
                  <a:close/>
                  <a:moveTo>
                    <a:pt x="28" y="126"/>
                  </a:moveTo>
                  <a:cubicBezTo>
                    <a:pt x="28" y="130"/>
                    <a:pt x="24" y="134"/>
                    <a:pt x="20" y="134"/>
                  </a:cubicBezTo>
                  <a:cubicBezTo>
                    <a:pt x="16" y="134"/>
                    <a:pt x="13" y="130"/>
                    <a:pt x="13" y="126"/>
                  </a:cubicBezTo>
                  <a:cubicBezTo>
                    <a:pt x="13" y="122"/>
                    <a:pt x="16" y="119"/>
                    <a:pt x="20" y="119"/>
                  </a:cubicBezTo>
                  <a:cubicBezTo>
                    <a:pt x="24" y="119"/>
                    <a:pt x="28" y="122"/>
                    <a:pt x="28" y="126"/>
                  </a:cubicBezTo>
                  <a:close/>
                  <a:moveTo>
                    <a:pt x="33" y="74"/>
                  </a:moveTo>
                  <a:cubicBezTo>
                    <a:pt x="33" y="79"/>
                    <a:pt x="33" y="79"/>
                    <a:pt x="33" y="79"/>
                  </a:cubicBezTo>
                  <a:cubicBezTo>
                    <a:pt x="27" y="79"/>
                    <a:pt x="27" y="79"/>
                    <a:pt x="27" y="79"/>
                  </a:cubicBezTo>
                  <a:cubicBezTo>
                    <a:pt x="27" y="74"/>
                    <a:pt x="27" y="74"/>
                    <a:pt x="27"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7" y="79"/>
                    <a:pt x="7" y="79"/>
                    <a:pt x="7" y="79"/>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1"/>
                  </a:moveTo>
                  <a:cubicBezTo>
                    <a:pt x="33" y="36"/>
                    <a:pt x="33" y="36"/>
                    <a:pt x="33" y="36"/>
                  </a:cubicBezTo>
                  <a:cubicBezTo>
                    <a:pt x="27" y="36"/>
                    <a:pt x="27" y="36"/>
                    <a:pt x="27" y="36"/>
                  </a:cubicBezTo>
                  <a:cubicBezTo>
                    <a:pt x="27" y="31"/>
                    <a:pt x="27" y="31"/>
                    <a:pt x="27"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7" y="36"/>
                    <a:pt x="7" y="36"/>
                    <a:pt x="7" y="36"/>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61" name="Freeform 2117"/>
            <p:cNvSpPr>
              <a:spLocks noEditPoints="1"/>
            </p:cNvSpPr>
            <p:nvPr/>
          </p:nvSpPr>
          <p:spPr bwMode="auto">
            <a:xfrm>
              <a:off x="17983200" y="2416175"/>
              <a:ext cx="153988" cy="549275"/>
            </a:xfrm>
            <a:custGeom>
              <a:avLst/>
              <a:gdLst>
                <a:gd name="T0" fmla="*/ 9 w 41"/>
                <a:gd name="T1" fmla="*/ 146 h 146"/>
                <a:gd name="T2" fmla="*/ 41 w 41"/>
                <a:gd name="T3" fmla="*/ 9 h 146"/>
                <a:gd name="T4" fmla="*/ 0 w 41"/>
                <a:gd name="T5" fmla="*/ 9 h 146"/>
                <a:gd name="T6" fmla="*/ 13 w 41"/>
                <a:gd name="T7" fmla="*/ 126 h 146"/>
                <a:gd name="T8" fmla="*/ 33 w 41"/>
                <a:gd name="T9" fmla="*/ 74 h 146"/>
                <a:gd name="T10" fmla="*/ 28 w 41"/>
                <a:gd name="T11" fmla="*/ 74 h 146"/>
                <a:gd name="T12" fmla="*/ 23 w 41"/>
                <a:gd name="T13" fmla="*/ 74 h 146"/>
                <a:gd name="T14" fmla="*/ 17 w 41"/>
                <a:gd name="T15" fmla="*/ 74 h 146"/>
                <a:gd name="T16" fmla="*/ 13 w 41"/>
                <a:gd name="T17" fmla="*/ 74 h 146"/>
                <a:gd name="T18" fmla="*/ 7 w 41"/>
                <a:gd name="T19" fmla="*/ 74 h 146"/>
                <a:gd name="T20" fmla="*/ 33 w 41"/>
                <a:gd name="T21" fmla="*/ 63 h 146"/>
                <a:gd name="T22" fmla="*/ 28 w 41"/>
                <a:gd name="T23" fmla="*/ 63 h 146"/>
                <a:gd name="T24" fmla="*/ 23 w 41"/>
                <a:gd name="T25" fmla="*/ 63 h 146"/>
                <a:gd name="T26" fmla="*/ 17 w 41"/>
                <a:gd name="T27" fmla="*/ 63 h 146"/>
                <a:gd name="T28" fmla="*/ 13 w 41"/>
                <a:gd name="T29" fmla="*/ 63 h 146"/>
                <a:gd name="T30" fmla="*/ 7 w 41"/>
                <a:gd name="T31" fmla="*/ 63 h 146"/>
                <a:gd name="T32" fmla="*/ 33 w 41"/>
                <a:gd name="T33" fmla="*/ 52 h 146"/>
                <a:gd name="T34" fmla="*/ 28 w 41"/>
                <a:gd name="T35" fmla="*/ 52 h 146"/>
                <a:gd name="T36" fmla="*/ 23 w 41"/>
                <a:gd name="T37" fmla="*/ 52 h 146"/>
                <a:gd name="T38" fmla="*/ 17 w 41"/>
                <a:gd name="T39" fmla="*/ 52 h 146"/>
                <a:gd name="T40" fmla="*/ 13 w 41"/>
                <a:gd name="T41" fmla="*/ 52 h 146"/>
                <a:gd name="T42" fmla="*/ 7 w 41"/>
                <a:gd name="T43" fmla="*/ 52 h 146"/>
                <a:gd name="T44" fmla="*/ 33 w 41"/>
                <a:gd name="T45" fmla="*/ 41 h 146"/>
                <a:gd name="T46" fmla="*/ 28 w 41"/>
                <a:gd name="T47" fmla="*/ 41 h 146"/>
                <a:gd name="T48" fmla="*/ 23 w 41"/>
                <a:gd name="T49" fmla="*/ 41 h 146"/>
                <a:gd name="T50" fmla="*/ 17 w 41"/>
                <a:gd name="T51" fmla="*/ 41 h 146"/>
                <a:gd name="T52" fmla="*/ 13 w 41"/>
                <a:gd name="T53" fmla="*/ 41 h 146"/>
                <a:gd name="T54" fmla="*/ 7 w 41"/>
                <a:gd name="T55" fmla="*/ 41 h 146"/>
                <a:gd name="T56" fmla="*/ 33 w 41"/>
                <a:gd name="T57" fmla="*/ 31 h 146"/>
                <a:gd name="T58" fmla="*/ 28 w 41"/>
                <a:gd name="T59" fmla="*/ 31 h 146"/>
                <a:gd name="T60" fmla="*/ 23 w 41"/>
                <a:gd name="T61" fmla="*/ 31 h 146"/>
                <a:gd name="T62" fmla="*/ 17 w 41"/>
                <a:gd name="T63" fmla="*/ 31 h 146"/>
                <a:gd name="T64" fmla="*/ 13 w 41"/>
                <a:gd name="T65" fmla="*/ 31 h 146"/>
                <a:gd name="T66" fmla="*/ 7 w 41"/>
                <a:gd name="T67" fmla="*/ 31 h 146"/>
                <a:gd name="T68" fmla="*/ 33 w 41"/>
                <a:gd name="T69" fmla="*/ 20 h 146"/>
                <a:gd name="T70" fmla="*/ 28 w 41"/>
                <a:gd name="T71" fmla="*/ 20 h 146"/>
                <a:gd name="T72" fmla="*/ 23 w 41"/>
                <a:gd name="T73" fmla="*/ 20 h 146"/>
                <a:gd name="T74" fmla="*/ 17 w 41"/>
                <a:gd name="T75" fmla="*/ 20 h 146"/>
                <a:gd name="T76" fmla="*/ 13 w 41"/>
                <a:gd name="T77" fmla="*/ 20 h 146"/>
                <a:gd name="T78" fmla="*/ 7 w 41"/>
                <a:gd name="T79" fmla="*/ 20 h 146"/>
                <a:gd name="T80" fmla="*/ 33 w 41"/>
                <a:gd name="T81" fmla="*/ 9 h 146"/>
                <a:gd name="T82" fmla="*/ 28 w 41"/>
                <a:gd name="T83" fmla="*/ 9 h 146"/>
                <a:gd name="T84" fmla="*/ 23 w 41"/>
                <a:gd name="T85" fmla="*/ 9 h 146"/>
                <a:gd name="T86" fmla="*/ 17 w 41"/>
                <a:gd name="T87" fmla="*/ 9 h 146"/>
                <a:gd name="T88" fmla="*/ 13 w 41"/>
                <a:gd name="T89" fmla="*/ 9 h 146"/>
                <a:gd name="T90" fmla="*/ 7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1" y="146"/>
                    <a:pt x="31" y="146"/>
                    <a:pt x="31" y="146"/>
                  </a:cubicBezTo>
                  <a:cubicBezTo>
                    <a:pt x="37" y="146"/>
                    <a:pt x="41" y="142"/>
                    <a:pt x="41" y="137"/>
                  </a:cubicBezTo>
                  <a:cubicBezTo>
                    <a:pt x="41" y="9"/>
                    <a:pt x="41" y="9"/>
                    <a:pt x="41" y="9"/>
                  </a:cubicBezTo>
                  <a:cubicBezTo>
                    <a:pt x="41" y="4"/>
                    <a:pt x="37" y="0"/>
                    <a:pt x="31" y="0"/>
                  </a:cubicBezTo>
                  <a:cubicBezTo>
                    <a:pt x="9" y="0"/>
                    <a:pt x="9" y="0"/>
                    <a:pt x="9" y="0"/>
                  </a:cubicBezTo>
                  <a:cubicBezTo>
                    <a:pt x="4" y="0"/>
                    <a:pt x="0" y="4"/>
                    <a:pt x="0" y="9"/>
                  </a:cubicBezTo>
                  <a:close/>
                  <a:moveTo>
                    <a:pt x="28" y="126"/>
                  </a:moveTo>
                  <a:cubicBezTo>
                    <a:pt x="28" y="130"/>
                    <a:pt x="25" y="134"/>
                    <a:pt x="20" y="134"/>
                  </a:cubicBezTo>
                  <a:cubicBezTo>
                    <a:pt x="16" y="134"/>
                    <a:pt x="13" y="130"/>
                    <a:pt x="13" y="126"/>
                  </a:cubicBezTo>
                  <a:cubicBezTo>
                    <a:pt x="13" y="122"/>
                    <a:pt x="16" y="119"/>
                    <a:pt x="20" y="119"/>
                  </a:cubicBezTo>
                  <a:cubicBezTo>
                    <a:pt x="25" y="119"/>
                    <a:pt x="28" y="122"/>
                    <a:pt x="28" y="126"/>
                  </a:cubicBezTo>
                  <a:close/>
                  <a:moveTo>
                    <a:pt x="33" y="74"/>
                  </a:moveTo>
                  <a:cubicBezTo>
                    <a:pt x="33" y="79"/>
                    <a:pt x="33" y="79"/>
                    <a:pt x="33" y="79"/>
                  </a:cubicBezTo>
                  <a:cubicBezTo>
                    <a:pt x="28" y="79"/>
                    <a:pt x="28" y="79"/>
                    <a:pt x="28" y="79"/>
                  </a:cubicBezTo>
                  <a:cubicBezTo>
                    <a:pt x="28" y="74"/>
                    <a:pt x="28" y="74"/>
                    <a:pt x="28"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7" y="79"/>
                    <a:pt x="7" y="79"/>
                    <a:pt x="7" y="79"/>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8" y="69"/>
                    <a:pt x="28" y="69"/>
                    <a:pt x="28" y="69"/>
                  </a:cubicBezTo>
                  <a:cubicBezTo>
                    <a:pt x="28" y="63"/>
                    <a:pt x="28" y="63"/>
                    <a:pt x="28"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8" y="58"/>
                    <a:pt x="28" y="58"/>
                    <a:pt x="28" y="58"/>
                  </a:cubicBezTo>
                  <a:cubicBezTo>
                    <a:pt x="28" y="52"/>
                    <a:pt x="28" y="52"/>
                    <a:pt x="28"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8" y="47"/>
                    <a:pt x="28" y="47"/>
                    <a:pt x="28" y="47"/>
                  </a:cubicBezTo>
                  <a:cubicBezTo>
                    <a:pt x="28" y="41"/>
                    <a:pt x="28" y="41"/>
                    <a:pt x="28"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1"/>
                  </a:moveTo>
                  <a:cubicBezTo>
                    <a:pt x="33" y="36"/>
                    <a:pt x="33" y="36"/>
                    <a:pt x="33" y="36"/>
                  </a:cubicBezTo>
                  <a:cubicBezTo>
                    <a:pt x="28" y="36"/>
                    <a:pt x="28" y="36"/>
                    <a:pt x="28" y="36"/>
                  </a:cubicBezTo>
                  <a:cubicBezTo>
                    <a:pt x="28" y="31"/>
                    <a:pt x="28" y="31"/>
                    <a:pt x="28"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7" y="36"/>
                    <a:pt x="7" y="36"/>
                    <a:pt x="7" y="36"/>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8" y="26"/>
                    <a:pt x="28" y="26"/>
                    <a:pt x="28" y="26"/>
                  </a:cubicBezTo>
                  <a:cubicBezTo>
                    <a:pt x="28" y="20"/>
                    <a:pt x="28" y="20"/>
                    <a:pt x="28"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8" y="15"/>
                    <a:pt x="28" y="15"/>
                    <a:pt x="28" y="15"/>
                  </a:cubicBezTo>
                  <a:cubicBezTo>
                    <a:pt x="28" y="9"/>
                    <a:pt x="28" y="9"/>
                    <a:pt x="28"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62" name="Freeform 2118"/>
            <p:cNvSpPr>
              <a:spLocks noEditPoints="1"/>
            </p:cNvSpPr>
            <p:nvPr/>
          </p:nvSpPr>
          <p:spPr bwMode="auto">
            <a:xfrm>
              <a:off x="18200688" y="2416175"/>
              <a:ext cx="153988" cy="549275"/>
            </a:xfrm>
            <a:custGeom>
              <a:avLst/>
              <a:gdLst>
                <a:gd name="T0" fmla="*/ 10 w 41"/>
                <a:gd name="T1" fmla="*/ 146 h 146"/>
                <a:gd name="T2" fmla="*/ 41 w 41"/>
                <a:gd name="T3" fmla="*/ 9 h 146"/>
                <a:gd name="T4" fmla="*/ 0 w 41"/>
                <a:gd name="T5" fmla="*/ 9 h 146"/>
                <a:gd name="T6" fmla="*/ 13 w 41"/>
                <a:gd name="T7" fmla="*/ 126 h 146"/>
                <a:gd name="T8" fmla="*/ 34 w 41"/>
                <a:gd name="T9" fmla="*/ 74 h 146"/>
                <a:gd name="T10" fmla="*/ 28 w 41"/>
                <a:gd name="T11" fmla="*/ 74 h 146"/>
                <a:gd name="T12" fmla="*/ 23 w 41"/>
                <a:gd name="T13" fmla="*/ 74 h 146"/>
                <a:gd name="T14" fmla="*/ 18 w 41"/>
                <a:gd name="T15" fmla="*/ 74 h 146"/>
                <a:gd name="T16" fmla="*/ 14 w 41"/>
                <a:gd name="T17" fmla="*/ 74 h 146"/>
                <a:gd name="T18" fmla="*/ 8 w 41"/>
                <a:gd name="T19" fmla="*/ 74 h 146"/>
                <a:gd name="T20" fmla="*/ 34 w 41"/>
                <a:gd name="T21" fmla="*/ 63 h 146"/>
                <a:gd name="T22" fmla="*/ 28 w 41"/>
                <a:gd name="T23" fmla="*/ 63 h 146"/>
                <a:gd name="T24" fmla="*/ 23 w 41"/>
                <a:gd name="T25" fmla="*/ 63 h 146"/>
                <a:gd name="T26" fmla="*/ 18 w 41"/>
                <a:gd name="T27" fmla="*/ 63 h 146"/>
                <a:gd name="T28" fmla="*/ 14 w 41"/>
                <a:gd name="T29" fmla="*/ 63 h 146"/>
                <a:gd name="T30" fmla="*/ 8 w 41"/>
                <a:gd name="T31" fmla="*/ 63 h 146"/>
                <a:gd name="T32" fmla="*/ 34 w 41"/>
                <a:gd name="T33" fmla="*/ 52 h 146"/>
                <a:gd name="T34" fmla="*/ 28 w 41"/>
                <a:gd name="T35" fmla="*/ 52 h 146"/>
                <a:gd name="T36" fmla="*/ 23 w 41"/>
                <a:gd name="T37" fmla="*/ 52 h 146"/>
                <a:gd name="T38" fmla="*/ 18 w 41"/>
                <a:gd name="T39" fmla="*/ 52 h 146"/>
                <a:gd name="T40" fmla="*/ 14 w 41"/>
                <a:gd name="T41" fmla="*/ 52 h 146"/>
                <a:gd name="T42" fmla="*/ 8 w 41"/>
                <a:gd name="T43" fmla="*/ 52 h 146"/>
                <a:gd name="T44" fmla="*/ 34 w 41"/>
                <a:gd name="T45" fmla="*/ 41 h 146"/>
                <a:gd name="T46" fmla="*/ 28 w 41"/>
                <a:gd name="T47" fmla="*/ 41 h 146"/>
                <a:gd name="T48" fmla="*/ 23 w 41"/>
                <a:gd name="T49" fmla="*/ 41 h 146"/>
                <a:gd name="T50" fmla="*/ 18 w 41"/>
                <a:gd name="T51" fmla="*/ 41 h 146"/>
                <a:gd name="T52" fmla="*/ 14 w 41"/>
                <a:gd name="T53" fmla="*/ 41 h 146"/>
                <a:gd name="T54" fmla="*/ 8 w 41"/>
                <a:gd name="T55" fmla="*/ 41 h 146"/>
                <a:gd name="T56" fmla="*/ 34 w 41"/>
                <a:gd name="T57" fmla="*/ 31 h 146"/>
                <a:gd name="T58" fmla="*/ 28 w 41"/>
                <a:gd name="T59" fmla="*/ 31 h 146"/>
                <a:gd name="T60" fmla="*/ 23 w 41"/>
                <a:gd name="T61" fmla="*/ 31 h 146"/>
                <a:gd name="T62" fmla="*/ 18 w 41"/>
                <a:gd name="T63" fmla="*/ 31 h 146"/>
                <a:gd name="T64" fmla="*/ 14 w 41"/>
                <a:gd name="T65" fmla="*/ 31 h 146"/>
                <a:gd name="T66" fmla="*/ 8 w 41"/>
                <a:gd name="T67" fmla="*/ 31 h 146"/>
                <a:gd name="T68" fmla="*/ 34 w 41"/>
                <a:gd name="T69" fmla="*/ 20 h 146"/>
                <a:gd name="T70" fmla="*/ 28 w 41"/>
                <a:gd name="T71" fmla="*/ 20 h 146"/>
                <a:gd name="T72" fmla="*/ 23 w 41"/>
                <a:gd name="T73" fmla="*/ 20 h 146"/>
                <a:gd name="T74" fmla="*/ 18 w 41"/>
                <a:gd name="T75" fmla="*/ 20 h 146"/>
                <a:gd name="T76" fmla="*/ 14 w 41"/>
                <a:gd name="T77" fmla="*/ 20 h 146"/>
                <a:gd name="T78" fmla="*/ 8 w 41"/>
                <a:gd name="T79" fmla="*/ 20 h 146"/>
                <a:gd name="T80" fmla="*/ 34 w 41"/>
                <a:gd name="T81" fmla="*/ 9 h 146"/>
                <a:gd name="T82" fmla="*/ 28 w 41"/>
                <a:gd name="T83" fmla="*/ 9 h 146"/>
                <a:gd name="T84" fmla="*/ 23 w 41"/>
                <a:gd name="T85" fmla="*/ 9 h 146"/>
                <a:gd name="T86" fmla="*/ 18 w 41"/>
                <a:gd name="T87" fmla="*/ 9 h 146"/>
                <a:gd name="T88" fmla="*/ 14 w 41"/>
                <a:gd name="T89" fmla="*/ 9 h 146"/>
                <a:gd name="T90" fmla="*/ 8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10" y="146"/>
                  </a:cubicBezTo>
                  <a:cubicBezTo>
                    <a:pt x="32" y="146"/>
                    <a:pt x="32" y="146"/>
                    <a:pt x="32" y="146"/>
                  </a:cubicBezTo>
                  <a:cubicBezTo>
                    <a:pt x="37" y="146"/>
                    <a:pt x="41" y="142"/>
                    <a:pt x="41" y="137"/>
                  </a:cubicBezTo>
                  <a:cubicBezTo>
                    <a:pt x="41" y="9"/>
                    <a:pt x="41" y="9"/>
                    <a:pt x="41" y="9"/>
                  </a:cubicBezTo>
                  <a:cubicBezTo>
                    <a:pt x="41" y="4"/>
                    <a:pt x="37" y="0"/>
                    <a:pt x="32" y="0"/>
                  </a:cubicBezTo>
                  <a:cubicBezTo>
                    <a:pt x="10" y="0"/>
                    <a:pt x="10" y="0"/>
                    <a:pt x="10" y="0"/>
                  </a:cubicBezTo>
                  <a:cubicBezTo>
                    <a:pt x="4" y="0"/>
                    <a:pt x="0" y="4"/>
                    <a:pt x="0" y="9"/>
                  </a:cubicBezTo>
                  <a:close/>
                  <a:moveTo>
                    <a:pt x="28" y="126"/>
                  </a:moveTo>
                  <a:cubicBezTo>
                    <a:pt x="28" y="130"/>
                    <a:pt x="25" y="134"/>
                    <a:pt x="21" y="134"/>
                  </a:cubicBezTo>
                  <a:cubicBezTo>
                    <a:pt x="17" y="134"/>
                    <a:pt x="13" y="130"/>
                    <a:pt x="13" y="126"/>
                  </a:cubicBezTo>
                  <a:cubicBezTo>
                    <a:pt x="13" y="122"/>
                    <a:pt x="17" y="119"/>
                    <a:pt x="21" y="119"/>
                  </a:cubicBezTo>
                  <a:cubicBezTo>
                    <a:pt x="25" y="119"/>
                    <a:pt x="28" y="122"/>
                    <a:pt x="28" y="126"/>
                  </a:cubicBezTo>
                  <a:close/>
                  <a:moveTo>
                    <a:pt x="34" y="74"/>
                  </a:moveTo>
                  <a:cubicBezTo>
                    <a:pt x="34" y="79"/>
                    <a:pt x="34" y="79"/>
                    <a:pt x="34" y="79"/>
                  </a:cubicBezTo>
                  <a:cubicBezTo>
                    <a:pt x="28" y="79"/>
                    <a:pt x="28" y="79"/>
                    <a:pt x="28" y="79"/>
                  </a:cubicBezTo>
                  <a:cubicBezTo>
                    <a:pt x="28" y="74"/>
                    <a:pt x="28" y="74"/>
                    <a:pt x="28" y="74"/>
                  </a:cubicBezTo>
                  <a:cubicBezTo>
                    <a:pt x="34" y="74"/>
                    <a:pt x="34" y="74"/>
                    <a:pt x="34" y="74"/>
                  </a:cubicBezTo>
                  <a:cubicBezTo>
                    <a:pt x="34" y="74"/>
                    <a:pt x="34" y="74"/>
                    <a:pt x="34" y="74"/>
                  </a:cubicBezTo>
                  <a:close/>
                  <a:moveTo>
                    <a:pt x="23" y="74"/>
                  </a:moveTo>
                  <a:cubicBezTo>
                    <a:pt x="23" y="79"/>
                    <a:pt x="23" y="79"/>
                    <a:pt x="23" y="79"/>
                  </a:cubicBezTo>
                  <a:cubicBezTo>
                    <a:pt x="18" y="79"/>
                    <a:pt x="18" y="79"/>
                    <a:pt x="18" y="79"/>
                  </a:cubicBezTo>
                  <a:cubicBezTo>
                    <a:pt x="18" y="74"/>
                    <a:pt x="18" y="74"/>
                    <a:pt x="18" y="74"/>
                  </a:cubicBezTo>
                  <a:cubicBezTo>
                    <a:pt x="23" y="74"/>
                    <a:pt x="23" y="74"/>
                    <a:pt x="23" y="74"/>
                  </a:cubicBezTo>
                  <a:cubicBezTo>
                    <a:pt x="23" y="74"/>
                    <a:pt x="23" y="74"/>
                    <a:pt x="23" y="74"/>
                  </a:cubicBezTo>
                  <a:close/>
                  <a:moveTo>
                    <a:pt x="14" y="74"/>
                  </a:moveTo>
                  <a:cubicBezTo>
                    <a:pt x="14" y="79"/>
                    <a:pt x="14" y="79"/>
                    <a:pt x="14" y="79"/>
                  </a:cubicBezTo>
                  <a:cubicBezTo>
                    <a:pt x="8" y="79"/>
                    <a:pt x="8" y="79"/>
                    <a:pt x="8" y="79"/>
                  </a:cubicBezTo>
                  <a:cubicBezTo>
                    <a:pt x="8" y="74"/>
                    <a:pt x="8" y="74"/>
                    <a:pt x="8" y="74"/>
                  </a:cubicBezTo>
                  <a:cubicBezTo>
                    <a:pt x="14" y="74"/>
                    <a:pt x="14" y="74"/>
                    <a:pt x="14" y="74"/>
                  </a:cubicBezTo>
                  <a:cubicBezTo>
                    <a:pt x="14" y="74"/>
                    <a:pt x="14" y="74"/>
                    <a:pt x="14" y="74"/>
                  </a:cubicBezTo>
                  <a:close/>
                  <a:moveTo>
                    <a:pt x="34" y="63"/>
                  </a:moveTo>
                  <a:cubicBezTo>
                    <a:pt x="34" y="69"/>
                    <a:pt x="34" y="69"/>
                    <a:pt x="34" y="69"/>
                  </a:cubicBezTo>
                  <a:cubicBezTo>
                    <a:pt x="28" y="69"/>
                    <a:pt x="28" y="69"/>
                    <a:pt x="28" y="69"/>
                  </a:cubicBezTo>
                  <a:cubicBezTo>
                    <a:pt x="28" y="63"/>
                    <a:pt x="28" y="63"/>
                    <a:pt x="28" y="63"/>
                  </a:cubicBezTo>
                  <a:cubicBezTo>
                    <a:pt x="34" y="63"/>
                    <a:pt x="34" y="63"/>
                    <a:pt x="34" y="63"/>
                  </a:cubicBezTo>
                  <a:cubicBezTo>
                    <a:pt x="34" y="63"/>
                    <a:pt x="34" y="63"/>
                    <a:pt x="34" y="63"/>
                  </a:cubicBezTo>
                  <a:close/>
                  <a:moveTo>
                    <a:pt x="23" y="63"/>
                  </a:moveTo>
                  <a:cubicBezTo>
                    <a:pt x="23" y="69"/>
                    <a:pt x="23" y="69"/>
                    <a:pt x="23" y="69"/>
                  </a:cubicBezTo>
                  <a:cubicBezTo>
                    <a:pt x="18" y="69"/>
                    <a:pt x="18" y="69"/>
                    <a:pt x="18" y="69"/>
                  </a:cubicBezTo>
                  <a:cubicBezTo>
                    <a:pt x="18" y="63"/>
                    <a:pt x="18" y="63"/>
                    <a:pt x="18" y="63"/>
                  </a:cubicBezTo>
                  <a:cubicBezTo>
                    <a:pt x="23" y="63"/>
                    <a:pt x="23" y="63"/>
                    <a:pt x="23" y="63"/>
                  </a:cubicBezTo>
                  <a:cubicBezTo>
                    <a:pt x="23" y="63"/>
                    <a:pt x="23" y="63"/>
                    <a:pt x="23" y="63"/>
                  </a:cubicBezTo>
                  <a:close/>
                  <a:moveTo>
                    <a:pt x="14" y="63"/>
                  </a:moveTo>
                  <a:cubicBezTo>
                    <a:pt x="14" y="69"/>
                    <a:pt x="14" y="69"/>
                    <a:pt x="14" y="69"/>
                  </a:cubicBezTo>
                  <a:cubicBezTo>
                    <a:pt x="8" y="69"/>
                    <a:pt x="8" y="69"/>
                    <a:pt x="8" y="69"/>
                  </a:cubicBezTo>
                  <a:cubicBezTo>
                    <a:pt x="8" y="63"/>
                    <a:pt x="8" y="63"/>
                    <a:pt x="8" y="63"/>
                  </a:cubicBezTo>
                  <a:cubicBezTo>
                    <a:pt x="14" y="63"/>
                    <a:pt x="14" y="63"/>
                    <a:pt x="14" y="63"/>
                  </a:cubicBezTo>
                  <a:cubicBezTo>
                    <a:pt x="14" y="63"/>
                    <a:pt x="14" y="63"/>
                    <a:pt x="14" y="63"/>
                  </a:cubicBezTo>
                  <a:close/>
                  <a:moveTo>
                    <a:pt x="34" y="52"/>
                  </a:moveTo>
                  <a:cubicBezTo>
                    <a:pt x="34" y="58"/>
                    <a:pt x="34" y="58"/>
                    <a:pt x="34" y="58"/>
                  </a:cubicBezTo>
                  <a:cubicBezTo>
                    <a:pt x="28" y="58"/>
                    <a:pt x="28" y="58"/>
                    <a:pt x="28" y="58"/>
                  </a:cubicBezTo>
                  <a:cubicBezTo>
                    <a:pt x="28" y="52"/>
                    <a:pt x="28" y="52"/>
                    <a:pt x="28" y="52"/>
                  </a:cubicBezTo>
                  <a:cubicBezTo>
                    <a:pt x="34" y="52"/>
                    <a:pt x="34" y="52"/>
                    <a:pt x="34" y="52"/>
                  </a:cubicBezTo>
                  <a:cubicBezTo>
                    <a:pt x="34" y="52"/>
                    <a:pt x="34" y="52"/>
                    <a:pt x="34" y="52"/>
                  </a:cubicBezTo>
                  <a:close/>
                  <a:moveTo>
                    <a:pt x="23" y="52"/>
                  </a:moveTo>
                  <a:cubicBezTo>
                    <a:pt x="23" y="58"/>
                    <a:pt x="23" y="58"/>
                    <a:pt x="23" y="58"/>
                  </a:cubicBezTo>
                  <a:cubicBezTo>
                    <a:pt x="18" y="58"/>
                    <a:pt x="18" y="58"/>
                    <a:pt x="18" y="58"/>
                  </a:cubicBezTo>
                  <a:cubicBezTo>
                    <a:pt x="18" y="52"/>
                    <a:pt x="18" y="52"/>
                    <a:pt x="18" y="52"/>
                  </a:cubicBezTo>
                  <a:cubicBezTo>
                    <a:pt x="23" y="52"/>
                    <a:pt x="23" y="52"/>
                    <a:pt x="23" y="52"/>
                  </a:cubicBezTo>
                  <a:cubicBezTo>
                    <a:pt x="23" y="52"/>
                    <a:pt x="23" y="52"/>
                    <a:pt x="23" y="52"/>
                  </a:cubicBezTo>
                  <a:close/>
                  <a:moveTo>
                    <a:pt x="14" y="52"/>
                  </a:moveTo>
                  <a:cubicBezTo>
                    <a:pt x="14" y="58"/>
                    <a:pt x="14" y="58"/>
                    <a:pt x="14" y="58"/>
                  </a:cubicBezTo>
                  <a:cubicBezTo>
                    <a:pt x="8" y="58"/>
                    <a:pt x="8" y="58"/>
                    <a:pt x="8" y="58"/>
                  </a:cubicBezTo>
                  <a:cubicBezTo>
                    <a:pt x="8" y="52"/>
                    <a:pt x="8" y="52"/>
                    <a:pt x="8" y="52"/>
                  </a:cubicBezTo>
                  <a:cubicBezTo>
                    <a:pt x="14" y="52"/>
                    <a:pt x="14" y="52"/>
                    <a:pt x="14" y="52"/>
                  </a:cubicBezTo>
                  <a:cubicBezTo>
                    <a:pt x="14" y="52"/>
                    <a:pt x="14" y="52"/>
                    <a:pt x="14" y="52"/>
                  </a:cubicBezTo>
                  <a:close/>
                  <a:moveTo>
                    <a:pt x="34" y="41"/>
                  </a:moveTo>
                  <a:cubicBezTo>
                    <a:pt x="34" y="47"/>
                    <a:pt x="34" y="47"/>
                    <a:pt x="34" y="47"/>
                  </a:cubicBezTo>
                  <a:cubicBezTo>
                    <a:pt x="28" y="47"/>
                    <a:pt x="28" y="47"/>
                    <a:pt x="28" y="47"/>
                  </a:cubicBezTo>
                  <a:cubicBezTo>
                    <a:pt x="28" y="41"/>
                    <a:pt x="28" y="41"/>
                    <a:pt x="28" y="41"/>
                  </a:cubicBezTo>
                  <a:cubicBezTo>
                    <a:pt x="34" y="41"/>
                    <a:pt x="34" y="41"/>
                    <a:pt x="34" y="41"/>
                  </a:cubicBezTo>
                  <a:cubicBezTo>
                    <a:pt x="34" y="41"/>
                    <a:pt x="34" y="41"/>
                    <a:pt x="34" y="41"/>
                  </a:cubicBezTo>
                  <a:close/>
                  <a:moveTo>
                    <a:pt x="23" y="41"/>
                  </a:moveTo>
                  <a:cubicBezTo>
                    <a:pt x="23" y="47"/>
                    <a:pt x="23" y="47"/>
                    <a:pt x="23" y="47"/>
                  </a:cubicBezTo>
                  <a:cubicBezTo>
                    <a:pt x="18" y="47"/>
                    <a:pt x="18" y="47"/>
                    <a:pt x="18" y="47"/>
                  </a:cubicBezTo>
                  <a:cubicBezTo>
                    <a:pt x="18" y="41"/>
                    <a:pt x="18" y="41"/>
                    <a:pt x="18" y="41"/>
                  </a:cubicBezTo>
                  <a:cubicBezTo>
                    <a:pt x="23" y="41"/>
                    <a:pt x="23" y="41"/>
                    <a:pt x="23" y="41"/>
                  </a:cubicBezTo>
                  <a:cubicBezTo>
                    <a:pt x="23" y="41"/>
                    <a:pt x="23" y="41"/>
                    <a:pt x="23" y="41"/>
                  </a:cubicBezTo>
                  <a:close/>
                  <a:moveTo>
                    <a:pt x="14" y="41"/>
                  </a:moveTo>
                  <a:cubicBezTo>
                    <a:pt x="14" y="47"/>
                    <a:pt x="14" y="47"/>
                    <a:pt x="14" y="47"/>
                  </a:cubicBezTo>
                  <a:cubicBezTo>
                    <a:pt x="8" y="47"/>
                    <a:pt x="8" y="47"/>
                    <a:pt x="8" y="47"/>
                  </a:cubicBezTo>
                  <a:cubicBezTo>
                    <a:pt x="8" y="41"/>
                    <a:pt x="8" y="41"/>
                    <a:pt x="8" y="41"/>
                  </a:cubicBezTo>
                  <a:cubicBezTo>
                    <a:pt x="14" y="41"/>
                    <a:pt x="14" y="41"/>
                    <a:pt x="14" y="41"/>
                  </a:cubicBezTo>
                  <a:cubicBezTo>
                    <a:pt x="14" y="41"/>
                    <a:pt x="14" y="41"/>
                    <a:pt x="14" y="41"/>
                  </a:cubicBezTo>
                  <a:close/>
                  <a:moveTo>
                    <a:pt x="34" y="31"/>
                  </a:moveTo>
                  <a:cubicBezTo>
                    <a:pt x="34" y="36"/>
                    <a:pt x="34" y="36"/>
                    <a:pt x="34" y="36"/>
                  </a:cubicBezTo>
                  <a:cubicBezTo>
                    <a:pt x="28" y="36"/>
                    <a:pt x="28" y="36"/>
                    <a:pt x="28" y="36"/>
                  </a:cubicBezTo>
                  <a:cubicBezTo>
                    <a:pt x="28" y="31"/>
                    <a:pt x="28" y="31"/>
                    <a:pt x="28" y="31"/>
                  </a:cubicBezTo>
                  <a:cubicBezTo>
                    <a:pt x="34" y="31"/>
                    <a:pt x="34" y="31"/>
                    <a:pt x="34" y="31"/>
                  </a:cubicBezTo>
                  <a:cubicBezTo>
                    <a:pt x="34" y="31"/>
                    <a:pt x="34" y="31"/>
                    <a:pt x="34" y="31"/>
                  </a:cubicBezTo>
                  <a:close/>
                  <a:moveTo>
                    <a:pt x="23" y="31"/>
                  </a:moveTo>
                  <a:cubicBezTo>
                    <a:pt x="23" y="36"/>
                    <a:pt x="23" y="36"/>
                    <a:pt x="23" y="36"/>
                  </a:cubicBezTo>
                  <a:cubicBezTo>
                    <a:pt x="18" y="36"/>
                    <a:pt x="18" y="36"/>
                    <a:pt x="18" y="36"/>
                  </a:cubicBezTo>
                  <a:cubicBezTo>
                    <a:pt x="18" y="31"/>
                    <a:pt x="18" y="31"/>
                    <a:pt x="18" y="31"/>
                  </a:cubicBezTo>
                  <a:cubicBezTo>
                    <a:pt x="23" y="31"/>
                    <a:pt x="23" y="31"/>
                    <a:pt x="23" y="31"/>
                  </a:cubicBezTo>
                  <a:cubicBezTo>
                    <a:pt x="23" y="31"/>
                    <a:pt x="23" y="31"/>
                    <a:pt x="23" y="31"/>
                  </a:cubicBezTo>
                  <a:close/>
                  <a:moveTo>
                    <a:pt x="14" y="31"/>
                  </a:moveTo>
                  <a:cubicBezTo>
                    <a:pt x="14" y="36"/>
                    <a:pt x="14" y="36"/>
                    <a:pt x="14" y="36"/>
                  </a:cubicBezTo>
                  <a:cubicBezTo>
                    <a:pt x="8" y="36"/>
                    <a:pt x="8" y="36"/>
                    <a:pt x="8" y="36"/>
                  </a:cubicBezTo>
                  <a:cubicBezTo>
                    <a:pt x="8" y="31"/>
                    <a:pt x="8" y="31"/>
                    <a:pt x="8" y="31"/>
                  </a:cubicBezTo>
                  <a:cubicBezTo>
                    <a:pt x="14" y="31"/>
                    <a:pt x="14" y="31"/>
                    <a:pt x="14" y="31"/>
                  </a:cubicBezTo>
                  <a:cubicBezTo>
                    <a:pt x="14" y="31"/>
                    <a:pt x="14" y="31"/>
                    <a:pt x="14" y="31"/>
                  </a:cubicBezTo>
                  <a:close/>
                  <a:moveTo>
                    <a:pt x="34" y="20"/>
                  </a:moveTo>
                  <a:cubicBezTo>
                    <a:pt x="34" y="26"/>
                    <a:pt x="34" y="26"/>
                    <a:pt x="34" y="26"/>
                  </a:cubicBezTo>
                  <a:cubicBezTo>
                    <a:pt x="28" y="26"/>
                    <a:pt x="28" y="26"/>
                    <a:pt x="28" y="26"/>
                  </a:cubicBezTo>
                  <a:cubicBezTo>
                    <a:pt x="28" y="20"/>
                    <a:pt x="28" y="20"/>
                    <a:pt x="28" y="20"/>
                  </a:cubicBezTo>
                  <a:cubicBezTo>
                    <a:pt x="34" y="20"/>
                    <a:pt x="34" y="20"/>
                    <a:pt x="34" y="20"/>
                  </a:cubicBezTo>
                  <a:cubicBezTo>
                    <a:pt x="34" y="20"/>
                    <a:pt x="34" y="20"/>
                    <a:pt x="34" y="20"/>
                  </a:cubicBezTo>
                  <a:close/>
                  <a:moveTo>
                    <a:pt x="23" y="20"/>
                  </a:moveTo>
                  <a:cubicBezTo>
                    <a:pt x="23" y="26"/>
                    <a:pt x="23" y="26"/>
                    <a:pt x="23" y="26"/>
                  </a:cubicBezTo>
                  <a:cubicBezTo>
                    <a:pt x="18" y="26"/>
                    <a:pt x="18" y="26"/>
                    <a:pt x="18" y="26"/>
                  </a:cubicBezTo>
                  <a:cubicBezTo>
                    <a:pt x="18" y="20"/>
                    <a:pt x="18" y="20"/>
                    <a:pt x="18" y="20"/>
                  </a:cubicBezTo>
                  <a:cubicBezTo>
                    <a:pt x="23" y="20"/>
                    <a:pt x="23" y="20"/>
                    <a:pt x="23" y="20"/>
                  </a:cubicBezTo>
                  <a:cubicBezTo>
                    <a:pt x="23" y="20"/>
                    <a:pt x="23" y="20"/>
                    <a:pt x="23" y="20"/>
                  </a:cubicBezTo>
                  <a:close/>
                  <a:moveTo>
                    <a:pt x="14" y="20"/>
                  </a:moveTo>
                  <a:cubicBezTo>
                    <a:pt x="14" y="26"/>
                    <a:pt x="14" y="26"/>
                    <a:pt x="14" y="26"/>
                  </a:cubicBezTo>
                  <a:cubicBezTo>
                    <a:pt x="8" y="26"/>
                    <a:pt x="8" y="26"/>
                    <a:pt x="8" y="26"/>
                  </a:cubicBezTo>
                  <a:cubicBezTo>
                    <a:pt x="8" y="20"/>
                    <a:pt x="8" y="20"/>
                    <a:pt x="8" y="20"/>
                  </a:cubicBezTo>
                  <a:cubicBezTo>
                    <a:pt x="14" y="20"/>
                    <a:pt x="14" y="20"/>
                    <a:pt x="14" y="20"/>
                  </a:cubicBezTo>
                  <a:cubicBezTo>
                    <a:pt x="14" y="20"/>
                    <a:pt x="14" y="20"/>
                    <a:pt x="14" y="20"/>
                  </a:cubicBezTo>
                  <a:close/>
                  <a:moveTo>
                    <a:pt x="34" y="9"/>
                  </a:moveTo>
                  <a:cubicBezTo>
                    <a:pt x="34" y="15"/>
                    <a:pt x="34" y="15"/>
                    <a:pt x="34" y="15"/>
                  </a:cubicBezTo>
                  <a:cubicBezTo>
                    <a:pt x="28" y="15"/>
                    <a:pt x="28" y="15"/>
                    <a:pt x="28" y="15"/>
                  </a:cubicBezTo>
                  <a:cubicBezTo>
                    <a:pt x="28" y="9"/>
                    <a:pt x="28" y="9"/>
                    <a:pt x="28" y="9"/>
                  </a:cubicBezTo>
                  <a:cubicBezTo>
                    <a:pt x="34" y="9"/>
                    <a:pt x="34" y="9"/>
                    <a:pt x="34" y="9"/>
                  </a:cubicBezTo>
                  <a:cubicBezTo>
                    <a:pt x="34" y="9"/>
                    <a:pt x="34" y="9"/>
                    <a:pt x="34" y="9"/>
                  </a:cubicBezTo>
                  <a:close/>
                  <a:moveTo>
                    <a:pt x="23" y="9"/>
                  </a:moveTo>
                  <a:cubicBezTo>
                    <a:pt x="23" y="15"/>
                    <a:pt x="23" y="15"/>
                    <a:pt x="23" y="15"/>
                  </a:cubicBezTo>
                  <a:cubicBezTo>
                    <a:pt x="18" y="15"/>
                    <a:pt x="18" y="15"/>
                    <a:pt x="18" y="15"/>
                  </a:cubicBezTo>
                  <a:cubicBezTo>
                    <a:pt x="18" y="9"/>
                    <a:pt x="18" y="9"/>
                    <a:pt x="18" y="9"/>
                  </a:cubicBezTo>
                  <a:cubicBezTo>
                    <a:pt x="23" y="9"/>
                    <a:pt x="23" y="9"/>
                    <a:pt x="23" y="9"/>
                  </a:cubicBezTo>
                  <a:cubicBezTo>
                    <a:pt x="23" y="9"/>
                    <a:pt x="23" y="9"/>
                    <a:pt x="23" y="9"/>
                  </a:cubicBezTo>
                  <a:close/>
                  <a:moveTo>
                    <a:pt x="14" y="9"/>
                  </a:moveTo>
                  <a:cubicBezTo>
                    <a:pt x="14" y="15"/>
                    <a:pt x="14" y="15"/>
                    <a:pt x="14" y="15"/>
                  </a:cubicBezTo>
                  <a:cubicBezTo>
                    <a:pt x="8" y="15"/>
                    <a:pt x="8" y="15"/>
                    <a:pt x="8" y="15"/>
                  </a:cubicBezTo>
                  <a:cubicBezTo>
                    <a:pt x="8" y="9"/>
                    <a:pt x="8" y="9"/>
                    <a:pt x="8" y="9"/>
                  </a:cubicBezTo>
                  <a:cubicBezTo>
                    <a:pt x="14" y="9"/>
                    <a:pt x="14" y="9"/>
                    <a:pt x="14" y="9"/>
                  </a:cubicBezTo>
                  <a:cubicBezTo>
                    <a:pt x="14" y="9"/>
                    <a:pt x="14" y="9"/>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63" name="Freeform 2119"/>
            <p:cNvSpPr>
              <a:spLocks noEditPoints="1"/>
            </p:cNvSpPr>
            <p:nvPr/>
          </p:nvSpPr>
          <p:spPr bwMode="auto">
            <a:xfrm>
              <a:off x="18422938" y="2416175"/>
              <a:ext cx="149225" cy="549275"/>
            </a:xfrm>
            <a:custGeom>
              <a:avLst/>
              <a:gdLst>
                <a:gd name="T0" fmla="*/ 9 w 40"/>
                <a:gd name="T1" fmla="*/ 146 h 146"/>
                <a:gd name="T2" fmla="*/ 40 w 40"/>
                <a:gd name="T3" fmla="*/ 9 h 146"/>
                <a:gd name="T4" fmla="*/ 0 w 40"/>
                <a:gd name="T5" fmla="*/ 9 h 146"/>
                <a:gd name="T6" fmla="*/ 13 w 40"/>
                <a:gd name="T7" fmla="*/ 126 h 146"/>
                <a:gd name="T8" fmla="*/ 33 w 40"/>
                <a:gd name="T9" fmla="*/ 74 h 146"/>
                <a:gd name="T10" fmla="*/ 27 w 40"/>
                <a:gd name="T11" fmla="*/ 74 h 146"/>
                <a:gd name="T12" fmla="*/ 23 w 40"/>
                <a:gd name="T13" fmla="*/ 74 h 146"/>
                <a:gd name="T14" fmla="*/ 17 w 40"/>
                <a:gd name="T15" fmla="*/ 74 h 146"/>
                <a:gd name="T16" fmla="*/ 13 w 40"/>
                <a:gd name="T17" fmla="*/ 74 h 146"/>
                <a:gd name="T18" fmla="*/ 7 w 40"/>
                <a:gd name="T19" fmla="*/ 74 h 146"/>
                <a:gd name="T20" fmla="*/ 33 w 40"/>
                <a:gd name="T21" fmla="*/ 63 h 146"/>
                <a:gd name="T22" fmla="*/ 27 w 40"/>
                <a:gd name="T23" fmla="*/ 63 h 146"/>
                <a:gd name="T24" fmla="*/ 23 w 40"/>
                <a:gd name="T25" fmla="*/ 63 h 146"/>
                <a:gd name="T26" fmla="*/ 17 w 40"/>
                <a:gd name="T27" fmla="*/ 63 h 146"/>
                <a:gd name="T28" fmla="*/ 13 w 40"/>
                <a:gd name="T29" fmla="*/ 63 h 146"/>
                <a:gd name="T30" fmla="*/ 7 w 40"/>
                <a:gd name="T31" fmla="*/ 63 h 146"/>
                <a:gd name="T32" fmla="*/ 33 w 40"/>
                <a:gd name="T33" fmla="*/ 52 h 146"/>
                <a:gd name="T34" fmla="*/ 27 w 40"/>
                <a:gd name="T35" fmla="*/ 52 h 146"/>
                <a:gd name="T36" fmla="*/ 23 w 40"/>
                <a:gd name="T37" fmla="*/ 52 h 146"/>
                <a:gd name="T38" fmla="*/ 17 w 40"/>
                <a:gd name="T39" fmla="*/ 52 h 146"/>
                <a:gd name="T40" fmla="*/ 13 w 40"/>
                <a:gd name="T41" fmla="*/ 52 h 146"/>
                <a:gd name="T42" fmla="*/ 7 w 40"/>
                <a:gd name="T43" fmla="*/ 52 h 146"/>
                <a:gd name="T44" fmla="*/ 33 w 40"/>
                <a:gd name="T45" fmla="*/ 41 h 146"/>
                <a:gd name="T46" fmla="*/ 27 w 40"/>
                <a:gd name="T47" fmla="*/ 41 h 146"/>
                <a:gd name="T48" fmla="*/ 23 w 40"/>
                <a:gd name="T49" fmla="*/ 41 h 146"/>
                <a:gd name="T50" fmla="*/ 17 w 40"/>
                <a:gd name="T51" fmla="*/ 41 h 146"/>
                <a:gd name="T52" fmla="*/ 13 w 40"/>
                <a:gd name="T53" fmla="*/ 41 h 146"/>
                <a:gd name="T54" fmla="*/ 7 w 40"/>
                <a:gd name="T55" fmla="*/ 41 h 146"/>
                <a:gd name="T56" fmla="*/ 33 w 40"/>
                <a:gd name="T57" fmla="*/ 31 h 146"/>
                <a:gd name="T58" fmla="*/ 27 w 40"/>
                <a:gd name="T59" fmla="*/ 31 h 146"/>
                <a:gd name="T60" fmla="*/ 23 w 40"/>
                <a:gd name="T61" fmla="*/ 31 h 146"/>
                <a:gd name="T62" fmla="*/ 17 w 40"/>
                <a:gd name="T63" fmla="*/ 31 h 146"/>
                <a:gd name="T64" fmla="*/ 13 w 40"/>
                <a:gd name="T65" fmla="*/ 31 h 146"/>
                <a:gd name="T66" fmla="*/ 7 w 40"/>
                <a:gd name="T67" fmla="*/ 31 h 146"/>
                <a:gd name="T68" fmla="*/ 33 w 40"/>
                <a:gd name="T69" fmla="*/ 20 h 146"/>
                <a:gd name="T70" fmla="*/ 27 w 40"/>
                <a:gd name="T71" fmla="*/ 20 h 146"/>
                <a:gd name="T72" fmla="*/ 23 w 40"/>
                <a:gd name="T73" fmla="*/ 20 h 146"/>
                <a:gd name="T74" fmla="*/ 17 w 40"/>
                <a:gd name="T75" fmla="*/ 20 h 146"/>
                <a:gd name="T76" fmla="*/ 13 w 40"/>
                <a:gd name="T77" fmla="*/ 20 h 146"/>
                <a:gd name="T78" fmla="*/ 7 w 40"/>
                <a:gd name="T79" fmla="*/ 20 h 146"/>
                <a:gd name="T80" fmla="*/ 33 w 40"/>
                <a:gd name="T81" fmla="*/ 9 h 146"/>
                <a:gd name="T82" fmla="*/ 27 w 40"/>
                <a:gd name="T83" fmla="*/ 9 h 146"/>
                <a:gd name="T84" fmla="*/ 23 w 40"/>
                <a:gd name="T85" fmla="*/ 9 h 146"/>
                <a:gd name="T86" fmla="*/ 17 w 40"/>
                <a:gd name="T87" fmla="*/ 9 h 146"/>
                <a:gd name="T88" fmla="*/ 13 w 40"/>
                <a:gd name="T89" fmla="*/ 9 h 146"/>
                <a:gd name="T90" fmla="*/ 7 w 40"/>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 h="146">
                  <a:moveTo>
                    <a:pt x="0" y="9"/>
                  </a:moveTo>
                  <a:cubicBezTo>
                    <a:pt x="0" y="137"/>
                    <a:pt x="0" y="137"/>
                    <a:pt x="0" y="137"/>
                  </a:cubicBezTo>
                  <a:cubicBezTo>
                    <a:pt x="0" y="142"/>
                    <a:pt x="4" y="146"/>
                    <a:pt x="9" y="146"/>
                  </a:cubicBezTo>
                  <a:cubicBezTo>
                    <a:pt x="31" y="146"/>
                    <a:pt x="31" y="146"/>
                    <a:pt x="31" y="146"/>
                  </a:cubicBezTo>
                  <a:cubicBezTo>
                    <a:pt x="36" y="146"/>
                    <a:pt x="40" y="142"/>
                    <a:pt x="40" y="137"/>
                  </a:cubicBezTo>
                  <a:cubicBezTo>
                    <a:pt x="40" y="9"/>
                    <a:pt x="40" y="9"/>
                    <a:pt x="40" y="9"/>
                  </a:cubicBezTo>
                  <a:cubicBezTo>
                    <a:pt x="40" y="4"/>
                    <a:pt x="36" y="0"/>
                    <a:pt x="31" y="0"/>
                  </a:cubicBezTo>
                  <a:cubicBezTo>
                    <a:pt x="9" y="0"/>
                    <a:pt x="9" y="0"/>
                    <a:pt x="9" y="0"/>
                  </a:cubicBezTo>
                  <a:cubicBezTo>
                    <a:pt x="4" y="0"/>
                    <a:pt x="0" y="4"/>
                    <a:pt x="0" y="9"/>
                  </a:cubicBezTo>
                  <a:close/>
                  <a:moveTo>
                    <a:pt x="27" y="126"/>
                  </a:moveTo>
                  <a:cubicBezTo>
                    <a:pt x="27" y="130"/>
                    <a:pt x="24" y="134"/>
                    <a:pt x="20" y="134"/>
                  </a:cubicBezTo>
                  <a:cubicBezTo>
                    <a:pt x="16" y="134"/>
                    <a:pt x="13" y="130"/>
                    <a:pt x="13" y="126"/>
                  </a:cubicBezTo>
                  <a:cubicBezTo>
                    <a:pt x="13" y="122"/>
                    <a:pt x="16" y="119"/>
                    <a:pt x="20" y="119"/>
                  </a:cubicBezTo>
                  <a:cubicBezTo>
                    <a:pt x="24" y="119"/>
                    <a:pt x="27" y="122"/>
                    <a:pt x="27" y="126"/>
                  </a:cubicBezTo>
                  <a:close/>
                  <a:moveTo>
                    <a:pt x="33" y="74"/>
                  </a:moveTo>
                  <a:cubicBezTo>
                    <a:pt x="33" y="79"/>
                    <a:pt x="33" y="79"/>
                    <a:pt x="33" y="79"/>
                  </a:cubicBezTo>
                  <a:cubicBezTo>
                    <a:pt x="27" y="79"/>
                    <a:pt x="27" y="79"/>
                    <a:pt x="27" y="79"/>
                  </a:cubicBezTo>
                  <a:cubicBezTo>
                    <a:pt x="27" y="74"/>
                    <a:pt x="27" y="74"/>
                    <a:pt x="27"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7" y="79"/>
                    <a:pt x="7" y="79"/>
                    <a:pt x="7" y="79"/>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1"/>
                  </a:moveTo>
                  <a:cubicBezTo>
                    <a:pt x="33" y="36"/>
                    <a:pt x="33" y="36"/>
                    <a:pt x="33" y="36"/>
                  </a:cubicBezTo>
                  <a:cubicBezTo>
                    <a:pt x="27" y="36"/>
                    <a:pt x="27" y="36"/>
                    <a:pt x="27" y="36"/>
                  </a:cubicBezTo>
                  <a:cubicBezTo>
                    <a:pt x="27" y="31"/>
                    <a:pt x="27" y="31"/>
                    <a:pt x="27"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7" y="36"/>
                    <a:pt x="7" y="36"/>
                    <a:pt x="7" y="36"/>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64" name="Freeform 2120"/>
            <p:cNvSpPr>
              <a:spLocks noEditPoints="1"/>
            </p:cNvSpPr>
            <p:nvPr/>
          </p:nvSpPr>
          <p:spPr bwMode="auto">
            <a:xfrm>
              <a:off x="18640425" y="2416175"/>
              <a:ext cx="153988" cy="549275"/>
            </a:xfrm>
            <a:custGeom>
              <a:avLst/>
              <a:gdLst>
                <a:gd name="T0" fmla="*/ 9 w 41"/>
                <a:gd name="T1" fmla="*/ 146 h 146"/>
                <a:gd name="T2" fmla="*/ 41 w 41"/>
                <a:gd name="T3" fmla="*/ 9 h 146"/>
                <a:gd name="T4" fmla="*/ 0 w 41"/>
                <a:gd name="T5" fmla="*/ 9 h 146"/>
                <a:gd name="T6" fmla="*/ 13 w 41"/>
                <a:gd name="T7" fmla="*/ 126 h 146"/>
                <a:gd name="T8" fmla="*/ 33 w 41"/>
                <a:gd name="T9" fmla="*/ 74 h 146"/>
                <a:gd name="T10" fmla="*/ 27 w 41"/>
                <a:gd name="T11" fmla="*/ 74 h 146"/>
                <a:gd name="T12" fmla="*/ 23 w 41"/>
                <a:gd name="T13" fmla="*/ 74 h 146"/>
                <a:gd name="T14" fmla="*/ 17 w 41"/>
                <a:gd name="T15" fmla="*/ 74 h 146"/>
                <a:gd name="T16" fmla="*/ 13 w 41"/>
                <a:gd name="T17" fmla="*/ 74 h 146"/>
                <a:gd name="T18" fmla="*/ 7 w 41"/>
                <a:gd name="T19" fmla="*/ 74 h 146"/>
                <a:gd name="T20" fmla="*/ 33 w 41"/>
                <a:gd name="T21" fmla="*/ 63 h 146"/>
                <a:gd name="T22" fmla="*/ 27 w 41"/>
                <a:gd name="T23" fmla="*/ 63 h 146"/>
                <a:gd name="T24" fmla="*/ 23 w 41"/>
                <a:gd name="T25" fmla="*/ 63 h 146"/>
                <a:gd name="T26" fmla="*/ 17 w 41"/>
                <a:gd name="T27" fmla="*/ 63 h 146"/>
                <a:gd name="T28" fmla="*/ 13 w 41"/>
                <a:gd name="T29" fmla="*/ 63 h 146"/>
                <a:gd name="T30" fmla="*/ 7 w 41"/>
                <a:gd name="T31" fmla="*/ 63 h 146"/>
                <a:gd name="T32" fmla="*/ 33 w 41"/>
                <a:gd name="T33" fmla="*/ 52 h 146"/>
                <a:gd name="T34" fmla="*/ 27 w 41"/>
                <a:gd name="T35" fmla="*/ 52 h 146"/>
                <a:gd name="T36" fmla="*/ 23 w 41"/>
                <a:gd name="T37" fmla="*/ 52 h 146"/>
                <a:gd name="T38" fmla="*/ 17 w 41"/>
                <a:gd name="T39" fmla="*/ 52 h 146"/>
                <a:gd name="T40" fmla="*/ 13 w 41"/>
                <a:gd name="T41" fmla="*/ 52 h 146"/>
                <a:gd name="T42" fmla="*/ 7 w 41"/>
                <a:gd name="T43" fmla="*/ 52 h 146"/>
                <a:gd name="T44" fmla="*/ 33 w 41"/>
                <a:gd name="T45" fmla="*/ 41 h 146"/>
                <a:gd name="T46" fmla="*/ 27 w 41"/>
                <a:gd name="T47" fmla="*/ 41 h 146"/>
                <a:gd name="T48" fmla="*/ 23 w 41"/>
                <a:gd name="T49" fmla="*/ 41 h 146"/>
                <a:gd name="T50" fmla="*/ 17 w 41"/>
                <a:gd name="T51" fmla="*/ 41 h 146"/>
                <a:gd name="T52" fmla="*/ 13 w 41"/>
                <a:gd name="T53" fmla="*/ 41 h 146"/>
                <a:gd name="T54" fmla="*/ 7 w 41"/>
                <a:gd name="T55" fmla="*/ 41 h 146"/>
                <a:gd name="T56" fmla="*/ 33 w 41"/>
                <a:gd name="T57" fmla="*/ 31 h 146"/>
                <a:gd name="T58" fmla="*/ 27 w 41"/>
                <a:gd name="T59" fmla="*/ 31 h 146"/>
                <a:gd name="T60" fmla="*/ 23 w 41"/>
                <a:gd name="T61" fmla="*/ 31 h 146"/>
                <a:gd name="T62" fmla="*/ 17 w 41"/>
                <a:gd name="T63" fmla="*/ 31 h 146"/>
                <a:gd name="T64" fmla="*/ 13 w 41"/>
                <a:gd name="T65" fmla="*/ 31 h 146"/>
                <a:gd name="T66" fmla="*/ 7 w 41"/>
                <a:gd name="T67" fmla="*/ 31 h 146"/>
                <a:gd name="T68" fmla="*/ 33 w 41"/>
                <a:gd name="T69" fmla="*/ 20 h 146"/>
                <a:gd name="T70" fmla="*/ 27 w 41"/>
                <a:gd name="T71" fmla="*/ 20 h 146"/>
                <a:gd name="T72" fmla="*/ 23 w 41"/>
                <a:gd name="T73" fmla="*/ 20 h 146"/>
                <a:gd name="T74" fmla="*/ 17 w 41"/>
                <a:gd name="T75" fmla="*/ 20 h 146"/>
                <a:gd name="T76" fmla="*/ 13 w 41"/>
                <a:gd name="T77" fmla="*/ 20 h 146"/>
                <a:gd name="T78" fmla="*/ 7 w 41"/>
                <a:gd name="T79" fmla="*/ 20 h 146"/>
                <a:gd name="T80" fmla="*/ 33 w 41"/>
                <a:gd name="T81" fmla="*/ 9 h 146"/>
                <a:gd name="T82" fmla="*/ 27 w 41"/>
                <a:gd name="T83" fmla="*/ 9 h 146"/>
                <a:gd name="T84" fmla="*/ 23 w 41"/>
                <a:gd name="T85" fmla="*/ 9 h 146"/>
                <a:gd name="T86" fmla="*/ 17 w 41"/>
                <a:gd name="T87" fmla="*/ 9 h 146"/>
                <a:gd name="T88" fmla="*/ 13 w 41"/>
                <a:gd name="T89" fmla="*/ 9 h 146"/>
                <a:gd name="T90" fmla="*/ 7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1" y="146"/>
                    <a:pt x="31" y="146"/>
                    <a:pt x="31" y="146"/>
                  </a:cubicBezTo>
                  <a:cubicBezTo>
                    <a:pt x="36" y="146"/>
                    <a:pt x="41" y="142"/>
                    <a:pt x="41" y="137"/>
                  </a:cubicBezTo>
                  <a:cubicBezTo>
                    <a:pt x="41" y="9"/>
                    <a:pt x="41" y="9"/>
                    <a:pt x="41" y="9"/>
                  </a:cubicBezTo>
                  <a:cubicBezTo>
                    <a:pt x="41" y="4"/>
                    <a:pt x="36" y="0"/>
                    <a:pt x="31" y="0"/>
                  </a:cubicBezTo>
                  <a:cubicBezTo>
                    <a:pt x="9" y="0"/>
                    <a:pt x="9" y="0"/>
                    <a:pt x="9" y="0"/>
                  </a:cubicBezTo>
                  <a:cubicBezTo>
                    <a:pt x="4" y="0"/>
                    <a:pt x="0" y="4"/>
                    <a:pt x="0" y="9"/>
                  </a:cubicBezTo>
                  <a:close/>
                  <a:moveTo>
                    <a:pt x="28" y="126"/>
                  </a:moveTo>
                  <a:cubicBezTo>
                    <a:pt x="28" y="130"/>
                    <a:pt x="24" y="134"/>
                    <a:pt x="20" y="134"/>
                  </a:cubicBezTo>
                  <a:cubicBezTo>
                    <a:pt x="16" y="134"/>
                    <a:pt x="13" y="130"/>
                    <a:pt x="13" y="126"/>
                  </a:cubicBezTo>
                  <a:cubicBezTo>
                    <a:pt x="13" y="122"/>
                    <a:pt x="16" y="119"/>
                    <a:pt x="20" y="119"/>
                  </a:cubicBezTo>
                  <a:cubicBezTo>
                    <a:pt x="24" y="119"/>
                    <a:pt x="28" y="122"/>
                    <a:pt x="28" y="126"/>
                  </a:cubicBezTo>
                  <a:close/>
                  <a:moveTo>
                    <a:pt x="33" y="74"/>
                  </a:moveTo>
                  <a:cubicBezTo>
                    <a:pt x="33" y="79"/>
                    <a:pt x="33" y="79"/>
                    <a:pt x="33" y="79"/>
                  </a:cubicBezTo>
                  <a:cubicBezTo>
                    <a:pt x="27" y="79"/>
                    <a:pt x="27" y="79"/>
                    <a:pt x="27" y="79"/>
                  </a:cubicBezTo>
                  <a:cubicBezTo>
                    <a:pt x="27" y="74"/>
                    <a:pt x="27" y="74"/>
                    <a:pt x="27"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7" y="79"/>
                    <a:pt x="7" y="79"/>
                    <a:pt x="7" y="79"/>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1"/>
                  </a:moveTo>
                  <a:cubicBezTo>
                    <a:pt x="33" y="36"/>
                    <a:pt x="33" y="36"/>
                    <a:pt x="33" y="36"/>
                  </a:cubicBezTo>
                  <a:cubicBezTo>
                    <a:pt x="27" y="36"/>
                    <a:pt x="27" y="36"/>
                    <a:pt x="27" y="36"/>
                  </a:cubicBezTo>
                  <a:cubicBezTo>
                    <a:pt x="27" y="31"/>
                    <a:pt x="27" y="31"/>
                    <a:pt x="27"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7" y="36"/>
                    <a:pt x="7" y="36"/>
                    <a:pt x="7" y="36"/>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65" name="Freeform 2121"/>
            <p:cNvSpPr>
              <a:spLocks noEditPoints="1"/>
            </p:cNvSpPr>
            <p:nvPr/>
          </p:nvSpPr>
          <p:spPr bwMode="auto">
            <a:xfrm>
              <a:off x="18857913" y="2416175"/>
              <a:ext cx="153988" cy="549275"/>
            </a:xfrm>
            <a:custGeom>
              <a:avLst/>
              <a:gdLst>
                <a:gd name="T0" fmla="*/ 9 w 41"/>
                <a:gd name="T1" fmla="*/ 146 h 146"/>
                <a:gd name="T2" fmla="*/ 41 w 41"/>
                <a:gd name="T3" fmla="*/ 9 h 146"/>
                <a:gd name="T4" fmla="*/ 0 w 41"/>
                <a:gd name="T5" fmla="*/ 9 h 146"/>
                <a:gd name="T6" fmla="*/ 13 w 41"/>
                <a:gd name="T7" fmla="*/ 126 h 146"/>
                <a:gd name="T8" fmla="*/ 33 w 41"/>
                <a:gd name="T9" fmla="*/ 74 h 146"/>
                <a:gd name="T10" fmla="*/ 28 w 41"/>
                <a:gd name="T11" fmla="*/ 74 h 146"/>
                <a:gd name="T12" fmla="*/ 23 w 41"/>
                <a:gd name="T13" fmla="*/ 74 h 146"/>
                <a:gd name="T14" fmla="*/ 17 w 41"/>
                <a:gd name="T15" fmla="*/ 74 h 146"/>
                <a:gd name="T16" fmla="*/ 13 w 41"/>
                <a:gd name="T17" fmla="*/ 74 h 146"/>
                <a:gd name="T18" fmla="*/ 8 w 41"/>
                <a:gd name="T19" fmla="*/ 74 h 146"/>
                <a:gd name="T20" fmla="*/ 33 w 41"/>
                <a:gd name="T21" fmla="*/ 63 h 146"/>
                <a:gd name="T22" fmla="*/ 28 w 41"/>
                <a:gd name="T23" fmla="*/ 63 h 146"/>
                <a:gd name="T24" fmla="*/ 23 w 41"/>
                <a:gd name="T25" fmla="*/ 63 h 146"/>
                <a:gd name="T26" fmla="*/ 17 w 41"/>
                <a:gd name="T27" fmla="*/ 63 h 146"/>
                <a:gd name="T28" fmla="*/ 13 w 41"/>
                <a:gd name="T29" fmla="*/ 63 h 146"/>
                <a:gd name="T30" fmla="*/ 8 w 41"/>
                <a:gd name="T31" fmla="*/ 63 h 146"/>
                <a:gd name="T32" fmla="*/ 33 w 41"/>
                <a:gd name="T33" fmla="*/ 52 h 146"/>
                <a:gd name="T34" fmla="*/ 28 w 41"/>
                <a:gd name="T35" fmla="*/ 52 h 146"/>
                <a:gd name="T36" fmla="*/ 23 w 41"/>
                <a:gd name="T37" fmla="*/ 52 h 146"/>
                <a:gd name="T38" fmla="*/ 17 w 41"/>
                <a:gd name="T39" fmla="*/ 52 h 146"/>
                <a:gd name="T40" fmla="*/ 13 w 41"/>
                <a:gd name="T41" fmla="*/ 52 h 146"/>
                <a:gd name="T42" fmla="*/ 8 w 41"/>
                <a:gd name="T43" fmla="*/ 52 h 146"/>
                <a:gd name="T44" fmla="*/ 33 w 41"/>
                <a:gd name="T45" fmla="*/ 41 h 146"/>
                <a:gd name="T46" fmla="*/ 28 w 41"/>
                <a:gd name="T47" fmla="*/ 41 h 146"/>
                <a:gd name="T48" fmla="*/ 23 w 41"/>
                <a:gd name="T49" fmla="*/ 41 h 146"/>
                <a:gd name="T50" fmla="*/ 17 w 41"/>
                <a:gd name="T51" fmla="*/ 41 h 146"/>
                <a:gd name="T52" fmla="*/ 13 w 41"/>
                <a:gd name="T53" fmla="*/ 41 h 146"/>
                <a:gd name="T54" fmla="*/ 8 w 41"/>
                <a:gd name="T55" fmla="*/ 41 h 146"/>
                <a:gd name="T56" fmla="*/ 33 w 41"/>
                <a:gd name="T57" fmla="*/ 31 h 146"/>
                <a:gd name="T58" fmla="*/ 28 w 41"/>
                <a:gd name="T59" fmla="*/ 31 h 146"/>
                <a:gd name="T60" fmla="*/ 23 w 41"/>
                <a:gd name="T61" fmla="*/ 31 h 146"/>
                <a:gd name="T62" fmla="*/ 17 w 41"/>
                <a:gd name="T63" fmla="*/ 31 h 146"/>
                <a:gd name="T64" fmla="*/ 13 w 41"/>
                <a:gd name="T65" fmla="*/ 31 h 146"/>
                <a:gd name="T66" fmla="*/ 8 w 41"/>
                <a:gd name="T67" fmla="*/ 31 h 146"/>
                <a:gd name="T68" fmla="*/ 33 w 41"/>
                <a:gd name="T69" fmla="*/ 20 h 146"/>
                <a:gd name="T70" fmla="*/ 28 w 41"/>
                <a:gd name="T71" fmla="*/ 20 h 146"/>
                <a:gd name="T72" fmla="*/ 23 w 41"/>
                <a:gd name="T73" fmla="*/ 20 h 146"/>
                <a:gd name="T74" fmla="*/ 17 w 41"/>
                <a:gd name="T75" fmla="*/ 20 h 146"/>
                <a:gd name="T76" fmla="*/ 13 w 41"/>
                <a:gd name="T77" fmla="*/ 20 h 146"/>
                <a:gd name="T78" fmla="*/ 8 w 41"/>
                <a:gd name="T79" fmla="*/ 20 h 146"/>
                <a:gd name="T80" fmla="*/ 33 w 41"/>
                <a:gd name="T81" fmla="*/ 9 h 146"/>
                <a:gd name="T82" fmla="*/ 28 w 41"/>
                <a:gd name="T83" fmla="*/ 9 h 146"/>
                <a:gd name="T84" fmla="*/ 23 w 41"/>
                <a:gd name="T85" fmla="*/ 9 h 146"/>
                <a:gd name="T86" fmla="*/ 17 w 41"/>
                <a:gd name="T87" fmla="*/ 9 h 146"/>
                <a:gd name="T88" fmla="*/ 13 w 41"/>
                <a:gd name="T89" fmla="*/ 9 h 146"/>
                <a:gd name="T90" fmla="*/ 8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2" y="146"/>
                    <a:pt x="32" y="146"/>
                    <a:pt x="32" y="146"/>
                  </a:cubicBezTo>
                  <a:cubicBezTo>
                    <a:pt x="37" y="146"/>
                    <a:pt x="41" y="142"/>
                    <a:pt x="41" y="137"/>
                  </a:cubicBezTo>
                  <a:cubicBezTo>
                    <a:pt x="41" y="9"/>
                    <a:pt x="41" y="9"/>
                    <a:pt x="41" y="9"/>
                  </a:cubicBezTo>
                  <a:cubicBezTo>
                    <a:pt x="41" y="4"/>
                    <a:pt x="37" y="0"/>
                    <a:pt x="32" y="0"/>
                  </a:cubicBezTo>
                  <a:cubicBezTo>
                    <a:pt x="9" y="0"/>
                    <a:pt x="9" y="0"/>
                    <a:pt x="9" y="0"/>
                  </a:cubicBezTo>
                  <a:cubicBezTo>
                    <a:pt x="4" y="0"/>
                    <a:pt x="0" y="4"/>
                    <a:pt x="0" y="9"/>
                  </a:cubicBezTo>
                  <a:close/>
                  <a:moveTo>
                    <a:pt x="28" y="126"/>
                  </a:moveTo>
                  <a:cubicBezTo>
                    <a:pt x="28" y="130"/>
                    <a:pt x="25" y="134"/>
                    <a:pt x="21" y="134"/>
                  </a:cubicBezTo>
                  <a:cubicBezTo>
                    <a:pt x="16" y="134"/>
                    <a:pt x="13" y="130"/>
                    <a:pt x="13" y="126"/>
                  </a:cubicBezTo>
                  <a:cubicBezTo>
                    <a:pt x="13" y="122"/>
                    <a:pt x="16" y="119"/>
                    <a:pt x="21" y="119"/>
                  </a:cubicBezTo>
                  <a:cubicBezTo>
                    <a:pt x="25" y="119"/>
                    <a:pt x="28" y="122"/>
                    <a:pt x="28" y="126"/>
                  </a:cubicBezTo>
                  <a:close/>
                  <a:moveTo>
                    <a:pt x="33" y="74"/>
                  </a:moveTo>
                  <a:cubicBezTo>
                    <a:pt x="33" y="79"/>
                    <a:pt x="33" y="79"/>
                    <a:pt x="33" y="79"/>
                  </a:cubicBezTo>
                  <a:cubicBezTo>
                    <a:pt x="28" y="79"/>
                    <a:pt x="28" y="79"/>
                    <a:pt x="28" y="79"/>
                  </a:cubicBezTo>
                  <a:cubicBezTo>
                    <a:pt x="28" y="74"/>
                    <a:pt x="28" y="74"/>
                    <a:pt x="28" y="74"/>
                  </a:cubicBezTo>
                  <a:cubicBezTo>
                    <a:pt x="33" y="74"/>
                    <a:pt x="33" y="74"/>
                    <a:pt x="33" y="74"/>
                  </a:cubicBezTo>
                  <a:cubicBezTo>
                    <a:pt x="33" y="74"/>
                    <a:pt x="33" y="74"/>
                    <a:pt x="33" y="74"/>
                  </a:cubicBezTo>
                  <a:close/>
                  <a:moveTo>
                    <a:pt x="23" y="74"/>
                  </a:moveTo>
                  <a:cubicBezTo>
                    <a:pt x="23" y="79"/>
                    <a:pt x="23" y="79"/>
                    <a:pt x="23" y="79"/>
                  </a:cubicBezTo>
                  <a:cubicBezTo>
                    <a:pt x="17" y="79"/>
                    <a:pt x="17" y="79"/>
                    <a:pt x="17" y="79"/>
                  </a:cubicBezTo>
                  <a:cubicBezTo>
                    <a:pt x="17" y="74"/>
                    <a:pt x="17" y="74"/>
                    <a:pt x="17" y="74"/>
                  </a:cubicBezTo>
                  <a:cubicBezTo>
                    <a:pt x="23" y="74"/>
                    <a:pt x="23" y="74"/>
                    <a:pt x="23" y="74"/>
                  </a:cubicBezTo>
                  <a:cubicBezTo>
                    <a:pt x="23" y="74"/>
                    <a:pt x="23" y="74"/>
                    <a:pt x="23" y="74"/>
                  </a:cubicBezTo>
                  <a:close/>
                  <a:moveTo>
                    <a:pt x="13" y="74"/>
                  </a:moveTo>
                  <a:cubicBezTo>
                    <a:pt x="13" y="79"/>
                    <a:pt x="13" y="79"/>
                    <a:pt x="13" y="79"/>
                  </a:cubicBezTo>
                  <a:cubicBezTo>
                    <a:pt x="8" y="79"/>
                    <a:pt x="8" y="79"/>
                    <a:pt x="8" y="79"/>
                  </a:cubicBezTo>
                  <a:cubicBezTo>
                    <a:pt x="8" y="74"/>
                    <a:pt x="8" y="74"/>
                    <a:pt x="8" y="74"/>
                  </a:cubicBezTo>
                  <a:cubicBezTo>
                    <a:pt x="13" y="74"/>
                    <a:pt x="13" y="74"/>
                    <a:pt x="13" y="74"/>
                  </a:cubicBezTo>
                  <a:cubicBezTo>
                    <a:pt x="13" y="74"/>
                    <a:pt x="13" y="74"/>
                    <a:pt x="13" y="74"/>
                  </a:cubicBezTo>
                  <a:close/>
                  <a:moveTo>
                    <a:pt x="33" y="63"/>
                  </a:moveTo>
                  <a:cubicBezTo>
                    <a:pt x="33" y="69"/>
                    <a:pt x="33" y="69"/>
                    <a:pt x="33" y="69"/>
                  </a:cubicBezTo>
                  <a:cubicBezTo>
                    <a:pt x="28" y="69"/>
                    <a:pt x="28" y="69"/>
                    <a:pt x="28" y="69"/>
                  </a:cubicBezTo>
                  <a:cubicBezTo>
                    <a:pt x="28" y="63"/>
                    <a:pt x="28" y="63"/>
                    <a:pt x="28"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8" y="69"/>
                    <a:pt x="8" y="69"/>
                    <a:pt x="8" y="69"/>
                  </a:cubicBezTo>
                  <a:cubicBezTo>
                    <a:pt x="8" y="63"/>
                    <a:pt x="8" y="63"/>
                    <a:pt x="8" y="63"/>
                  </a:cubicBezTo>
                  <a:cubicBezTo>
                    <a:pt x="13" y="63"/>
                    <a:pt x="13" y="63"/>
                    <a:pt x="13" y="63"/>
                  </a:cubicBezTo>
                  <a:cubicBezTo>
                    <a:pt x="13" y="63"/>
                    <a:pt x="13" y="63"/>
                    <a:pt x="13" y="63"/>
                  </a:cubicBezTo>
                  <a:close/>
                  <a:moveTo>
                    <a:pt x="33" y="52"/>
                  </a:moveTo>
                  <a:cubicBezTo>
                    <a:pt x="33" y="58"/>
                    <a:pt x="33" y="58"/>
                    <a:pt x="33" y="58"/>
                  </a:cubicBezTo>
                  <a:cubicBezTo>
                    <a:pt x="28" y="58"/>
                    <a:pt x="28" y="58"/>
                    <a:pt x="28" y="58"/>
                  </a:cubicBezTo>
                  <a:cubicBezTo>
                    <a:pt x="28" y="52"/>
                    <a:pt x="28" y="52"/>
                    <a:pt x="28"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8" y="58"/>
                    <a:pt x="8" y="58"/>
                    <a:pt x="8" y="58"/>
                  </a:cubicBezTo>
                  <a:cubicBezTo>
                    <a:pt x="8" y="52"/>
                    <a:pt x="8" y="52"/>
                    <a:pt x="8" y="52"/>
                  </a:cubicBezTo>
                  <a:cubicBezTo>
                    <a:pt x="13" y="52"/>
                    <a:pt x="13" y="52"/>
                    <a:pt x="13" y="52"/>
                  </a:cubicBezTo>
                  <a:cubicBezTo>
                    <a:pt x="13" y="52"/>
                    <a:pt x="13" y="52"/>
                    <a:pt x="13" y="52"/>
                  </a:cubicBezTo>
                  <a:close/>
                  <a:moveTo>
                    <a:pt x="33" y="41"/>
                  </a:moveTo>
                  <a:cubicBezTo>
                    <a:pt x="33" y="47"/>
                    <a:pt x="33" y="47"/>
                    <a:pt x="33" y="47"/>
                  </a:cubicBezTo>
                  <a:cubicBezTo>
                    <a:pt x="28" y="47"/>
                    <a:pt x="28" y="47"/>
                    <a:pt x="28" y="47"/>
                  </a:cubicBezTo>
                  <a:cubicBezTo>
                    <a:pt x="28" y="41"/>
                    <a:pt x="28" y="41"/>
                    <a:pt x="28"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8" y="47"/>
                    <a:pt x="8" y="47"/>
                    <a:pt x="8" y="47"/>
                  </a:cubicBezTo>
                  <a:cubicBezTo>
                    <a:pt x="8" y="41"/>
                    <a:pt x="8" y="41"/>
                    <a:pt x="8" y="41"/>
                  </a:cubicBezTo>
                  <a:cubicBezTo>
                    <a:pt x="13" y="41"/>
                    <a:pt x="13" y="41"/>
                    <a:pt x="13" y="41"/>
                  </a:cubicBezTo>
                  <a:cubicBezTo>
                    <a:pt x="13" y="41"/>
                    <a:pt x="13" y="41"/>
                    <a:pt x="13" y="41"/>
                  </a:cubicBezTo>
                  <a:close/>
                  <a:moveTo>
                    <a:pt x="33" y="31"/>
                  </a:moveTo>
                  <a:cubicBezTo>
                    <a:pt x="33" y="36"/>
                    <a:pt x="33" y="36"/>
                    <a:pt x="33" y="36"/>
                  </a:cubicBezTo>
                  <a:cubicBezTo>
                    <a:pt x="28" y="36"/>
                    <a:pt x="28" y="36"/>
                    <a:pt x="28" y="36"/>
                  </a:cubicBezTo>
                  <a:cubicBezTo>
                    <a:pt x="28" y="31"/>
                    <a:pt x="28" y="31"/>
                    <a:pt x="28" y="31"/>
                  </a:cubicBezTo>
                  <a:cubicBezTo>
                    <a:pt x="33" y="31"/>
                    <a:pt x="33" y="31"/>
                    <a:pt x="33" y="31"/>
                  </a:cubicBezTo>
                  <a:cubicBezTo>
                    <a:pt x="33" y="31"/>
                    <a:pt x="33" y="31"/>
                    <a:pt x="33" y="31"/>
                  </a:cubicBezTo>
                  <a:close/>
                  <a:moveTo>
                    <a:pt x="23" y="31"/>
                  </a:moveTo>
                  <a:cubicBezTo>
                    <a:pt x="23" y="36"/>
                    <a:pt x="23" y="36"/>
                    <a:pt x="23" y="36"/>
                  </a:cubicBezTo>
                  <a:cubicBezTo>
                    <a:pt x="17" y="36"/>
                    <a:pt x="17" y="36"/>
                    <a:pt x="17" y="36"/>
                  </a:cubicBezTo>
                  <a:cubicBezTo>
                    <a:pt x="17" y="31"/>
                    <a:pt x="17" y="31"/>
                    <a:pt x="17" y="31"/>
                  </a:cubicBezTo>
                  <a:cubicBezTo>
                    <a:pt x="23" y="31"/>
                    <a:pt x="23" y="31"/>
                    <a:pt x="23" y="31"/>
                  </a:cubicBezTo>
                  <a:cubicBezTo>
                    <a:pt x="23" y="31"/>
                    <a:pt x="23" y="31"/>
                    <a:pt x="23" y="31"/>
                  </a:cubicBezTo>
                  <a:close/>
                  <a:moveTo>
                    <a:pt x="13" y="31"/>
                  </a:moveTo>
                  <a:cubicBezTo>
                    <a:pt x="13" y="36"/>
                    <a:pt x="13" y="36"/>
                    <a:pt x="13" y="36"/>
                  </a:cubicBezTo>
                  <a:cubicBezTo>
                    <a:pt x="8" y="36"/>
                    <a:pt x="8" y="36"/>
                    <a:pt x="8" y="36"/>
                  </a:cubicBezTo>
                  <a:cubicBezTo>
                    <a:pt x="8" y="31"/>
                    <a:pt x="8" y="31"/>
                    <a:pt x="8" y="31"/>
                  </a:cubicBezTo>
                  <a:cubicBezTo>
                    <a:pt x="13" y="31"/>
                    <a:pt x="13" y="31"/>
                    <a:pt x="13" y="31"/>
                  </a:cubicBezTo>
                  <a:cubicBezTo>
                    <a:pt x="13" y="31"/>
                    <a:pt x="13" y="31"/>
                    <a:pt x="13" y="31"/>
                  </a:cubicBezTo>
                  <a:close/>
                  <a:moveTo>
                    <a:pt x="33" y="20"/>
                  </a:moveTo>
                  <a:cubicBezTo>
                    <a:pt x="33" y="26"/>
                    <a:pt x="33" y="26"/>
                    <a:pt x="33" y="26"/>
                  </a:cubicBezTo>
                  <a:cubicBezTo>
                    <a:pt x="28" y="26"/>
                    <a:pt x="28" y="26"/>
                    <a:pt x="28" y="26"/>
                  </a:cubicBezTo>
                  <a:cubicBezTo>
                    <a:pt x="28" y="20"/>
                    <a:pt x="28" y="20"/>
                    <a:pt x="28"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8" y="26"/>
                    <a:pt x="8" y="26"/>
                    <a:pt x="8" y="26"/>
                  </a:cubicBezTo>
                  <a:cubicBezTo>
                    <a:pt x="8" y="20"/>
                    <a:pt x="8" y="20"/>
                    <a:pt x="8" y="20"/>
                  </a:cubicBezTo>
                  <a:cubicBezTo>
                    <a:pt x="13" y="20"/>
                    <a:pt x="13" y="20"/>
                    <a:pt x="13" y="20"/>
                  </a:cubicBezTo>
                  <a:cubicBezTo>
                    <a:pt x="13" y="20"/>
                    <a:pt x="13" y="20"/>
                    <a:pt x="13" y="20"/>
                  </a:cubicBezTo>
                  <a:close/>
                  <a:moveTo>
                    <a:pt x="33" y="9"/>
                  </a:moveTo>
                  <a:cubicBezTo>
                    <a:pt x="33" y="15"/>
                    <a:pt x="33" y="15"/>
                    <a:pt x="33" y="15"/>
                  </a:cubicBezTo>
                  <a:cubicBezTo>
                    <a:pt x="28" y="15"/>
                    <a:pt x="28" y="15"/>
                    <a:pt x="28" y="15"/>
                  </a:cubicBezTo>
                  <a:cubicBezTo>
                    <a:pt x="28" y="9"/>
                    <a:pt x="28" y="9"/>
                    <a:pt x="28"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8" y="15"/>
                    <a:pt x="8" y="15"/>
                    <a:pt x="8" y="15"/>
                  </a:cubicBezTo>
                  <a:cubicBezTo>
                    <a:pt x="8" y="9"/>
                    <a:pt x="8" y="9"/>
                    <a:pt x="8"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66" name="Freeform 2122"/>
            <p:cNvSpPr>
              <a:spLocks noEditPoints="1"/>
            </p:cNvSpPr>
            <p:nvPr/>
          </p:nvSpPr>
          <p:spPr bwMode="auto">
            <a:xfrm>
              <a:off x="19075400" y="2416175"/>
              <a:ext cx="153988" cy="549275"/>
            </a:xfrm>
            <a:custGeom>
              <a:avLst/>
              <a:gdLst>
                <a:gd name="T0" fmla="*/ 10 w 41"/>
                <a:gd name="T1" fmla="*/ 146 h 146"/>
                <a:gd name="T2" fmla="*/ 41 w 41"/>
                <a:gd name="T3" fmla="*/ 9 h 146"/>
                <a:gd name="T4" fmla="*/ 0 w 41"/>
                <a:gd name="T5" fmla="*/ 9 h 146"/>
                <a:gd name="T6" fmla="*/ 13 w 41"/>
                <a:gd name="T7" fmla="*/ 126 h 146"/>
                <a:gd name="T8" fmla="*/ 34 w 41"/>
                <a:gd name="T9" fmla="*/ 74 h 146"/>
                <a:gd name="T10" fmla="*/ 28 w 41"/>
                <a:gd name="T11" fmla="*/ 74 h 146"/>
                <a:gd name="T12" fmla="*/ 23 w 41"/>
                <a:gd name="T13" fmla="*/ 74 h 146"/>
                <a:gd name="T14" fmla="*/ 18 w 41"/>
                <a:gd name="T15" fmla="*/ 74 h 146"/>
                <a:gd name="T16" fmla="*/ 14 w 41"/>
                <a:gd name="T17" fmla="*/ 74 h 146"/>
                <a:gd name="T18" fmla="*/ 8 w 41"/>
                <a:gd name="T19" fmla="*/ 74 h 146"/>
                <a:gd name="T20" fmla="*/ 34 w 41"/>
                <a:gd name="T21" fmla="*/ 63 h 146"/>
                <a:gd name="T22" fmla="*/ 28 w 41"/>
                <a:gd name="T23" fmla="*/ 63 h 146"/>
                <a:gd name="T24" fmla="*/ 23 w 41"/>
                <a:gd name="T25" fmla="*/ 63 h 146"/>
                <a:gd name="T26" fmla="*/ 18 w 41"/>
                <a:gd name="T27" fmla="*/ 63 h 146"/>
                <a:gd name="T28" fmla="*/ 14 w 41"/>
                <a:gd name="T29" fmla="*/ 63 h 146"/>
                <a:gd name="T30" fmla="*/ 8 w 41"/>
                <a:gd name="T31" fmla="*/ 63 h 146"/>
                <a:gd name="T32" fmla="*/ 34 w 41"/>
                <a:gd name="T33" fmla="*/ 52 h 146"/>
                <a:gd name="T34" fmla="*/ 28 w 41"/>
                <a:gd name="T35" fmla="*/ 52 h 146"/>
                <a:gd name="T36" fmla="*/ 23 w 41"/>
                <a:gd name="T37" fmla="*/ 52 h 146"/>
                <a:gd name="T38" fmla="*/ 18 w 41"/>
                <a:gd name="T39" fmla="*/ 52 h 146"/>
                <a:gd name="T40" fmla="*/ 14 w 41"/>
                <a:gd name="T41" fmla="*/ 52 h 146"/>
                <a:gd name="T42" fmla="*/ 8 w 41"/>
                <a:gd name="T43" fmla="*/ 52 h 146"/>
                <a:gd name="T44" fmla="*/ 34 w 41"/>
                <a:gd name="T45" fmla="*/ 41 h 146"/>
                <a:gd name="T46" fmla="*/ 28 w 41"/>
                <a:gd name="T47" fmla="*/ 41 h 146"/>
                <a:gd name="T48" fmla="*/ 23 w 41"/>
                <a:gd name="T49" fmla="*/ 41 h 146"/>
                <a:gd name="T50" fmla="*/ 18 w 41"/>
                <a:gd name="T51" fmla="*/ 41 h 146"/>
                <a:gd name="T52" fmla="*/ 14 w 41"/>
                <a:gd name="T53" fmla="*/ 41 h 146"/>
                <a:gd name="T54" fmla="*/ 8 w 41"/>
                <a:gd name="T55" fmla="*/ 41 h 146"/>
                <a:gd name="T56" fmla="*/ 34 w 41"/>
                <a:gd name="T57" fmla="*/ 31 h 146"/>
                <a:gd name="T58" fmla="*/ 28 w 41"/>
                <a:gd name="T59" fmla="*/ 31 h 146"/>
                <a:gd name="T60" fmla="*/ 23 w 41"/>
                <a:gd name="T61" fmla="*/ 31 h 146"/>
                <a:gd name="T62" fmla="*/ 18 w 41"/>
                <a:gd name="T63" fmla="*/ 31 h 146"/>
                <a:gd name="T64" fmla="*/ 14 w 41"/>
                <a:gd name="T65" fmla="*/ 31 h 146"/>
                <a:gd name="T66" fmla="*/ 8 w 41"/>
                <a:gd name="T67" fmla="*/ 31 h 146"/>
                <a:gd name="T68" fmla="*/ 34 w 41"/>
                <a:gd name="T69" fmla="*/ 20 h 146"/>
                <a:gd name="T70" fmla="*/ 28 w 41"/>
                <a:gd name="T71" fmla="*/ 20 h 146"/>
                <a:gd name="T72" fmla="*/ 23 w 41"/>
                <a:gd name="T73" fmla="*/ 20 h 146"/>
                <a:gd name="T74" fmla="*/ 18 w 41"/>
                <a:gd name="T75" fmla="*/ 20 h 146"/>
                <a:gd name="T76" fmla="*/ 14 w 41"/>
                <a:gd name="T77" fmla="*/ 20 h 146"/>
                <a:gd name="T78" fmla="*/ 8 w 41"/>
                <a:gd name="T79" fmla="*/ 20 h 146"/>
                <a:gd name="T80" fmla="*/ 34 w 41"/>
                <a:gd name="T81" fmla="*/ 9 h 146"/>
                <a:gd name="T82" fmla="*/ 28 w 41"/>
                <a:gd name="T83" fmla="*/ 9 h 146"/>
                <a:gd name="T84" fmla="*/ 23 w 41"/>
                <a:gd name="T85" fmla="*/ 9 h 146"/>
                <a:gd name="T86" fmla="*/ 18 w 41"/>
                <a:gd name="T87" fmla="*/ 9 h 146"/>
                <a:gd name="T88" fmla="*/ 14 w 41"/>
                <a:gd name="T89" fmla="*/ 9 h 146"/>
                <a:gd name="T90" fmla="*/ 8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10" y="146"/>
                  </a:cubicBezTo>
                  <a:cubicBezTo>
                    <a:pt x="32" y="146"/>
                    <a:pt x="32" y="146"/>
                    <a:pt x="32" y="146"/>
                  </a:cubicBezTo>
                  <a:cubicBezTo>
                    <a:pt x="37" y="146"/>
                    <a:pt x="41" y="142"/>
                    <a:pt x="41" y="137"/>
                  </a:cubicBezTo>
                  <a:cubicBezTo>
                    <a:pt x="41" y="9"/>
                    <a:pt x="41" y="9"/>
                    <a:pt x="41" y="9"/>
                  </a:cubicBezTo>
                  <a:cubicBezTo>
                    <a:pt x="41" y="4"/>
                    <a:pt x="37" y="0"/>
                    <a:pt x="32" y="0"/>
                  </a:cubicBezTo>
                  <a:cubicBezTo>
                    <a:pt x="10" y="0"/>
                    <a:pt x="10" y="0"/>
                    <a:pt x="10" y="0"/>
                  </a:cubicBezTo>
                  <a:cubicBezTo>
                    <a:pt x="4" y="0"/>
                    <a:pt x="0" y="4"/>
                    <a:pt x="0" y="9"/>
                  </a:cubicBezTo>
                  <a:close/>
                  <a:moveTo>
                    <a:pt x="28" y="126"/>
                  </a:moveTo>
                  <a:cubicBezTo>
                    <a:pt x="28" y="130"/>
                    <a:pt x="25" y="134"/>
                    <a:pt x="21" y="134"/>
                  </a:cubicBezTo>
                  <a:cubicBezTo>
                    <a:pt x="17" y="134"/>
                    <a:pt x="13" y="130"/>
                    <a:pt x="13" y="126"/>
                  </a:cubicBezTo>
                  <a:cubicBezTo>
                    <a:pt x="13" y="122"/>
                    <a:pt x="17" y="119"/>
                    <a:pt x="21" y="119"/>
                  </a:cubicBezTo>
                  <a:cubicBezTo>
                    <a:pt x="25" y="119"/>
                    <a:pt x="28" y="122"/>
                    <a:pt x="28" y="126"/>
                  </a:cubicBezTo>
                  <a:close/>
                  <a:moveTo>
                    <a:pt x="34" y="74"/>
                  </a:moveTo>
                  <a:cubicBezTo>
                    <a:pt x="34" y="79"/>
                    <a:pt x="34" y="79"/>
                    <a:pt x="34" y="79"/>
                  </a:cubicBezTo>
                  <a:cubicBezTo>
                    <a:pt x="28" y="79"/>
                    <a:pt x="28" y="79"/>
                    <a:pt x="28" y="79"/>
                  </a:cubicBezTo>
                  <a:cubicBezTo>
                    <a:pt x="28" y="74"/>
                    <a:pt x="28" y="74"/>
                    <a:pt x="28" y="74"/>
                  </a:cubicBezTo>
                  <a:cubicBezTo>
                    <a:pt x="34" y="74"/>
                    <a:pt x="34" y="74"/>
                    <a:pt x="34" y="74"/>
                  </a:cubicBezTo>
                  <a:cubicBezTo>
                    <a:pt x="34" y="74"/>
                    <a:pt x="34" y="74"/>
                    <a:pt x="34" y="74"/>
                  </a:cubicBezTo>
                  <a:close/>
                  <a:moveTo>
                    <a:pt x="23" y="74"/>
                  </a:moveTo>
                  <a:cubicBezTo>
                    <a:pt x="23" y="79"/>
                    <a:pt x="23" y="79"/>
                    <a:pt x="23" y="79"/>
                  </a:cubicBezTo>
                  <a:cubicBezTo>
                    <a:pt x="18" y="79"/>
                    <a:pt x="18" y="79"/>
                    <a:pt x="18" y="79"/>
                  </a:cubicBezTo>
                  <a:cubicBezTo>
                    <a:pt x="18" y="74"/>
                    <a:pt x="18" y="74"/>
                    <a:pt x="18" y="74"/>
                  </a:cubicBezTo>
                  <a:cubicBezTo>
                    <a:pt x="23" y="74"/>
                    <a:pt x="23" y="74"/>
                    <a:pt x="23" y="74"/>
                  </a:cubicBezTo>
                  <a:cubicBezTo>
                    <a:pt x="23" y="74"/>
                    <a:pt x="23" y="74"/>
                    <a:pt x="23" y="74"/>
                  </a:cubicBezTo>
                  <a:close/>
                  <a:moveTo>
                    <a:pt x="14" y="74"/>
                  </a:moveTo>
                  <a:cubicBezTo>
                    <a:pt x="14" y="79"/>
                    <a:pt x="14" y="79"/>
                    <a:pt x="14" y="79"/>
                  </a:cubicBezTo>
                  <a:cubicBezTo>
                    <a:pt x="8" y="79"/>
                    <a:pt x="8" y="79"/>
                    <a:pt x="8" y="79"/>
                  </a:cubicBezTo>
                  <a:cubicBezTo>
                    <a:pt x="8" y="74"/>
                    <a:pt x="8" y="74"/>
                    <a:pt x="8" y="74"/>
                  </a:cubicBezTo>
                  <a:cubicBezTo>
                    <a:pt x="14" y="74"/>
                    <a:pt x="14" y="74"/>
                    <a:pt x="14" y="74"/>
                  </a:cubicBezTo>
                  <a:cubicBezTo>
                    <a:pt x="14" y="74"/>
                    <a:pt x="14" y="74"/>
                    <a:pt x="14" y="74"/>
                  </a:cubicBezTo>
                  <a:close/>
                  <a:moveTo>
                    <a:pt x="34" y="63"/>
                  </a:moveTo>
                  <a:cubicBezTo>
                    <a:pt x="34" y="69"/>
                    <a:pt x="34" y="69"/>
                    <a:pt x="34" y="69"/>
                  </a:cubicBezTo>
                  <a:cubicBezTo>
                    <a:pt x="28" y="69"/>
                    <a:pt x="28" y="69"/>
                    <a:pt x="28" y="69"/>
                  </a:cubicBezTo>
                  <a:cubicBezTo>
                    <a:pt x="28" y="63"/>
                    <a:pt x="28" y="63"/>
                    <a:pt x="28" y="63"/>
                  </a:cubicBezTo>
                  <a:cubicBezTo>
                    <a:pt x="34" y="63"/>
                    <a:pt x="34" y="63"/>
                    <a:pt x="34" y="63"/>
                  </a:cubicBezTo>
                  <a:cubicBezTo>
                    <a:pt x="34" y="63"/>
                    <a:pt x="34" y="63"/>
                    <a:pt x="34" y="63"/>
                  </a:cubicBezTo>
                  <a:close/>
                  <a:moveTo>
                    <a:pt x="23" y="63"/>
                  </a:moveTo>
                  <a:cubicBezTo>
                    <a:pt x="23" y="69"/>
                    <a:pt x="23" y="69"/>
                    <a:pt x="23" y="69"/>
                  </a:cubicBezTo>
                  <a:cubicBezTo>
                    <a:pt x="18" y="69"/>
                    <a:pt x="18" y="69"/>
                    <a:pt x="18" y="69"/>
                  </a:cubicBezTo>
                  <a:cubicBezTo>
                    <a:pt x="18" y="63"/>
                    <a:pt x="18" y="63"/>
                    <a:pt x="18" y="63"/>
                  </a:cubicBezTo>
                  <a:cubicBezTo>
                    <a:pt x="23" y="63"/>
                    <a:pt x="23" y="63"/>
                    <a:pt x="23" y="63"/>
                  </a:cubicBezTo>
                  <a:cubicBezTo>
                    <a:pt x="23" y="63"/>
                    <a:pt x="23" y="63"/>
                    <a:pt x="23" y="63"/>
                  </a:cubicBezTo>
                  <a:close/>
                  <a:moveTo>
                    <a:pt x="14" y="63"/>
                  </a:moveTo>
                  <a:cubicBezTo>
                    <a:pt x="14" y="69"/>
                    <a:pt x="14" y="69"/>
                    <a:pt x="14" y="69"/>
                  </a:cubicBezTo>
                  <a:cubicBezTo>
                    <a:pt x="8" y="69"/>
                    <a:pt x="8" y="69"/>
                    <a:pt x="8" y="69"/>
                  </a:cubicBezTo>
                  <a:cubicBezTo>
                    <a:pt x="8" y="63"/>
                    <a:pt x="8" y="63"/>
                    <a:pt x="8" y="63"/>
                  </a:cubicBezTo>
                  <a:cubicBezTo>
                    <a:pt x="14" y="63"/>
                    <a:pt x="14" y="63"/>
                    <a:pt x="14" y="63"/>
                  </a:cubicBezTo>
                  <a:cubicBezTo>
                    <a:pt x="14" y="63"/>
                    <a:pt x="14" y="63"/>
                    <a:pt x="14" y="63"/>
                  </a:cubicBezTo>
                  <a:close/>
                  <a:moveTo>
                    <a:pt x="34" y="52"/>
                  </a:moveTo>
                  <a:cubicBezTo>
                    <a:pt x="34" y="58"/>
                    <a:pt x="34" y="58"/>
                    <a:pt x="34" y="58"/>
                  </a:cubicBezTo>
                  <a:cubicBezTo>
                    <a:pt x="28" y="58"/>
                    <a:pt x="28" y="58"/>
                    <a:pt x="28" y="58"/>
                  </a:cubicBezTo>
                  <a:cubicBezTo>
                    <a:pt x="28" y="52"/>
                    <a:pt x="28" y="52"/>
                    <a:pt x="28" y="52"/>
                  </a:cubicBezTo>
                  <a:cubicBezTo>
                    <a:pt x="34" y="52"/>
                    <a:pt x="34" y="52"/>
                    <a:pt x="34" y="52"/>
                  </a:cubicBezTo>
                  <a:cubicBezTo>
                    <a:pt x="34" y="52"/>
                    <a:pt x="34" y="52"/>
                    <a:pt x="34" y="52"/>
                  </a:cubicBezTo>
                  <a:close/>
                  <a:moveTo>
                    <a:pt x="23" y="52"/>
                  </a:moveTo>
                  <a:cubicBezTo>
                    <a:pt x="23" y="58"/>
                    <a:pt x="23" y="58"/>
                    <a:pt x="23" y="58"/>
                  </a:cubicBezTo>
                  <a:cubicBezTo>
                    <a:pt x="18" y="58"/>
                    <a:pt x="18" y="58"/>
                    <a:pt x="18" y="58"/>
                  </a:cubicBezTo>
                  <a:cubicBezTo>
                    <a:pt x="18" y="52"/>
                    <a:pt x="18" y="52"/>
                    <a:pt x="18" y="52"/>
                  </a:cubicBezTo>
                  <a:cubicBezTo>
                    <a:pt x="23" y="52"/>
                    <a:pt x="23" y="52"/>
                    <a:pt x="23" y="52"/>
                  </a:cubicBezTo>
                  <a:cubicBezTo>
                    <a:pt x="23" y="52"/>
                    <a:pt x="23" y="52"/>
                    <a:pt x="23" y="52"/>
                  </a:cubicBezTo>
                  <a:close/>
                  <a:moveTo>
                    <a:pt x="14" y="52"/>
                  </a:moveTo>
                  <a:cubicBezTo>
                    <a:pt x="14" y="58"/>
                    <a:pt x="14" y="58"/>
                    <a:pt x="14" y="58"/>
                  </a:cubicBezTo>
                  <a:cubicBezTo>
                    <a:pt x="8" y="58"/>
                    <a:pt x="8" y="58"/>
                    <a:pt x="8" y="58"/>
                  </a:cubicBezTo>
                  <a:cubicBezTo>
                    <a:pt x="8" y="52"/>
                    <a:pt x="8" y="52"/>
                    <a:pt x="8" y="52"/>
                  </a:cubicBezTo>
                  <a:cubicBezTo>
                    <a:pt x="14" y="52"/>
                    <a:pt x="14" y="52"/>
                    <a:pt x="14" y="52"/>
                  </a:cubicBezTo>
                  <a:cubicBezTo>
                    <a:pt x="14" y="52"/>
                    <a:pt x="14" y="52"/>
                    <a:pt x="14" y="52"/>
                  </a:cubicBezTo>
                  <a:close/>
                  <a:moveTo>
                    <a:pt x="34" y="41"/>
                  </a:moveTo>
                  <a:cubicBezTo>
                    <a:pt x="34" y="47"/>
                    <a:pt x="34" y="47"/>
                    <a:pt x="34" y="47"/>
                  </a:cubicBezTo>
                  <a:cubicBezTo>
                    <a:pt x="28" y="47"/>
                    <a:pt x="28" y="47"/>
                    <a:pt x="28" y="47"/>
                  </a:cubicBezTo>
                  <a:cubicBezTo>
                    <a:pt x="28" y="41"/>
                    <a:pt x="28" y="41"/>
                    <a:pt x="28" y="41"/>
                  </a:cubicBezTo>
                  <a:cubicBezTo>
                    <a:pt x="34" y="41"/>
                    <a:pt x="34" y="41"/>
                    <a:pt x="34" y="41"/>
                  </a:cubicBezTo>
                  <a:cubicBezTo>
                    <a:pt x="34" y="41"/>
                    <a:pt x="34" y="41"/>
                    <a:pt x="34" y="41"/>
                  </a:cubicBezTo>
                  <a:close/>
                  <a:moveTo>
                    <a:pt x="23" y="41"/>
                  </a:moveTo>
                  <a:cubicBezTo>
                    <a:pt x="23" y="47"/>
                    <a:pt x="23" y="47"/>
                    <a:pt x="23" y="47"/>
                  </a:cubicBezTo>
                  <a:cubicBezTo>
                    <a:pt x="18" y="47"/>
                    <a:pt x="18" y="47"/>
                    <a:pt x="18" y="47"/>
                  </a:cubicBezTo>
                  <a:cubicBezTo>
                    <a:pt x="18" y="41"/>
                    <a:pt x="18" y="41"/>
                    <a:pt x="18" y="41"/>
                  </a:cubicBezTo>
                  <a:cubicBezTo>
                    <a:pt x="23" y="41"/>
                    <a:pt x="23" y="41"/>
                    <a:pt x="23" y="41"/>
                  </a:cubicBezTo>
                  <a:cubicBezTo>
                    <a:pt x="23" y="41"/>
                    <a:pt x="23" y="41"/>
                    <a:pt x="23" y="41"/>
                  </a:cubicBezTo>
                  <a:close/>
                  <a:moveTo>
                    <a:pt x="14" y="41"/>
                  </a:moveTo>
                  <a:cubicBezTo>
                    <a:pt x="14" y="47"/>
                    <a:pt x="14" y="47"/>
                    <a:pt x="14" y="47"/>
                  </a:cubicBezTo>
                  <a:cubicBezTo>
                    <a:pt x="8" y="47"/>
                    <a:pt x="8" y="47"/>
                    <a:pt x="8" y="47"/>
                  </a:cubicBezTo>
                  <a:cubicBezTo>
                    <a:pt x="8" y="41"/>
                    <a:pt x="8" y="41"/>
                    <a:pt x="8" y="41"/>
                  </a:cubicBezTo>
                  <a:cubicBezTo>
                    <a:pt x="14" y="41"/>
                    <a:pt x="14" y="41"/>
                    <a:pt x="14" y="41"/>
                  </a:cubicBezTo>
                  <a:cubicBezTo>
                    <a:pt x="14" y="41"/>
                    <a:pt x="14" y="41"/>
                    <a:pt x="14" y="41"/>
                  </a:cubicBezTo>
                  <a:close/>
                  <a:moveTo>
                    <a:pt x="34" y="31"/>
                  </a:moveTo>
                  <a:cubicBezTo>
                    <a:pt x="34" y="36"/>
                    <a:pt x="34" y="36"/>
                    <a:pt x="34" y="36"/>
                  </a:cubicBezTo>
                  <a:cubicBezTo>
                    <a:pt x="28" y="36"/>
                    <a:pt x="28" y="36"/>
                    <a:pt x="28" y="36"/>
                  </a:cubicBezTo>
                  <a:cubicBezTo>
                    <a:pt x="28" y="31"/>
                    <a:pt x="28" y="31"/>
                    <a:pt x="28" y="31"/>
                  </a:cubicBezTo>
                  <a:cubicBezTo>
                    <a:pt x="34" y="31"/>
                    <a:pt x="34" y="31"/>
                    <a:pt x="34" y="31"/>
                  </a:cubicBezTo>
                  <a:cubicBezTo>
                    <a:pt x="34" y="31"/>
                    <a:pt x="34" y="31"/>
                    <a:pt x="34" y="31"/>
                  </a:cubicBezTo>
                  <a:close/>
                  <a:moveTo>
                    <a:pt x="23" y="31"/>
                  </a:moveTo>
                  <a:cubicBezTo>
                    <a:pt x="23" y="36"/>
                    <a:pt x="23" y="36"/>
                    <a:pt x="23" y="36"/>
                  </a:cubicBezTo>
                  <a:cubicBezTo>
                    <a:pt x="18" y="36"/>
                    <a:pt x="18" y="36"/>
                    <a:pt x="18" y="36"/>
                  </a:cubicBezTo>
                  <a:cubicBezTo>
                    <a:pt x="18" y="31"/>
                    <a:pt x="18" y="31"/>
                    <a:pt x="18" y="31"/>
                  </a:cubicBezTo>
                  <a:cubicBezTo>
                    <a:pt x="23" y="31"/>
                    <a:pt x="23" y="31"/>
                    <a:pt x="23" y="31"/>
                  </a:cubicBezTo>
                  <a:cubicBezTo>
                    <a:pt x="23" y="31"/>
                    <a:pt x="23" y="31"/>
                    <a:pt x="23" y="31"/>
                  </a:cubicBezTo>
                  <a:close/>
                  <a:moveTo>
                    <a:pt x="14" y="31"/>
                  </a:moveTo>
                  <a:cubicBezTo>
                    <a:pt x="14" y="36"/>
                    <a:pt x="14" y="36"/>
                    <a:pt x="14" y="36"/>
                  </a:cubicBezTo>
                  <a:cubicBezTo>
                    <a:pt x="8" y="36"/>
                    <a:pt x="8" y="36"/>
                    <a:pt x="8" y="36"/>
                  </a:cubicBezTo>
                  <a:cubicBezTo>
                    <a:pt x="8" y="31"/>
                    <a:pt x="8" y="31"/>
                    <a:pt x="8" y="31"/>
                  </a:cubicBezTo>
                  <a:cubicBezTo>
                    <a:pt x="14" y="31"/>
                    <a:pt x="14" y="31"/>
                    <a:pt x="14" y="31"/>
                  </a:cubicBezTo>
                  <a:cubicBezTo>
                    <a:pt x="14" y="31"/>
                    <a:pt x="14" y="31"/>
                    <a:pt x="14" y="31"/>
                  </a:cubicBezTo>
                  <a:close/>
                  <a:moveTo>
                    <a:pt x="34" y="20"/>
                  </a:moveTo>
                  <a:cubicBezTo>
                    <a:pt x="34" y="26"/>
                    <a:pt x="34" y="26"/>
                    <a:pt x="34" y="26"/>
                  </a:cubicBezTo>
                  <a:cubicBezTo>
                    <a:pt x="28" y="26"/>
                    <a:pt x="28" y="26"/>
                    <a:pt x="28" y="26"/>
                  </a:cubicBezTo>
                  <a:cubicBezTo>
                    <a:pt x="28" y="20"/>
                    <a:pt x="28" y="20"/>
                    <a:pt x="28" y="20"/>
                  </a:cubicBezTo>
                  <a:cubicBezTo>
                    <a:pt x="34" y="20"/>
                    <a:pt x="34" y="20"/>
                    <a:pt x="34" y="20"/>
                  </a:cubicBezTo>
                  <a:cubicBezTo>
                    <a:pt x="34" y="20"/>
                    <a:pt x="34" y="20"/>
                    <a:pt x="34" y="20"/>
                  </a:cubicBezTo>
                  <a:close/>
                  <a:moveTo>
                    <a:pt x="23" y="20"/>
                  </a:moveTo>
                  <a:cubicBezTo>
                    <a:pt x="23" y="26"/>
                    <a:pt x="23" y="26"/>
                    <a:pt x="23" y="26"/>
                  </a:cubicBezTo>
                  <a:cubicBezTo>
                    <a:pt x="18" y="26"/>
                    <a:pt x="18" y="26"/>
                    <a:pt x="18" y="26"/>
                  </a:cubicBezTo>
                  <a:cubicBezTo>
                    <a:pt x="18" y="20"/>
                    <a:pt x="18" y="20"/>
                    <a:pt x="18" y="20"/>
                  </a:cubicBezTo>
                  <a:cubicBezTo>
                    <a:pt x="23" y="20"/>
                    <a:pt x="23" y="20"/>
                    <a:pt x="23" y="20"/>
                  </a:cubicBezTo>
                  <a:cubicBezTo>
                    <a:pt x="23" y="20"/>
                    <a:pt x="23" y="20"/>
                    <a:pt x="23" y="20"/>
                  </a:cubicBezTo>
                  <a:close/>
                  <a:moveTo>
                    <a:pt x="14" y="20"/>
                  </a:moveTo>
                  <a:cubicBezTo>
                    <a:pt x="14" y="26"/>
                    <a:pt x="14" y="26"/>
                    <a:pt x="14" y="26"/>
                  </a:cubicBezTo>
                  <a:cubicBezTo>
                    <a:pt x="8" y="26"/>
                    <a:pt x="8" y="26"/>
                    <a:pt x="8" y="26"/>
                  </a:cubicBezTo>
                  <a:cubicBezTo>
                    <a:pt x="8" y="20"/>
                    <a:pt x="8" y="20"/>
                    <a:pt x="8" y="20"/>
                  </a:cubicBezTo>
                  <a:cubicBezTo>
                    <a:pt x="14" y="20"/>
                    <a:pt x="14" y="20"/>
                    <a:pt x="14" y="20"/>
                  </a:cubicBezTo>
                  <a:cubicBezTo>
                    <a:pt x="14" y="20"/>
                    <a:pt x="14" y="20"/>
                    <a:pt x="14" y="20"/>
                  </a:cubicBezTo>
                  <a:close/>
                  <a:moveTo>
                    <a:pt x="34" y="9"/>
                  </a:moveTo>
                  <a:cubicBezTo>
                    <a:pt x="34" y="15"/>
                    <a:pt x="34" y="15"/>
                    <a:pt x="34" y="15"/>
                  </a:cubicBezTo>
                  <a:cubicBezTo>
                    <a:pt x="28" y="15"/>
                    <a:pt x="28" y="15"/>
                    <a:pt x="28" y="15"/>
                  </a:cubicBezTo>
                  <a:cubicBezTo>
                    <a:pt x="28" y="9"/>
                    <a:pt x="28" y="9"/>
                    <a:pt x="28" y="9"/>
                  </a:cubicBezTo>
                  <a:cubicBezTo>
                    <a:pt x="34" y="9"/>
                    <a:pt x="34" y="9"/>
                    <a:pt x="34" y="9"/>
                  </a:cubicBezTo>
                  <a:cubicBezTo>
                    <a:pt x="34" y="9"/>
                    <a:pt x="34" y="9"/>
                    <a:pt x="34" y="9"/>
                  </a:cubicBezTo>
                  <a:close/>
                  <a:moveTo>
                    <a:pt x="23" y="9"/>
                  </a:moveTo>
                  <a:cubicBezTo>
                    <a:pt x="23" y="15"/>
                    <a:pt x="23" y="15"/>
                    <a:pt x="23" y="15"/>
                  </a:cubicBezTo>
                  <a:cubicBezTo>
                    <a:pt x="18" y="15"/>
                    <a:pt x="18" y="15"/>
                    <a:pt x="18" y="15"/>
                  </a:cubicBezTo>
                  <a:cubicBezTo>
                    <a:pt x="18" y="9"/>
                    <a:pt x="18" y="9"/>
                    <a:pt x="18" y="9"/>
                  </a:cubicBezTo>
                  <a:cubicBezTo>
                    <a:pt x="23" y="9"/>
                    <a:pt x="23" y="9"/>
                    <a:pt x="23" y="9"/>
                  </a:cubicBezTo>
                  <a:cubicBezTo>
                    <a:pt x="23" y="9"/>
                    <a:pt x="23" y="9"/>
                    <a:pt x="23" y="9"/>
                  </a:cubicBezTo>
                  <a:close/>
                  <a:moveTo>
                    <a:pt x="14" y="9"/>
                  </a:moveTo>
                  <a:cubicBezTo>
                    <a:pt x="14" y="15"/>
                    <a:pt x="14" y="15"/>
                    <a:pt x="14" y="15"/>
                  </a:cubicBezTo>
                  <a:cubicBezTo>
                    <a:pt x="8" y="15"/>
                    <a:pt x="8" y="15"/>
                    <a:pt x="8" y="15"/>
                  </a:cubicBezTo>
                  <a:cubicBezTo>
                    <a:pt x="8" y="9"/>
                    <a:pt x="8" y="9"/>
                    <a:pt x="8" y="9"/>
                  </a:cubicBezTo>
                  <a:cubicBezTo>
                    <a:pt x="14" y="9"/>
                    <a:pt x="14" y="9"/>
                    <a:pt x="14" y="9"/>
                  </a:cubicBezTo>
                  <a:cubicBezTo>
                    <a:pt x="14" y="9"/>
                    <a:pt x="14" y="9"/>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67" name="Freeform 2123"/>
            <p:cNvSpPr>
              <a:spLocks noEditPoints="1"/>
            </p:cNvSpPr>
            <p:nvPr/>
          </p:nvSpPr>
          <p:spPr bwMode="auto">
            <a:xfrm>
              <a:off x="15782925" y="3097213"/>
              <a:ext cx="153988" cy="552450"/>
            </a:xfrm>
            <a:custGeom>
              <a:avLst/>
              <a:gdLst>
                <a:gd name="T0" fmla="*/ 10 w 41"/>
                <a:gd name="T1" fmla="*/ 147 h 147"/>
                <a:gd name="T2" fmla="*/ 41 w 41"/>
                <a:gd name="T3" fmla="*/ 10 h 147"/>
                <a:gd name="T4" fmla="*/ 0 w 41"/>
                <a:gd name="T5" fmla="*/ 10 h 147"/>
                <a:gd name="T6" fmla="*/ 13 w 41"/>
                <a:gd name="T7" fmla="*/ 127 h 147"/>
                <a:gd name="T8" fmla="*/ 34 w 41"/>
                <a:gd name="T9" fmla="*/ 74 h 147"/>
                <a:gd name="T10" fmla="*/ 28 w 41"/>
                <a:gd name="T11" fmla="*/ 74 h 147"/>
                <a:gd name="T12" fmla="*/ 23 w 41"/>
                <a:gd name="T13" fmla="*/ 74 h 147"/>
                <a:gd name="T14" fmla="*/ 18 w 41"/>
                <a:gd name="T15" fmla="*/ 74 h 147"/>
                <a:gd name="T16" fmla="*/ 13 w 41"/>
                <a:gd name="T17" fmla="*/ 74 h 147"/>
                <a:gd name="T18" fmla="*/ 8 w 41"/>
                <a:gd name="T19" fmla="*/ 74 h 147"/>
                <a:gd name="T20" fmla="*/ 34 w 41"/>
                <a:gd name="T21" fmla="*/ 63 h 147"/>
                <a:gd name="T22" fmla="*/ 28 w 41"/>
                <a:gd name="T23" fmla="*/ 63 h 147"/>
                <a:gd name="T24" fmla="*/ 23 w 41"/>
                <a:gd name="T25" fmla="*/ 63 h 147"/>
                <a:gd name="T26" fmla="*/ 18 w 41"/>
                <a:gd name="T27" fmla="*/ 63 h 147"/>
                <a:gd name="T28" fmla="*/ 13 w 41"/>
                <a:gd name="T29" fmla="*/ 63 h 147"/>
                <a:gd name="T30" fmla="*/ 8 w 41"/>
                <a:gd name="T31" fmla="*/ 63 h 147"/>
                <a:gd name="T32" fmla="*/ 34 w 41"/>
                <a:gd name="T33" fmla="*/ 52 h 147"/>
                <a:gd name="T34" fmla="*/ 28 w 41"/>
                <a:gd name="T35" fmla="*/ 52 h 147"/>
                <a:gd name="T36" fmla="*/ 23 w 41"/>
                <a:gd name="T37" fmla="*/ 52 h 147"/>
                <a:gd name="T38" fmla="*/ 18 w 41"/>
                <a:gd name="T39" fmla="*/ 52 h 147"/>
                <a:gd name="T40" fmla="*/ 13 w 41"/>
                <a:gd name="T41" fmla="*/ 52 h 147"/>
                <a:gd name="T42" fmla="*/ 8 w 41"/>
                <a:gd name="T43" fmla="*/ 52 h 147"/>
                <a:gd name="T44" fmla="*/ 34 w 41"/>
                <a:gd name="T45" fmla="*/ 42 h 147"/>
                <a:gd name="T46" fmla="*/ 28 w 41"/>
                <a:gd name="T47" fmla="*/ 42 h 147"/>
                <a:gd name="T48" fmla="*/ 23 w 41"/>
                <a:gd name="T49" fmla="*/ 42 h 147"/>
                <a:gd name="T50" fmla="*/ 18 w 41"/>
                <a:gd name="T51" fmla="*/ 42 h 147"/>
                <a:gd name="T52" fmla="*/ 13 w 41"/>
                <a:gd name="T53" fmla="*/ 42 h 147"/>
                <a:gd name="T54" fmla="*/ 8 w 41"/>
                <a:gd name="T55" fmla="*/ 42 h 147"/>
                <a:gd name="T56" fmla="*/ 34 w 41"/>
                <a:gd name="T57" fmla="*/ 31 h 147"/>
                <a:gd name="T58" fmla="*/ 28 w 41"/>
                <a:gd name="T59" fmla="*/ 31 h 147"/>
                <a:gd name="T60" fmla="*/ 23 w 41"/>
                <a:gd name="T61" fmla="*/ 31 h 147"/>
                <a:gd name="T62" fmla="*/ 18 w 41"/>
                <a:gd name="T63" fmla="*/ 31 h 147"/>
                <a:gd name="T64" fmla="*/ 13 w 41"/>
                <a:gd name="T65" fmla="*/ 31 h 147"/>
                <a:gd name="T66" fmla="*/ 8 w 41"/>
                <a:gd name="T67" fmla="*/ 31 h 147"/>
                <a:gd name="T68" fmla="*/ 34 w 41"/>
                <a:gd name="T69" fmla="*/ 20 h 147"/>
                <a:gd name="T70" fmla="*/ 28 w 41"/>
                <a:gd name="T71" fmla="*/ 20 h 147"/>
                <a:gd name="T72" fmla="*/ 23 w 41"/>
                <a:gd name="T73" fmla="*/ 20 h 147"/>
                <a:gd name="T74" fmla="*/ 18 w 41"/>
                <a:gd name="T75" fmla="*/ 20 h 147"/>
                <a:gd name="T76" fmla="*/ 13 w 41"/>
                <a:gd name="T77" fmla="*/ 20 h 147"/>
                <a:gd name="T78" fmla="*/ 8 w 41"/>
                <a:gd name="T79" fmla="*/ 20 h 147"/>
                <a:gd name="T80" fmla="*/ 34 w 41"/>
                <a:gd name="T81" fmla="*/ 9 h 147"/>
                <a:gd name="T82" fmla="*/ 28 w 41"/>
                <a:gd name="T83" fmla="*/ 9 h 147"/>
                <a:gd name="T84" fmla="*/ 23 w 41"/>
                <a:gd name="T85" fmla="*/ 9 h 147"/>
                <a:gd name="T86" fmla="*/ 18 w 41"/>
                <a:gd name="T87" fmla="*/ 9 h 147"/>
                <a:gd name="T88" fmla="*/ 13 w 41"/>
                <a:gd name="T89" fmla="*/ 9 h 147"/>
                <a:gd name="T90" fmla="*/ 8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10" y="147"/>
                  </a:cubicBezTo>
                  <a:cubicBezTo>
                    <a:pt x="32" y="147"/>
                    <a:pt x="32" y="147"/>
                    <a:pt x="32" y="147"/>
                  </a:cubicBezTo>
                  <a:cubicBezTo>
                    <a:pt x="37" y="147"/>
                    <a:pt x="41" y="143"/>
                    <a:pt x="41" y="137"/>
                  </a:cubicBezTo>
                  <a:cubicBezTo>
                    <a:pt x="41" y="10"/>
                    <a:pt x="41" y="10"/>
                    <a:pt x="41" y="10"/>
                  </a:cubicBezTo>
                  <a:cubicBezTo>
                    <a:pt x="41" y="4"/>
                    <a:pt x="37" y="0"/>
                    <a:pt x="32" y="0"/>
                  </a:cubicBezTo>
                  <a:cubicBezTo>
                    <a:pt x="10" y="0"/>
                    <a:pt x="10" y="0"/>
                    <a:pt x="10" y="0"/>
                  </a:cubicBezTo>
                  <a:cubicBezTo>
                    <a:pt x="4" y="0"/>
                    <a:pt x="0" y="4"/>
                    <a:pt x="0" y="10"/>
                  </a:cubicBezTo>
                  <a:close/>
                  <a:moveTo>
                    <a:pt x="28" y="127"/>
                  </a:moveTo>
                  <a:cubicBezTo>
                    <a:pt x="28" y="131"/>
                    <a:pt x="25" y="134"/>
                    <a:pt x="21" y="134"/>
                  </a:cubicBezTo>
                  <a:cubicBezTo>
                    <a:pt x="17" y="134"/>
                    <a:pt x="13" y="131"/>
                    <a:pt x="13" y="127"/>
                  </a:cubicBezTo>
                  <a:cubicBezTo>
                    <a:pt x="13" y="123"/>
                    <a:pt x="17" y="119"/>
                    <a:pt x="21" y="119"/>
                  </a:cubicBezTo>
                  <a:cubicBezTo>
                    <a:pt x="25" y="119"/>
                    <a:pt x="28" y="123"/>
                    <a:pt x="28" y="127"/>
                  </a:cubicBezTo>
                  <a:close/>
                  <a:moveTo>
                    <a:pt x="34" y="74"/>
                  </a:moveTo>
                  <a:cubicBezTo>
                    <a:pt x="34" y="80"/>
                    <a:pt x="34" y="80"/>
                    <a:pt x="34" y="80"/>
                  </a:cubicBezTo>
                  <a:cubicBezTo>
                    <a:pt x="28" y="80"/>
                    <a:pt x="28" y="80"/>
                    <a:pt x="28" y="80"/>
                  </a:cubicBezTo>
                  <a:cubicBezTo>
                    <a:pt x="28" y="74"/>
                    <a:pt x="28" y="74"/>
                    <a:pt x="28" y="74"/>
                  </a:cubicBezTo>
                  <a:cubicBezTo>
                    <a:pt x="34" y="74"/>
                    <a:pt x="34" y="74"/>
                    <a:pt x="34" y="74"/>
                  </a:cubicBezTo>
                  <a:cubicBezTo>
                    <a:pt x="34" y="74"/>
                    <a:pt x="34" y="74"/>
                    <a:pt x="34" y="74"/>
                  </a:cubicBezTo>
                  <a:close/>
                  <a:moveTo>
                    <a:pt x="23" y="74"/>
                  </a:moveTo>
                  <a:cubicBezTo>
                    <a:pt x="23" y="80"/>
                    <a:pt x="23" y="80"/>
                    <a:pt x="23" y="80"/>
                  </a:cubicBezTo>
                  <a:cubicBezTo>
                    <a:pt x="18" y="80"/>
                    <a:pt x="18" y="80"/>
                    <a:pt x="18" y="80"/>
                  </a:cubicBezTo>
                  <a:cubicBezTo>
                    <a:pt x="18" y="74"/>
                    <a:pt x="18" y="74"/>
                    <a:pt x="18" y="74"/>
                  </a:cubicBezTo>
                  <a:cubicBezTo>
                    <a:pt x="23" y="74"/>
                    <a:pt x="23" y="74"/>
                    <a:pt x="23" y="74"/>
                  </a:cubicBezTo>
                  <a:cubicBezTo>
                    <a:pt x="23" y="74"/>
                    <a:pt x="23" y="74"/>
                    <a:pt x="23" y="74"/>
                  </a:cubicBezTo>
                  <a:close/>
                  <a:moveTo>
                    <a:pt x="13" y="74"/>
                  </a:moveTo>
                  <a:cubicBezTo>
                    <a:pt x="13" y="80"/>
                    <a:pt x="13" y="80"/>
                    <a:pt x="13" y="80"/>
                  </a:cubicBezTo>
                  <a:cubicBezTo>
                    <a:pt x="8" y="80"/>
                    <a:pt x="8" y="80"/>
                    <a:pt x="8" y="80"/>
                  </a:cubicBezTo>
                  <a:cubicBezTo>
                    <a:pt x="8" y="74"/>
                    <a:pt x="8" y="74"/>
                    <a:pt x="8" y="74"/>
                  </a:cubicBezTo>
                  <a:cubicBezTo>
                    <a:pt x="13" y="74"/>
                    <a:pt x="13" y="74"/>
                    <a:pt x="13" y="74"/>
                  </a:cubicBezTo>
                  <a:cubicBezTo>
                    <a:pt x="13" y="74"/>
                    <a:pt x="13" y="74"/>
                    <a:pt x="13" y="74"/>
                  </a:cubicBezTo>
                  <a:close/>
                  <a:moveTo>
                    <a:pt x="34" y="63"/>
                  </a:moveTo>
                  <a:cubicBezTo>
                    <a:pt x="34" y="69"/>
                    <a:pt x="34" y="69"/>
                    <a:pt x="34" y="69"/>
                  </a:cubicBezTo>
                  <a:cubicBezTo>
                    <a:pt x="28" y="69"/>
                    <a:pt x="28" y="69"/>
                    <a:pt x="28" y="69"/>
                  </a:cubicBezTo>
                  <a:cubicBezTo>
                    <a:pt x="28" y="63"/>
                    <a:pt x="28" y="63"/>
                    <a:pt x="28" y="63"/>
                  </a:cubicBezTo>
                  <a:cubicBezTo>
                    <a:pt x="34" y="63"/>
                    <a:pt x="34" y="63"/>
                    <a:pt x="34" y="63"/>
                  </a:cubicBezTo>
                  <a:cubicBezTo>
                    <a:pt x="34" y="63"/>
                    <a:pt x="34" y="63"/>
                    <a:pt x="34" y="63"/>
                  </a:cubicBezTo>
                  <a:close/>
                  <a:moveTo>
                    <a:pt x="23" y="63"/>
                  </a:moveTo>
                  <a:cubicBezTo>
                    <a:pt x="23" y="69"/>
                    <a:pt x="23" y="69"/>
                    <a:pt x="23" y="69"/>
                  </a:cubicBezTo>
                  <a:cubicBezTo>
                    <a:pt x="18" y="69"/>
                    <a:pt x="18" y="69"/>
                    <a:pt x="18" y="69"/>
                  </a:cubicBezTo>
                  <a:cubicBezTo>
                    <a:pt x="18" y="63"/>
                    <a:pt x="18" y="63"/>
                    <a:pt x="18" y="63"/>
                  </a:cubicBezTo>
                  <a:cubicBezTo>
                    <a:pt x="23" y="63"/>
                    <a:pt x="23" y="63"/>
                    <a:pt x="23" y="63"/>
                  </a:cubicBezTo>
                  <a:cubicBezTo>
                    <a:pt x="23" y="63"/>
                    <a:pt x="23" y="63"/>
                    <a:pt x="23" y="63"/>
                  </a:cubicBezTo>
                  <a:close/>
                  <a:moveTo>
                    <a:pt x="13" y="63"/>
                  </a:moveTo>
                  <a:cubicBezTo>
                    <a:pt x="13" y="69"/>
                    <a:pt x="13" y="69"/>
                    <a:pt x="13" y="69"/>
                  </a:cubicBezTo>
                  <a:cubicBezTo>
                    <a:pt x="8" y="69"/>
                    <a:pt x="8" y="69"/>
                    <a:pt x="8" y="69"/>
                  </a:cubicBezTo>
                  <a:cubicBezTo>
                    <a:pt x="8" y="63"/>
                    <a:pt x="8" y="63"/>
                    <a:pt x="8" y="63"/>
                  </a:cubicBezTo>
                  <a:cubicBezTo>
                    <a:pt x="13" y="63"/>
                    <a:pt x="13" y="63"/>
                    <a:pt x="13" y="63"/>
                  </a:cubicBezTo>
                  <a:cubicBezTo>
                    <a:pt x="13" y="63"/>
                    <a:pt x="13" y="63"/>
                    <a:pt x="13" y="63"/>
                  </a:cubicBezTo>
                  <a:close/>
                  <a:moveTo>
                    <a:pt x="34" y="52"/>
                  </a:moveTo>
                  <a:cubicBezTo>
                    <a:pt x="34" y="58"/>
                    <a:pt x="34" y="58"/>
                    <a:pt x="34" y="58"/>
                  </a:cubicBezTo>
                  <a:cubicBezTo>
                    <a:pt x="28" y="58"/>
                    <a:pt x="28" y="58"/>
                    <a:pt x="28" y="58"/>
                  </a:cubicBezTo>
                  <a:cubicBezTo>
                    <a:pt x="28" y="52"/>
                    <a:pt x="28" y="52"/>
                    <a:pt x="28" y="52"/>
                  </a:cubicBezTo>
                  <a:cubicBezTo>
                    <a:pt x="34" y="52"/>
                    <a:pt x="34" y="52"/>
                    <a:pt x="34" y="52"/>
                  </a:cubicBezTo>
                  <a:cubicBezTo>
                    <a:pt x="34" y="52"/>
                    <a:pt x="34" y="52"/>
                    <a:pt x="34" y="52"/>
                  </a:cubicBezTo>
                  <a:close/>
                  <a:moveTo>
                    <a:pt x="23" y="52"/>
                  </a:moveTo>
                  <a:cubicBezTo>
                    <a:pt x="23" y="58"/>
                    <a:pt x="23" y="58"/>
                    <a:pt x="23" y="58"/>
                  </a:cubicBezTo>
                  <a:cubicBezTo>
                    <a:pt x="18" y="58"/>
                    <a:pt x="18" y="58"/>
                    <a:pt x="18" y="58"/>
                  </a:cubicBezTo>
                  <a:cubicBezTo>
                    <a:pt x="18" y="52"/>
                    <a:pt x="18" y="52"/>
                    <a:pt x="18" y="52"/>
                  </a:cubicBezTo>
                  <a:cubicBezTo>
                    <a:pt x="23" y="52"/>
                    <a:pt x="23" y="52"/>
                    <a:pt x="23" y="52"/>
                  </a:cubicBezTo>
                  <a:cubicBezTo>
                    <a:pt x="23" y="52"/>
                    <a:pt x="23" y="52"/>
                    <a:pt x="23" y="52"/>
                  </a:cubicBezTo>
                  <a:close/>
                  <a:moveTo>
                    <a:pt x="13" y="52"/>
                  </a:moveTo>
                  <a:cubicBezTo>
                    <a:pt x="13" y="58"/>
                    <a:pt x="13" y="58"/>
                    <a:pt x="13" y="58"/>
                  </a:cubicBezTo>
                  <a:cubicBezTo>
                    <a:pt x="8" y="58"/>
                    <a:pt x="8" y="58"/>
                    <a:pt x="8" y="58"/>
                  </a:cubicBezTo>
                  <a:cubicBezTo>
                    <a:pt x="8" y="52"/>
                    <a:pt x="8" y="52"/>
                    <a:pt x="8" y="52"/>
                  </a:cubicBezTo>
                  <a:cubicBezTo>
                    <a:pt x="13" y="52"/>
                    <a:pt x="13" y="52"/>
                    <a:pt x="13" y="52"/>
                  </a:cubicBezTo>
                  <a:cubicBezTo>
                    <a:pt x="13" y="52"/>
                    <a:pt x="13" y="52"/>
                    <a:pt x="13" y="52"/>
                  </a:cubicBezTo>
                  <a:close/>
                  <a:moveTo>
                    <a:pt x="34" y="42"/>
                  </a:moveTo>
                  <a:cubicBezTo>
                    <a:pt x="34" y="47"/>
                    <a:pt x="34" y="47"/>
                    <a:pt x="34" y="47"/>
                  </a:cubicBezTo>
                  <a:cubicBezTo>
                    <a:pt x="28" y="47"/>
                    <a:pt x="28" y="47"/>
                    <a:pt x="28" y="47"/>
                  </a:cubicBezTo>
                  <a:cubicBezTo>
                    <a:pt x="28" y="42"/>
                    <a:pt x="28" y="42"/>
                    <a:pt x="28" y="42"/>
                  </a:cubicBezTo>
                  <a:cubicBezTo>
                    <a:pt x="34" y="42"/>
                    <a:pt x="34" y="42"/>
                    <a:pt x="34" y="42"/>
                  </a:cubicBezTo>
                  <a:cubicBezTo>
                    <a:pt x="34" y="42"/>
                    <a:pt x="34" y="42"/>
                    <a:pt x="34" y="42"/>
                  </a:cubicBezTo>
                  <a:close/>
                  <a:moveTo>
                    <a:pt x="23" y="42"/>
                  </a:moveTo>
                  <a:cubicBezTo>
                    <a:pt x="23" y="47"/>
                    <a:pt x="23" y="47"/>
                    <a:pt x="23" y="47"/>
                  </a:cubicBezTo>
                  <a:cubicBezTo>
                    <a:pt x="18" y="47"/>
                    <a:pt x="18" y="47"/>
                    <a:pt x="18" y="47"/>
                  </a:cubicBezTo>
                  <a:cubicBezTo>
                    <a:pt x="18" y="42"/>
                    <a:pt x="18" y="42"/>
                    <a:pt x="18" y="42"/>
                  </a:cubicBezTo>
                  <a:cubicBezTo>
                    <a:pt x="23" y="42"/>
                    <a:pt x="23" y="42"/>
                    <a:pt x="23" y="42"/>
                  </a:cubicBezTo>
                  <a:cubicBezTo>
                    <a:pt x="23" y="42"/>
                    <a:pt x="23" y="42"/>
                    <a:pt x="23" y="42"/>
                  </a:cubicBezTo>
                  <a:close/>
                  <a:moveTo>
                    <a:pt x="13" y="42"/>
                  </a:moveTo>
                  <a:cubicBezTo>
                    <a:pt x="13" y="47"/>
                    <a:pt x="13" y="47"/>
                    <a:pt x="13" y="47"/>
                  </a:cubicBezTo>
                  <a:cubicBezTo>
                    <a:pt x="8" y="47"/>
                    <a:pt x="8" y="47"/>
                    <a:pt x="8" y="47"/>
                  </a:cubicBezTo>
                  <a:cubicBezTo>
                    <a:pt x="8" y="42"/>
                    <a:pt x="8" y="42"/>
                    <a:pt x="8" y="42"/>
                  </a:cubicBezTo>
                  <a:cubicBezTo>
                    <a:pt x="13" y="42"/>
                    <a:pt x="13" y="42"/>
                    <a:pt x="13" y="42"/>
                  </a:cubicBezTo>
                  <a:cubicBezTo>
                    <a:pt x="13" y="42"/>
                    <a:pt x="13" y="42"/>
                    <a:pt x="13" y="42"/>
                  </a:cubicBezTo>
                  <a:close/>
                  <a:moveTo>
                    <a:pt x="34" y="31"/>
                  </a:moveTo>
                  <a:cubicBezTo>
                    <a:pt x="34" y="37"/>
                    <a:pt x="34" y="37"/>
                    <a:pt x="34" y="37"/>
                  </a:cubicBezTo>
                  <a:cubicBezTo>
                    <a:pt x="28" y="37"/>
                    <a:pt x="28" y="37"/>
                    <a:pt x="28" y="37"/>
                  </a:cubicBezTo>
                  <a:cubicBezTo>
                    <a:pt x="28" y="31"/>
                    <a:pt x="28" y="31"/>
                    <a:pt x="28" y="31"/>
                  </a:cubicBezTo>
                  <a:cubicBezTo>
                    <a:pt x="34" y="31"/>
                    <a:pt x="34" y="31"/>
                    <a:pt x="34" y="31"/>
                  </a:cubicBezTo>
                  <a:cubicBezTo>
                    <a:pt x="34" y="31"/>
                    <a:pt x="34" y="31"/>
                    <a:pt x="34" y="31"/>
                  </a:cubicBezTo>
                  <a:close/>
                  <a:moveTo>
                    <a:pt x="23" y="31"/>
                  </a:moveTo>
                  <a:cubicBezTo>
                    <a:pt x="23" y="37"/>
                    <a:pt x="23" y="37"/>
                    <a:pt x="23" y="37"/>
                  </a:cubicBezTo>
                  <a:cubicBezTo>
                    <a:pt x="18" y="37"/>
                    <a:pt x="18" y="37"/>
                    <a:pt x="18" y="37"/>
                  </a:cubicBezTo>
                  <a:cubicBezTo>
                    <a:pt x="18" y="31"/>
                    <a:pt x="18" y="31"/>
                    <a:pt x="18" y="31"/>
                  </a:cubicBezTo>
                  <a:cubicBezTo>
                    <a:pt x="23" y="31"/>
                    <a:pt x="23" y="31"/>
                    <a:pt x="23" y="31"/>
                  </a:cubicBezTo>
                  <a:cubicBezTo>
                    <a:pt x="23" y="31"/>
                    <a:pt x="23" y="31"/>
                    <a:pt x="23" y="31"/>
                  </a:cubicBezTo>
                  <a:close/>
                  <a:moveTo>
                    <a:pt x="13" y="31"/>
                  </a:moveTo>
                  <a:cubicBezTo>
                    <a:pt x="13" y="37"/>
                    <a:pt x="13" y="37"/>
                    <a:pt x="13" y="37"/>
                  </a:cubicBezTo>
                  <a:cubicBezTo>
                    <a:pt x="8" y="37"/>
                    <a:pt x="8" y="37"/>
                    <a:pt x="8" y="37"/>
                  </a:cubicBezTo>
                  <a:cubicBezTo>
                    <a:pt x="8" y="31"/>
                    <a:pt x="8" y="31"/>
                    <a:pt x="8" y="31"/>
                  </a:cubicBezTo>
                  <a:cubicBezTo>
                    <a:pt x="13" y="31"/>
                    <a:pt x="13" y="31"/>
                    <a:pt x="13" y="31"/>
                  </a:cubicBezTo>
                  <a:cubicBezTo>
                    <a:pt x="13" y="31"/>
                    <a:pt x="13" y="31"/>
                    <a:pt x="13" y="31"/>
                  </a:cubicBezTo>
                  <a:close/>
                  <a:moveTo>
                    <a:pt x="34" y="20"/>
                  </a:moveTo>
                  <a:cubicBezTo>
                    <a:pt x="34" y="26"/>
                    <a:pt x="34" y="26"/>
                    <a:pt x="34" y="26"/>
                  </a:cubicBezTo>
                  <a:cubicBezTo>
                    <a:pt x="28" y="26"/>
                    <a:pt x="28" y="26"/>
                    <a:pt x="28" y="26"/>
                  </a:cubicBezTo>
                  <a:cubicBezTo>
                    <a:pt x="28" y="20"/>
                    <a:pt x="28" y="20"/>
                    <a:pt x="28" y="20"/>
                  </a:cubicBezTo>
                  <a:cubicBezTo>
                    <a:pt x="34" y="20"/>
                    <a:pt x="34" y="20"/>
                    <a:pt x="34" y="20"/>
                  </a:cubicBezTo>
                  <a:cubicBezTo>
                    <a:pt x="34" y="20"/>
                    <a:pt x="34" y="20"/>
                    <a:pt x="34" y="20"/>
                  </a:cubicBezTo>
                  <a:close/>
                  <a:moveTo>
                    <a:pt x="23" y="20"/>
                  </a:moveTo>
                  <a:cubicBezTo>
                    <a:pt x="23" y="26"/>
                    <a:pt x="23" y="26"/>
                    <a:pt x="23" y="26"/>
                  </a:cubicBezTo>
                  <a:cubicBezTo>
                    <a:pt x="18" y="26"/>
                    <a:pt x="18" y="26"/>
                    <a:pt x="18" y="26"/>
                  </a:cubicBezTo>
                  <a:cubicBezTo>
                    <a:pt x="18" y="20"/>
                    <a:pt x="18" y="20"/>
                    <a:pt x="18" y="20"/>
                  </a:cubicBezTo>
                  <a:cubicBezTo>
                    <a:pt x="23" y="20"/>
                    <a:pt x="23" y="20"/>
                    <a:pt x="23" y="20"/>
                  </a:cubicBezTo>
                  <a:cubicBezTo>
                    <a:pt x="23" y="20"/>
                    <a:pt x="23" y="20"/>
                    <a:pt x="23" y="20"/>
                  </a:cubicBezTo>
                  <a:close/>
                  <a:moveTo>
                    <a:pt x="13" y="20"/>
                  </a:moveTo>
                  <a:cubicBezTo>
                    <a:pt x="13" y="26"/>
                    <a:pt x="13" y="26"/>
                    <a:pt x="13" y="26"/>
                  </a:cubicBezTo>
                  <a:cubicBezTo>
                    <a:pt x="8" y="26"/>
                    <a:pt x="8" y="26"/>
                    <a:pt x="8" y="26"/>
                  </a:cubicBezTo>
                  <a:cubicBezTo>
                    <a:pt x="8" y="20"/>
                    <a:pt x="8" y="20"/>
                    <a:pt x="8" y="20"/>
                  </a:cubicBezTo>
                  <a:cubicBezTo>
                    <a:pt x="13" y="20"/>
                    <a:pt x="13" y="20"/>
                    <a:pt x="13" y="20"/>
                  </a:cubicBezTo>
                  <a:cubicBezTo>
                    <a:pt x="13" y="20"/>
                    <a:pt x="13" y="20"/>
                    <a:pt x="13" y="20"/>
                  </a:cubicBezTo>
                  <a:close/>
                  <a:moveTo>
                    <a:pt x="34" y="9"/>
                  </a:moveTo>
                  <a:cubicBezTo>
                    <a:pt x="34" y="15"/>
                    <a:pt x="34" y="15"/>
                    <a:pt x="34" y="15"/>
                  </a:cubicBezTo>
                  <a:cubicBezTo>
                    <a:pt x="28" y="15"/>
                    <a:pt x="28" y="15"/>
                    <a:pt x="28" y="15"/>
                  </a:cubicBezTo>
                  <a:cubicBezTo>
                    <a:pt x="28" y="9"/>
                    <a:pt x="28" y="9"/>
                    <a:pt x="28" y="9"/>
                  </a:cubicBezTo>
                  <a:cubicBezTo>
                    <a:pt x="34" y="9"/>
                    <a:pt x="34" y="9"/>
                    <a:pt x="34" y="9"/>
                  </a:cubicBezTo>
                  <a:cubicBezTo>
                    <a:pt x="34" y="9"/>
                    <a:pt x="34" y="9"/>
                    <a:pt x="34" y="9"/>
                  </a:cubicBezTo>
                  <a:close/>
                  <a:moveTo>
                    <a:pt x="23" y="9"/>
                  </a:moveTo>
                  <a:cubicBezTo>
                    <a:pt x="23" y="15"/>
                    <a:pt x="23" y="15"/>
                    <a:pt x="23" y="15"/>
                  </a:cubicBezTo>
                  <a:cubicBezTo>
                    <a:pt x="18" y="15"/>
                    <a:pt x="18" y="15"/>
                    <a:pt x="18" y="15"/>
                  </a:cubicBezTo>
                  <a:cubicBezTo>
                    <a:pt x="18" y="9"/>
                    <a:pt x="18" y="9"/>
                    <a:pt x="18" y="9"/>
                  </a:cubicBezTo>
                  <a:cubicBezTo>
                    <a:pt x="23" y="9"/>
                    <a:pt x="23" y="9"/>
                    <a:pt x="23" y="9"/>
                  </a:cubicBezTo>
                  <a:cubicBezTo>
                    <a:pt x="23" y="9"/>
                    <a:pt x="23" y="9"/>
                    <a:pt x="23" y="9"/>
                  </a:cubicBezTo>
                  <a:close/>
                  <a:moveTo>
                    <a:pt x="13" y="9"/>
                  </a:moveTo>
                  <a:cubicBezTo>
                    <a:pt x="13" y="15"/>
                    <a:pt x="13" y="15"/>
                    <a:pt x="13" y="15"/>
                  </a:cubicBezTo>
                  <a:cubicBezTo>
                    <a:pt x="8" y="15"/>
                    <a:pt x="8" y="15"/>
                    <a:pt x="8" y="15"/>
                  </a:cubicBezTo>
                  <a:cubicBezTo>
                    <a:pt x="8" y="9"/>
                    <a:pt x="8" y="9"/>
                    <a:pt x="8"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68" name="Freeform 2124"/>
            <p:cNvSpPr>
              <a:spLocks noEditPoints="1"/>
            </p:cNvSpPr>
            <p:nvPr/>
          </p:nvSpPr>
          <p:spPr bwMode="auto">
            <a:xfrm>
              <a:off x="16005175" y="3097213"/>
              <a:ext cx="149225" cy="552450"/>
            </a:xfrm>
            <a:custGeom>
              <a:avLst/>
              <a:gdLst>
                <a:gd name="T0" fmla="*/ 9 w 40"/>
                <a:gd name="T1" fmla="*/ 147 h 147"/>
                <a:gd name="T2" fmla="*/ 40 w 40"/>
                <a:gd name="T3" fmla="*/ 10 h 147"/>
                <a:gd name="T4" fmla="*/ 0 w 40"/>
                <a:gd name="T5" fmla="*/ 10 h 147"/>
                <a:gd name="T6" fmla="*/ 13 w 40"/>
                <a:gd name="T7" fmla="*/ 127 h 147"/>
                <a:gd name="T8" fmla="*/ 33 w 40"/>
                <a:gd name="T9" fmla="*/ 74 h 147"/>
                <a:gd name="T10" fmla="*/ 27 w 40"/>
                <a:gd name="T11" fmla="*/ 74 h 147"/>
                <a:gd name="T12" fmla="*/ 23 w 40"/>
                <a:gd name="T13" fmla="*/ 74 h 147"/>
                <a:gd name="T14" fmla="*/ 17 w 40"/>
                <a:gd name="T15" fmla="*/ 74 h 147"/>
                <a:gd name="T16" fmla="*/ 13 w 40"/>
                <a:gd name="T17" fmla="*/ 74 h 147"/>
                <a:gd name="T18" fmla="*/ 7 w 40"/>
                <a:gd name="T19" fmla="*/ 74 h 147"/>
                <a:gd name="T20" fmla="*/ 33 w 40"/>
                <a:gd name="T21" fmla="*/ 63 h 147"/>
                <a:gd name="T22" fmla="*/ 27 w 40"/>
                <a:gd name="T23" fmla="*/ 63 h 147"/>
                <a:gd name="T24" fmla="*/ 23 w 40"/>
                <a:gd name="T25" fmla="*/ 63 h 147"/>
                <a:gd name="T26" fmla="*/ 17 w 40"/>
                <a:gd name="T27" fmla="*/ 63 h 147"/>
                <a:gd name="T28" fmla="*/ 13 w 40"/>
                <a:gd name="T29" fmla="*/ 63 h 147"/>
                <a:gd name="T30" fmla="*/ 7 w 40"/>
                <a:gd name="T31" fmla="*/ 63 h 147"/>
                <a:gd name="T32" fmla="*/ 33 w 40"/>
                <a:gd name="T33" fmla="*/ 52 h 147"/>
                <a:gd name="T34" fmla="*/ 27 w 40"/>
                <a:gd name="T35" fmla="*/ 52 h 147"/>
                <a:gd name="T36" fmla="*/ 23 w 40"/>
                <a:gd name="T37" fmla="*/ 52 h 147"/>
                <a:gd name="T38" fmla="*/ 17 w 40"/>
                <a:gd name="T39" fmla="*/ 52 h 147"/>
                <a:gd name="T40" fmla="*/ 13 w 40"/>
                <a:gd name="T41" fmla="*/ 52 h 147"/>
                <a:gd name="T42" fmla="*/ 7 w 40"/>
                <a:gd name="T43" fmla="*/ 52 h 147"/>
                <a:gd name="T44" fmla="*/ 33 w 40"/>
                <a:gd name="T45" fmla="*/ 42 h 147"/>
                <a:gd name="T46" fmla="*/ 27 w 40"/>
                <a:gd name="T47" fmla="*/ 42 h 147"/>
                <a:gd name="T48" fmla="*/ 23 w 40"/>
                <a:gd name="T49" fmla="*/ 42 h 147"/>
                <a:gd name="T50" fmla="*/ 17 w 40"/>
                <a:gd name="T51" fmla="*/ 42 h 147"/>
                <a:gd name="T52" fmla="*/ 13 w 40"/>
                <a:gd name="T53" fmla="*/ 42 h 147"/>
                <a:gd name="T54" fmla="*/ 7 w 40"/>
                <a:gd name="T55" fmla="*/ 42 h 147"/>
                <a:gd name="T56" fmla="*/ 33 w 40"/>
                <a:gd name="T57" fmla="*/ 31 h 147"/>
                <a:gd name="T58" fmla="*/ 27 w 40"/>
                <a:gd name="T59" fmla="*/ 31 h 147"/>
                <a:gd name="T60" fmla="*/ 23 w 40"/>
                <a:gd name="T61" fmla="*/ 31 h 147"/>
                <a:gd name="T62" fmla="*/ 17 w 40"/>
                <a:gd name="T63" fmla="*/ 31 h 147"/>
                <a:gd name="T64" fmla="*/ 13 w 40"/>
                <a:gd name="T65" fmla="*/ 31 h 147"/>
                <a:gd name="T66" fmla="*/ 7 w 40"/>
                <a:gd name="T67" fmla="*/ 31 h 147"/>
                <a:gd name="T68" fmla="*/ 33 w 40"/>
                <a:gd name="T69" fmla="*/ 20 h 147"/>
                <a:gd name="T70" fmla="*/ 27 w 40"/>
                <a:gd name="T71" fmla="*/ 20 h 147"/>
                <a:gd name="T72" fmla="*/ 23 w 40"/>
                <a:gd name="T73" fmla="*/ 20 h 147"/>
                <a:gd name="T74" fmla="*/ 17 w 40"/>
                <a:gd name="T75" fmla="*/ 20 h 147"/>
                <a:gd name="T76" fmla="*/ 13 w 40"/>
                <a:gd name="T77" fmla="*/ 20 h 147"/>
                <a:gd name="T78" fmla="*/ 7 w 40"/>
                <a:gd name="T79" fmla="*/ 20 h 147"/>
                <a:gd name="T80" fmla="*/ 33 w 40"/>
                <a:gd name="T81" fmla="*/ 9 h 147"/>
                <a:gd name="T82" fmla="*/ 27 w 40"/>
                <a:gd name="T83" fmla="*/ 9 h 147"/>
                <a:gd name="T84" fmla="*/ 23 w 40"/>
                <a:gd name="T85" fmla="*/ 9 h 147"/>
                <a:gd name="T86" fmla="*/ 17 w 40"/>
                <a:gd name="T87" fmla="*/ 9 h 147"/>
                <a:gd name="T88" fmla="*/ 13 w 40"/>
                <a:gd name="T89" fmla="*/ 9 h 147"/>
                <a:gd name="T90" fmla="*/ 7 w 40"/>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 h="147">
                  <a:moveTo>
                    <a:pt x="0" y="10"/>
                  </a:moveTo>
                  <a:cubicBezTo>
                    <a:pt x="0" y="137"/>
                    <a:pt x="0" y="137"/>
                    <a:pt x="0" y="137"/>
                  </a:cubicBezTo>
                  <a:cubicBezTo>
                    <a:pt x="0" y="143"/>
                    <a:pt x="4" y="147"/>
                    <a:pt x="9" y="147"/>
                  </a:cubicBezTo>
                  <a:cubicBezTo>
                    <a:pt x="31" y="147"/>
                    <a:pt x="31" y="147"/>
                    <a:pt x="31" y="147"/>
                  </a:cubicBezTo>
                  <a:cubicBezTo>
                    <a:pt x="36" y="147"/>
                    <a:pt x="40" y="143"/>
                    <a:pt x="40" y="137"/>
                  </a:cubicBezTo>
                  <a:cubicBezTo>
                    <a:pt x="40" y="10"/>
                    <a:pt x="40" y="10"/>
                    <a:pt x="40" y="10"/>
                  </a:cubicBezTo>
                  <a:cubicBezTo>
                    <a:pt x="40" y="4"/>
                    <a:pt x="36" y="0"/>
                    <a:pt x="31" y="0"/>
                  </a:cubicBezTo>
                  <a:cubicBezTo>
                    <a:pt x="9" y="0"/>
                    <a:pt x="9" y="0"/>
                    <a:pt x="9" y="0"/>
                  </a:cubicBezTo>
                  <a:cubicBezTo>
                    <a:pt x="4" y="0"/>
                    <a:pt x="0" y="4"/>
                    <a:pt x="0" y="10"/>
                  </a:cubicBezTo>
                  <a:close/>
                  <a:moveTo>
                    <a:pt x="27" y="127"/>
                  </a:moveTo>
                  <a:cubicBezTo>
                    <a:pt x="27" y="131"/>
                    <a:pt x="24" y="134"/>
                    <a:pt x="20" y="134"/>
                  </a:cubicBezTo>
                  <a:cubicBezTo>
                    <a:pt x="16" y="134"/>
                    <a:pt x="13" y="131"/>
                    <a:pt x="13" y="127"/>
                  </a:cubicBezTo>
                  <a:cubicBezTo>
                    <a:pt x="13" y="123"/>
                    <a:pt x="16" y="119"/>
                    <a:pt x="20" y="119"/>
                  </a:cubicBezTo>
                  <a:cubicBezTo>
                    <a:pt x="24" y="119"/>
                    <a:pt x="27" y="123"/>
                    <a:pt x="27" y="127"/>
                  </a:cubicBezTo>
                  <a:close/>
                  <a:moveTo>
                    <a:pt x="33" y="74"/>
                  </a:moveTo>
                  <a:cubicBezTo>
                    <a:pt x="33" y="80"/>
                    <a:pt x="33" y="80"/>
                    <a:pt x="33" y="80"/>
                  </a:cubicBezTo>
                  <a:cubicBezTo>
                    <a:pt x="27" y="80"/>
                    <a:pt x="27" y="80"/>
                    <a:pt x="27" y="80"/>
                  </a:cubicBezTo>
                  <a:cubicBezTo>
                    <a:pt x="27" y="74"/>
                    <a:pt x="27" y="74"/>
                    <a:pt x="27"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2"/>
                  </a:moveTo>
                  <a:cubicBezTo>
                    <a:pt x="33" y="47"/>
                    <a:pt x="33" y="47"/>
                    <a:pt x="33" y="47"/>
                  </a:cubicBezTo>
                  <a:cubicBezTo>
                    <a:pt x="27" y="47"/>
                    <a:pt x="27" y="47"/>
                    <a:pt x="27" y="47"/>
                  </a:cubicBezTo>
                  <a:cubicBezTo>
                    <a:pt x="27" y="42"/>
                    <a:pt x="27" y="42"/>
                    <a:pt x="27"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7" y="47"/>
                    <a:pt x="7" y="47"/>
                    <a:pt x="7" y="47"/>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7" y="37"/>
                    <a:pt x="27" y="37"/>
                    <a:pt x="27" y="37"/>
                  </a:cubicBezTo>
                  <a:cubicBezTo>
                    <a:pt x="27" y="31"/>
                    <a:pt x="27" y="31"/>
                    <a:pt x="27"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69" name="Freeform 2125"/>
            <p:cNvSpPr>
              <a:spLocks noEditPoints="1"/>
            </p:cNvSpPr>
            <p:nvPr/>
          </p:nvSpPr>
          <p:spPr bwMode="auto">
            <a:xfrm>
              <a:off x="16222663" y="3097213"/>
              <a:ext cx="153988" cy="552450"/>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7 w 41"/>
                <a:gd name="T11" fmla="*/ 74 h 147"/>
                <a:gd name="T12" fmla="*/ 23 w 41"/>
                <a:gd name="T13" fmla="*/ 74 h 147"/>
                <a:gd name="T14" fmla="*/ 17 w 41"/>
                <a:gd name="T15" fmla="*/ 74 h 147"/>
                <a:gd name="T16" fmla="*/ 13 w 41"/>
                <a:gd name="T17" fmla="*/ 74 h 147"/>
                <a:gd name="T18" fmla="*/ 7 w 41"/>
                <a:gd name="T19" fmla="*/ 74 h 147"/>
                <a:gd name="T20" fmla="*/ 33 w 41"/>
                <a:gd name="T21" fmla="*/ 63 h 147"/>
                <a:gd name="T22" fmla="*/ 27 w 41"/>
                <a:gd name="T23" fmla="*/ 63 h 147"/>
                <a:gd name="T24" fmla="*/ 23 w 41"/>
                <a:gd name="T25" fmla="*/ 63 h 147"/>
                <a:gd name="T26" fmla="*/ 17 w 41"/>
                <a:gd name="T27" fmla="*/ 63 h 147"/>
                <a:gd name="T28" fmla="*/ 13 w 41"/>
                <a:gd name="T29" fmla="*/ 63 h 147"/>
                <a:gd name="T30" fmla="*/ 7 w 41"/>
                <a:gd name="T31" fmla="*/ 63 h 147"/>
                <a:gd name="T32" fmla="*/ 33 w 41"/>
                <a:gd name="T33" fmla="*/ 52 h 147"/>
                <a:gd name="T34" fmla="*/ 27 w 41"/>
                <a:gd name="T35" fmla="*/ 52 h 147"/>
                <a:gd name="T36" fmla="*/ 23 w 41"/>
                <a:gd name="T37" fmla="*/ 52 h 147"/>
                <a:gd name="T38" fmla="*/ 17 w 41"/>
                <a:gd name="T39" fmla="*/ 52 h 147"/>
                <a:gd name="T40" fmla="*/ 13 w 41"/>
                <a:gd name="T41" fmla="*/ 52 h 147"/>
                <a:gd name="T42" fmla="*/ 7 w 41"/>
                <a:gd name="T43" fmla="*/ 52 h 147"/>
                <a:gd name="T44" fmla="*/ 33 w 41"/>
                <a:gd name="T45" fmla="*/ 42 h 147"/>
                <a:gd name="T46" fmla="*/ 27 w 41"/>
                <a:gd name="T47" fmla="*/ 42 h 147"/>
                <a:gd name="T48" fmla="*/ 23 w 41"/>
                <a:gd name="T49" fmla="*/ 42 h 147"/>
                <a:gd name="T50" fmla="*/ 17 w 41"/>
                <a:gd name="T51" fmla="*/ 42 h 147"/>
                <a:gd name="T52" fmla="*/ 13 w 41"/>
                <a:gd name="T53" fmla="*/ 42 h 147"/>
                <a:gd name="T54" fmla="*/ 7 w 41"/>
                <a:gd name="T55" fmla="*/ 42 h 147"/>
                <a:gd name="T56" fmla="*/ 33 w 41"/>
                <a:gd name="T57" fmla="*/ 31 h 147"/>
                <a:gd name="T58" fmla="*/ 27 w 41"/>
                <a:gd name="T59" fmla="*/ 31 h 147"/>
                <a:gd name="T60" fmla="*/ 23 w 41"/>
                <a:gd name="T61" fmla="*/ 31 h 147"/>
                <a:gd name="T62" fmla="*/ 17 w 41"/>
                <a:gd name="T63" fmla="*/ 31 h 147"/>
                <a:gd name="T64" fmla="*/ 13 w 41"/>
                <a:gd name="T65" fmla="*/ 31 h 147"/>
                <a:gd name="T66" fmla="*/ 7 w 41"/>
                <a:gd name="T67" fmla="*/ 31 h 147"/>
                <a:gd name="T68" fmla="*/ 33 w 41"/>
                <a:gd name="T69" fmla="*/ 20 h 147"/>
                <a:gd name="T70" fmla="*/ 27 w 41"/>
                <a:gd name="T71" fmla="*/ 20 h 147"/>
                <a:gd name="T72" fmla="*/ 23 w 41"/>
                <a:gd name="T73" fmla="*/ 20 h 147"/>
                <a:gd name="T74" fmla="*/ 17 w 41"/>
                <a:gd name="T75" fmla="*/ 20 h 147"/>
                <a:gd name="T76" fmla="*/ 13 w 41"/>
                <a:gd name="T77" fmla="*/ 20 h 147"/>
                <a:gd name="T78" fmla="*/ 7 w 41"/>
                <a:gd name="T79" fmla="*/ 20 h 147"/>
                <a:gd name="T80" fmla="*/ 33 w 41"/>
                <a:gd name="T81" fmla="*/ 9 h 147"/>
                <a:gd name="T82" fmla="*/ 27 w 41"/>
                <a:gd name="T83" fmla="*/ 9 h 147"/>
                <a:gd name="T84" fmla="*/ 23 w 41"/>
                <a:gd name="T85" fmla="*/ 9 h 147"/>
                <a:gd name="T86" fmla="*/ 17 w 41"/>
                <a:gd name="T87" fmla="*/ 9 h 147"/>
                <a:gd name="T88" fmla="*/ 13 w 41"/>
                <a:gd name="T89" fmla="*/ 9 h 147"/>
                <a:gd name="T90" fmla="*/ 7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9" y="147"/>
                  </a:cubicBezTo>
                  <a:cubicBezTo>
                    <a:pt x="31" y="147"/>
                    <a:pt x="31" y="147"/>
                    <a:pt x="31" y="147"/>
                  </a:cubicBezTo>
                  <a:cubicBezTo>
                    <a:pt x="36" y="147"/>
                    <a:pt x="41" y="143"/>
                    <a:pt x="41" y="137"/>
                  </a:cubicBezTo>
                  <a:cubicBezTo>
                    <a:pt x="41" y="10"/>
                    <a:pt x="41" y="10"/>
                    <a:pt x="41" y="10"/>
                  </a:cubicBezTo>
                  <a:cubicBezTo>
                    <a:pt x="41" y="4"/>
                    <a:pt x="36" y="0"/>
                    <a:pt x="31" y="0"/>
                  </a:cubicBezTo>
                  <a:cubicBezTo>
                    <a:pt x="9" y="0"/>
                    <a:pt x="9" y="0"/>
                    <a:pt x="9" y="0"/>
                  </a:cubicBezTo>
                  <a:cubicBezTo>
                    <a:pt x="4" y="0"/>
                    <a:pt x="0" y="4"/>
                    <a:pt x="0" y="10"/>
                  </a:cubicBezTo>
                  <a:close/>
                  <a:moveTo>
                    <a:pt x="28" y="127"/>
                  </a:moveTo>
                  <a:cubicBezTo>
                    <a:pt x="28" y="131"/>
                    <a:pt x="24" y="134"/>
                    <a:pt x="20" y="134"/>
                  </a:cubicBezTo>
                  <a:cubicBezTo>
                    <a:pt x="16" y="134"/>
                    <a:pt x="13" y="131"/>
                    <a:pt x="13" y="127"/>
                  </a:cubicBezTo>
                  <a:cubicBezTo>
                    <a:pt x="13" y="123"/>
                    <a:pt x="16" y="119"/>
                    <a:pt x="20" y="119"/>
                  </a:cubicBezTo>
                  <a:cubicBezTo>
                    <a:pt x="24" y="119"/>
                    <a:pt x="28" y="123"/>
                    <a:pt x="28" y="127"/>
                  </a:cubicBezTo>
                  <a:close/>
                  <a:moveTo>
                    <a:pt x="33" y="74"/>
                  </a:moveTo>
                  <a:cubicBezTo>
                    <a:pt x="33" y="80"/>
                    <a:pt x="33" y="80"/>
                    <a:pt x="33" y="80"/>
                  </a:cubicBezTo>
                  <a:cubicBezTo>
                    <a:pt x="27" y="80"/>
                    <a:pt x="27" y="80"/>
                    <a:pt x="27" y="80"/>
                  </a:cubicBezTo>
                  <a:cubicBezTo>
                    <a:pt x="27" y="74"/>
                    <a:pt x="27" y="74"/>
                    <a:pt x="27"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2"/>
                  </a:moveTo>
                  <a:cubicBezTo>
                    <a:pt x="33" y="47"/>
                    <a:pt x="33" y="47"/>
                    <a:pt x="33" y="47"/>
                  </a:cubicBezTo>
                  <a:cubicBezTo>
                    <a:pt x="27" y="47"/>
                    <a:pt x="27" y="47"/>
                    <a:pt x="27" y="47"/>
                  </a:cubicBezTo>
                  <a:cubicBezTo>
                    <a:pt x="27" y="42"/>
                    <a:pt x="27" y="42"/>
                    <a:pt x="27"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7" y="47"/>
                    <a:pt x="7" y="47"/>
                    <a:pt x="7" y="47"/>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7" y="37"/>
                    <a:pt x="27" y="37"/>
                    <a:pt x="27" y="37"/>
                  </a:cubicBezTo>
                  <a:cubicBezTo>
                    <a:pt x="27" y="31"/>
                    <a:pt x="27" y="31"/>
                    <a:pt x="27"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70" name="Freeform 2126"/>
            <p:cNvSpPr>
              <a:spLocks noEditPoints="1"/>
            </p:cNvSpPr>
            <p:nvPr/>
          </p:nvSpPr>
          <p:spPr bwMode="auto">
            <a:xfrm>
              <a:off x="16440150" y="3097213"/>
              <a:ext cx="153988" cy="552450"/>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8 w 41"/>
                <a:gd name="T11" fmla="*/ 74 h 147"/>
                <a:gd name="T12" fmla="*/ 23 w 41"/>
                <a:gd name="T13" fmla="*/ 74 h 147"/>
                <a:gd name="T14" fmla="*/ 17 w 41"/>
                <a:gd name="T15" fmla="*/ 74 h 147"/>
                <a:gd name="T16" fmla="*/ 13 w 41"/>
                <a:gd name="T17" fmla="*/ 74 h 147"/>
                <a:gd name="T18" fmla="*/ 7 w 41"/>
                <a:gd name="T19" fmla="*/ 74 h 147"/>
                <a:gd name="T20" fmla="*/ 33 w 41"/>
                <a:gd name="T21" fmla="*/ 63 h 147"/>
                <a:gd name="T22" fmla="*/ 28 w 41"/>
                <a:gd name="T23" fmla="*/ 63 h 147"/>
                <a:gd name="T24" fmla="*/ 23 w 41"/>
                <a:gd name="T25" fmla="*/ 63 h 147"/>
                <a:gd name="T26" fmla="*/ 17 w 41"/>
                <a:gd name="T27" fmla="*/ 63 h 147"/>
                <a:gd name="T28" fmla="*/ 13 w 41"/>
                <a:gd name="T29" fmla="*/ 63 h 147"/>
                <a:gd name="T30" fmla="*/ 7 w 41"/>
                <a:gd name="T31" fmla="*/ 63 h 147"/>
                <a:gd name="T32" fmla="*/ 33 w 41"/>
                <a:gd name="T33" fmla="*/ 52 h 147"/>
                <a:gd name="T34" fmla="*/ 28 w 41"/>
                <a:gd name="T35" fmla="*/ 52 h 147"/>
                <a:gd name="T36" fmla="*/ 23 w 41"/>
                <a:gd name="T37" fmla="*/ 52 h 147"/>
                <a:gd name="T38" fmla="*/ 17 w 41"/>
                <a:gd name="T39" fmla="*/ 52 h 147"/>
                <a:gd name="T40" fmla="*/ 13 w 41"/>
                <a:gd name="T41" fmla="*/ 52 h 147"/>
                <a:gd name="T42" fmla="*/ 7 w 41"/>
                <a:gd name="T43" fmla="*/ 52 h 147"/>
                <a:gd name="T44" fmla="*/ 33 w 41"/>
                <a:gd name="T45" fmla="*/ 42 h 147"/>
                <a:gd name="T46" fmla="*/ 28 w 41"/>
                <a:gd name="T47" fmla="*/ 42 h 147"/>
                <a:gd name="T48" fmla="*/ 23 w 41"/>
                <a:gd name="T49" fmla="*/ 42 h 147"/>
                <a:gd name="T50" fmla="*/ 17 w 41"/>
                <a:gd name="T51" fmla="*/ 42 h 147"/>
                <a:gd name="T52" fmla="*/ 13 w 41"/>
                <a:gd name="T53" fmla="*/ 42 h 147"/>
                <a:gd name="T54" fmla="*/ 7 w 41"/>
                <a:gd name="T55" fmla="*/ 42 h 147"/>
                <a:gd name="T56" fmla="*/ 33 w 41"/>
                <a:gd name="T57" fmla="*/ 31 h 147"/>
                <a:gd name="T58" fmla="*/ 28 w 41"/>
                <a:gd name="T59" fmla="*/ 31 h 147"/>
                <a:gd name="T60" fmla="*/ 23 w 41"/>
                <a:gd name="T61" fmla="*/ 31 h 147"/>
                <a:gd name="T62" fmla="*/ 17 w 41"/>
                <a:gd name="T63" fmla="*/ 31 h 147"/>
                <a:gd name="T64" fmla="*/ 13 w 41"/>
                <a:gd name="T65" fmla="*/ 31 h 147"/>
                <a:gd name="T66" fmla="*/ 7 w 41"/>
                <a:gd name="T67" fmla="*/ 31 h 147"/>
                <a:gd name="T68" fmla="*/ 33 w 41"/>
                <a:gd name="T69" fmla="*/ 20 h 147"/>
                <a:gd name="T70" fmla="*/ 28 w 41"/>
                <a:gd name="T71" fmla="*/ 20 h 147"/>
                <a:gd name="T72" fmla="*/ 23 w 41"/>
                <a:gd name="T73" fmla="*/ 20 h 147"/>
                <a:gd name="T74" fmla="*/ 17 w 41"/>
                <a:gd name="T75" fmla="*/ 20 h 147"/>
                <a:gd name="T76" fmla="*/ 13 w 41"/>
                <a:gd name="T77" fmla="*/ 20 h 147"/>
                <a:gd name="T78" fmla="*/ 7 w 41"/>
                <a:gd name="T79" fmla="*/ 20 h 147"/>
                <a:gd name="T80" fmla="*/ 33 w 41"/>
                <a:gd name="T81" fmla="*/ 9 h 147"/>
                <a:gd name="T82" fmla="*/ 28 w 41"/>
                <a:gd name="T83" fmla="*/ 9 h 147"/>
                <a:gd name="T84" fmla="*/ 23 w 41"/>
                <a:gd name="T85" fmla="*/ 9 h 147"/>
                <a:gd name="T86" fmla="*/ 17 w 41"/>
                <a:gd name="T87" fmla="*/ 9 h 147"/>
                <a:gd name="T88" fmla="*/ 13 w 41"/>
                <a:gd name="T89" fmla="*/ 9 h 147"/>
                <a:gd name="T90" fmla="*/ 7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9" y="147"/>
                  </a:cubicBezTo>
                  <a:cubicBezTo>
                    <a:pt x="31" y="147"/>
                    <a:pt x="31" y="147"/>
                    <a:pt x="31" y="147"/>
                  </a:cubicBezTo>
                  <a:cubicBezTo>
                    <a:pt x="37" y="147"/>
                    <a:pt x="41" y="143"/>
                    <a:pt x="41" y="137"/>
                  </a:cubicBezTo>
                  <a:cubicBezTo>
                    <a:pt x="41" y="10"/>
                    <a:pt x="41" y="10"/>
                    <a:pt x="41" y="10"/>
                  </a:cubicBezTo>
                  <a:cubicBezTo>
                    <a:pt x="41" y="4"/>
                    <a:pt x="37" y="0"/>
                    <a:pt x="31" y="0"/>
                  </a:cubicBezTo>
                  <a:cubicBezTo>
                    <a:pt x="9" y="0"/>
                    <a:pt x="9" y="0"/>
                    <a:pt x="9" y="0"/>
                  </a:cubicBezTo>
                  <a:cubicBezTo>
                    <a:pt x="4" y="0"/>
                    <a:pt x="0" y="4"/>
                    <a:pt x="0" y="10"/>
                  </a:cubicBezTo>
                  <a:close/>
                  <a:moveTo>
                    <a:pt x="28" y="127"/>
                  </a:moveTo>
                  <a:cubicBezTo>
                    <a:pt x="28" y="131"/>
                    <a:pt x="25" y="134"/>
                    <a:pt x="20" y="134"/>
                  </a:cubicBezTo>
                  <a:cubicBezTo>
                    <a:pt x="16" y="134"/>
                    <a:pt x="13" y="131"/>
                    <a:pt x="13" y="127"/>
                  </a:cubicBezTo>
                  <a:cubicBezTo>
                    <a:pt x="13" y="123"/>
                    <a:pt x="16" y="119"/>
                    <a:pt x="20" y="119"/>
                  </a:cubicBezTo>
                  <a:cubicBezTo>
                    <a:pt x="25" y="119"/>
                    <a:pt x="28" y="123"/>
                    <a:pt x="28" y="127"/>
                  </a:cubicBezTo>
                  <a:close/>
                  <a:moveTo>
                    <a:pt x="33" y="74"/>
                  </a:moveTo>
                  <a:cubicBezTo>
                    <a:pt x="33" y="80"/>
                    <a:pt x="33" y="80"/>
                    <a:pt x="33" y="80"/>
                  </a:cubicBezTo>
                  <a:cubicBezTo>
                    <a:pt x="28" y="80"/>
                    <a:pt x="28" y="80"/>
                    <a:pt x="28" y="80"/>
                  </a:cubicBezTo>
                  <a:cubicBezTo>
                    <a:pt x="28" y="74"/>
                    <a:pt x="28" y="74"/>
                    <a:pt x="28"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8" y="69"/>
                    <a:pt x="28" y="69"/>
                    <a:pt x="28" y="69"/>
                  </a:cubicBezTo>
                  <a:cubicBezTo>
                    <a:pt x="28" y="63"/>
                    <a:pt x="28" y="63"/>
                    <a:pt x="28"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8" y="58"/>
                    <a:pt x="28" y="58"/>
                    <a:pt x="28" y="58"/>
                  </a:cubicBezTo>
                  <a:cubicBezTo>
                    <a:pt x="28" y="52"/>
                    <a:pt x="28" y="52"/>
                    <a:pt x="28"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2"/>
                  </a:moveTo>
                  <a:cubicBezTo>
                    <a:pt x="33" y="47"/>
                    <a:pt x="33" y="47"/>
                    <a:pt x="33" y="47"/>
                  </a:cubicBezTo>
                  <a:cubicBezTo>
                    <a:pt x="28" y="47"/>
                    <a:pt x="28" y="47"/>
                    <a:pt x="28" y="47"/>
                  </a:cubicBezTo>
                  <a:cubicBezTo>
                    <a:pt x="28" y="42"/>
                    <a:pt x="28" y="42"/>
                    <a:pt x="28"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7" y="47"/>
                    <a:pt x="7" y="47"/>
                    <a:pt x="7" y="47"/>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8" y="37"/>
                    <a:pt x="28" y="37"/>
                    <a:pt x="28" y="37"/>
                  </a:cubicBezTo>
                  <a:cubicBezTo>
                    <a:pt x="28" y="31"/>
                    <a:pt x="28" y="31"/>
                    <a:pt x="28"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8" y="26"/>
                    <a:pt x="28" y="26"/>
                    <a:pt x="28" y="26"/>
                  </a:cubicBezTo>
                  <a:cubicBezTo>
                    <a:pt x="28" y="20"/>
                    <a:pt x="28" y="20"/>
                    <a:pt x="28"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8" y="15"/>
                    <a:pt x="28" y="15"/>
                    <a:pt x="28" y="15"/>
                  </a:cubicBezTo>
                  <a:cubicBezTo>
                    <a:pt x="28" y="9"/>
                    <a:pt x="28" y="9"/>
                    <a:pt x="28"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71" name="Freeform 2127"/>
            <p:cNvSpPr>
              <a:spLocks noEditPoints="1"/>
            </p:cNvSpPr>
            <p:nvPr/>
          </p:nvSpPr>
          <p:spPr bwMode="auto">
            <a:xfrm>
              <a:off x="16657638" y="3097213"/>
              <a:ext cx="153988" cy="552450"/>
            </a:xfrm>
            <a:custGeom>
              <a:avLst/>
              <a:gdLst>
                <a:gd name="T0" fmla="*/ 10 w 41"/>
                <a:gd name="T1" fmla="*/ 147 h 147"/>
                <a:gd name="T2" fmla="*/ 41 w 41"/>
                <a:gd name="T3" fmla="*/ 10 h 147"/>
                <a:gd name="T4" fmla="*/ 0 w 41"/>
                <a:gd name="T5" fmla="*/ 10 h 147"/>
                <a:gd name="T6" fmla="*/ 13 w 41"/>
                <a:gd name="T7" fmla="*/ 127 h 147"/>
                <a:gd name="T8" fmla="*/ 34 w 41"/>
                <a:gd name="T9" fmla="*/ 74 h 147"/>
                <a:gd name="T10" fmla="*/ 28 w 41"/>
                <a:gd name="T11" fmla="*/ 74 h 147"/>
                <a:gd name="T12" fmla="*/ 23 w 41"/>
                <a:gd name="T13" fmla="*/ 74 h 147"/>
                <a:gd name="T14" fmla="*/ 18 w 41"/>
                <a:gd name="T15" fmla="*/ 74 h 147"/>
                <a:gd name="T16" fmla="*/ 14 w 41"/>
                <a:gd name="T17" fmla="*/ 74 h 147"/>
                <a:gd name="T18" fmla="*/ 8 w 41"/>
                <a:gd name="T19" fmla="*/ 74 h 147"/>
                <a:gd name="T20" fmla="*/ 34 w 41"/>
                <a:gd name="T21" fmla="*/ 63 h 147"/>
                <a:gd name="T22" fmla="*/ 28 w 41"/>
                <a:gd name="T23" fmla="*/ 63 h 147"/>
                <a:gd name="T24" fmla="*/ 23 w 41"/>
                <a:gd name="T25" fmla="*/ 63 h 147"/>
                <a:gd name="T26" fmla="*/ 18 w 41"/>
                <a:gd name="T27" fmla="*/ 63 h 147"/>
                <a:gd name="T28" fmla="*/ 14 w 41"/>
                <a:gd name="T29" fmla="*/ 63 h 147"/>
                <a:gd name="T30" fmla="*/ 8 w 41"/>
                <a:gd name="T31" fmla="*/ 63 h 147"/>
                <a:gd name="T32" fmla="*/ 34 w 41"/>
                <a:gd name="T33" fmla="*/ 52 h 147"/>
                <a:gd name="T34" fmla="*/ 28 w 41"/>
                <a:gd name="T35" fmla="*/ 52 h 147"/>
                <a:gd name="T36" fmla="*/ 23 w 41"/>
                <a:gd name="T37" fmla="*/ 52 h 147"/>
                <a:gd name="T38" fmla="*/ 18 w 41"/>
                <a:gd name="T39" fmla="*/ 52 h 147"/>
                <a:gd name="T40" fmla="*/ 14 w 41"/>
                <a:gd name="T41" fmla="*/ 52 h 147"/>
                <a:gd name="T42" fmla="*/ 8 w 41"/>
                <a:gd name="T43" fmla="*/ 52 h 147"/>
                <a:gd name="T44" fmla="*/ 34 w 41"/>
                <a:gd name="T45" fmla="*/ 42 h 147"/>
                <a:gd name="T46" fmla="*/ 28 w 41"/>
                <a:gd name="T47" fmla="*/ 42 h 147"/>
                <a:gd name="T48" fmla="*/ 23 w 41"/>
                <a:gd name="T49" fmla="*/ 42 h 147"/>
                <a:gd name="T50" fmla="*/ 18 w 41"/>
                <a:gd name="T51" fmla="*/ 42 h 147"/>
                <a:gd name="T52" fmla="*/ 14 w 41"/>
                <a:gd name="T53" fmla="*/ 42 h 147"/>
                <a:gd name="T54" fmla="*/ 8 w 41"/>
                <a:gd name="T55" fmla="*/ 42 h 147"/>
                <a:gd name="T56" fmla="*/ 34 w 41"/>
                <a:gd name="T57" fmla="*/ 31 h 147"/>
                <a:gd name="T58" fmla="*/ 28 w 41"/>
                <a:gd name="T59" fmla="*/ 31 h 147"/>
                <a:gd name="T60" fmla="*/ 23 w 41"/>
                <a:gd name="T61" fmla="*/ 31 h 147"/>
                <a:gd name="T62" fmla="*/ 18 w 41"/>
                <a:gd name="T63" fmla="*/ 31 h 147"/>
                <a:gd name="T64" fmla="*/ 14 w 41"/>
                <a:gd name="T65" fmla="*/ 31 h 147"/>
                <a:gd name="T66" fmla="*/ 8 w 41"/>
                <a:gd name="T67" fmla="*/ 31 h 147"/>
                <a:gd name="T68" fmla="*/ 34 w 41"/>
                <a:gd name="T69" fmla="*/ 20 h 147"/>
                <a:gd name="T70" fmla="*/ 28 w 41"/>
                <a:gd name="T71" fmla="*/ 20 h 147"/>
                <a:gd name="T72" fmla="*/ 23 w 41"/>
                <a:gd name="T73" fmla="*/ 20 h 147"/>
                <a:gd name="T74" fmla="*/ 18 w 41"/>
                <a:gd name="T75" fmla="*/ 20 h 147"/>
                <a:gd name="T76" fmla="*/ 14 w 41"/>
                <a:gd name="T77" fmla="*/ 20 h 147"/>
                <a:gd name="T78" fmla="*/ 8 w 41"/>
                <a:gd name="T79" fmla="*/ 20 h 147"/>
                <a:gd name="T80" fmla="*/ 34 w 41"/>
                <a:gd name="T81" fmla="*/ 9 h 147"/>
                <a:gd name="T82" fmla="*/ 28 w 41"/>
                <a:gd name="T83" fmla="*/ 9 h 147"/>
                <a:gd name="T84" fmla="*/ 23 w 41"/>
                <a:gd name="T85" fmla="*/ 9 h 147"/>
                <a:gd name="T86" fmla="*/ 18 w 41"/>
                <a:gd name="T87" fmla="*/ 9 h 147"/>
                <a:gd name="T88" fmla="*/ 14 w 41"/>
                <a:gd name="T89" fmla="*/ 9 h 147"/>
                <a:gd name="T90" fmla="*/ 8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10" y="147"/>
                  </a:cubicBezTo>
                  <a:cubicBezTo>
                    <a:pt x="32" y="147"/>
                    <a:pt x="32" y="147"/>
                    <a:pt x="32" y="147"/>
                  </a:cubicBezTo>
                  <a:cubicBezTo>
                    <a:pt x="37" y="147"/>
                    <a:pt x="41" y="143"/>
                    <a:pt x="41" y="137"/>
                  </a:cubicBezTo>
                  <a:cubicBezTo>
                    <a:pt x="41" y="10"/>
                    <a:pt x="41" y="10"/>
                    <a:pt x="41" y="10"/>
                  </a:cubicBezTo>
                  <a:cubicBezTo>
                    <a:pt x="41" y="4"/>
                    <a:pt x="37" y="0"/>
                    <a:pt x="32" y="0"/>
                  </a:cubicBezTo>
                  <a:cubicBezTo>
                    <a:pt x="10" y="0"/>
                    <a:pt x="10" y="0"/>
                    <a:pt x="10" y="0"/>
                  </a:cubicBezTo>
                  <a:cubicBezTo>
                    <a:pt x="4" y="0"/>
                    <a:pt x="0" y="4"/>
                    <a:pt x="0" y="10"/>
                  </a:cubicBezTo>
                  <a:close/>
                  <a:moveTo>
                    <a:pt x="28" y="127"/>
                  </a:moveTo>
                  <a:cubicBezTo>
                    <a:pt x="28" y="131"/>
                    <a:pt x="25" y="134"/>
                    <a:pt x="21" y="134"/>
                  </a:cubicBezTo>
                  <a:cubicBezTo>
                    <a:pt x="17" y="134"/>
                    <a:pt x="13" y="131"/>
                    <a:pt x="13" y="127"/>
                  </a:cubicBezTo>
                  <a:cubicBezTo>
                    <a:pt x="13" y="123"/>
                    <a:pt x="17" y="119"/>
                    <a:pt x="21" y="119"/>
                  </a:cubicBezTo>
                  <a:cubicBezTo>
                    <a:pt x="25" y="119"/>
                    <a:pt x="28" y="123"/>
                    <a:pt x="28" y="127"/>
                  </a:cubicBezTo>
                  <a:close/>
                  <a:moveTo>
                    <a:pt x="34" y="74"/>
                  </a:moveTo>
                  <a:cubicBezTo>
                    <a:pt x="34" y="80"/>
                    <a:pt x="34" y="80"/>
                    <a:pt x="34" y="80"/>
                  </a:cubicBezTo>
                  <a:cubicBezTo>
                    <a:pt x="28" y="80"/>
                    <a:pt x="28" y="80"/>
                    <a:pt x="28" y="80"/>
                  </a:cubicBezTo>
                  <a:cubicBezTo>
                    <a:pt x="28" y="74"/>
                    <a:pt x="28" y="74"/>
                    <a:pt x="28" y="74"/>
                  </a:cubicBezTo>
                  <a:cubicBezTo>
                    <a:pt x="34" y="74"/>
                    <a:pt x="34" y="74"/>
                    <a:pt x="34" y="74"/>
                  </a:cubicBezTo>
                  <a:cubicBezTo>
                    <a:pt x="34" y="74"/>
                    <a:pt x="34" y="74"/>
                    <a:pt x="34" y="74"/>
                  </a:cubicBezTo>
                  <a:close/>
                  <a:moveTo>
                    <a:pt x="23" y="74"/>
                  </a:moveTo>
                  <a:cubicBezTo>
                    <a:pt x="23" y="80"/>
                    <a:pt x="23" y="80"/>
                    <a:pt x="23" y="80"/>
                  </a:cubicBezTo>
                  <a:cubicBezTo>
                    <a:pt x="18" y="80"/>
                    <a:pt x="18" y="80"/>
                    <a:pt x="18" y="80"/>
                  </a:cubicBezTo>
                  <a:cubicBezTo>
                    <a:pt x="18" y="74"/>
                    <a:pt x="18" y="74"/>
                    <a:pt x="18" y="74"/>
                  </a:cubicBezTo>
                  <a:cubicBezTo>
                    <a:pt x="23" y="74"/>
                    <a:pt x="23" y="74"/>
                    <a:pt x="23" y="74"/>
                  </a:cubicBezTo>
                  <a:cubicBezTo>
                    <a:pt x="23" y="74"/>
                    <a:pt x="23" y="74"/>
                    <a:pt x="23" y="74"/>
                  </a:cubicBezTo>
                  <a:close/>
                  <a:moveTo>
                    <a:pt x="14" y="74"/>
                  </a:moveTo>
                  <a:cubicBezTo>
                    <a:pt x="14" y="80"/>
                    <a:pt x="14" y="80"/>
                    <a:pt x="14" y="80"/>
                  </a:cubicBezTo>
                  <a:cubicBezTo>
                    <a:pt x="8" y="80"/>
                    <a:pt x="8" y="80"/>
                    <a:pt x="8" y="80"/>
                  </a:cubicBezTo>
                  <a:cubicBezTo>
                    <a:pt x="8" y="74"/>
                    <a:pt x="8" y="74"/>
                    <a:pt x="8" y="74"/>
                  </a:cubicBezTo>
                  <a:cubicBezTo>
                    <a:pt x="14" y="74"/>
                    <a:pt x="14" y="74"/>
                    <a:pt x="14" y="74"/>
                  </a:cubicBezTo>
                  <a:cubicBezTo>
                    <a:pt x="14" y="74"/>
                    <a:pt x="14" y="74"/>
                    <a:pt x="14" y="74"/>
                  </a:cubicBezTo>
                  <a:close/>
                  <a:moveTo>
                    <a:pt x="34" y="63"/>
                  </a:moveTo>
                  <a:cubicBezTo>
                    <a:pt x="34" y="69"/>
                    <a:pt x="34" y="69"/>
                    <a:pt x="34" y="69"/>
                  </a:cubicBezTo>
                  <a:cubicBezTo>
                    <a:pt x="28" y="69"/>
                    <a:pt x="28" y="69"/>
                    <a:pt x="28" y="69"/>
                  </a:cubicBezTo>
                  <a:cubicBezTo>
                    <a:pt x="28" y="63"/>
                    <a:pt x="28" y="63"/>
                    <a:pt x="28" y="63"/>
                  </a:cubicBezTo>
                  <a:cubicBezTo>
                    <a:pt x="34" y="63"/>
                    <a:pt x="34" y="63"/>
                    <a:pt x="34" y="63"/>
                  </a:cubicBezTo>
                  <a:cubicBezTo>
                    <a:pt x="34" y="63"/>
                    <a:pt x="34" y="63"/>
                    <a:pt x="34" y="63"/>
                  </a:cubicBezTo>
                  <a:close/>
                  <a:moveTo>
                    <a:pt x="23" y="63"/>
                  </a:moveTo>
                  <a:cubicBezTo>
                    <a:pt x="23" y="69"/>
                    <a:pt x="23" y="69"/>
                    <a:pt x="23" y="69"/>
                  </a:cubicBezTo>
                  <a:cubicBezTo>
                    <a:pt x="18" y="69"/>
                    <a:pt x="18" y="69"/>
                    <a:pt x="18" y="69"/>
                  </a:cubicBezTo>
                  <a:cubicBezTo>
                    <a:pt x="18" y="63"/>
                    <a:pt x="18" y="63"/>
                    <a:pt x="18" y="63"/>
                  </a:cubicBezTo>
                  <a:cubicBezTo>
                    <a:pt x="23" y="63"/>
                    <a:pt x="23" y="63"/>
                    <a:pt x="23" y="63"/>
                  </a:cubicBezTo>
                  <a:cubicBezTo>
                    <a:pt x="23" y="63"/>
                    <a:pt x="23" y="63"/>
                    <a:pt x="23" y="63"/>
                  </a:cubicBezTo>
                  <a:close/>
                  <a:moveTo>
                    <a:pt x="14" y="63"/>
                  </a:moveTo>
                  <a:cubicBezTo>
                    <a:pt x="14" y="69"/>
                    <a:pt x="14" y="69"/>
                    <a:pt x="14" y="69"/>
                  </a:cubicBezTo>
                  <a:cubicBezTo>
                    <a:pt x="8" y="69"/>
                    <a:pt x="8" y="69"/>
                    <a:pt x="8" y="69"/>
                  </a:cubicBezTo>
                  <a:cubicBezTo>
                    <a:pt x="8" y="63"/>
                    <a:pt x="8" y="63"/>
                    <a:pt x="8" y="63"/>
                  </a:cubicBezTo>
                  <a:cubicBezTo>
                    <a:pt x="14" y="63"/>
                    <a:pt x="14" y="63"/>
                    <a:pt x="14" y="63"/>
                  </a:cubicBezTo>
                  <a:cubicBezTo>
                    <a:pt x="14" y="63"/>
                    <a:pt x="14" y="63"/>
                    <a:pt x="14" y="63"/>
                  </a:cubicBezTo>
                  <a:close/>
                  <a:moveTo>
                    <a:pt x="34" y="52"/>
                  </a:moveTo>
                  <a:cubicBezTo>
                    <a:pt x="34" y="58"/>
                    <a:pt x="34" y="58"/>
                    <a:pt x="34" y="58"/>
                  </a:cubicBezTo>
                  <a:cubicBezTo>
                    <a:pt x="28" y="58"/>
                    <a:pt x="28" y="58"/>
                    <a:pt x="28" y="58"/>
                  </a:cubicBezTo>
                  <a:cubicBezTo>
                    <a:pt x="28" y="52"/>
                    <a:pt x="28" y="52"/>
                    <a:pt x="28" y="52"/>
                  </a:cubicBezTo>
                  <a:cubicBezTo>
                    <a:pt x="34" y="52"/>
                    <a:pt x="34" y="52"/>
                    <a:pt x="34" y="52"/>
                  </a:cubicBezTo>
                  <a:cubicBezTo>
                    <a:pt x="34" y="52"/>
                    <a:pt x="34" y="52"/>
                    <a:pt x="34" y="52"/>
                  </a:cubicBezTo>
                  <a:close/>
                  <a:moveTo>
                    <a:pt x="23" y="52"/>
                  </a:moveTo>
                  <a:cubicBezTo>
                    <a:pt x="23" y="58"/>
                    <a:pt x="23" y="58"/>
                    <a:pt x="23" y="58"/>
                  </a:cubicBezTo>
                  <a:cubicBezTo>
                    <a:pt x="18" y="58"/>
                    <a:pt x="18" y="58"/>
                    <a:pt x="18" y="58"/>
                  </a:cubicBezTo>
                  <a:cubicBezTo>
                    <a:pt x="18" y="52"/>
                    <a:pt x="18" y="52"/>
                    <a:pt x="18" y="52"/>
                  </a:cubicBezTo>
                  <a:cubicBezTo>
                    <a:pt x="23" y="52"/>
                    <a:pt x="23" y="52"/>
                    <a:pt x="23" y="52"/>
                  </a:cubicBezTo>
                  <a:cubicBezTo>
                    <a:pt x="23" y="52"/>
                    <a:pt x="23" y="52"/>
                    <a:pt x="23" y="52"/>
                  </a:cubicBezTo>
                  <a:close/>
                  <a:moveTo>
                    <a:pt x="14" y="52"/>
                  </a:moveTo>
                  <a:cubicBezTo>
                    <a:pt x="14" y="58"/>
                    <a:pt x="14" y="58"/>
                    <a:pt x="14" y="58"/>
                  </a:cubicBezTo>
                  <a:cubicBezTo>
                    <a:pt x="8" y="58"/>
                    <a:pt x="8" y="58"/>
                    <a:pt x="8" y="58"/>
                  </a:cubicBezTo>
                  <a:cubicBezTo>
                    <a:pt x="8" y="52"/>
                    <a:pt x="8" y="52"/>
                    <a:pt x="8" y="52"/>
                  </a:cubicBezTo>
                  <a:cubicBezTo>
                    <a:pt x="14" y="52"/>
                    <a:pt x="14" y="52"/>
                    <a:pt x="14" y="52"/>
                  </a:cubicBezTo>
                  <a:cubicBezTo>
                    <a:pt x="14" y="52"/>
                    <a:pt x="14" y="52"/>
                    <a:pt x="14" y="52"/>
                  </a:cubicBezTo>
                  <a:close/>
                  <a:moveTo>
                    <a:pt x="34" y="42"/>
                  </a:moveTo>
                  <a:cubicBezTo>
                    <a:pt x="34" y="47"/>
                    <a:pt x="34" y="47"/>
                    <a:pt x="34" y="47"/>
                  </a:cubicBezTo>
                  <a:cubicBezTo>
                    <a:pt x="28" y="47"/>
                    <a:pt x="28" y="47"/>
                    <a:pt x="28" y="47"/>
                  </a:cubicBezTo>
                  <a:cubicBezTo>
                    <a:pt x="28" y="42"/>
                    <a:pt x="28" y="42"/>
                    <a:pt x="28" y="42"/>
                  </a:cubicBezTo>
                  <a:cubicBezTo>
                    <a:pt x="34" y="42"/>
                    <a:pt x="34" y="42"/>
                    <a:pt x="34" y="42"/>
                  </a:cubicBezTo>
                  <a:cubicBezTo>
                    <a:pt x="34" y="42"/>
                    <a:pt x="34" y="42"/>
                    <a:pt x="34" y="42"/>
                  </a:cubicBezTo>
                  <a:close/>
                  <a:moveTo>
                    <a:pt x="23" y="42"/>
                  </a:moveTo>
                  <a:cubicBezTo>
                    <a:pt x="23" y="47"/>
                    <a:pt x="23" y="47"/>
                    <a:pt x="23" y="47"/>
                  </a:cubicBezTo>
                  <a:cubicBezTo>
                    <a:pt x="18" y="47"/>
                    <a:pt x="18" y="47"/>
                    <a:pt x="18" y="47"/>
                  </a:cubicBezTo>
                  <a:cubicBezTo>
                    <a:pt x="18" y="42"/>
                    <a:pt x="18" y="42"/>
                    <a:pt x="18" y="42"/>
                  </a:cubicBezTo>
                  <a:cubicBezTo>
                    <a:pt x="23" y="42"/>
                    <a:pt x="23" y="42"/>
                    <a:pt x="23" y="42"/>
                  </a:cubicBezTo>
                  <a:cubicBezTo>
                    <a:pt x="23" y="42"/>
                    <a:pt x="23" y="42"/>
                    <a:pt x="23" y="42"/>
                  </a:cubicBezTo>
                  <a:close/>
                  <a:moveTo>
                    <a:pt x="14" y="42"/>
                  </a:moveTo>
                  <a:cubicBezTo>
                    <a:pt x="14" y="47"/>
                    <a:pt x="14" y="47"/>
                    <a:pt x="14" y="47"/>
                  </a:cubicBezTo>
                  <a:cubicBezTo>
                    <a:pt x="8" y="47"/>
                    <a:pt x="8" y="47"/>
                    <a:pt x="8" y="47"/>
                  </a:cubicBezTo>
                  <a:cubicBezTo>
                    <a:pt x="8" y="42"/>
                    <a:pt x="8" y="42"/>
                    <a:pt x="8" y="42"/>
                  </a:cubicBezTo>
                  <a:cubicBezTo>
                    <a:pt x="14" y="42"/>
                    <a:pt x="14" y="42"/>
                    <a:pt x="14" y="42"/>
                  </a:cubicBezTo>
                  <a:cubicBezTo>
                    <a:pt x="14" y="42"/>
                    <a:pt x="14" y="42"/>
                    <a:pt x="14" y="42"/>
                  </a:cubicBezTo>
                  <a:close/>
                  <a:moveTo>
                    <a:pt x="34" y="31"/>
                  </a:moveTo>
                  <a:cubicBezTo>
                    <a:pt x="34" y="37"/>
                    <a:pt x="34" y="37"/>
                    <a:pt x="34" y="37"/>
                  </a:cubicBezTo>
                  <a:cubicBezTo>
                    <a:pt x="28" y="37"/>
                    <a:pt x="28" y="37"/>
                    <a:pt x="28" y="37"/>
                  </a:cubicBezTo>
                  <a:cubicBezTo>
                    <a:pt x="28" y="31"/>
                    <a:pt x="28" y="31"/>
                    <a:pt x="28" y="31"/>
                  </a:cubicBezTo>
                  <a:cubicBezTo>
                    <a:pt x="34" y="31"/>
                    <a:pt x="34" y="31"/>
                    <a:pt x="34" y="31"/>
                  </a:cubicBezTo>
                  <a:cubicBezTo>
                    <a:pt x="34" y="31"/>
                    <a:pt x="34" y="31"/>
                    <a:pt x="34" y="31"/>
                  </a:cubicBezTo>
                  <a:close/>
                  <a:moveTo>
                    <a:pt x="23" y="31"/>
                  </a:moveTo>
                  <a:cubicBezTo>
                    <a:pt x="23" y="37"/>
                    <a:pt x="23" y="37"/>
                    <a:pt x="23" y="37"/>
                  </a:cubicBezTo>
                  <a:cubicBezTo>
                    <a:pt x="18" y="37"/>
                    <a:pt x="18" y="37"/>
                    <a:pt x="18" y="37"/>
                  </a:cubicBezTo>
                  <a:cubicBezTo>
                    <a:pt x="18" y="31"/>
                    <a:pt x="18" y="31"/>
                    <a:pt x="18" y="31"/>
                  </a:cubicBezTo>
                  <a:cubicBezTo>
                    <a:pt x="23" y="31"/>
                    <a:pt x="23" y="31"/>
                    <a:pt x="23" y="31"/>
                  </a:cubicBezTo>
                  <a:cubicBezTo>
                    <a:pt x="23" y="31"/>
                    <a:pt x="23" y="31"/>
                    <a:pt x="23" y="31"/>
                  </a:cubicBezTo>
                  <a:close/>
                  <a:moveTo>
                    <a:pt x="14" y="31"/>
                  </a:moveTo>
                  <a:cubicBezTo>
                    <a:pt x="14" y="37"/>
                    <a:pt x="14" y="37"/>
                    <a:pt x="14" y="37"/>
                  </a:cubicBezTo>
                  <a:cubicBezTo>
                    <a:pt x="8" y="37"/>
                    <a:pt x="8" y="37"/>
                    <a:pt x="8" y="37"/>
                  </a:cubicBezTo>
                  <a:cubicBezTo>
                    <a:pt x="8" y="31"/>
                    <a:pt x="8" y="31"/>
                    <a:pt x="8" y="31"/>
                  </a:cubicBezTo>
                  <a:cubicBezTo>
                    <a:pt x="14" y="31"/>
                    <a:pt x="14" y="31"/>
                    <a:pt x="14" y="31"/>
                  </a:cubicBezTo>
                  <a:cubicBezTo>
                    <a:pt x="14" y="31"/>
                    <a:pt x="14" y="31"/>
                    <a:pt x="14" y="31"/>
                  </a:cubicBezTo>
                  <a:close/>
                  <a:moveTo>
                    <a:pt x="34" y="20"/>
                  </a:moveTo>
                  <a:cubicBezTo>
                    <a:pt x="34" y="26"/>
                    <a:pt x="34" y="26"/>
                    <a:pt x="34" y="26"/>
                  </a:cubicBezTo>
                  <a:cubicBezTo>
                    <a:pt x="28" y="26"/>
                    <a:pt x="28" y="26"/>
                    <a:pt x="28" y="26"/>
                  </a:cubicBezTo>
                  <a:cubicBezTo>
                    <a:pt x="28" y="20"/>
                    <a:pt x="28" y="20"/>
                    <a:pt x="28" y="20"/>
                  </a:cubicBezTo>
                  <a:cubicBezTo>
                    <a:pt x="34" y="20"/>
                    <a:pt x="34" y="20"/>
                    <a:pt x="34" y="20"/>
                  </a:cubicBezTo>
                  <a:cubicBezTo>
                    <a:pt x="34" y="20"/>
                    <a:pt x="34" y="20"/>
                    <a:pt x="34" y="20"/>
                  </a:cubicBezTo>
                  <a:close/>
                  <a:moveTo>
                    <a:pt x="23" y="20"/>
                  </a:moveTo>
                  <a:cubicBezTo>
                    <a:pt x="23" y="26"/>
                    <a:pt x="23" y="26"/>
                    <a:pt x="23" y="26"/>
                  </a:cubicBezTo>
                  <a:cubicBezTo>
                    <a:pt x="18" y="26"/>
                    <a:pt x="18" y="26"/>
                    <a:pt x="18" y="26"/>
                  </a:cubicBezTo>
                  <a:cubicBezTo>
                    <a:pt x="18" y="20"/>
                    <a:pt x="18" y="20"/>
                    <a:pt x="18" y="20"/>
                  </a:cubicBezTo>
                  <a:cubicBezTo>
                    <a:pt x="23" y="20"/>
                    <a:pt x="23" y="20"/>
                    <a:pt x="23" y="20"/>
                  </a:cubicBezTo>
                  <a:cubicBezTo>
                    <a:pt x="23" y="20"/>
                    <a:pt x="23" y="20"/>
                    <a:pt x="23" y="20"/>
                  </a:cubicBezTo>
                  <a:close/>
                  <a:moveTo>
                    <a:pt x="14" y="20"/>
                  </a:moveTo>
                  <a:cubicBezTo>
                    <a:pt x="14" y="26"/>
                    <a:pt x="14" y="26"/>
                    <a:pt x="14" y="26"/>
                  </a:cubicBezTo>
                  <a:cubicBezTo>
                    <a:pt x="8" y="26"/>
                    <a:pt x="8" y="26"/>
                    <a:pt x="8" y="26"/>
                  </a:cubicBezTo>
                  <a:cubicBezTo>
                    <a:pt x="8" y="20"/>
                    <a:pt x="8" y="20"/>
                    <a:pt x="8" y="20"/>
                  </a:cubicBezTo>
                  <a:cubicBezTo>
                    <a:pt x="14" y="20"/>
                    <a:pt x="14" y="20"/>
                    <a:pt x="14" y="20"/>
                  </a:cubicBezTo>
                  <a:cubicBezTo>
                    <a:pt x="14" y="20"/>
                    <a:pt x="14" y="20"/>
                    <a:pt x="14" y="20"/>
                  </a:cubicBezTo>
                  <a:close/>
                  <a:moveTo>
                    <a:pt x="34" y="9"/>
                  </a:moveTo>
                  <a:cubicBezTo>
                    <a:pt x="34" y="15"/>
                    <a:pt x="34" y="15"/>
                    <a:pt x="34" y="15"/>
                  </a:cubicBezTo>
                  <a:cubicBezTo>
                    <a:pt x="28" y="15"/>
                    <a:pt x="28" y="15"/>
                    <a:pt x="28" y="15"/>
                  </a:cubicBezTo>
                  <a:cubicBezTo>
                    <a:pt x="28" y="9"/>
                    <a:pt x="28" y="9"/>
                    <a:pt x="28" y="9"/>
                  </a:cubicBezTo>
                  <a:cubicBezTo>
                    <a:pt x="34" y="9"/>
                    <a:pt x="34" y="9"/>
                    <a:pt x="34" y="9"/>
                  </a:cubicBezTo>
                  <a:cubicBezTo>
                    <a:pt x="34" y="9"/>
                    <a:pt x="34" y="9"/>
                    <a:pt x="34" y="9"/>
                  </a:cubicBezTo>
                  <a:close/>
                  <a:moveTo>
                    <a:pt x="23" y="9"/>
                  </a:moveTo>
                  <a:cubicBezTo>
                    <a:pt x="23" y="15"/>
                    <a:pt x="23" y="15"/>
                    <a:pt x="23" y="15"/>
                  </a:cubicBezTo>
                  <a:cubicBezTo>
                    <a:pt x="18" y="15"/>
                    <a:pt x="18" y="15"/>
                    <a:pt x="18" y="15"/>
                  </a:cubicBezTo>
                  <a:cubicBezTo>
                    <a:pt x="18" y="9"/>
                    <a:pt x="18" y="9"/>
                    <a:pt x="18" y="9"/>
                  </a:cubicBezTo>
                  <a:cubicBezTo>
                    <a:pt x="23" y="9"/>
                    <a:pt x="23" y="9"/>
                    <a:pt x="23" y="9"/>
                  </a:cubicBezTo>
                  <a:cubicBezTo>
                    <a:pt x="23" y="9"/>
                    <a:pt x="23" y="9"/>
                    <a:pt x="23" y="9"/>
                  </a:cubicBezTo>
                  <a:close/>
                  <a:moveTo>
                    <a:pt x="14" y="9"/>
                  </a:moveTo>
                  <a:cubicBezTo>
                    <a:pt x="14" y="15"/>
                    <a:pt x="14" y="15"/>
                    <a:pt x="14" y="15"/>
                  </a:cubicBezTo>
                  <a:cubicBezTo>
                    <a:pt x="8" y="15"/>
                    <a:pt x="8" y="15"/>
                    <a:pt x="8" y="15"/>
                  </a:cubicBezTo>
                  <a:cubicBezTo>
                    <a:pt x="8" y="9"/>
                    <a:pt x="8" y="9"/>
                    <a:pt x="8" y="9"/>
                  </a:cubicBezTo>
                  <a:cubicBezTo>
                    <a:pt x="14" y="9"/>
                    <a:pt x="14" y="9"/>
                    <a:pt x="14" y="9"/>
                  </a:cubicBezTo>
                  <a:cubicBezTo>
                    <a:pt x="14" y="9"/>
                    <a:pt x="14" y="9"/>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72" name="Freeform 2128"/>
            <p:cNvSpPr>
              <a:spLocks noEditPoints="1"/>
            </p:cNvSpPr>
            <p:nvPr/>
          </p:nvSpPr>
          <p:spPr bwMode="auto">
            <a:xfrm>
              <a:off x="16879888" y="3097213"/>
              <a:ext cx="149225" cy="552450"/>
            </a:xfrm>
            <a:custGeom>
              <a:avLst/>
              <a:gdLst>
                <a:gd name="T0" fmla="*/ 9 w 40"/>
                <a:gd name="T1" fmla="*/ 147 h 147"/>
                <a:gd name="T2" fmla="*/ 40 w 40"/>
                <a:gd name="T3" fmla="*/ 10 h 147"/>
                <a:gd name="T4" fmla="*/ 0 w 40"/>
                <a:gd name="T5" fmla="*/ 10 h 147"/>
                <a:gd name="T6" fmla="*/ 13 w 40"/>
                <a:gd name="T7" fmla="*/ 127 h 147"/>
                <a:gd name="T8" fmla="*/ 33 w 40"/>
                <a:gd name="T9" fmla="*/ 74 h 147"/>
                <a:gd name="T10" fmla="*/ 27 w 40"/>
                <a:gd name="T11" fmla="*/ 74 h 147"/>
                <a:gd name="T12" fmla="*/ 23 w 40"/>
                <a:gd name="T13" fmla="*/ 74 h 147"/>
                <a:gd name="T14" fmla="*/ 17 w 40"/>
                <a:gd name="T15" fmla="*/ 74 h 147"/>
                <a:gd name="T16" fmla="*/ 13 w 40"/>
                <a:gd name="T17" fmla="*/ 74 h 147"/>
                <a:gd name="T18" fmla="*/ 7 w 40"/>
                <a:gd name="T19" fmla="*/ 74 h 147"/>
                <a:gd name="T20" fmla="*/ 33 w 40"/>
                <a:gd name="T21" fmla="*/ 63 h 147"/>
                <a:gd name="T22" fmla="*/ 27 w 40"/>
                <a:gd name="T23" fmla="*/ 63 h 147"/>
                <a:gd name="T24" fmla="*/ 23 w 40"/>
                <a:gd name="T25" fmla="*/ 63 h 147"/>
                <a:gd name="T26" fmla="*/ 17 w 40"/>
                <a:gd name="T27" fmla="*/ 63 h 147"/>
                <a:gd name="T28" fmla="*/ 13 w 40"/>
                <a:gd name="T29" fmla="*/ 63 h 147"/>
                <a:gd name="T30" fmla="*/ 7 w 40"/>
                <a:gd name="T31" fmla="*/ 63 h 147"/>
                <a:gd name="T32" fmla="*/ 33 w 40"/>
                <a:gd name="T33" fmla="*/ 52 h 147"/>
                <a:gd name="T34" fmla="*/ 27 w 40"/>
                <a:gd name="T35" fmla="*/ 52 h 147"/>
                <a:gd name="T36" fmla="*/ 23 w 40"/>
                <a:gd name="T37" fmla="*/ 52 h 147"/>
                <a:gd name="T38" fmla="*/ 17 w 40"/>
                <a:gd name="T39" fmla="*/ 52 h 147"/>
                <a:gd name="T40" fmla="*/ 13 w 40"/>
                <a:gd name="T41" fmla="*/ 52 h 147"/>
                <a:gd name="T42" fmla="*/ 7 w 40"/>
                <a:gd name="T43" fmla="*/ 52 h 147"/>
                <a:gd name="T44" fmla="*/ 33 w 40"/>
                <a:gd name="T45" fmla="*/ 42 h 147"/>
                <a:gd name="T46" fmla="*/ 27 w 40"/>
                <a:gd name="T47" fmla="*/ 42 h 147"/>
                <a:gd name="T48" fmla="*/ 23 w 40"/>
                <a:gd name="T49" fmla="*/ 42 h 147"/>
                <a:gd name="T50" fmla="*/ 17 w 40"/>
                <a:gd name="T51" fmla="*/ 42 h 147"/>
                <a:gd name="T52" fmla="*/ 13 w 40"/>
                <a:gd name="T53" fmla="*/ 42 h 147"/>
                <a:gd name="T54" fmla="*/ 7 w 40"/>
                <a:gd name="T55" fmla="*/ 42 h 147"/>
                <a:gd name="T56" fmla="*/ 33 w 40"/>
                <a:gd name="T57" fmla="*/ 31 h 147"/>
                <a:gd name="T58" fmla="*/ 27 w 40"/>
                <a:gd name="T59" fmla="*/ 31 h 147"/>
                <a:gd name="T60" fmla="*/ 23 w 40"/>
                <a:gd name="T61" fmla="*/ 31 h 147"/>
                <a:gd name="T62" fmla="*/ 17 w 40"/>
                <a:gd name="T63" fmla="*/ 31 h 147"/>
                <a:gd name="T64" fmla="*/ 13 w 40"/>
                <a:gd name="T65" fmla="*/ 31 h 147"/>
                <a:gd name="T66" fmla="*/ 7 w 40"/>
                <a:gd name="T67" fmla="*/ 31 h 147"/>
                <a:gd name="T68" fmla="*/ 33 w 40"/>
                <a:gd name="T69" fmla="*/ 20 h 147"/>
                <a:gd name="T70" fmla="*/ 27 w 40"/>
                <a:gd name="T71" fmla="*/ 20 h 147"/>
                <a:gd name="T72" fmla="*/ 23 w 40"/>
                <a:gd name="T73" fmla="*/ 20 h 147"/>
                <a:gd name="T74" fmla="*/ 17 w 40"/>
                <a:gd name="T75" fmla="*/ 20 h 147"/>
                <a:gd name="T76" fmla="*/ 13 w 40"/>
                <a:gd name="T77" fmla="*/ 20 h 147"/>
                <a:gd name="T78" fmla="*/ 7 w 40"/>
                <a:gd name="T79" fmla="*/ 20 h 147"/>
                <a:gd name="T80" fmla="*/ 33 w 40"/>
                <a:gd name="T81" fmla="*/ 9 h 147"/>
                <a:gd name="T82" fmla="*/ 27 w 40"/>
                <a:gd name="T83" fmla="*/ 9 h 147"/>
                <a:gd name="T84" fmla="*/ 23 w 40"/>
                <a:gd name="T85" fmla="*/ 9 h 147"/>
                <a:gd name="T86" fmla="*/ 17 w 40"/>
                <a:gd name="T87" fmla="*/ 9 h 147"/>
                <a:gd name="T88" fmla="*/ 13 w 40"/>
                <a:gd name="T89" fmla="*/ 9 h 147"/>
                <a:gd name="T90" fmla="*/ 7 w 40"/>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 h="147">
                  <a:moveTo>
                    <a:pt x="0" y="10"/>
                  </a:moveTo>
                  <a:cubicBezTo>
                    <a:pt x="0" y="137"/>
                    <a:pt x="0" y="137"/>
                    <a:pt x="0" y="137"/>
                  </a:cubicBezTo>
                  <a:cubicBezTo>
                    <a:pt x="0" y="143"/>
                    <a:pt x="4" y="147"/>
                    <a:pt x="9" y="147"/>
                  </a:cubicBezTo>
                  <a:cubicBezTo>
                    <a:pt x="31" y="147"/>
                    <a:pt x="31" y="147"/>
                    <a:pt x="31" y="147"/>
                  </a:cubicBezTo>
                  <a:cubicBezTo>
                    <a:pt x="36" y="147"/>
                    <a:pt x="40" y="143"/>
                    <a:pt x="40" y="137"/>
                  </a:cubicBezTo>
                  <a:cubicBezTo>
                    <a:pt x="40" y="10"/>
                    <a:pt x="40" y="10"/>
                    <a:pt x="40" y="10"/>
                  </a:cubicBezTo>
                  <a:cubicBezTo>
                    <a:pt x="40" y="4"/>
                    <a:pt x="36" y="0"/>
                    <a:pt x="31" y="0"/>
                  </a:cubicBezTo>
                  <a:cubicBezTo>
                    <a:pt x="9" y="0"/>
                    <a:pt x="9" y="0"/>
                    <a:pt x="9" y="0"/>
                  </a:cubicBezTo>
                  <a:cubicBezTo>
                    <a:pt x="4" y="0"/>
                    <a:pt x="0" y="4"/>
                    <a:pt x="0" y="10"/>
                  </a:cubicBezTo>
                  <a:close/>
                  <a:moveTo>
                    <a:pt x="27" y="127"/>
                  </a:moveTo>
                  <a:cubicBezTo>
                    <a:pt x="27" y="131"/>
                    <a:pt x="24" y="134"/>
                    <a:pt x="20" y="134"/>
                  </a:cubicBezTo>
                  <a:cubicBezTo>
                    <a:pt x="16" y="134"/>
                    <a:pt x="13" y="131"/>
                    <a:pt x="13" y="127"/>
                  </a:cubicBezTo>
                  <a:cubicBezTo>
                    <a:pt x="13" y="123"/>
                    <a:pt x="16" y="119"/>
                    <a:pt x="20" y="119"/>
                  </a:cubicBezTo>
                  <a:cubicBezTo>
                    <a:pt x="24" y="119"/>
                    <a:pt x="27" y="123"/>
                    <a:pt x="27" y="127"/>
                  </a:cubicBezTo>
                  <a:close/>
                  <a:moveTo>
                    <a:pt x="33" y="74"/>
                  </a:moveTo>
                  <a:cubicBezTo>
                    <a:pt x="33" y="80"/>
                    <a:pt x="33" y="80"/>
                    <a:pt x="33" y="80"/>
                  </a:cubicBezTo>
                  <a:cubicBezTo>
                    <a:pt x="27" y="80"/>
                    <a:pt x="27" y="80"/>
                    <a:pt x="27" y="80"/>
                  </a:cubicBezTo>
                  <a:cubicBezTo>
                    <a:pt x="27" y="74"/>
                    <a:pt x="27" y="74"/>
                    <a:pt x="27"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2"/>
                  </a:moveTo>
                  <a:cubicBezTo>
                    <a:pt x="33" y="47"/>
                    <a:pt x="33" y="47"/>
                    <a:pt x="33" y="47"/>
                  </a:cubicBezTo>
                  <a:cubicBezTo>
                    <a:pt x="27" y="47"/>
                    <a:pt x="27" y="47"/>
                    <a:pt x="27" y="47"/>
                  </a:cubicBezTo>
                  <a:cubicBezTo>
                    <a:pt x="27" y="42"/>
                    <a:pt x="27" y="42"/>
                    <a:pt x="27"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7" y="47"/>
                    <a:pt x="7" y="47"/>
                    <a:pt x="7" y="47"/>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7" y="37"/>
                    <a:pt x="27" y="37"/>
                    <a:pt x="27" y="37"/>
                  </a:cubicBezTo>
                  <a:cubicBezTo>
                    <a:pt x="27" y="31"/>
                    <a:pt x="27" y="31"/>
                    <a:pt x="27"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73" name="Freeform 2129"/>
            <p:cNvSpPr>
              <a:spLocks noEditPoints="1"/>
            </p:cNvSpPr>
            <p:nvPr/>
          </p:nvSpPr>
          <p:spPr bwMode="auto">
            <a:xfrm>
              <a:off x="17097375" y="3097213"/>
              <a:ext cx="153988" cy="552450"/>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7 w 41"/>
                <a:gd name="T11" fmla="*/ 74 h 147"/>
                <a:gd name="T12" fmla="*/ 23 w 41"/>
                <a:gd name="T13" fmla="*/ 74 h 147"/>
                <a:gd name="T14" fmla="*/ 17 w 41"/>
                <a:gd name="T15" fmla="*/ 74 h 147"/>
                <a:gd name="T16" fmla="*/ 13 w 41"/>
                <a:gd name="T17" fmla="*/ 74 h 147"/>
                <a:gd name="T18" fmla="*/ 7 w 41"/>
                <a:gd name="T19" fmla="*/ 74 h 147"/>
                <a:gd name="T20" fmla="*/ 33 w 41"/>
                <a:gd name="T21" fmla="*/ 63 h 147"/>
                <a:gd name="T22" fmla="*/ 27 w 41"/>
                <a:gd name="T23" fmla="*/ 63 h 147"/>
                <a:gd name="T24" fmla="*/ 23 w 41"/>
                <a:gd name="T25" fmla="*/ 63 h 147"/>
                <a:gd name="T26" fmla="*/ 17 w 41"/>
                <a:gd name="T27" fmla="*/ 63 h 147"/>
                <a:gd name="T28" fmla="*/ 13 w 41"/>
                <a:gd name="T29" fmla="*/ 63 h 147"/>
                <a:gd name="T30" fmla="*/ 7 w 41"/>
                <a:gd name="T31" fmla="*/ 63 h 147"/>
                <a:gd name="T32" fmla="*/ 33 w 41"/>
                <a:gd name="T33" fmla="*/ 52 h 147"/>
                <a:gd name="T34" fmla="*/ 27 w 41"/>
                <a:gd name="T35" fmla="*/ 52 h 147"/>
                <a:gd name="T36" fmla="*/ 23 w 41"/>
                <a:gd name="T37" fmla="*/ 52 h 147"/>
                <a:gd name="T38" fmla="*/ 17 w 41"/>
                <a:gd name="T39" fmla="*/ 52 h 147"/>
                <a:gd name="T40" fmla="*/ 13 w 41"/>
                <a:gd name="T41" fmla="*/ 52 h 147"/>
                <a:gd name="T42" fmla="*/ 7 w 41"/>
                <a:gd name="T43" fmla="*/ 52 h 147"/>
                <a:gd name="T44" fmla="*/ 33 w 41"/>
                <a:gd name="T45" fmla="*/ 42 h 147"/>
                <a:gd name="T46" fmla="*/ 27 w 41"/>
                <a:gd name="T47" fmla="*/ 42 h 147"/>
                <a:gd name="T48" fmla="*/ 23 w 41"/>
                <a:gd name="T49" fmla="*/ 42 h 147"/>
                <a:gd name="T50" fmla="*/ 17 w 41"/>
                <a:gd name="T51" fmla="*/ 42 h 147"/>
                <a:gd name="T52" fmla="*/ 13 w 41"/>
                <a:gd name="T53" fmla="*/ 42 h 147"/>
                <a:gd name="T54" fmla="*/ 7 w 41"/>
                <a:gd name="T55" fmla="*/ 42 h 147"/>
                <a:gd name="T56" fmla="*/ 33 w 41"/>
                <a:gd name="T57" fmla="*/ 31 h 147"/>
                <a:gd name="T58" fmla="*/ 27 w 41"/>
                <a:gd name="T59" fmla="*/ 31 h 147"/>
                <a:gd name="T60" fmla="*/ 23 w 41"/>
                <a:gd name="T61" fmla="*/ 31 h 147"/>
                <a:gd name="T62" fmla="*/ 17 w 41"/>
                <a:gd name="T63" fmla="*/ 31 h 147"/>
                <a:gd name="T64" fmla="*/ 13 w 41"/>
                <a:gd name="T65" fmla="*/ 31 h 147"/>
                <a:gd name="T66" fmla="*/ 7 w 41"/>
                <a:gd name="T67" fmla="*/ 31 h 147"/>
                <a:gd name="T68" fmla="*/ 33 w 41"/>
                <a:gd name="T69" fmla="*/ 20 h 147"/>
                <a:gd name="T70" fmla="*/ 27 w 41"/>
                <a:gd name="T71" fmla="*/ 20 h 147"/>
                <a:gd name="T72" fmla="*/ 23 w 41"/>
                <a:gd name="T73" fmla="*/ 20 h 147"/>
                <a:gd name="T74" fmla="*/ 17 w 41"/>
                <a:gd name="T75" fmla="*/ 20 h 147"/>
                <a:gd name="T76" fmla="*/ 13 w 41"/>
                <a:gd name="T77" fmla="*/ 20 h 147"/>
                <a:gd name="T78" fmla="*/ 7 w 41"/>
                <a:gd name="T79" fmla="*/ 20 h 147"/>
                <a:gd name="T80" fmla="*/ 33 w 41"/>
                <a:gd name="T81" fmla="*/ 9 h 147"/>
                <a:gd name="T82" fmla="*/ 27 w 41"/>
                <a:gd name="T83" fmla="*/ 9 h 147"/>
                <a:gd name="T84" fmla="*/ 23 w 41"/>
                <a:gd name="T85" fmla="*/ 9 h 147"/>
                <a:gd name="T86" fmla="*/ 17 w 41"/>
                <a:gd name="T87" fmla="*/ 9 h 147"/>
                <a:gd name="T88" fmla="*/ 13 w 41"/>
                <a:gd name="T89" fmla="*/ 9 h 147"/>
                <a:gd name="T90" fmla="*/ 7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9" y="147"/>
                  </a:cubicBezTo>
                  <a:cubicBezTo>
                    <a:pt x="31" y="147"/>
                    <a:pt x="31" y="147"/>
                    <a:pt x="31" y="147"/>
                  </a:cubicBezTo>
                  <a:cubicBezTo>
                    <a:pt x="36" y="147"/>
                    <a:pt x="41" y="143"/>
                    <a:pt x="41" y="137"/>
                  </a:cubicBezTo>
                  <a:cubicBezTo>
                    <a:pt x="41" y="10"/>
                    <a:pt x="41" y="10"/>
                    <a:pt x="41" y="10"/>
                  </a:cubicBezTo>
                  <a:cubicBezTo>
                    <a:pt x="41" y="4"/>
                    <a:pt x="36" y="0"/>
                    <a:pt x="31" y="0"/>
                  </a:cubicBezTo>
                  <a:cubicBezTo>
                    <a:pt x="9" y="0"/>
                    <a:pt x="9" y="0"/>
                    <a:pt x="9" y="0"/>
                  </a:cubicBezTo>
                  <a:cubicBezTo>
                    <a:pt x="4" y="0"/>
                    <a:pt x="0" y="4"/>
                    <a:pt x="0" y="10"/>
                  </a:cubicBezTo>
                  <a:close/>
                  <a:moveTo>
                    <a:pt x="28" y="127"/>
                  </a:moveTo>
                  <a:cubicBezTo>
                    <a:pt x="28" y="131"/>
                    <a:pt x="24" y="134"/>
                    <a:pt x="20" y="134"/>
                  </a:cubicBezTo>
                  <a:cubicBezTo>
                    <a:pt x="16" y="134"/>
                    <a:pt x="13" y="131"/>
                    <a:pt x="13" y="127"/>
                  </a:cubicBezTo>
                  <a:cubicBezTo>
                    <a:pt x="13" y="123"/>
                    <a:pt x="16" y="119"/>
                    <a:pt x="20" y="119"/>
                  </a:cubicBezTo>
                  <a:cubicBezTo>
                    <a:pt x="24" y="119"/>
                    <a:pt x="28" y="123"/>
                    <a:pt x="28" y="127"/>
                  </a:cubicBezTo>
                  <a:close/>
                  <a:moveTo>
                    <a:pt x="33" y="74"/>
                  </a:moveTo>
                  <a:cubicBezTo>
                    <a:pt x="33" y="80"/>
                    <a:pt x="33" y="80"/>
                    <a:pt x="33" y="80"/>
                  </a:cubicBezTo>
                  <a:cubicBezTo>
                    <a:pt x="27" y="80"/>
                    <a:pt x="27" y="80"/>
                    <a:pt x="27" y="80"/>
                  </a:cubicBezTo>
                  <a:cubicBezTo>
                    <a:pt x="27" y="74"/>
                    <a:pt x="27" y="74"/>
                    <a:pt x="27"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2"/>
                  </a:moveTo>
                  <a:cubicBezTo>
                    <a:pt x="33" y="47"/>
                    <a:pt x="33" y="47"/>
                    <a:pt x="33" y="47"/>
                  </a:cubicBezTo>
                  <a:cubicBezTo>
                    <a:pt x="27" y="47"/>
                    <a:pt x="27" y="47"/>
                    <a:pt x="27" y="47"/>
                  </a:cubicBezTo>
                  <a:cubicBezTo>
                    <a:pt x="27" y="42"/>
                    <a:pt x="27" y="42"/>
                    <a:pt x="27"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7" y="47"/>
                    <a:pt x="7" y="47"/>
                    <a:pt x="7" y="47"/>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7" y="37"/>
                    <a:pt x="27" y="37"/>
                    <a:pt x="27" y="37"/>
                  </a:cubicBezTo>
                  <a:cubicBezTo>
                    <a:pt x="27" y="31"/>
                    <a:pt x="27" y="31"/>
                    <a:pt x="27"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74" name="Freeform 2130"/>
            <p:cNvSpPr>
              <a:spLocks noEditPoints="1"/>
            </p:cNvSpPr>
            <p:nvPr/>
          </p:nvSpPr>
          <p:spPr bwMode="auto">
            <a:xfrm>
              <a:off x="17314863" y="3097213"/>
              <a:ext cx="153988" cy="552450"/>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8 w 41"/>
                <a:gd name="T11" fmla="*/ 74 h 147"/>
                <a:gd name="T12" fmla="*/ 23 w 41"/>
                <a:gd name="T13" fmla="*/ 74 h 147"/>
                <a:gd name="T14" fmla="*/ 17 w 41"/>
                <a:gd name="T15" fmla="*/ 74 h 147"/>
                <a:gd name="T16" fmla="*/ 13 w 41"/>
                <a:gd name="T17" fmla="*/ 74 h 147"/>
                <a:gd name="T18" fmla="*/ 8 w 41"/>
                <a:gd name="T19" fmla="*/ 74 h 147"/>
                <a:gd name="T20" fmla="*/ 33 w 41"/>
                <a:gd name="T21" fmla="*/ 63 h 147"/>
                <a:gd name="T22" fmla="*/ 28 w 41"/>
                <a:gd name="T23" fmla="*/ 63 h 147"/>
                <a:gd name="T24" fmla="*/ 23 w 41"/>
                <a:gd name="T25" fmla="*/ 63 h 147"/>
                <a:gd name="T26" fmla="*/ 17 w 41"/>
                <a:gd name="T27" fmla="*/ 63 h 147"/>
                <a:gd name="T28" fmla="*/ 13 w 41"/>
                <a:gd name="T29" fmla="*/ 63 h 147"/>
                <a:gd name="T30" fmla="*/ 8 w 41"/>
                <a:gd name="T31" fmla="*/ 63 h 147"/>
                <a:gd name="T32" fmla="*/ 33 w 41"/>
                <a:gd name="T33" fmla="*/ 52 h 147"/>
                <a:gd name="T34" fmla="*/ 28 w 41"/>
                <a:gd name="T35" fmla="*/ 52 h 147"/>
                <a:gd name="T36" fmla="*/ 23 w 41"/>
                <a:gd name="T37" fmla="*/ 52 h 147"/>
                <a:gd name="T38" fmla="*/ 17 w 41"/>
                <a:gd name="T39" fmla="*/ 52 h 147"/>
                <a:gd name="T40" fmla="*/ 13 w 41"/>
                <a:gd name="T41" fmla="*/ 52 h 147"/>
                <a:gd name="T42" fmla="*/ 8 w 41"/>
                <a:gd name="T43" fmla="*/ 52 h 147"/>
                <a:gd name="T44" fmla="*/ 33 w 41"/>
                <a:gd name="T45" fmla="*/ 42 h 147"/>
                <a:gd name="T46" fmla="*/ 28 w 41"/>
                <a:gd name="T47" fmla="*/ 42 h 147"/>
                <a:gd name="T48" fmla="*/ 23 w 41"/>
                <a:gd name="T49" fmla="*/ 42 h 147"/>
                <a:gd name="T50" fmla="*/ 17 w 41"/>
                <a:gd name="T51" fmla="*/ 42 h 147"/>
                <a:gd name="T52" fmla="*/ 13 w 41"/>
                <a:gd name="T53" fmla="*/ 42 h 147"/>
                <a:gd name="T54" fmla="*/ 8 w 41"/>
                <a:gd name="T55" fmla="*/ 42 h 147"/>
                <a:gd name="T56" fmla="*/ 33 w 41"/>
                <a:gd name="T57" fmla="*/ 31 h 147"/>
                <a:gd name="T58" fmla="*/ 28 w 41"/>
                <a:gd name="T59" fmla="*/ 31 h 147"/>
                <a:gd name="T60" fmla="*/ 23 w 41"/>
                <a:gd name="T61" fmla="*/ 31 h 147"/>
                <a:gd name="T62" fmla="*/ 17 w 41"/>
                <a:gd name="T63" fmla="*/ 31 h 147"/>
                <a:gd name="T64" fmla="*/ 13 w 41"/>
                <a:gd name="T65" fmla="*/ 31 h 147"/>
                <a:gd name="T66" fmla="*/ 8 w 41"/>
                <a:gd name="T67" fmla="*/ 31 h 147"/>
                <a:gd name="T68" fmla="*/ 33 w 41"/>
                <a:gd name="T69" fmla="*/ 20 h 147"/>
                <a:gd name="T70" fmla="*/ 28 w 41"/>
                <a:gd name="T71" fmla="*/ 20 h 147"/>
                <a:gd name="T72" fmla="*/ 23 w 41"/>
                <a:gd name="T73" fmla="*/ 20 h 147"/>
                <a:gd name="T74" fmla="*/ 17 w 41"/>
                <a:gd name="T75" fmla="*/ 20 h 147"/>
                <a:gd name="T76" fmla="*/ 13 w 41"/>
                <a:gd name="T77" fmla="*/ 20 h 147"/>
                <a:gd name="T78" fmla="*/ 8 w 41"/>
                <a:gd name="T79" fmla="*/ 20 h 147"/>
                <a:gd name="T80" fmla="*/ 33 w 41"/>
                <a:gd name="T81" fmla="*/ 9 h 147"/>
                <a:gd name="T82" fmla="*/ 28 w 41"/>
                <a:gd name="T83" fmla="*/ 9 h 147"/>
                <a:gd name="T84" fmla="*/ 23 w 41"/>
                <a:gd name="T85" fmla="*/ 9 h 147"/>
                <a:gd name="T86" fmla="*/ 17 w 41"/>
                <a:gd name="T87" fmla="*/ 9 h 147"/>
                <a:gd name="T88" fmla="*/ 13 w 41"/>
                <a:gd name="T89" fmla="*/ 9 h 147"/>
                <a:gd name="T90" fmla="*/ 8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9" y="147"/>
                  </a:cubicBezTo>
                  <a:cubicBezTo>
                    <a:pt x="32" y="147"/>
                    <a:pt x="32" y="147"/>
                    <a:pt x="32" y="147"/>
                  </a:cubicBezTo>
                  <a:cubicBezTo>
                    <a:pt x="37" y="147"/>
                    <a:pt x="41" y="143"/>
                    <a:pt x="41" y="137"/>
                  </a:cubicBezTo>
                  <a:cubicBezTo>
                    <a:pt x="41" y="10"/>
                    <a:pt x="41" y="10"/>
                    <a:pt x="41" y="10"/>
                  </a:cubicBezTo>
                  <a:cubicBezTo>
                    <a:pt x="41" y="4"/>
                    <a:pt x="37" y="0"/>
                    <a:pt x="32" y="0"/>
                  </a:cubicBezTo>
                  <a:cubicBezTo>
                    <a:pt x="9" y="0"/>
                    <a:pt x="9" y="0"/>
                    <a:pt x="9" y="0"/>
                  </a:cubicBezTo>
                  <a:cubicBezTo>
                    <a:pt x="4" y="0"/>
                    <a:pt x="0" y="4"/>
                    <a:pt x="0" y="10"/>
                  </a:cubicBezTo>
                  <a:close/>
                  <a:moveTo>
                    <a:pt x="28" y="127"/>
                  </a:moveTo>
                  <a:cubicBezTo>
                    <a:pt x="28" y="131"/>
                    <a:pt x="25" y="134"/>
                    <a:pt x="21" y="134"/>
                  </a:cubicBezTo>
                  <a:cubicBezTo>
                    <a:pt x="16" y="134"/>
                    <a:pt x="13" y="131"/>
                    <a:pt x="13" y="127"/>
                  </a:cubicBezTo>
                  <a:cubicBezTo>
                    <a:pt x="13" y="123"/>
                    <a:pt x="16" y="119"/>
                    <a:pt x="21" y="119"/>
                  </a:cubicBezTo>
                  <a:cubicBezTo>
                    <a:pt x="25" y="119"/>
                    <a:pt x="28" y="123"/>
                    <a:pt x="28" y="127"/>
                  </a:cubicBezTo>
                  <a:close/>
                  <a:moveTo>
                    <a:pt x="33" y="74"/>
                  </a:moveTo>
                  <a:cubicBezTo>
                    <a:pt x="33" y="80"/>
                    <a:pt x="33" y="80"/>
                    <a:pt x="33" y="80"/>
                  </a:cubicBezTo>
                  <a:cubicBezTo>
                    <a:pt x="28" y="80"/>
                    <a:pt x="28" y="80"/>
                    <a:pt x="28" y="80"/>
                  </a:cubicBezTo>
                  <a:cubicBezTo>
                    <a:pt x="28" y="74"/>
                    <a:pt x="28" y="74"/>
                    <a:pt x="28"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8" y="80"/>
                    <a:pt x="8" y="80"/>
                    <a:pt x="8" y="80"/>
                  </a:cubicBezTo>
                  <a:cubicBezTo>
                    <a:pt x="8" y="74"/>
                    <a:pt x="8" y="74"/>
                    <a:pt x="8" y="74"/>
                  </a:cubicBezTo>
                  <a:cubicBezTo>
                    <a:pt x="13" y="74"/>
                    <a:pt x="13" y="74"/>
                    <a:pt x="13" y="74"/>
                  </a:cubicBezTo>
                  <a:cubicBezTo>
                    <a:pt x="13" y="74"/>
                    <a:pt x="13" y="74"/>
                    <a:pt x="13" y="74"/>
                  </a:cubicBezTo>
                  <a:close/>
                  <a:moveTo>
                    <a:pt x="33" y="63"/>
                  </a:moveTo>
                  <a:cubicBezTo>
                    <a:pt x="33" y="69"/>
                    <a:pt x="33" y="69"/>
                    <a:pt x="33" y="69"/>
                  </a:cubicBezTo>
                  <a:cubicBezTo>
                    <a:pt x="28" y="69"/>
                    <a:pt x="28" y="69"/>
                    <a:pt x="28" y="69"/>
                  </a:cubicBezTo>
                  <a:cubicBezTo>
                    <a:pt x="28" y="63"/>
                    <a:pt x="28" y="63"/>
                    <a:pt x="28"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8" y="69"/>
                    <a:pt x="8" y="69"/>
                    <a:pt x="8" y="69"/>
                  </a:cubicBezTo>
                  <a:cubicBezTo>
                    <a:pt x="8" y="63"/>
                    <a:pt x="8" y="63"/>
                    <a:pt x="8" y="63"/>
                  </a:cubicBezTo>
                  <a:cubicBezTo>
                    <a:pt x="13" y="63"/>
                    <a:pt x="13" y="63"/>
                    <a:pt x="13" y="63"/>
                  </a:cubicBezTo>
                  <a:cubicBezTo>
                    <a:pt x="13" y="63"/>
                    <a:pt x="13" y="63"/>
                    <a:pt x="13" y="63"/>
                  </a:cubicBezTo>
                  <a:close/>
                  <a:moveTo>
                    <a:pt x="33" y="52"/>
                  </a:moveTo>
                  <a:cubicBezTo>
                    <a:pt x="33" y="58"/>
                    <a:pt x="33" y="58"/>
                    <a:pt x="33" y="58"/>
                  </a:cubicBezTo>
                  <a:cubicBezTo>
                    <a:pt x="28" y="58"/>
                    <a:pt x="28" y="58"/>
                    <a:pt x="28" y="58"/>
                  </a:cubicBezTo>
                  <a:cubicBezTo>
                    <a:pt x="28" y="52"/>
                    <a:pt x="28" y="52"/>
                    <a:pt x="28"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8" y="58"/>
                    <a:pt x="8" y="58"/>
                    <a:pt x="8" y="58"/>
                  </a:cubicBezTo>
                  <a:cubicBezTo>
                    <a:pt x="8" y="52"/>
                    <a:pt x="8" y="52"/>
                    <a:pt x="8" y="52"/>
                  </a:cubicBezTo>
                  <a:cubicBezTo>
                    <a:pt x="13" y="52"/>
                    <a:pt x="13" y="52"/>
                    <a:pt x="13" y="52"/>
                  </a:cubicBezTo>
                  <a:cubicBezTo>
                    <a:pt x="13" y="52"/>
                    <a:pt x="13" y="52"/>
                    <a:pt x="13" y="52"/>
                  </a:cubicBezTo>
                  <a:close/>
                  <a:moveTo>
                    <a:pt x="33" y="42"/>
                  </a:moveTo>
                  <a:cubicBezTo>
                    <a:pt x="33" y="47"/>
                    <a:pt x="33" y="47"/>
                    <a:pt x="33" y="47"/>
                  </a:cubicBezTo>
                  <a:cubicBezTo>
                    <a:pt x="28" y="47"/>
                    <a:pt x="28" y="47"/>
                    <a:pt x="28" y="47"/>
                  </a:cubicBezTo>
                  <a:cubicBezTo>
                    <a:pt x="28" y="42"/>
                    <a:pt x="28" y="42"/>
                    <a:pt x="28"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8" y="47"/>
                    <a:pt x="8" y="47"/>
                    <a:pt x="8" y="47"/>
                  </a:cubicBezTo>
                  <a:cubicBezTo>
                    <a:pt x="8" y="42"/>
                    <a:pt x="8" y="42"/>
                    <a:pt x="8" y="42"/>
                  </a:cubicBezTo>
                  <a:cubicBezTo>
                    <a:pt x="13" y="42"/>
                    <a:pt x="13" y="42"/>
                    <a:pt x="13" y="42"/>
                  </a:cubicBezTo>
                  <a:cubicBezTo>
                    <a:pt x="13" y="42"/>
                    <a:pt x="13" y="42"/>
                    <a:pt x="13" y="42"/>
                  </a:cubicBezTo>
                  <a:close/>
                  <a:moveTo>
                    <a:pt x="33" y="31"/>
                  </a:moveTo>
                  <a:cubicBezTo>
                    <a:pt x="33" y="37"/>
                    <a:pt x="33" y="37"/>
                    <a:pt x="33" y="37"/>
                  </a:cubicBezTo>
                  <a:cubicBezTo>
                    <a:pt x="28" y="37"/>
                    <a:pt x="28" y="37"/>
                    <a:pt x="28" y="37"/>
                  </a:cubicBezTo>
                  <a:cubicBezTo>
                    <a:pt x="28" y="31"/>
                    <a:pt x="28" y="31"/>
                    <a:pt x="28"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8" y="37"/>
                    <a:pt x="8" y="37"/>
                    <a:pt x="8" y="37"/>
                  </a:cubicBezTo>
                  <a:cubicBezTo>
                    <a:pt x="8" y="31"/>
                    <a:pt x="8" y="31"/>
                    <a:pt x="8" y="31"/>
                  </a:cubicBezTo>
                  <a:cubicBezTo>
                    <a:pt x="13" y="31"/>
                    <a:pt x="13" y="31"/>
                    <a:pt x="13" y="31"/>
                  </a:cubicBezTo>
                  <a:cubicBezTo>
                    <a:pt x="13" y="31"/>
                    <a:pt x="13" y="31"/>
                    <a:pt x="13" y="31"/>
                  </a:cubicBezTo>
                  <a:close/>
                  <a:moveTo>
                    <a:pt x="33" y="20"/>
                  </a:moveTo>
                  <a:cubicBezTo>
                    <a:pt x="33" y="26"/>
                    <a:pt x="33" y="26"/>
                    <a:pt x="33" y="26"/>
                  </a:cubicBezTo>
                  <a:cubicBezTo>
                    <a:pt x="28" y="26"/>
                    <a:pt x="28" y="26"/>
                    <a:pt x="28" y="26"/>
                  </a:cubicBezTo>
                  <a:cubicBezTo>
                    <a:pt x="28" y="20"/>
                    <a:pt x="28" y="20"/>
                    <a:pt x="28"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8" y="26"/>
                    <a:pt x="8" y="26"/>
                    <a:pt x="8" y="26"/>
                  </a:cubicBezTo>
                  <a:cubicBezTo>
                    <a:pt x="8" y="20"/>
                    <a:pt x="8" y="20"/>
                    <a:pt x="8" y="20"/>
                  </a:cubicBezTo>
                  <a:cubicBezTo>
                    <a:pt x="13" y="20"/>
                    <a:pt x="13" y="20"/>
                    <a:pt x="13" y="20"/>
                  </a:cubicBezTo>
                  <a:cubicBezTo>
                    <a:pt x="13" y="20"/>
                    <a:pt x="13" y="20"/>
                    <a:pt x="13" y="20"/>
                  </a:cubicBezTo>
                  <a:close/>
                  <a:moveTo>
                    <a:pt x="33" y="9"/>
                  </a:moveTo>
                  <a:cubicBezTo>
                    <a:pt x="33" y="15"/>
                    <a:pt x="33" y="15"/>
                    <a:pt x="33" y="15"/>
                  </a:cubicBezTo>
                  <a:cubicBezTo>
                    <a:pt x="28" y="15"/>
                    <a:pt x="28" y="15"/>
                    <a:pt x="28" y="15"/>
                  </a:cubicBezTo>
                  <a:cubicBezTo>
                    <a:pt x="28" y="9"/>
                    <a:pt x="28" y="9"/>
                    <a:pt x="28"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8" y="15"/>
                    <a:pt x="8" y="15"/>
                    <a:pt x="8" y="15"/>
                  </a:cubicBezTo>
                  <a:cubicBezTo>
                    <a:pt x="8" y="9"/>
                    <a:pt x="8" y="9"/>
                    <a:pt x="8"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75" name="Freeform 2131"/>
            <p:cNvSpPr>
              <a:spLocks noEditPoints="1"/>
            </p:cNvSpPr>
            <p:nvPr/>
          </p:nvSpPr>
          <p:spPr bwMode="auto">
            <a:xfrm>
              <a:off x="17548225" y="3097213"/>
              <a:ext cx="149225" cy="552450"/>
            </a:xfrm>
            <a:custGeom>
              <a:avLst/>
              <a:gdLst>
                <a:gd name="T0" fmla="*/ 9 w 40"/>
                <a:gd name="T1" fmla="*/ 147 h 147"/>
                <a:gd name="T2" fmla="*/ 40 w 40"/>
                <a:gd name="T3" fmla="*/ 10 h 147"/>
                <a:gd name="T4" fmla="*/ 0 w 40"/>
                <a:gd name="T5" fmla="*/ 10 h 147"/>
                <a:gd name="T6" fmla="*/ 13 w 40"/>
                <a:gd name="T7" fmla="*/ 127 h 147"/>
                <a:gd name="T8" fmla="*/ 33 w 40"/>
                <a:gd name="T9" fmla="*/ 74 h 147"/>
                <a:gd name="T10" fmla="*/ 27 w 40"/>
                <a:gd name="T11" fmla="*/ 74 h 147"/>
                <a:gd name="T12" fmla="*/ 23 w 40"/>
                <a:gd name="T13" fmla="*/ 74 h 147"/>
                <a:gd name="T14" fmla="*/ 17 w 40"/>
                <a:gd name="T15" fmla="*/ 74 h 147"/>
                <a:gd name="T16" fmla="*/ 13 w 40"/>
                <a:gd name="T17" fmla="*/ 74 h 147"/>
                <a:gd name="T18" fmla="*/ 7 w 40"/>
                <a:gd name="T19" fmla="*/ 74 h 147"/>
                <a:gd name="T20" fmla="*/ 33 w 40"/>
                <a:gd name="T21" fmla="*/ 63 h 147"/>
                <a:gd name="T22" fmla="*/ 27 w 40"/>
                <a:gd name="T23" fmla="*/ 63 h 147"/>
                <a:gd name="T24" fmla="*/ 23 w 40"/>
                <a:gd name="T25" fmla="*/ 63 h 147"/>
                <a:gd name="T26" fmla="*/ 17 w 40"/>
                <a:gd name="T27" fmla="*/ 63 h 147"/>
                <a:gd name="T28" fmla="*/ 13 w 40"/>
                <a:gd name="T29" fmla="*/ 63 h 147"/>
                <a:gd name="T30" fmla="*/ 7 w 40"/>
                <a:gd name="T31" fmla="*/ 63 h 147"/>
                <a:gd name="T32" fmla="*/ 33 w 40"/>
                <a:gd name="T33" fmla="*/ 52 h 147"/>
                <a:gd name="T34" fmla="*/ 27 w 40"/>
                <a:gd name="T35" fmla="*/ 52 h 147"/>
                <a:gd name="T36" fmla="*/ 23 w 40"/>
                <a:gd name="T37" fmla="*/ 52 h 147"/>
                <a:gd name="T38" fmla="*/ 17 w 40"/>
                <a:gd name="T39" fmla="*/ 52 h 147"/>
                <a:gd name="T40" fmla="*/ 13 w 40"/>
                <a:gd name="T41" fmla="*/ 52 h 147"/>
                <a:gd name="T42" fmla="*/ 7 w 40"/>
                <a:gd name="T43" fmla="*/ 52 h 147"/>
                <a:gd name="T44" fmla="*/ 33 w 40"/>
                <a:gd name="T45" fmla="*/ 42 h 147"/>
                <a:gd name="T46" fmla="*/ 27 w 40"/>
                <a:gd name="T47" fmla="*/ 42 h 147"/>
                <a:gd name="T48" fmla="*/ 23 w 40"/>
                <a:gd name="T49" fmla="*/ 42 h 147"/>
                <a:gd name="T50" fmla="*/ 17 w 40"/>
                <a:gd name="T51" fmla="*/ 42 h 147"/>
                <a:gd name="T52" fmla="*/ 13 w 40"/>
                <a:gd name="T53" fmla="*/ 42 h 147"/>
                <a:gd name="T54" fmla="*/ 7 w 40"/>
                <a:gd name="T55" fmla="*/ 42 h 147"/>
                <a:gd name="T56" fmla="*/ 33 w 40"/>
                <a:gd name="T57" fmla="*/ 31 h 147"/>
                <a:gd name="T58" fmla="*/ 27 w 40"/>
                <a:gd name="T59" fmla="*/ 31 h 147"/>
                <a:gd name="T60" fmla="*/ 23 w 40"/>
                <a:gd name="T61" fmla="*/ 31 h 147"/>
                <a:gd name="T62" fmla="*/ 17 w 40"/>
                <a:gd name="T63" fmla="*/ 31 h 147"/>
                <a:gd name="T64" fmla="*/ 13 w 40"/>
                <a:gd name="T65" fmla="*/ 31 h 147"/>
                <a:gd name="T66" fmla="*/ 7 w 40"/>
                <a:gd name="T67" fmla="*/ 31 h 147"/>
                <a:gd name="T68" fmla="*/ 33 w 40"/>
                <a:gd name="T69" fmla="*/ 20 h 147"/>
                <a:gd name="T70" fmla="*/ 27 w 40"/>
                <a:gd name="T71" fmla="*/ 20 h 147"/>
                <a:gd name="T72" fmla="*/ 23 w 40"/>
                <a:gd name="T73" fmla="*/ 20 h 147"/>
                <a:gd name="T74" fmla="*/ 17 w 40"/>
                <a:gd name="T75" fmla="*/ 20 h 147"/>
                <a:gd name="T76" fmla="*/ 13 w 40"/>
                <a:gd name="T77" fmla="*/ 20 h 147"/>
                <a:gd name="T78" fmla="*/ 7 w 40"/>
                <a:gd name="T79" fmla="*/ 20 h 147"/>
                <a:gd name="T80" fmla="*/ 33 w 40"/>
                <a:gd name="T81" fmla="*/ 9 h 147"/>
                <a:gd name="T82" fmla="*/ 27 w 40"/>
                <a:gd name="T83" fmla="*/ 9 h 147"/>
                <a:gd name="T84" fmla="*/ 23 w 40"/>
                <a:gd name="T85" fmla="*/ 9 h 147"/>
                <a:gd name="T86" fmla="*/ 17 w 40"/>
                <a:gd name="T87" fmla="*/ 9 h 147"/>
                <a:gd name="T88" fmla="*/ 13 w 40"/>
                <a:gd name="T89" fmla="*/ 9 h 147"/>
                <a:gd name="T90" fmla="*/ 7 w 40"/>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 h="147">
                  <a:moveTo>
                    <a:pt x="0" y="10"/>
                  </a:moveTo>
                  <a:cubicBezTo>
                    <a:pt x="0" y="137"/>
                    <a:pt x="0" y="137"/>
                    <a:pt x="0" y="137"/>
                  </a:cubicBezTo>
                  <a:cubicBezTo>
                    <a:pt x="0" y="143"/>
                    <a:pt x="4" y="147"/>
                    <a:pt x="9" y="147"/>
                  </a:cubicBezTo>
                  <a:cubicBezTo>
                    <a:pt x="31" y="147"/>
                    <a:pt x="31" y="147"/>
                    <a:pt x="31" y="147"/>
                  </a:cubicBezTo>
                  <a:cubicBezTo>
                    <a:pt x="36" y="147"/>
                    <a:pt x="40" y="143"/>
                    <a:pt x="40" y="137"/>
                  </a:cubicBezTo>
                  <a:cubicBezTo>
                    <a:pt x="40" y="10"/>
                    <a:pt x="40" y="10"/>
                    <a:pt x="40" y="10"/>
                  </a:cubicBezTo>
                  <a:cubicBezTo>
                    <a:pt x="40" y="4"/>
                    <a:pt x="36" y="0"/>
                    <a:pt x="31" y="0"/>
                  </a:cubicBezTo>
                  <a:cubicBezTo>
                    <a:pt x="9" y="0"/>
                    <a:pt x="9" y="0"/>
                    <a:pt x="9" y="0"/>
                  </a:cubicBezTo>
                  <a:cubicBezTo>
                    <a:pt x="4" y="0"/>
                    <a:pt x="0" y="4"/>
                    <a:pt x="0" y="10"/>
                  </a:cubicBezTo>
                  <a:close/>
                  <a:moveTo>
                    <a:pt x="27" y="127"/>
                  </a:moveTo>
                  <a:cubicBezTo>
                    <a:pt x="27" y="131"/>
                    <a:pt x="24" y="134"/>
                    <a:pt x="20" y="134"/>
                  </a:cubicBezTo>
                  <a:cubicBezTo>
                    <a:pt x="16" y="134"/>
                    <a:pt x="13" y="131"/>
                    <a:pt x="13" y="127"/>
                  </a:cubicBezTo>
                  <a:cubicBezTo>
                    <a:pt x="13" y="123"/>
                    <a:pt x="16" y="119"/>
                    <a:pt x="20" y="119"/>
                  </a:cubicBezTo>
                  <a:cubicBezTo>
                    <a:pt x="24" y="119"/>
                    <a:pt x="27" y="123"/>
                    <a:pt x="27" y="127"/>
                  </a:cubicBezTo>
                  <a:close/>
                  <a:moveTo>
                    <a:pt x="33" y="74"/>
                  </a:moveTo>
                  <a:cubicBezTo>
                    <a:pt x="33" y="80"/>
                    <a:pt x="33" y="80"/>
                    <a:pt x="33" y="80"/>
                  </a:cubicBezTo>
                  <a:cubicBezTo>
                    <a:pt x="27" y="80"/>
                    <a:pt x="27" y="80"/>
                    <a:pt x="27" y="80"/>
                  </a:cubicBezTo>
                  <a:cubicBezTo>
                    <a:pt x="27" y="74"/>
                    <a:pt x="27" y="74"/>
                    <a:pt x="27"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2"/>
                  </a:moveTo>
                  <a:cubicBezTo>
                    <a:pt x="33" y="47"/>
                    <a:pt x="33" y="47"/>
                    <a:pt x="33" y="47"/>
                  </a:cubicBezTo>
                  <a:cubicBezTo>
                    <a:pt x="27" y="47"/>
                    <a:pt x="27" y="47"/>
                    <a:pt x="27" y="47"/>
                  </a:cubicBezTo>
                  <a:cubicBezTo>
                    <a:pt x="27" y="42"/>
                    <a:pt x="27" y="42"/>
                    <a:pt x="27"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7" y="47"/>
                    <a:pt x="7" y="47"/>
                    <a:pt x="7" y="47"/>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7" y="37"/>
                    <a:pt x="27" y="37"/>
                    <a:pt x="27" y="37"/>
                  </a:cubicBezTo>
                  <a:cubicBezTo>
                    <a:pt x="27" y="31"/>
                    <a:pt x="27" y="31"/>
                    <a:pt x="27"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76" name="Freeform 2132"/>
            <p:cNvSpPr>
              <a:spLocks noEditPoints="1"/>
            </p:cNvSpPr>
            <p:nvPr/>
          </p:nvSpPr>
          <p:spPr bwMode="auto">
            <a:xfrm>
              <a:off x="17765713" y="3097213"/>
              <a:ext cx="153988" cy="552450"/>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7 w 41"/>
                <a:gd name="T11" fmla="*/ 74 h 147"/>
                <a:gd name="T12" fmla="*/ 23 w 41"/>
                <a:gd name="T13" fmla="*/ 74 h 147"/>
                <a:gd name="T14" fmla="*/ 17 w 41"/>
                <a:gd name="T15" fmla="*/ 74 h 147"/>
                <a:gd name="T16" fmla="*/ 13 w 41"/>
                <a:gd name="T17" fmla="*/ 74 h 147"/>
                <a:gd name="T18" fmla="*/ 7 w 41"/>
                <a:gd name="T19" fmla="*/ 74 h 147"/>
                <a:gd name="T20" fmla="*/ 33 w 41"/>
                <a:gd name="T21" fmla="*/ 63 h 147"/>
                <a:gd name="T22" fmla="*/ 27 w 41"/>
                <a:gd name="T23" fmla="*/ 63 h 147"/>
                <a:gd name="T24" fmla="*/ 23 w 41"/>
                <a:gd name="T25" fmla="*/ 63 h 147"/>
                <a:gd name="T26" fmla="*/ 17 w 41"/>
                <a:gd name="T27" fmla="*/ 63 h 147"/>
                <a:gd name="T28" fmla="*/ 13 w 41"/>
                <a:gd name="T29" fmla="*/ 63 h 147"/>
                <a:gd name="T30" fmla="*/ 7 w 41"/>
                <a:gd name="T31" fmla="*/ 63 h 147"/>
                <a:gd name="T32" fmla="*/ 33 w 41"/>
                <a:gd name="T33" fmla="*/ 52 h 147"/>
                <a:gd name="T34" fmla="*/ 27 w 41"/>
                <a:gd name="T35" fmla="*/ 52 h 147"/>
                <a:gd name="T36" fmla="*/ 23 w 41"/>
                <a:gd name="T37" fmla="*/ 52 h 147"/>
                <a:gd name="T38" fmla="*/ 17 w 41"/>
                <a:gd name="T39" fmla="*/ 52 h 147"/>
                <a:gd name="T40" fmla="*/ 13 w 41"/>
                <a:gd name="T41" fmla="*/ 52 h 147"/>
                <a:gd name="T42" fmla="*/ 7 w 41"/>
                <a:gd name="T43" fmla="*/ 52 h 147"/>
                <a:gd name="T44" fmla="*/ 33 w 41"/>
                <a:gd name="T45" fmla="*/ 42 h 147"/>
                <a:gd name="T46" fmla="*/ 27 w 41"/>
                <a:gd name="T47" fmla="*/ 42 h 147"/>
                <a:gd name="T48" fmla="*/ 23 w 41"/>
                <a:gd name="T49" fmla="*/ 42 h 147"/>
                <a:gd name="T50" fmla="*/ 17 w 41"/>
                <a:gd name="T51" fmla="*/ 42 h 147"/>
                <a:gd name="T52" fmla="*/ 13 w 41"/>
                <a:gd name="T53" fmla="*/ 42 h 147"/>
                <a:gd name="T54" fmla="*/ 7 w 41"/>
                <a:gd name="T55" fmla="*/ 42 h 147"/>
                <a:gd name="T56" fmla="*/ 33 w 41"/>
                <a:gd name="T57" fmla="*/ 31 h 147"/>
                <a:gd name="T58" fmla="*/ 27 w 41"/>
                <a:gd name="T59" fmla="*/ 31 h 147"/>
                <a:gd name="T60" fmla="*/ 23 w 41"/>
                <a:gd name="T61" fmla="*/ 31 h 147"/>
                <a:gd name="T62" fmla="*/ 17 w 41"/>
                <a:gd name="T63" fmla="*/ 31 h 147"/>
                <a:gd name="T64" fmla="*/ 13 w 41"/>
                <a:gd name="T65" fmla="*/ 31 h 147"/>
                <a:gd name="T66" fmla="*/ 7 w 41"/>
                <a:gd name="T67" fmla="*/ 31 h 147"/>
                <a:gd name="T68" fmla="*/ 33 w 41"/>
                <a:gd name="T69" fmla="*/ 20 h 147"/>
                <a:gd name="T70" fmla="*/ 27 w 41"/>
                <a:gd name="T71" fmla="*/ 20 h 147"/>
                <a:gd name="T72" fmla="*/ 23 w 41"/>
                <a:gd name="T73" fmla="*/ 20 h 147"/>
                <a:gd name="T74" fmla="*/ 17 w 41"/>
                <a:gd name="T75" fmla="*/ 20 h 147"/>
                <a:gd name="T76" fmla="*/ 13 w 41"/>
                <a:gd name="T77" fmla="*/ 20 h 147"/>
                <a:gd name="T78" fmla="*/ 7 w 41"/>
                <a:gd name="T79" fmla="*/ 20 h 147"/>
                <a:gd name="T80" fmla="*/ 33 w 41"/>
                <a:gd name="T81" fmla="*/ 9 h 147"/>
                <a:gd name="T82" fmla="*/ 27 w 41"/>
                <a:gd name="T83" fmla="*/ 9 h 147"/>
                <a:gd name="T84" fmla="*/ 23 w 41"/>
                <a:gd name="T85" fmla="*/ 9 h 147"/>
                <a:gd name="T86" fmla="*/ 17 w 41"/>
                <a:gd name="T87" fmla="*/ 9 h 147"/>
                <a:gd name="T88" fmla="*/ 13 w 41"/>
                <a:gd name="T89" fmla="*/ 9 h 147"/>
                <a:gd name="T90" fmla="*/ 7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9" y="147"/>
                  </a:cubicBezTo>
                  <a:cubicBezTo>
                    <a:pt x="31" y="147"/>
                    <a:pt x="31" y="147"/>
                    <a:pt x="31" y="147"/>
                  </a:cubicBezTo>
                  <a:cubicBezTo>
                    <a:pt x="36" y="147"/>
                    <a:pt x="41" y="143"/>
                    <a:pt x="41" y="137"/>
                  </a:cubicBezTo>
                  <a:cubicBezTo>
                    <a:pt x="41" y="10"/>
                    <a:pt x="41" y="10"/>
                    <a:pt x="41" y="10"/>
                  </a:cubicBezTo>
                  <a:cubicBezTo>
                    <a:pt x="41" y="4"/>
                    <a:pt x="36" y="0"/>
                    <a:pt x="31" y="0"/>
                  </a:cubicBezTo>
                  <a:cubicBezTo>
                    <a:pt x="9" y="0"/>
                    <a:pt x="9" y="0"/>
                    <a:pt x="9" y="0"/>
                  </a:cubicBezTo>
                  <a:cubicBezTo>
                    <a:pt x="4" y="0"/>
                    <a:pt x="0" y="4"/>
                    <a:pt x="0" y="10"/>
                  </a:cubicBezTo>
                  <a:close/>
                  <a:moveTo>
                    <a:pt x="28" y="127"/>
                  </a:moveTo>
                  <a:cubicBezTo>
                    <a:pt x="28" y="131"/>
                    <a:pt x="24" y="134"/>
                    <a:pt x="20" y="134"/>
                  </a:cubicBezTo>
                  <a:cubicBezTo>
                    <a:pt x="16" y="134"/>
                    <a:pt x="13" y="131"/>
                    <a:pt x="13" y="127"/>
                  </a:cubicBezTo>
                  <a:cubicBezTo>
                    <a:pt x="13" y="123"/>
                    <a:pt x="16" y="119"/>
                    <a:pt x="20" y="119"/>
                  </a:cubicBezTo>
                  <a:cubicBezTo>
                    <a:pt x="24" y="119"/>
                    <a:pt x="28" y="123"/>
                    <a:pt x="28" y="127"/>
                  </a:cubicBezTo>
                  <a:close/>
                  <a:moveTo>
                    <a:pt x="33" y="74"/>
                  </a:moveTo>
                  <a:cubicBezTo>
                    <a:pt x="33" y="80"/>
                    <a:pt x="33" y="80"/>
                    <a:pt x="33" y="80"/>
                  </a:cubicBezTo>
                  <a:cubicBezTo>
                    <a:pt x="27" y="80"/>
                    <a:pt x="27" y="80"/>
                    <a:pt x="27" y="80"/>
                  </a:cubicBezTo>
                  <a:cubicBezTo>
                    <a:pt x="27" y="74"/>
                    <a:pt x="27" y="74"/>
                    <a:pt x="27"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2"/>
                  </a:moveTo>
                  <a:cubicBezTo>
                    <a:pt x="33" y="47"/>
                    <a:pt x="33" y="47"/>
                    <a:pt x="33" y="47"/>
                  </a:cubicBezTo>
                  <a:cubicBezTo>
                    <a:pt x="27" y="47"/>
                    <a:pt x="27" y="47"/>
                    <a:pt x="27" y="47"/>
                  </a:cubicBezTo>
                  <a:cubicBezTo>
                    <a:pt x="27" y="42"/>
                    <a:pt x="27" y="42"/>
                    <a:pt x="27"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7" y="47"/>
                    <a:pt x="7" y="47"/>
                    <a:pt x="7" y="47"/>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7" y="37"/>
                    <a:pt x="27" y="37"/>
                    <a:pt x="27" y="37"/>
                  </a:cubicBezTo>
                  <a:cubicBezTo>
                    <a:pt x="27" y="31"/>
                    <a:pt x="27" y="31"/>
                    <a:pt x="27"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77" name="Freeform 2133"/>
            <p:cNvSpPr>
              <a:spLocks noEditPoints="1"/>
            </p:cNvSpPr>
            <p:nvPr/>
          </p:nvSpPr>
          <p:spPr bwMode="auto">
            <a:xfrm>
              <a:off x="17983200" y="3097213"/>
              <a:ext cx="153988" cy="552450"/>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8 w 41"/>
                <a:gd name="T11" fmla="*/ 74 h 147"/>
                <a:gd name="T12" fmla="*/ 23 w 41"/>
                <a:gd name="T13" fmla="*/ 74 h 147"/>
                <a:gd name="T14" fmla="*/ 17 w 41"/>
                <a:gd name="T15" fmla="*/ 74 h 147"/>
                <a:gd name="T16" fmla="*/ 13 w 41"/>
                <a:gd name="T17" fmla="*/ 74 h 147"/>
                <a:gd name="T18" fmla="*/ 7 w 41"/>
                <a:gd name="T19" fmla="*/ 74 h 147"/>
                <a:gd name="T20" fmla="*/ 33 w 41"/>
                <a:gd name="T21" fmla="*/ 63 h 147"/>
                <a:gd name="T22" fmla="*/ 28 w 41"/>
                <a:gd name="T23" fmla="*/ 63 h 147"/>
                <a:gd name="T24" fmla="*/ 23 w 41"/>
                <a:gd name="T25" fmla="*/ 63 h 147"/>
                <a:gd name="T26" fmla="*/ 17 w 41"/>
                <a:gd name="T27" fmla="*/ 63 h 147"/>
                <a:gd name="T28" fmla="*/ 13 w 41"/>
                <a:gd name="T29" fmla="*/ 63 h 147"/>
                <a:gd name="T30" fmla="*/ 7 w 41"/>
                <a:gd name="T31" fmla="*/ 63 h 147"/>
                <a:gd name="T32" fmla="*/ 33 w 41"/>
                <a:gd name="T33" fmla="*/ 52 h 147"/>
                <a:gd name="T34" fmla="*/ 28 w 41"/>
                <a:gd name="T35" fmla="*/ 52 h 147"/>
                <a:gd name="T36" fmla="*/ 23 w 41"/>
                <a:gd name="T37" fmla="*/ 52 h 147"/>
                <a:gd name="T38" fmla="*/ 17 w 41"/>
                <a:gd name="T39" fmla="*/ 52 h 147"/>
                <a:gd name="T40" fmla="*/ 13 w 41"/>
                <a:gd name="T41" fmla="*/ 52 h 147"/>
                <a:gd name="T42" fmla="*/ 7 w 41"/>
                <a:gd name="T43" fmla="*/ 52 h 147"/>
                <a:gd name="T44" fmla="*/ 33 w 41"/>
                <a:gd name="T45" fmla="*/ 42 h 147"/>
                <a:gd name="T46" fmla="*/ 28 w 41"/>
                <a:gd name="T47" fmla="*/ 42 h 147"/>
                <a:gd name="T48" fmla="*/ 23 w 41"/>
                <a:gd name="T49" fmla="*/ 42 h 147"/>
                <a:gd name="T50" fmla="*/ 17 w 41"/>
                <a:gd name="T51" fmla="*/ 42 h 147"/>
                <a:gd name="T52" fmla="*/ 13 w 41"/>
                <a:gd name="T53" fmla="*/ 42 h 147"/>
                <a:gd name="T54" fmla="*/ 7 w 41"/>
                <a:gd name="T55" fmla="*/ 42 h 147"/>
                <a:gd name="T56" fmla="*/ 33 w 41"/>
                <a:gd name="T57" fmla="*/ 31 h 147"/>
                <a:gd name="T58" fmla="*/ 28 w 41"/>
                <a:gd name="T59" fmla="*/ 31 h 147"/>
                <a:gd name="T60" fmla="*/ 23 w 41"/>
                <a:gd name="T61" fmla="*/ 31 h 147"/>
                <a:gd name="T62" fmla="*/ 17 w 41"/>
                <a:gd name="T63" fmla="*/ 31 h 147"/>
                <a:gd name="T64" fmla="*/ 13 w 41"/>
                <a:gd name="T65" fmla="*/ 31 h 147"/>
                <a:gd name="T66" fmla="*/ 7 w 41"/>
                <a:gd name="T67" fmla="*/ 31 h 147"/>
                <a:gd name="T68" fmla="*/ 33 w 41"/>
                <a:gd name="T69" fmla="*/ 20 h 147"/>
                <a:gd name="T70" fmla="*/ 28 w 41"/>
                <a:gd name="T71" fmla="*/ 20 h 147"/>
                <a:gd name="T72" fmla="*/ 23 w 41"/>
                <a:gd name="T73" fmla="*/ 20 h 147"/>
                <a:gd name="T74" fmla="*/ 17 w 41"/>
                <a:gd name="T75" fmla="*/ 20 h 147"/>
                <a:gd name="T76" fmla="*/ 13 w 41"/>
                <a:gd name="T77" fmla="*/ 20 h 147"/>
                <a:gd name="T78" fmla="*/ 7 w 41"/>
                <a:gd name="T79" fmla="*/ 20 h 147"/>
                <a:gd name="T80" fmla="*/ 33 w 41"/>
                <a:gd name="T81" fmla="*/ 9 h 147"/>
                <a:gd name="T82" fmla="*/ 28 w 41"/>
                <a:gd name="T83" fmla="*/ 9 h 147"/>
                <a:gd name="T84" fmla="*/ 23 w 41"/>
                <a:gd name="T85" fmla="*/ 9 h 147"/>
                <a:gd name="T86" fmla="*/ 17 w 41"/>
                <a:gd name="T87" fmla="*/ 9 h 147"/>
                <a:gd name="T88" fmla="*/ 13 w 41"/>
                <a:gd name="T89" fmla="*/ 9 h 147"/>
                <a:gd name="T90" fmla="*/ 7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9" y="147"/>
                  </a:cubicBezTo>
                  <a:cubicBezTo>
                    <a:pt x="31" y="147"/>
                    <a:pt x="31" y="147"/>
                    <a:pt x="31" y="147"/>
                  </a:cubicBezTo>
                  <a:cubicBezTo>
                    <a:pt x="37" y="147"/>
                    <a:pt x="41" y="143"/>
                    <a:pt x="41" y="137"/>
                  </a:cubicBezTo>
                  <a:cubicBezTo>
                    <a:pt x="41" y="10"/>
                    <a:pt x="41" y="10"/>
                    <a:pt x="41" y="10"/>
                  </a:cubicBezTo>
                  <a:cubicBezTo>
                    <a:pt x="41" y="4"/>
                    <a:pt x="37" y="0"/>
                    <a:pt x="31" y="0"/>
                  </a:cubicBezTo>
                  <a:cubicBezTo>
                    <a:pt x="9" y="0"/>
                    <a:pt x="9" y="0"/>
                    <a:pt x="9" y="0"/>
                  </a:cubicBezTo>
                  <a:cubicBezTo>
                    <a:pt x="4" y="0"/>
                    <a:pt x="0" y="4"/>
                    <a:pt x="0" y="10"/>
                  </a:cubicBezTo>
                  <a:close/>
                  <a:moveTo>
                    <a:pt x="28" y="127"/>
                  </a:moveTo>
                  <a:cubicBezTo>
                    <a:pt x="28" y="131"/>
                    <a:pt x="25" y="134"/>
                    <a:pt x="20" y="134"/>
                  </a:cubicBezTo>
                  <a:cubicBezTo>
                    <a:pt x="16" y="134"/>
                    <a:pt x="13" y="131"/>
                    <a:pt x="13" y="127"/>
                  </a:cubicBezTo>
                  <a:cubicBezTo>
                    <a:pt x="13" y="123"/>
                    <a:pt x="16" y="119"/>
                    <a:pt x="20" y="119"/>
                  </a:cubicBezTo>
                  <a:cubicBezTo>
                    <a:pt x="25" y="119"/>
                    <a:pt x="28" y="123"/>
                    <a:pt x="28" y="127"/>
                  </a:cubicBezTo>
                  <a:close/>
                  <a:moveTo>
                    <a:pt x="33" y="74"/>
                  </a:moveTo>
                  <a:cubicBezTo>
                    <a:pt x="33" y="80"/>
                    <a:pt x="33" y="80"/>
                    <a:pt x="33" y="80"/>
                  </a:cubicBezTo>
                  <a:cubicBezTo>
                    <a:pt x="28" y="80"/>
                    <a:pt x="28" y="80"/>
                    <a:pt x="28" y="80"/>
                  </a:cubicBezTo>
                  <a:cubicBezTo>
                    <a:pt x="28" y="74"/>
                    <a:pt x="28" y="74"/>
                    <a:pt x="28"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8" y="69"/>
                    <a:pt x="28" y="69"/>
                    <a:pt x="28" y="69"/>
                  </a:cubicBezTo>
                  <a:cubicBezTo>
                    <a:pt x="28" y="63"/>
                    <a:pt x="28" y="63"/>
                    <a:pt x="28"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8" y="58"/>
                    <a:pt x="28" y="58"/>
                    <a:pt x="28" y="58"/>
                  </a:cubicBezTo>
                  <a:cubicBezTo>
                    <a:pt x="28" y="52"/>
                    <a:pt x="28" y="52"/>
                    <a:pt x="28"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2"/>
                  </a:moveTo>
                  <a:cubicBezTo>
                    <a:pt x="33" y="47"/>
                    <a:pt x="33" y="47"/>
                    <a:pt x="33" y="47"/>
                  </a:cubicBezTo>
                  <a:cubicBezTo>
                    <a:pt x="28" y="47"/>
                    <a:pt x="28" y="47"/>
                    <a:pt x="28" y="47"/>
                  </a:cubicBezTo>
                  <a:cubicBezTo>
                    <a:pt x="28" y="42"/>
                    <a:pt x="28" y="42"/>
                    <a:pt x="28"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7" y="47"/>
                    <a:pt x="7" y="47"/>
                    <a:pt x="7" y="47"/>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8" y="37"/>
                    <a:pt x="28" y="37"/>
                    <a:pt x="28" y="37"/>
                  </a:cubicBezTo>
                  <a:cubicBezTo>
                    <a:pt x="28" y="31"/>
                    <a:pt x="28" y="31"/>
                    <a:pt x="28"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8" y="26"/>
                    <a:pt x="28" y="26"/>
                    <a:pt x="28" y="26"/>
                  </a:cubicBezTo>
                  <a:cubicBezTo>
                    <a:pt x="28" y="20"/>
                    <a:pt x="28" y="20"/>
                    <a:pt x="28"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8" y="15"/>
                    <a:pt x="28" y="15"/>
                    <a:pt x="28" y="15"/>
                  </a:cubicBezTo>
                  <a:cubicBezTo>
                    <a:pt x="28" y="9"/>
                    <a:pt x="28" y="9"/>
                    <a:pt x="28"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78" name="Freeform 2134"/>
            <p:cNvSpPr>
              <a:spLocks noEditPoints="1"/>
            </p:cNvSpPr>
            <p:nvPr/>
          </p:nvSpPr>
          <p:spPr bwMode="auto">
            <a:xfrm>
              <a:off x="18200688" y="3097213"/>
              <a:ext cx="153988" cy="552450"/>
            </a:xfrm>
            <a:custGeom>
              <a:avLst/>
              <a:gdLst>
                <a:gd name="T0" fmla="*/ 10 w 41"/>
                <a:gd name="T1" fmla="*/ 147 h 147"/>
                <a:gd name="T2" fmla="*/ 41 w 41"/>
                <a:gd name="T3" fmla="*/ 10 h 147"/>
                <a:gd name="T4" fmla="*/ 0 w 41"/>
                <a:gd name="T5" fmla="*/ 10 h 147"/>
                <a:gd name="T6" fmla="*/ 13 w 41"/>
                <a:gd name="T7" fmla="*/ 127 h 147"/>
                <a:gd name="T8" fmla="*/ 34 w 41"/>
                <a:gd name="T9" fmla="*/ 74 h 147"/>
                <a:gd name="T10" fmla="*/ 28 w 41"/>
                <a:gd name="T11" fmla="*/ 74 h 147"/>
                <a:gd name="T12" fmla="*/ 23 w 41"/>
                <a:gd name="T13" fmla="*/ 74 h 147"/>
                <a:gd name="T14" fmla="*/ 18 w 41"/>
                <a:gd name="T15" fmla="*/ 74 h 147"/>
                <a:gd name="T16" fmla="*/ 14 w 41"/>
                <a:gd name="T17" fmla="*/ 74 h 147"/>
                <a:gd name="T18" fmla="*/ 8 w 41"/>
                <a:gd name="T19" fmla="*/ 74 h 147"/>
                <a:gd name="T20" fmla="*/ 34 w 41"/>
                <a:gd name="T21" fmla="*/ 63 h 147"/>
                <a:gd name="T22" fmla="*/ 28 w 41"/>
                <a:gd name="T23" fmla="*/ 63 h 147"/>
                <a:gd name="T24" fmla="*/ 23 w 41"/>
                <a:gd name="T25" fmla="*/ 63 h 147"/>
                <a:gd name="T26" fmla="*/ 18 w 41"/>
                <a:gd name="T27" fmla="*/ 63 h 147"/>
                <a:gd name="T28" fmla="*/ 14 w 41"/>
                <a:gd name="T29" fmla="*/ 63 h 147"/>
                <a:gd name="T30" fmla="*/ 8 w 41"/>
                <a:gd name="T31" fmla="*/ 63 h 147"/>
                <a:gd name="T32" fmla="*/ 34 w 41"/>
                <a:gd name="T33" fmla="*/ 52 h 147"/>
                <a:gd name="T34" fmla="*/ 28 w 41"/>
                <a:gd name="T35" fmla="*/ 52 h 147"/>
                <a:gd name="T36" fmla="*/ 23 w 41"/>
                <a:gd name="T37" fmla="*/ 52 h 147"/>
                <a:gd name="T38" fmla="*/ 18 w 41"/>
                <a:gd name="T39" fmla="*/ 52 h 147"/>
                <a:gd name="T40" fmla="*/ 14 w 41"/>
                <a:gd name="T41" fmla="*/ 52 h 147"/>
                <a:gd name="T42" fmla="*/ 8 w 41"/>
                <a:gd name="T43" fmla="*/ 52 h 147"/>
                <a:gd name="T44" fmla="*/ 34 w 41"/>
                <a:gd name="T45" fmla="*/ 42 h 147"/>
                <a:gd name="T46" fmla="*/ 28 w 41"/>
                <a:gd name="T47" fmla="*/ 42 h 147"/>
                <a:gd name="T48" fmla="*/ 23 w 41"/>
                <a:gd name="T49" fmla="*/ 42 h 147"/>
                <a:gd name="T50" fmla="*/ 18 w 41"/>
                <a:gd name="T51" fmla="*/ 42 h 147"/>
                <a:gd name="T52" fmla="*/ 14 w 41"/>
                <a:gd name="T53" fmla="*/ 42 h 147"/>
                <a:gd name="T54" fmla="*/ 8 w 41"/>
                <a:gd name="T55" fmla="*/ 42 h 147"/>
                <a:gd name="T56" fmla="*/ 34 w 41"/>
                <a:gd name="T57" fmla="*/ 31 h 147"/>
                <a:gd name="T58" fmla="*/ 28 w 41"/>
                <a:gd name="T59" fmla="*/ 31 h 147"/>
                <a:gd name="T60" fmla="*/ 23 w 41"/>
                <a:gd name="T61" fmla="*/ 31 h 147"/>
                <a:gd name="T62" fmla="*/ 18 w 41"/>
                <a:gd name="T63" fmla="*/ 31 h 147"/>
                <a:gd name="T64" fmla="*/ 14 w 41"/>
                <a:gd name="T65" fmla="*/ 31 h 147"/>
                <a:gd name="T66" fmla="*/ 8 w 41"/>
                <a:gd name="T67" fmla="*/ 31 h 147"/>
                <a:gd name="T68" fmla="*/ 34 w 41"/>
                <a:gd name="T69" fmla="*/ 20 h 147"/>
                <a:gd name="T70" fmla="*/ 28 w 41"/>
                <a:gd name="T71" fmla="*/ 20 h 147"/>
                <a:gd name="T72" fmla="*/ 23 w 41"/>
                <a:gd name="T73" fmla="*/ 20 h 147"/>
                <a:gd name="T74" fmla="*/ 18 w 41"/>
                <a:gd name="T75" fmla="*/ 20 h 147"/>
                <a:gd name="T76" fmla="*/ 14 w 41"/>
                <a:gd name="T77" fmla="*/ 20 h 147"/>
                <a:gd name="T78" fmla="*/ 8 w 41"/>
                <a:gd name="T79" fmla="*/ 20 h 147"/>
                <a:gd name="T80" fmla="*/ 34 w 41"/>
                <a:gd name="T81" fmla="*/ 9 h 147"/>
                <a:gd name="T82" fmla="*/ 28 w 41"/>
                <a:gd name="T83" fmla="*/ 9 h 147"/>
                <a:gd name="T84" fmla="*/ 23 w 41"/>
                <a:gd name="T85" fmla="*/ 9 h 147"/>
                <a:gd name="T86" fmla="*/ 18 w 41"/>
                <a:gd name="T87" fmla="*/ 9 h 147"/>
                <a:gd name="T88" fmla="*/ 14 w 41"/>
                <a:gd name="T89" fmla="*/ 9 h 147"/>
                <a:gd name="T90" fmla="*/ 8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10" y="147"/>
                  </a:cubicBezTo>
                  <a:cubicBezTo>
                    <a:pt x="32" y="147"/>
                    <a:pt x="32" y="147"/>
                    <a:pt x="32" y="147"/>
                  </a:cubicBezTo>
                  <a:cubicBezTo>
                    <a:pt x="37" y="147"/>
                    <a:pt x="41" y="143"/>
                    <a:pt x="41" y="137"/>
                  </a:cubicBezTo>
                  <a:cubicBezTo>
                    <a:pt x="41" y="10"/>
                    <a:pt x="41" y="10"/>
                    <a:pt x="41" y="10"/>
                  </a:cubicBezTo>
                  <a:cubicBezTo>
                    <a:pt x="41" y="4"/>
                    <a:pt x="37" y="0"/>
                    <a:pt x="32" y="0"/>
                  </a:cubicBezTo>
                  <a:cubicBezTo>
                    <a:pt x="10" y="0"/>
                    <a:pt x="10" y="0"/>
                    <a:pt x="10" y="0"/>
                  </a:cubicBezTo>
                  <a:cubicBezTo>
                    <a:pt x="4" y="0"/>
                    <a:pt x="0" y="4"/>
                    <a:pt x="0" y="10"/>
                  </a:cubicBezTo>
                  <a:close/>
                  <a:moveTo>
                    <a:pt x="28" y="127"/>
                  </a:moveTo>
                  <a:cubicBezTo>
                    <a:pt x="28" y="131"/>
                    <a:pt x="25" y="134"/>
                    <a:pt x="21" y="134"/>
                  </a:cubicBezTo>
                  <a:cubicBezTo>
                    <a:pt x="17" y="134"/>
                    <a:pt x="13" y="131"/>
                    <a:pt x="13" y="127"/>
                  </a:cubicBezTo>
                  <a:cubicBezTo>
                    <a:pt x="13" y="123"/>
                    <a:pt x="17" y="119"/>
                    <a:pt x="21" y="119"/>
                  </a:cubicBezTo>
                  <a:cubicBezTo>
                    <a:pt x="25" y="119"/>
                    <a:pt x="28" y="123"/>
                    <a:pt x="28" y="127"/>
                  </a:cubicBezTo>
                  <a:close/>
                  <a:moveTo>
                    <a:pt x="34" y="74"/>
                  </a:moveTo>
                  <a:cubicBezTo>
                    <a:pt x="34" y="80"/>
                    <a:pt x="34" y="80"/>
                    <a:pt x="34" y="80"/>
                  </a:cubicBezTo>
                  <a:cubicBezTo>
                    <a:pt x="28" y="80"/>
                    <a:pt x="28" y="80"/>
                    <a:pt x="28" y="80"/>
                  </a:cubicBezTo>
                  <a:cubicBezTo>
                    <a:pt x="28" y="74"/>
                    <a:pt x="28" y="74"/>
                    <a:pt x="28" y="74"/>
                  </a:cubicBezTo>
                  <a:cubicBezTo>
                    <a:pt x="34" y="74"/>
                    <a:pt x="34" y="74"/>
                    <a:pt x="34" y="74"/>
                  </a:cubicBezTo>
                  <a:cubicBezTo>
                    <a:pt x="34" y="74"/>
                    <a:pt x="34" y="74"/>
                    <a:pt x="34" y="74"/>
                  </a:cubicBezTo>
                  <a:close/>
                  <a:moveTo>
                    <a:pt x="23" y="74"/>
                  </a:moveTo>
                  <a:cubicBezTo>
                    <a:pt x="23" y="80"/>
                    <a:pt x="23" y="80"/>
                    <a:pt x="23" y="80"/>
                  </a:cubicBezTo>
                  <a:cubicBezTo>
                    <a:pt x="18" y="80"/>
                    <a:pt x="18" y="80"/>
                    <a:pt x="18" y="80"/>
                  </a:cubicBezTo>
                  <a:cubicBezTo>
                    <a:pt x="18" y="74"/>
                    <a:pt x="18" y="74"/>
                    <a:pt x="18" y="74"/>
                  </a:cubicBezTo>
                  <a:cubicBezTo>
                    <a:pt x="23" y="74"/>
                    <a:pt x="23" y="74"/>
                    <a:pt x="23" y="74"/>
                  </a:cubicBezTo>
                  <a:cubicBezTo>
                    <a:pt x="23" y="74"/>
                    <a:pt x="23" y="74"/>
                    <a:pt x="23" y="74"/>
                  </a:cubicBezTo>
                  <a:close/>
                  <a:moveTo>
                    <a:pt x="14" y="74"/>
                  </a:moveTo>
                  <a:cubicBezTo>
                    <a:pt x="14" y="80"/>
                    <a:pt x="14" y="80"/>
                    <a:pt x="14" y="80"/>
                  </a:cubicBezTo>
                  <a:cubicBezTo>
                    <a:pt x="8" y="80"/>
                    <a:pt x="8" y="80"/>
                    <a:pt x="8" y="80"/>
                  </a:cubicBezTo>
                  <a:cubicBezTo>
                    <a:pt x="8" y="74"/>
                    <a:pt x="8" y="74"/>
                    <a:pt x="8" y="74"/>
                  </a:cubicBezTo>
                  <a:cubicBezTo>
                    <a:pt x="14" y="74"/>
                    <a:pt x="14" y="74"/>
                    <a:pt x="14" y="74"/>
                  </a:cubicBezTo>
                  <a:cubicBezTo>
                    <a:pt x="14" y="74"/>
                    <a:pt x="14" y="74"/>
                    <a:pt x="14" y="74"/>
                  </a:cubicBezTo>
                  <a:close/>
                  <a:moveTo>
                    <a:pt x="34" y="63"/>
                  </a:moveTo>
                  <a:cubicBezTo>
                    <a:pt x="34" y="69"/>
                    <a:pt x="34" y="69"/>
                    <a:pt x="34" y="69"/>
                  </a:cubicBezTo>
                  <a:cubicBezTo>
                    <a:pt x="28" y="69"/>
                    <a:pt x="28" y="69"/>
                    <a:pt x="28" y="69"/>
                  </a:cubicBezTo>
                  <a:cubicBezTo>
                    <a:pt x="28" y="63"/>
                    <a:pt x="28" y="63"/>
                    <a:pt x="28" y="63"/>
                  </a:cubicBezTo>
                  <a:cubicBezTo>
                    <a:pt x="34" y="63"/>
                    <a:pt x="34" y="63"/>
                    <a:pt x="34" y="63"/>
                  </a:cubicBezTo>
                  <a:cubicBezTo>
                    <a:pt x="34" y="63"/>
                    <a:pt x="34" y="63"/>
                    <a:pt x="34" y="63"/>
                  </a:cubicBezTo>
                  <a:close/>
                  <a:moveTo>
                    <a:pt x="23" y="63"/>
                  </a:moveTo>
                  <a:cubicBezTo>
                    <a:pt x="23" y="69"/>
                    <a:pt x="23" y="69"/>
                    <a:pt x="23" y="69"/>
                  </a:cubicBezTo>
                  <a:cubicBezTo>
                    <a:pt x="18" y="69"/>
                    <a:pt x="18" y="69"/>
                    <a:pt x="18" y="69"/>
                  </a:cubicBezTo>
                  <a:cubicBezTo>
                    <a:pt x="18" y="63"/>
                    <a:pt x="18" y="63"/>
                    <a:pt x="18" y="63"/>
                  </a:cubicBezTo>
                  <a:cubicBezTo>
                    <a:pt x="23" y="63"/>
                    <a:pt x="23" y="63"/>
                    <a:pt x="23" y="63"/>
                  </a:cubicBezTo>
                  <a:cubicBezTo>
                    <a:pt x="23" y="63"/>
                    <a:pt x="23" y="63"/>
                    <a:pt x="23" y="63"/>
                  </a:cubicBezTo>
                  <a:close/>
                  <a:moveTo>
                    <a:pt x="14" y="63"/>
                  </a:moveTo>
                  <a:cubicBezTo>
                    <a:pt x="14" y="69"/>
                    <a:pt x="14" y="69"/>
                    <a:pt x="14" y="69"/>
                  </a:cubicBezTo>
                  <a:cubicBezTo>
                    <a:pt x="8" y="69"/>
                    <a:pt x="8" y="69"/>
                    <a:pt x="8" y="69"/>
                  </a:cubicBezTo>
                  <a:cubicBezTo>
                    <a:pt x="8" y="63"/>
                    <a:pt x="8" y="63"/>
                    <a:pt x="8" y="63"/>
                  </a:cubicBezTo>
                  <a:cubicBezTo>
                    <a:pt x="14" y="63"/>
                    <a:pt x="14" y="63"/>
                    <a:pt x="14" y="63"/>
                  </a:cubicBezTo>
                  <a:cubicBezTo>
                    <a:pt x="14" y="63"/>
                    <a:pt x="14" y="63"/>
                    <a:pt x="14" y="63"/>
                  </a:cubicBezTo>
                  <a:close/>
                  <a:moveTo>
                    <a:pt x="34" y="52"/>
                  </a:moveTo>
                  <a:cubicBezTo>
                    <a:pt x="34" y="58"/>
                    <a:pt x="34" y="58"/>
                    <a:pt x="34" y="58"/>
                  </a:cubicBezTo>
                  <a:cubicBezTo>
                    <a:pt x="28" y="58"/>
                    <a:pt x="28" y="58"/>
                    <a:pt x="28" y="58"/>
                  </a:cubicBezTo>
                  <a:cubicBezTo>
                    <a:pt x="28" y="52"/>
                    <a:pt x="28" y="52"/>
                    <a:pt x="28" y="52"/>
                  </a:cubicBezTo>
                  <a:cubicBezTo>
                    <a:pt x="34" y="52"/>
                    <a:pt x="34" y="52"/>
                    <a:pt x="34" y="52"/>
                  </a:cubicBezTo>
                  <a:cubicBezTo>
                    <a:pt x="34" y="52"/>
                    <a:pt x="34" y="52"/>
                    <a:pt x="34" y="52"/>
                  </a:cubicBezTo>
                  <a:close/>
                  <a:moveTo>
                    <a:pt x="23" y="52"/>
                  </a:moveTo>
                  <a:cubicBezTo>
                    <a:pt x="23" y="58"/>
                    <a:pt x="23" y="58"/>
                    <a:pt x="23" y="58"/>
                  </a:cubicBezTo>
                  <a:cubicBezTo>
                    <a:pt x="18" y="58"/>
                    <a:pt x="18" y="58"/>
                    <a:pt x="18" y="58"/>
                  </a:cubicBezTo>
                  <a:cubicBezTo>
                    <a:pt x="18" y="52"/>
                    <a:pt x="18" y="52"/>
                    <a:pt x="18" y="52"/>
                  </a:cubicBezTo>
                  <a:cubicBezTo>
                    <a:pt x="23" y="52"/>
                    <a:pt x="23" y="52"/>
                    <a:pt x="23" y="52"/>
                  </a:cubicBezTo>
                  <a:cubicBezTo>
                    <a:pt x="23" y="52"/>
                    <a:pt x="23" y="52"/>
                    <a:pt x="23" y="52"/>
                  </a:cubicBezTo>
                  <a:close/>
                  <a:moveTo>
                    <a:pt x="14" y="52"/>
                  </a:moveTo>
                  <a:cubicBezTo>
                    <a:pt x="14" y="58"/>
                    <a:pt x="14" y="58"/>
                    <a:pt x="14" y="58"/>
                  </a:cubicBezTo>
                  <a:cubicBezTo>
                    <a:pt x="8" y="58"/>
                    <a:pt x="8" y="58"/>
                    <a:pt x="8" y="58"/>
                  </a:cubicBezTo>
                  <a:cubicBezTo>
                    <a:pt x="8" y="52"/>
                    <a:pt x="8" y="52"/>
                    <a:pt x="8" y="52"/>
                  </a:cubicBezTo>
                  <a:cubicBezTo>
                    <a:pt x="14" y="52"/>
                    <a:pt x="14" y="52"/>
                    <a:pt x="14" y="52"/>
                  </a:cubicBezTo>
                  <a:cubicBezTo>
                    <a:pt x="14" y="52"/>
                    <a:pt x="14" y="52"/>
                    <a:pt x="14" y="52"/>
                  </a:cubicBezTo>
                  <a:close/>
                  <a:moveTo>
                    <a:pt x="34" y="42"/>
                  </a:moveTo>
                  <a:cubicBezTo>
                    <a:pt x="34" y="47"/>
                    <a:pt x="34" y="47"/>
                    <a:pt x="34" y="47"/>
                  </a:cubicBezTo>
                  <a:cubicBezTo>
                    <a:pt x="28" y="47"/>
                    <a:pt x="28" y="47"/>
                    <a:pt x="28" y="47"/>
                  </a:cubicBezTo>
                  <a:cubicBezTo>
                    <a:pt x="28" y="42"/>
                    <a:pt x="28" y="42"/>
                    <a:pt x="28" y="42"/>
                  </a:cubicBezTo>
                  <a:cubicBezTo>
                    <a:pt x="34" y="42"/>
                    <a:pt x="34" y="42"/>
                    <a:pt x="34" y="42"/>
                  </a:cubicBezTo>
                  <a:cubicBezTo>
                    <a:pt x="34" y="42"/>
                    <a:pt x="34" y="42"/>
                    <a:pt x="34" y="42"/>
                  </a:cubicBezTo>
                  <a:close/>
                  <a:moveTo>
                    <a:pt x="23" y="42"/>
                  </a:moveTo>
                  <a:cubicBezTo>
                    <a:pt x="23" y="47"/>
                    <a:pt x="23" y="47"/>
                    <a:pt x="23" y="47"/>
                  </a:cubicBezTo>
                  <a:cubicBezTo>
                    <a:pt x="18" y="47"/>
                    <a:pt x="18" y="47"/>
                    <a:pt x="18" y="47"/>
                  </a:cubicBezTo>
                  <a:cubicBezTo>
                    <a:pt x="18" y="42"/>
                    <a:pt x="18" y="42"/>
                    <a:pt x="18" y="42"/>
                  </a:cubicBezTo>
                  <a:cubicBezTo>
                    <a:pt x="23" y="42"/>
                    <a:pt x="23" y="42"/>
                    <a:pt x="23" y="42"/>
                  </a:cubicBezTo>
                  <a:cubicBezTo>
                    <a:pt x="23" y="42"/>
                    <a:pt x="23" y="42"/>
                    <a:pt x="23" y="42"/>
                  </a:cubicBezTo>
                  <a:close/>
                  <a:moveTo>
                    <a:pt x="14" y="42"/>
                  </a:moveTo>
                  <a:cubicBezTo>
                    <a:pt x="14" y="47"/>
                    <a:pt x="14" y="47"/>
                    <a:pt x="14" y="47"/>
                  </a:cubicBezTo>
                  <a:cubicBezTo>
                    <a:pt x="8" y="47"/>
                    <a:pt x="8" y="47"/>
                    <a:pt x="8" y="47"/>
                  </a:cubicBezTo>
                  <a:cubicBezTo>
                    <a:pt x="8" y="42"/>
                    <a:pt x="8" y="42"/>
                    <a:pt x="8" y="42"/>
                  </a:cubicBezTo>
                  <a:cubicBezTo>
                    <a:pt x="14" y="42"/>
                    <a:pt x="14" y="42"/>
                    <a:pt x="14" y="42"/>
                  </a:cubicBezTo>
                  <a:cubicBezTo>
                    <a:pt x="14" y="42"/>
                    <a:pt x="14" y="42"/>
                    <a:pt x="14" y="42"/>
                  </a:cubicBezTo>
                  <a:close/>
                  <a:moveTo>
                    <a:pt x="34" y="31"/>
                  </a:moveTo>
                  <a:cubicBezTo>
                    <a:pt x="34" y="37"/>
                    <a:pt x="34" y="37"/>
                    <a:pt x="34" y="37"/>
                  </a:cubicBezTo>
                  <a:cubicBezTo>
                    <a:pt x="28" y="37"/>
                    <a:pt x="28" y="37"/>
                    <a:pt x="28" y="37"/>
                  </a:cubicBezTo>
                  <a:cubicBezTo>
                    <a:pt x="28" y="31"/>
                    <a:pt x="28" y="31"/>
                    <a:pt x="28" y="31"/>
                  </a:cubicBezTo>
                  <a:cubicBezTo>
                    <a:pt x="34" y="31"/>
                    <a:pt x="34" y="31"/>
                    <a:pt x="34" y="31"/>
                  </a:cubicBezTo>
                  <a:cubicBezTo>
                    <a:pt x="34" y="31"/>
                    <a:pt x="34" y="31"/>
                    <a:pt x="34" y="31"/>
                  </a:cubicBezTo>
                  <a:close/>
                  <a:moveTo>
                    <a:pt x="23" y="31"/>
                  </a:moveTo>
                  <a:cubicBezTo>
                    <a:pt x="23" y="37"/>
                    <a:pt x="23" y="37"/>
                    <a:pt x="23" y="37"/>
                  </a:cubicBezTo>
                  <a:cubicBezTo>
                    <a:pt x="18" y="37"/>
                    <a:pt x="18" y="37"/>
                    <a:pt x="18" y="37"/>
                  </a:cubicBezTo>
                  <a:cubicBezTo>
                    <a:pt x="18" y="31"/>
                    <a:pt x="18" y="31"/>
                    <a:pt x="18" y="31"/>
                  </a:cubicBezTo>
                  <a:cubicBezTo>
                    <a:pt x="23" y="31"/>
                    <a:pt x="23" y="31"/>
                    <a:pt x="23" y="31"/>
                  </a:cubicBezTo>
                  <a:cubicBezTo>
                    <a:pt x="23" y="31"/>
                    <a:pt x="23" y="31"/>
                    <a:pt x="23" y="31"/>
                  </a:cubicBezTo>
                  <a:close/>
                  <a:moveTo>
                    <a:pt x="14" y="31"/>
                  </a:moveTo>
                  <a:cubicBezTo>
                    <a:pt x="14" y="37"/>
                    <a:pt x="14" y="37"/>
                    <a:pt x="14" y="37"/>
                  </a:cubicBezTo>
                  <a:cubicBezTo>
                    <a:pt x="8" y="37"/>
                    <a:pt x="8" y="37"/>
                    <a:pt x="8" y="37"/>
                  </a:cubicBezTo>
                  <a:cubicBezTo>
                    <a:pt x="8" y="31"/>
                    <a:pt x="8" y="31"/>
                    <a:pt x="8" y="31"/>
                  </a:cubicBezTo>
                  <a:cubicBezTo>
                    <a:pt x="14" y="31"/>
                    <a:pt x="14" y="31"/>
                    <a:pt x="14" y="31"/>
                  </a:cubicBezTo>
                  <a:cubicBezTo>
                    <a:pt x="14" y="31"/>
                    <a:pt x="14" y="31"/>
                    <a:pt x="14" y="31"/>
                  </a:cubicBezTo>
                  <a:close/>
                  <a:moveTo>
                    <a:pt x="34" y="20"/>
                  </a:moveTo>
                  <a:cubicBezTo>
                    <a:pt x="34" y="26"/>
                    <a:pt x="34" y="26"/>
                    <a:pt x="34" y="26"/>
                  </a:cubicBezTo>
                  <a:cubicBezTo>
                    <a:pt x="28" y="26"/>
                    <a:pt x="28" y="26"/>
                    <a:pt x="28" y="26"/>
                  </a:cubicBezTo>
                  <a:cubicBezTo>
                    <a:pt x="28" y="20"/>
                    <a:pt x="28" y="20"/>
                    <a:pt x="28" y="20"/>
                  </a:cubicBezTo>
                  <a:cubicBezTo>
                    <a:pt x="34" y="20"/>
                    <a:pt x="34" y="20"/>
                    <a:pt x="34" y="20"/>
                  </a:cubicBezTo>
                  <a:cubicBezTo>
                    <a:pt x="34" y="20"/>
                    <a:pt x="34" y="20"/>
                    <a:pt x="34" y="20"/>
                  </a:cubicBezTo>
                  <a:close/>
                  <a:moveTo>
                    <a:pt x="23" y="20"/>
                  </a:moveTo>
                  <a:cubicBezTo>
                    <a:pt x="23" y="26"/>
                    <a:pt x="23" y="26"/>
                    <a:pt x="23" y="26"/>
                  </a:cubicBezTo>
                  <a:cubicBezTo>
                    <a:pt x="18" y="26"/>
                    <a:pt x="18" y="26"/>
                    <a:pt x="18" y="26"/>
                  </a:cubicBezTo>
                  <a:cubicBezTo>
                    <a:pt x="18" y="20"/>
                    <a:pt x="18" y="20"/>
                    <a:pt x="18" y="20"/>
                  </a:cubicBezTo>
                  <a:cubicBezTo>
                    <a:pt x="23" y="20"/>
                    <a:pt x="23" y="20"/>
                    <a:pt x="23" y="20"/>
                  </a:cubicBezTo>
                  <a:cubicBezTo>
                    <a:pt x="23" y="20"/>
                    <a:pt x="23" y="20"/>
                    <a:pt x="23" y="20"/>
                  </a:cubicBezTo>
                  <a:close/>
                  <a:moveTo>
                    <a:pt x="14" y="20"/>
                  </a:moveTo>
                  <a:cubicBezTo>
                    <a:pt x="14" y="26"/>
                    <a:pt x="14" y="26"/>
                    <a:pt x="14" y="26"/>
                  </a:cubicBezTo>
                  <a:cubicBezTo>
                    <a:pt x="8" y="26"/>
                    <a:pt x="8" y="26"/>
                    <a:pt x="8" y="26"/>
                  </a:cubicBezTo>
                  <a:cubicBezTo>
                    <a:pt x="8" y="20"/>
                    <a:pt x="8" y="20"/>
                    <a:pt x="8" y="20"/>
                  </a:cubicBezTo>
                  <a:cubicBezTo>
                    <a:pt x="14" y="20"/>
                    <a:pt x="14" y="20"/>
                    <a:pt x="14" y="20"/>
                  </a:cubicBezTo>
                  <a:cubicBezTo>
                    <a:pt x="14" y="20"/>
                    <a:pt x="14" y="20"/>
                    <a:pt x="14" y="20"/>
                  </a:cubicBezTo>
                  <a:close/>
                  <a:moveTo>
                    <a:pt x="34" y="9"/>
                  </a:moveTo>
                  <a:cubicBezTo>
                    <a:pt x="34" y="15"/>
                    <a:pt x="34" y="15"/>
                    <a:pt x="34" y="15"/>
                  </a:cubicBezTo>
                  <a:cubicBezTo>
                    <a:pt x="28" y="15"/>
                    <a:pt x="28" y="15"/>
                    <a:pt x="28" y="15"/>
                  </a:cubicBezTo>
                  <a:cubicBezTo>
                    <a:pt x="28" y="9"/>
                    <a:pt x="28" y="9"/>
                    <a:pt x="28" y="9"/>
                  </a:cubicBezTo>
                  <a:cubicBezTo>
                    <a:pt x="34" y="9"/>
                    <a:pt x="34" y="9"/>
                    <a:pt x="34" y="9"/>
                  </a:cubicBezTo>
                  <a:cubicBezTo>
                    <a:pt x="34" y="9"/>
                    <a:pt x="34" y="9"/>
                    <a:pt x="34" y="9"/>
                  </a:cubicBezTo>
                  <a:close/>
                  <a:moveTo>
                    <a:pt x="23" y="9"/>
                  </a:moveTo>
                  <a:cubicBezTo>
                    <a:pt x="23" y="15"/>
                    <a:pt x="23" y="15"/>
                    <a:pt x="23" y="15"/>
                  </a:cubicBezTo>
                  <a:cubicBezTo>
                    <a:pt x="18" y="15"/>
                    <a:pt x="18" y="15"/>
                    <a:pt x="18" y="15"/>
                  </a:cubicBezTo>
                  <a:cubicBezTo>
                    <a:pt x="18" y="9"/>
                    <a:pt x="18" y="9"/>
                    <a:pt x="18" y="9"/>
                  </a:cubicBezTo>
                  <a:cubicBezTo>
                    <a:pt x="23" y="9"/>
                    <a:pt x="23" y="9"/>
                    <a:pt x="23" y="9"/>
                  </a:cubicBezTo>
                  <a:cubicBezTo>
                    <a:pt x="23" y="9"/>
                    <a:pt x="23" y="9"/>
                    <a:pt x="23" y="9"/>
                  </a:cubicBezTo>
                  <a:close/>
                  <a:moveTo>
                    <a:pt x="14" y="9"/>
                  </a:moveTo>
                  <a:cubicBezTo>
                    <a:pt x="14" y="15"/>
                    <a:pt x="14" y="15"/>
                    <a:pt x="14" y="15"/>
                  </a:cubicBezTo>
                  <a:cubicBezTo>
                    <a:pt x="8" y="15"/>
                    <a:pt x="8" y="15"/>
                    <a:pt x="8" y="15"/>
                  </a:cubicBezTo>
                  <a:cubicBezTo>
                    <a:pt x="8" y="9"/>
                    <a:pt x="8" y="9"/>
                    <a:pt x="8" y="9"/>
                  </a:cubicBezTo>
                  <a:cubicBezTo>
                    <a:pt x="14" y="9"/>
                    <a:pt x="14" y="9"/>
                    <a:pt x="14" y="9"/>
                  </a:cubicBezTo>
                  <a:cubicBezTo>
                    <a:pt x="14" y="9"/>
                    <a:pt x="14" y="9"/>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79" name="Freeform 2135"/>
            <p:cNvSpPr>
              <a:spLocks noEditPoints="1"/>
            </p:cNvSpPr>
            <p:nvPr/>
          </p:nvSpPr>
          <p:spPr bwMode="auto">
            <a:xfrm>
              <a:off x="18422938" y="3097213"/>
              <a:ext cx="149225" cy="552450"/>
            </a:xfrm>
            <a:custGeom>
              <a:avLst/>
              <a:gdLst>
                <a:gd name="T0" fmla="*/ 9 w 40"/>
                <a:gd name="T1" fmla="*/ 147 h 147"/>
                <a:gd name="T2" fmla="*/ 40 w 40"/>
                <a:gd name="T3" fmla="*/ 10 h 147"/>
                <a:gd name="T4" fmla="*/ 0 w 40"/>
                <a:gd name="T5" fmla="*/ 10 h 147"/>
                <a:gd name="T6" fmla="*/ 13 w 40"/>
                <a:gd name="T7" fmla="*/ 127 h 147"/>
                <a:gd name="T8" fmla="*/ 33 w 40"/>
                <a:gd name="T9" fmla="*/ 74 h 147"/>
                <a:gd name="T10" fmla="*/ 27 w 40"/>
                <a:gd name="T11" fmla="*/ 74 h 147"/>
                <a:gd name="T12" fmla="*/ 23 w 40"/>
                <a:gd name="T13" fmla="*/ 74 h 147"/>
                <a:gd name="T14" fmla="*/ 17 w 40"/>
                <a:gd name="T15" fmla="*/ 74 h 147"/>
                <a:gd name="T16" fmla="*/ 13 w 40"/>
                <a:gd name="T17" fmla="*/ 74 h 147"/>
                <a:gd name="T18" fmla="*/ 7 w 40"/>
                <a:gd name="T19" fmla="*/ 74 h 147"/>
                <a:gd name="T20" fmla="*/ 33 w 40"/>
                <a:gd name="T21" fmla="*/ 63 h 147"/>
                <a:gd name="T22" fmla="*/ 27 w 40"/>
                <a:gd name="T23" fmla="*/ 63 h 147"/>
                <a:gd name="T24" fmla="*/ 23 w 40"/>
                <a:gd name="T25" fmla="*/ 63 h 147"/>
                <a:gd name="T26" fmla="*/ 17 w 40"/>
                <a:gd name="T27" fmla="*/ 63 h 147"/>
                <a:gd name="T28" fmla="*/ 13 w 40"/>
                <a:gd name="T29" fmla="*/ 63 h 147"/>
                <a:gd name="T30" fmla="*/ 7 w 40"/>
                <a:gd name="T31" fmla="*/ 63 h 147"/>
                <a:gd name="T32" fmla="*/ 33 w 40"/>
                <a:gd name="T33" fmla="*/ 52 h 147"/>
                <a:gd name="T34" fmla="*/ 27 w 40"/>
                <a:gd name="T35" fmla="*/ 52 h 147"/>
                <a:gd name="T36" fmla="*/ 23 w 40"/>
                <a:gd name="T37" fmla="*/ 52 h 147"/>
                <a:gd name="T38" fmla="*/ 17 w 40"/>
                <a:gd name="T39" fmla="*/ 52 h 147"/>
                <a:gd name="T40" fmla="*/ 13 w 40"/>
                <a:gd name="T41" fmla="*/ 52 h 147"/>
                <a:gd name="T42" fmla="*/ 7 w 40"/>
                <a:gd name="T43" fmla="*/ 52 h 147"/>
                <a:gd name="T44" fmla="*/ 33 w 40"/>
                <a:gd name="T45" fmla="*/ 42 h 147"/>
                <a:gd name="T46" fmla="*/ 27 w 40"/>
                <a:gd name="T47" fmla="*/ 42 h 147"/>
                <a:gd name="T48" fmla="*/ 23 w 40"/>
                <a:gd name="T49" fmla="*/ 42 h 147"/>
                <a:gd name="T50" fmla="*/ 17 w 40"/>
                <a:gd name="T51" fmla="*/ 42 h 147"/>
                <a:gd name="T52" fmla="*/ 13 w 40"/>
                <a:gd name="T53" fmla="*/ 42 h 147"/>
                <a:gd name="T54" fmla="*/ 7 w 40"/>
                <a:gd name="T55" fmla="*/ 42 h 147"/>
                <a:gd name="T56" fmla="*/ 33 w 40"/>
                <a:gd name="T57" fmla="*/ 31 h 147"/>
                <a:gd name="T58" fmla="*/ 27 w 40"/>
                <a:gd name="T59" fmla="*/ 31 h 147"/>
                <a:gd name="T60" fmla="*/ 23 w 40"/>
                <a:gd name="T61" fmla="*/ 31 h 147"/>
                <a:gd name="T62" fmla="*/ 17 w 40"/>
                <a:gd name="T63" fmla="*/ 31 h 147"/>
                <a:gd name="T64" fmla="*/ 13 w 40"/>
                <a:gd name="T65" fmla="*/ 31 h 147"/>
                <a:gd name="T66" fmla="*/ 7 w 40"/>
                <a:gd name="T67" fmla="*/ 31 h 147"/>
                <a:gd name="T68" fmla="*/ 33 w 40"/>
                <a:gd name="T69" fmla="*/ 20 h 147"/>
                <a:gd name="T70" fmla="*/ 27 w 40"/>
                <a:gd name="T71" fmla="*/ 20 h 147"/>
                <a:gd name="T72" fmla="*/ 23 w 40"/>
                <a:gd name="T73" fmla="*/ 20 h 147"/>
                <a:gd name="T74" fmla="*/ 17 w 40"/>
                <a:gd name="T75" fmla="*/ 20 h 147"/>
                <a:gd name="T76" fmla="*/ 13 w 40"/>
                <a:gd name="T77" fmla="*/ 20 h 147"/>
                <a:gd name="T78" fmla="*/ 7 w 40"/>
                <a:gd name="T79" fmla="*/ 20 h 147"/>
                <a:gd name="T80" fmla="*/ 33 w 40"/>
                <a:gd name="T81" fmla="*/ 9 h 147"/>
                <a:gd name="T82" fmla="*/ 27 w 40"/>
                <a:gd name="T83" fmla="*/ 9 h 147"/>
                <a:gd name="T84" fmla="*/ 23 w 40"/>
                <a:gd name="T85" fmla="*/ 9 h 147"/>
                <a:gd name="T86" fmla="*/ 17 w 40"/>
                <a:gd name="T87" fmla="*/ 9 h 147"/>
                <a:gd name="T88" fmla="*/ 13 w 40"/>
                <a:gd name="T89" fmla="*/ 9 h 147"/>
                <a:gd name="T90" fmla="*/ 7 w 40"/>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 h="147">
                  <a:moveTo>
                    <a:pt x="0" y="10"/>
                  </a:moveTo>
                  <a:cubicBezTo>
                    <a:pt x="0" y="137"/>
                    <a:pt x="0" y="137"/>
                    <a:pt x="0" y="137"/>
                  </a:cubicBezTo>
                  <a:cubicBezTo>
                    <a:pt x="0" y="143"/>
                    <a:pt x="4" y="147"/>
                    <a:pt x="9" y="147"/>
                  </a:cubicBezTo>
                  <a:cubicBezTo>
                    <a:pt x="31" y="147"/>
                    <a:pt x="31" y="147"/>
                    <a:pt x="31" y="147"/>
                  </a:cubicBezTo>
                  <a:cubicBezTo>
                    <a:pt x="36" y="147"/>
                    <a:pt x="40" y="143"/>
                    <a:pt x="40" y="137"/>
                  </a:cubicBezTo>
                  <a:cubicBezTo>
                    <a:pt x="40" y="10"/>
                    <a:pt x="40" y="10"/>
                    <a:pt x="40" y="10"/>
                  </a:cubicBezTo>
                  <a:cubicBezTo>
                    <a:pt x="40" y="4"/>
                    <a:pt x="36" y="0"/>
                    <a:pt x="31" y="0"/>
                  </a:cubicBezTo>
                  <a:cubicBezTo>
                    <a:pt x="9" y="0"/>
                    <a:pt x="9" y="0"/>
                    <a:pt x="9" y="0"/>
                  </a:cubicBezTo>
                  <a:cubicBezTo>
                    <a:pt x="4" y="0"/>
                    <a:pt x="0" y="4"/>
                    <a:pt x="0" y="10"/>
                  </a:cubicBezTo>
                  <a:close/>
                  <a:moveTo>
                    <a:pt x="27" y="127"/>
                  </a:moveTo>
                  <a:cubicBezTo>
                    <a:pt x="27" y="131"/>
                    <a:pt x="24" y="134"/>
                    <a:pt x="20" y="134"/>
                  </a:cubicBezTo>
                  <a:cubicBezTo>
                    <a:pt x="16" y="134"/>
                    <a:pt x="13" y="131"/>
                    <a:pt x="13" y="127"/>
                  </a:cubicBezTo>
                  <a:cubicBezTo>
                    <a:pt x="13" y="123"/>
                    <a:pt x="16" y="119"/>
                    <a:pt x="20" y="119"/>
                  </a:cubicBezTo>
                  <a:cubicBezTo>
                    <a:pt x="24" y="119"/>
                    <a:pt x="27" y="123"/>
                    <a:pt x="27" y="127"/>
                  </a:cubicBezTo>
                  <a:close/>
                  <a:moveTo>
                    <a:pt x="33" y="74"/>
                  </a:moveTo>
                  <a:cubicBezTo>
                    <a:pt x="33" y="80"/>
                    <a:pt x="33" y="80"/>
                    <a:pt x="33" y="80"/>
                  </a:cubicBezTo>
                  <a:cubicBezTo>
                    <a:pt x="27" y="80"/>
                    <a:pt x="27" y="80"/>
                    <a:pt x="27" y="80"/>
                  </a:cubicBezTo>
                  <a:cubicBezTo>
                    <a:pt x="27" y="74"/>
                    <a:pt x="27" y="74"/>
                    <a:pt x="27"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2"/>
                  </a:moveTo>
                  <a:cubicBezTo>
                    <a:pt x="33" y="47"/>
                    <a:pt x="33" y="47"/>
                    <a:pt x="33" y="47"/>
                  </a:cubicBezTo>
                  <a:cubicBezTo>
                    <a:pt x="27" y="47"/>
                    <a:pt x="27" y="47"/>
                    <a:pt x="27" y="47"/>
                  </a:cubicBezTo>
                  <a:cubicBezTo>
                    <a:pt x="27" y="42"/>
                    <a:pt x="27" y="42"/>
                    <a:pt x="27"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7" y="47"/>
                    <a:pt x="7" y="47"/>
                    <a:pt x="7" y="47"/>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7" y="37"/>
                    <a:pt x="27" y="37"/>
                    <a:pt x="27" y="37"/>
                  </a:cubicBezTo>
                  <a:cubicBezTo>
                    <a:pt x="27" y="31"/>
                    <a:pt x="27" y="31"/>
                    <a:pt x="27"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80" name="Freeform 2136"/>
            <p:cNvSpPr>
              <a:spLocks noEditPoints="1"/>
            </p:cNvSpPr>
            <p:nvPr/>
          </p:nvSpPr>
          <p:spPr bwMode="auto">
            <a:xfrm>
              <a:off x="18640425" y="3097213"/>
              <a:ext cx="153988" cy="552450"/>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7 w 41"/>
                <a:gd name="T11" fmla="*/ 74 h 147"/>
                <a:gd name="T12" fmla="*/ 23 w 41"/>
                <a:gd name="T13" fmla="*/ 74 h 147"/>
                <a:gd name="T14" fmla="*/ 17 w 41"/>
                <a:gd name="T15" fmla="*/ 74 h 147"/>
                <a:gd name="T16" fmla="*/ 13 w 41"/>
                <a:gd name="T17" fmla="*/ 74 h 147"/>
                <a:gd name="T18" fmla="*/ 7 w 41"/>
                <a:gd name="T19" fmla="*/ 74 h 147"/>
                <a:gd name="T20" fmla="*/ 33 w 41"/>
                <a:gd name="T21" fmla="*/ 63 h 147"/>
                <a:gd name="T22" fmla="*/ 27 w 41"/>
                <a:gd name="T23" fmla="*/ 63 h 147"/>
                <a:gd name="T24" fmla="*/ 23 w 41"/>
                <a:gd name="T25" fmla="*/ 63 h 147"/>
                <a:gd name="T26" fmla="*/ 17 w 41"/>
                <a:gd name="T27" fmla="*/ 63 h 147"/>
                <a:gd name="T28" fmla="*/ 13 w 41"/>
                <a:gd name="T29" fmla="*/ 63 h 147"/>
                <a:gd name="T30" fmla="*/ 7 w 41"/>
                <a:gd name="T31" fmla="*/ 63 h 147"/>
                <a:gd name="T32" fmla="*/ 33 w 41"/>
                <a:gd name="T33" fmla="*/ 52 h 147"/>
                <a:gd name="T34" fmla="*/ 27 w 41"/>
                <a:gd name="T35" fmla="*/ 52 h 147"/>
                <a:gd name="T36" fmla="*/ 23 w 41"/>
                <a:gd name="T37" fmla="*/ 52 h 147"/>
                <a:gd name="T38" fmla="*/ 17 w 41"/>
                <a:gd name="T39" fmla="*/ 52 h 147"/>
                <a:gd name="T40" fmla="*/ 13 w 41"/>
                <a:gd name="T41" fmla="*/ 52 h 147"/>
                <a:gd name="T42" fmla="*/ 7 w 41"/>
                <a:gd name="T43" fmla="*/ 52 h 147"/>
                <a:gd name="T44" fmla="*/ 33 w 41"/>
                <a:gd name="T45" fmla="*/ 42 h 147"/>
                <a:gd name="T46" fmla="*/ 27 w 41"/>
                <a:gd name="T47" fmla="*/ 42 h 147"/>
                <a:gd name="T48" fmla="*/ 23 w 41"/>
                <a:gd name="T49" fmla="*/ 42 h 147"/>
                <a:gd name="T50" fmla="*/ 17 w 41"/>
                <a:gd name="T51" fmla="*/ 42 h 147"/>
                <a:gd name="T52" fmla="*/ 13 w 41"/>
                <a:gd name="T53" fmla="*/ 42 h 147"/>
                <a:gd name="T54" fmla="*/ 7 w 41"/>
                <a:gd name="T55" fmla="*/ 42 h 147"/>
                <a:gd name="T56" fmla="*/ 33 w 41"/>
                <a:gd name="T57" fmla="*/ 31 h 147"/>
                <a:gd name="T58" fmla="*/ 27 w 41"/>
                <a:gd name="T59" fmla="*/ 31 h 147"/>
                <a:gd name="T60" fmla="*/ 23 w 41"/>
                <a:gd name="T61" fmla="*/ 31 h 147"/>
                <a:gd name="T62" fmla="*/ 17 w 41"/>
                <a:gd name="T63" fmla="*/ 31 h 147"/>
                <a:gd name="T64" fmla="*/ 13 w 41"/>
                <a:gd name="T65" fmla="*/ 31 h 147"/>
                <a:gd name="T66" fmla="*/ 7 w 41"/>
                <a:gd name="T67" fmla="*/ 31 h 147"/>
                <a:gd name="T68" fmla="*/ 33 w 41"/>
                <a:gd name="T69" fmla="*/ 20 h 147"/>
                <a:gd name="T70" fmla="*/ 27 w 41"/>
                <a:gd name="T71" fmla="*/ 20 h 147"/>
                <a:gd name="T72" fmla="*/ 23 w 41"/>
                <a:gd name="T73" fmla="*/ 20 h 147"/>
                <a:gd name="T74" fmla="*/ 17 w 41"/>
                <a:gd name="T75" fmla="*/ 20 h 147"/>
                <a:gd name="T76" fmla="*/ 13 w 41"/>
                <a:gd name="T77" fmla="*/ 20 h 147"/>
                <a:gd name="T78" fmla="*/ 7 w 41"/>
                <a:gd name="T79" fmla="*/ 20 h 147"/>
                <a:gd name="T80" fmla="*/ 33 w 41"/>
                <a:gd name="T81" fmla="*/ 9 h 147"/>
                <a:gd name="T82" fmla="*/ 27 w 41"/>
                <a:gd name="T83" fmla="*/ 9 h 147"/>
                <a:gd name="T84" fmla="*/ 23 w 41"/>
                <a:gd name="T85" fmla="*/ 9 h 147"/>
                <a:gd name="T86" fmla="*/ 17 w 41"/>
                <a:gd name="T87" fmla="*/ 9 h 147"/>
                <a:gd name="T88" fmla="*/ 13 w 41"/>
                <a:gd name="T89" fmla="*/ 9 h 147"/>
                <a:gd name="T90" fmla="*/ 7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9" y="147"/>
                  </a:cubicBezTo>
                  <a:cubicBezTo>
                    <a:pt x="31" y="147"/>
                    <a:pt x="31" y="147"/>
                    <a:pt x="31" y="147"/>
                  </a:cubicBezTo>
                  <a:cubicBezTo>
                    <a:pt x="36" y="147"/>
                    <a:pt x="41" y="143"/>
                    <a:pt x="41" y="137"/>
                  </a:cubicBezTo>
                  <a:cubicBezTo>
                    <a:pt x="41" y="10"/>
                    <a:pt x="41" y="10"/>
                    <a:pt x="41" y="10"/>
                  </a:cubicBezTo>
                  <a:cubicBezTo>
                    <a:pt x="41" y="4"/>
                    <a:pt x="36" y="0"/>
                    <a:pt x="31" y="0"/>
                  </a:cubicBezTo>
                  <a:cubicBezTo>
                    <a:pt x="9" y="0"/>
                    <a:pt x="9" y="0"/>
                    <a:pt x="9" y="0"/>
                  </a:cubicBezTo>
                  <a:cubicBezTo>
                    <a:pt x="4" y="0"/>
                    <a:pt x="0" y="4"/>
                    <a:pt x="0" y="10"/>
                  </a:cubicBezTo>
                  <a:close/>
                  <a:moveTo>
                    <a:pt x="28" y="127"/>
                  </a:moveTo>
                  <a:cubicBezTo>
                    <a:pt x="28" y="131"/>
                    <a:pt x="24" y="134"/>
                    <a:pt x="20" y="134"/>
                  </a:cubicBezTo>
                  <a:cubicBezTo>
                    <a:pt x="16" y="134"/>
                    <a:pt x="13" y="131"/>
                    <a:pt x="13" y="127"/>
                  </a:cubicBezTo>
                  <a:cubicBezTo>
                    <a:pt x="13" y="123"/>
                    <a:pt x="16" y="119"/>
                    <a:pt x="20" y="119"/>
                  </a:cubicBezTo>
                  <a:cubicBezTo>
                    <a:pt x="24" y="119"/>
                    <a:pt x="28" y="123"/>
                    <a:pt x="28" y="127"/>
                  </a:cubicBezTo>
                  <a:close/>
                  <a:moveTo>
                    <a:pt x="33" y="74"/>
                  </a:moveTo>
                  <a:cubicBezTo>
                    <a:pt x="33" y="80"/>
                    <a:pt x="33" y="80"/>
                    <a:pt x="33" y="80"/>
                  </a:cubicBezTo>
                  <a:cubicBezTo>
                    <a:pt x="27" y="80"/>
                    <a:pt x="27" y="80"/>
                    <a:pt x="27" y="80"/>
                  </a:cubicBezTo>
                  <a:cubicBezTo>
                    <a:pt x="27" y="74"/>
                    <a:pt x="27" y="74"/>
                    <a:pt x="27"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2"/>
                  </a:moveTo>
                  <a:cubicBezTo>
                    <a:pt x="33" y="47"/>
                    <a:pt x="33" y="47"/>
                    <a:pt x="33" y="47"/>
                  </a:cubicBezTo>
                  <a:cubicBezTo>
                    <a:pt x="27" y="47"/>
                    <a:pt x="27" y="47"/>
                    <a:pt x="27" y="47"/>
                  </a:cubicBezTo>
                  <a:cubicBezTo>
                    <a:pt x="27" y="42"/>
                    <a:pt x="27" y="42"/>
                    <a:pt x="27"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7" y="47"/>
                    <a:pt x="7" y="47"/>
                    <a:pt x="7" y="47"/>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7" y="37"/>
                    <a:pt x="27" y="37"/>
                    <a:pt x="27" y="37"/>
                  </a:cubicBezTo>
                  <a:cubicBezTo>
                    <a:pt x="27" y="31"/>
                    <a:pt x="27" y="31"/>
                    <a:pt x="27"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81" name="Freeform 2137"/>
            <p:cNvSpPr>
              <a:spLocks noEditPoints="1"/>
            </p:cNvSpPr>
            <p:nvPr/>
          </p:nvSpPr>
          <p:spPr bwMode="auto">
            <a:xfrm>
              <a:off x="18857913" y="3097213"/>
              <a:ext cx="153988" cy="552450"/>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8 w 41"/>
                <a:gd name="T11" fmla="*/ 74 h 147"/>
                <a:gd name="T12" fmla="*/ 23 w 41"/>
                <a:gd name="T13" fmla="*/ 74 h 147"/>
                <a:gd name="T14" fmla="*/ 17 w 41"/>
                <a:gd name="T15" fmla="*/ 74 h 147"/>
                <a:gd name="T16" fmla="*/ 13 w 41"/>
                <a:gd name="T17" fmla="*/ 74 h 147"/>
                <a:gd name="T18" fmla="*/ 8 w 41"/>
                <a:gd name="T19" fmla="*/ 74 h 147"/>
                <a:gd name="T20" fmla="*/ 33 w 41"/>
                <a:gd name="T21" fmla="*/ 63 h 147"/>
                <a:gd name="T22" fmla="*/ 28 w 41"/>
                <a:gd name="T23" fmla="*/ 63 h 147"/>
                <a:gd name="T24" fmla="*/ 23 w 41"/>
                <a:gd name="T25" fmla="*/ 63 h 147"/>
                <a:gd name="T26" fmla="*/ 17 w 41"/>
                <a:gd name="T27" fmla="*/ 63 h 147"/>
                <a:gd name="T28" fmla="*/ 13 w 41"/>
                <a:gd name="T29" fmla="*/ 63 h 147"/>
                <a:gd name="T30" fmla="*/ 8 w 41"/>
                <a:gd name="T31" fmla="*/ 63 h 147"/>
                <a:gd name="T32" fmla="*/ 33 w 41"/>
                <a:gd name="T33" fmla="*/ 52 h 147"/>
                <a:gd name="T34" fmla="*/ 28 w 41"/>
                <a:gd name="T35" fmla="*/ 52 h 147"/>
                <a:gd name="T36" fmla="*/ 23 w 41"/>
                <a:gd name="T37" fmla="*/ 52 h 147"/>
                <a:gd name="T38" fmla="*/ 17 w 41"/>
                <a:gd name="T39" fmla="*/ 52 h 147"/>
                <a:gd name="T40" fmla="*/ 13 w 41"/>
                <a:gd name="T41" fmla="*/ 52 h 147"/>
                <a:gd name="T42" fmla="*/ 8 w 41"/>
                <a:gd name="T43" fmla="*/ 52 h 147"/>
                <a:gd name="T44" fmla="*/ 33 w 41"/>
                <a:gd name="T45" fmla="*/ 42 h 147"/>
                <a:gd name="T46" fmla="*/ 28 w 41"/>
                <a:gd name="T47" fmla="*/ 42 h 147"/>
                <a:gd name="T48" fmla="*/ 23 w 41"/>
                <a:gd name="T49" fmla="*/ 42 h 147"/>
                <a:gd name="T50" fmla="*/ 17 w 41"/>
                <a:gd name="T51" fmla="*/ 42 h 147"/>
                <a:gd name="T52" fmla="*/ 13 w 41"/>
                <a:gd name="T53" fmla="*/ 42 h 147"/>
                <a:gd name="T54" fmla="*/ 8 w 41"/>
                <a:gd name="T55" fmla="*/ 42 h 147"/>
                <a:gd name="T56" fmla="*/ 33 w 41"/>
                <a:gd name="T57" fmla="*/ 31 h 147"/>
                <a:gd name="T58" fmla="*/ 28 w 41"/>
                <a:gd name="T59" fmla="*/ 31 h 147"/>
                <a:gd name="T60" fmla="*/ 23 w 41"/>
                <a:gd name="T61" fmla="*/ 31 h 147"/>
                <a:gd name="T62" fmla="*/ 17 w 41"/>
                <a:gd name="T63" fmla="*/ 31 h 147"/>
                <a:gd name="T64" fmla="*/ 13 w 41"/>
                <a:gd name="T65" fmla="*/ 31 h 147"/>
                <a:gd name="T66" fmla="*/ 8 w 41"/>
                <a:gd name="T67" fmla="*/ 31 h 147"/>
                <a:gd name="T68" fmla="*/ 33 w 41"/>
                <a:gd name="T69" fmla="*/ 20 h 147"/>
                <a:gd name="T70" fmla="*/ 28 w 41"/>
                <a:gd name="T71" fmla="*/ 20 h 147"/>
                <a:gd name="T72" fmla="*/ 23 w 41"/>
                <a:gd name="T73" fmla="*/ 20 h 147"/>
                <a:gd name="T74" fmla="*/ 17 w 41"/>
                <a:gd name="T75" fmla="*/ 20 h 147"/>
                <a:gd name="T76" fmla="*/ 13 w 41"/>
                <a:gd name="T77" fmla="*/ 20 h 147"/>
                <a:gd name="T78" fmla="*/ 8 w 41"/>
                <a:gd name="T79" fmla="*/ 20 h 147"/>
                <a:gd name="T80" fmla="*/ 33 w 41"/>
                <a:gd name="T81" fmla="*/ 9 h 147"/>
                <a:gd name="T82" fmla="*/ 28 w 41"/>
                <a:gd name="T83" fmla="*/ 9 h 147"/>
                <a:gd name="T84" fmla="*/ 23 w 41"/>
                <a:gd name="T85" fmla="*/ 9 h 147"/>
                <a:gd name="T86" fmla="*/ 17 w 41"/>
                <a:gd name="T87" fmla="*/ 9 h 147"/>
                <a:gd name="T88" fmla="*/ 13 w 41"/>
                <a:gd name="T89" fmla="*/ 9 h 147"/>
                <a:gd name="T90" fmla="*/ 8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9" y="147"/>
                  </a:cubicBezTo>
                  <a:cubicBezTo>
                    <a:pt x="32" y="147"/>
                    <a:pt x="32" y="147"/>
                    <a:pt x="32" y="147"/>
                  </a:cubicBezTo>
                  <a:cubicBezTo>
                    <a:pt x="37" y="147"/>
                    <a:pt x="41" y="143"/>
                    <a:pt x="41" y="137"/>
                  </a:cubicBezTo>
                  <a:cubicBezTo>
                    <a:pt x="41" y="10"/>
                    <a:pt x="41" y="10"/>
                    <a:pt x="41" y="10"/>
                  </a:cubicBezTo>
                  <a:cubicBezTo>
                    <a:pt x="41" y="4"/>
                    <a:pt x="37" y="0"/>
                    <a:pt x="32" y="0"/>
                  </a:cubicBezTo>
                  <a:cubicBezTo>
                    <a:pt x="9" y="0"/>
                    <a:pt x="9" y="0"/>
                    <a:pt x="9" y="0"/>
                  </a:cubicBezTo>
                  <a:cubicBezTo>
                    <a:pt x="4" y="0"/>
                    <a:pt x="0" y="4"/>
                    <a:pt x="0" y="10"/>
                  </a:cubicBezTo>
                  <a:close/>
                  <a:moveTo>
                    <a:pt x="28" y="127"/>
                  </a:moveTo>
                  <a:cubicBezTo>
                    <a:pt x="28" y="131"/>
                    <a:pt x="25" y="134"/>
                    <a:pt x="21" y="134"/>
                  </a:cubicBezTo>
                  <a:cubicBezTo>
                    <a:pt x="16" y="134"/>
                    <a:pt x="13" y="131"/>
                    <a:pt x="13" y="127"/>
                  </a:cubicBezTo>
                  <a:cubicBezTo>
                    <a:pt x="13" y="123"/>
                    <a:pt x="16" y="119"/>
                    <a:pt x="21" y="119"/>
                  </a:cubicBezTo>
                  <a:cubicBezTo>
                    <a:pt x="25" y="119"/>
                    <a:pt x="28" y="123"/>
                    <a:pt x="28" y="127"/>
                  </a:cubicBezTo>
                  <a:close/>
                  <a:moveTo>
                    <a:pt x="33" y="74"/>
                  </a:moveTo>
                  <a:cubicBezTo>
                    <a:pt x="33" y="80"/>
                    <a:pt x="33" y="80"/>
                    <a:pt x="33" y="80"/>
                  </a:cubicBezTo>
                  <a:cubicBezTo>
                    <a:pt x="28" y="80"/>
                    <a:pt x="28" y="80"/>
                    <a:pt x="28" y="80"/>
                  </a:cubicBezTo>
                  <a:cubicBezTo>
                    <a:pt x="28" y="74"/>
                    <a:pt x="28" y="74"/>
                    <a:pt x="28"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8" y="80"/>
                    <a:pt x="8" y="80"/>
                    <a:pt x="8" y="80"/>
                  </a:cubicBezTo>
                  <a:cubicBezTo>
                    <a:pt x="8" y="74"/>
                    <a:pt x="8" y="74"/>
                    <a:pt x="8" y="74"/>
                  </a:cubicBezTo>
                  <a:cubicBezTo>
                    <a:pt x="13" y="74"/>
                    <a:pt x="13" y="74"/>
                    <a:pt x="13" y="74"/>
                  </a:cubicBezTo>
                  <a:cubicBezTo>
                    <a:pt x="13" y="74"/>
                    <a:pt x="13" y="74"/>
                    <a:pt x="13" y="74"/>
                  </a:cubicBezTo>
                  <a:close/>
                  <a:moveTo>
                    <a:pt x="33" y="63"/>
                  </a:moveTo>
                  <a:cubicBezTo>
                    <a:pt x="33" y="69"/>
                    <a:pt x="33" y="69"/>
                    <a:pt x="33" y="69"/>
                  </a:cubicBezTo>
                  <a:cubicBezTo>
                    <a:pt x="28" y="69"/>
                    <a:pt x="28" y="69"/>
                    <a:pt x="28" y="69"/>
                  </a:cubicBezTo>
                  <a:cubicBezTo>
                    <a:pt x="28" y="63"/>
                    <a:pt x="28" y="63"/>
                    <a:pt x="28"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8" y="69"/>
                    <a:pt x="8" y="69"/>
                    <a:pt x="8" y="69"/>
                  </a:cubicBezTo>
                  <a:cubicBezTo>
                    <a:pt x="8" y="63"/>
                    <a:pt x="8" y="63"/>
                    <a:pt x="8" y="63"/>
                  </a:cubicBezTo>
                  <a:cubicBezTo>
                    <a:pt x="13" y="63"/>
                    <a:pt x="13" y="63"/>
                    <a:pt x="13" y="63"/>
                  </a:cubicBezTo>
                  <a:cubicBezTo>
                    <a:pt x="13" y="63"/>
                    <a:pt x="13" y="63"/>
                    <a:pt x="13" y="63"/>
                  </a:cubicBezTo>
                  <a:close/>
                  <a:moveTo>
                    <a:pt x="33" y="52"/>
                  </a:moveTo>
                  <a:cubicBezTo>
                    <a:pt x="33" y="58"/>
                    <a:pt x="33" y="58"/>
                    <a:pt x="33" y="58"/>
                  </a:cubicBezTo>
                  <a:cubicBezTo>
                    <a:pt x="28" y="58"/>
                    <a:pt x="28" y="58"/>
                    <a:pt x="28" y="58"/>
                  </a:cubicBezTo>
                  <a:cubicBezTo>
                    <a:pt x="28" y="52"/>
                    <a:pt x="28" y="52"/>
                    <a:pt x="28"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8" y="58"/>
                    <a:pt x="8" y="58"/>
                    <a:pt x="8" y="58"/>
                  </a:cubicBezTo>
                  <a:cubicBezTo>
                    <a:pt x="8" y="52"/>
                    <a:pt x="8" y="52"/>
                    <a:pt x="8" y="52"/>
                  </a:cubicBezTo>
                  <a:cubicBezTo>
                    <a:pt x="13" y="52"/>
                    <a:pt x="13" y="52"/>
                    <a:pt x="13" y="52"/>
                  </a:cubicBezTo>
                  <a:cubicBezTo>
                    <a:pt x="13" y="52"/>
                    <a:pt x="13" y="52"/>
                    <a:pt x="13" y="52"/>
                  </a:cubicBezTo>
                  <a:close/>
                  <a:moveTo>
                    <a:pt x="33" y="42"/>
                  </a:moveTo>
                  <a:cubicBezTo>
                    <a:pt x="33" y="47"/>
                    <a:pt x="33" y="47"/>
                    <a:pt x="33" y="47"/>
                  </a:cubicBezTo>
                  <a:cubicBezTo>
                    <a:pt x="28" y="47"/>
                    <a:pt x="28" y="47"/>
                    <a:pt x="28" y="47"/>
                  </a:cubicBezTo>
                  <a:cubicBezTo>
                    <a:pt x="28" y="42"/>
                    <a:pt x="28" y="42"/>
                    <a:pt x="28" y="42"/>
                  </a:cubicBezTo>
                  <a:cubicBezTo>
                    <a:pt x="33" y="42"/>
                    <a:pt x="33" y="42"/>
                    <a:pt x="33" y="42"/>
                  </a:cubicBezTo>
                  <a:cubicBezTo>
                    <a:pt x="33" y="42"/>
                    <a:pt x="33" y="42"/>
                    <a:pt x="33" y="42"/>
                  </a:cubicBezTo>
                  <a:close/>
                  <a:moveTo>
                    <a:pt x="23" y="42"/>
                  </a:moveTo>
                  <a:cubicBezTo>
                    <a:pt x="23" y="47"/>
                    <a:pt x="23" y="47"/>
                    <a:pt x="23" y="47"/>
                  </a:cubicBezTo>
                  <a:cubicBezTo>
                    <a:pt x="17" y="47"/>
                    <a:pt x="17" y="47"/>
                    <a:pt x="17" y="47"/>
                  </a:cubicBezTo>
                  <a:cubicBezTo>
                    <a:pt x="17" y="42"/>
                    <a:pt x="17" y="42"/>
                    <a:pt x="17" y="42"/>
                  </a:cubicBezTo>
                  <a:cubicBezTo>
                    <a:pt x="23" y="42"/>
                    <a:pt x="23" y="42"/>
                    <a:pt x="23" y="42"/>
                  </a:cubicBezTo>
                  <a:cubicBezTo>
                    <a:pt x="23" y="42"/>
                    <a:pt x="23" y="42"/>
                    <a:pt x="23" y="42"/>
                  </a:cubicBezTo>
                  <a:close/>
                  <a:moveTo>
                    <a:pt x="13" y="42"/>
                  </a:moveTo>
                  <a:cubicBezTo>
                    <a:pt x="13" y="47"/>
                    <a:pt x="13" y="47"/>
                    <a:pt x="13" y="47"/>
                  </a:cubicBezTo>
                  <a:cubicBezTo>
                    <a:pt x="8" y="47"/>
                    <a:pt x="8" y="47"/>
                    <a:pt x="8" y="47"/>
                  </a:cubicBezTo>
                  <a:cubicBezTo>
                    <a:pt x="8" y="42"/>
                    <a:pt x="8" y="42"/>
                    <a:pt x="8" y="42"/>
                  </a:cubicBezTo>
                  <a:cubicBezTo>
                    <a:pt x="13" y="42"/>
                    <a:pt x="13" y="42"/>
                    <a:pt x="13" y="42"/>
                  </a:cubicBezTo>
                  <a:cubicBezTo>
                    <a:pt x="13" y="42"/>
                    <a:pt x="13" y="42"/>
                    <a:pt x="13" y="42"/>
                  </a:cubicBezTo>
                  <a:close/>
                  <a:moveTo>
                    <a:pt x="33" y="31"/>
                  </a:moveTo>
                  <a:cubicBezTo>
                    <a:pt x="33" y="37"/>
                    <a:pt x="33" y="37"/>
                    <a:pt x="33" y="37"/>
                  </a:cubicBezTo>
                  <a:cubicBezTo>
                    <a:pt x="28" y="37"/>
                    <a:pt x="28" y="37"/>
                    <a:pt x="28" y="37"/>
                  </a:cubicBezTo>
                  <a:cubicBezTo>
                    <a:pt x="28" y="31"/>
                    <a:pt x="28" y="31"/>
                    <a:pt x="28"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8" y="37"/>
                    <a:pt x="8" y="37"/>
                    <a:pt x="8" y="37"/>
                  </a:cubicBezTo>
                  <a:cubicBezTo>
                    <a:pt x="8" y="31"/>
                    <a:pt x="8" y="31"/>
                    <a:pt x="8" y="31"/>
                  </a:cubicBezTo>
                  <a:cubicBezTo>
                    <a:pt x="13" y="31"/>
                    <a:pt x="13" y="31"/>
                    <a:pt x="13" y="31"/>
                  </a:cubicBezTo>
                  <a:cubicBezTo>
                    <a:pt x="13" y="31"/>
                    <a:pt x="13" y="31"/>
                    <a:pt x="13" y="31"/>
                  </a:cubicBezTo>
                  <a:close/>
                  <a:moveTo>
                    <a:pt x="33" y="20"/>
                  </a:moveTo>
                  <a:cubicBezTo>
                    <a:pt x="33" y="26"/>
                    <a:pt x="33" y="26"/>
                    <a:pt x="33" y="26"/>
                  </a:cubicBezTo>
                  <a:cubicBezTo>
                    <a:pt x="28" y="26"/>
                    <a:pt x="28" y="26"/>
                    <a:pt x="28" y="26"/>
                  </a:cubicBezTo>
                  <a:cubicBezTo>
                    <a:pt x="28" y="20"/>
                    <a:pt x="28" y="20"/>
                    <a:pt x="28"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8" y="26"/>
                    <a:pt x="8" y="26"/>
                    <a:pt x="8" y="26"/>
                  </a:cubicBezTo>
                  <a:cubicBezTo>
                    <a:pt x="8" y="20"/>
                    <a:pt x="8" y="20"/>
                    <a:pt x="8" y="20"/>
                  </a:cubicBezTo>
                  <a:cubicBezTo>
                    <a:pt x="13" y="20"/>
                    <a:pt x="13" y="20"/>
                    <a:pt x="13" y="20"/>
                  </a:cubicBezTo>
                  <a:cubicBezTo>
                    <a:pt x="13" y="20"/>
                    <a:pt x="13" y="20"/>
                    <a:pt x="13" y="20"/>
                  </a:cubicBezTo>
                  <a:close/>
                  <a:moveTo>
                    <a:pt x="33" y="9"/>
                  </a:moveTo>
                  <a:cubicBezTo>
                    <a:pt x="33" y="15"/>
                    <a:pt x="33" y="15"/>
                    <a:pt x="33" y="15"/>
                  </a:cubicBezTo>
                  <a:cubicBezTo>
                    <a:pt x="28" y="15"/>
                    <a:pt x="28" y="15"/>
                    <a:pt x="28" y="15"/>
                  </a:cubicBezTo>
                  <a:cubicBezTo>
                    <a:pt x="28" y="9"/>
                    <a:pt x="28" y="9"/>
                    <a:pt x="28"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8" y="15"/>
                    <a:pt x="8" y="15"/>
                    <a:pt x="8" y="15"/>
                  </a:cubicBezTo>
                  <a:cubicBezTo>
                    <a:pt x="8" y="9"/>
                    <a:pt x="8" y="9"/>
                    <a:pt x="8"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82" name="Freeform 2138"/>
            <p:cNvSpPr>
              <a:spLocks noEditPoints="1"/>
            </p:cNvSpPr>
            <p:nvPr/>
          </p:nvSpPr>
          <p:spPr bwMode="auto">
            <a:xfrm>
              <a:off x="19075400" y="3097213"/>
              <a:ext cx="153988" cy="552450"/>
            </a:xfrm>
            <a:custGeom>
              <a:avLst/>
              <a:gdLst>
                <a:gd name="T0" fmla="*/ 10 w 41"/>
                <a:gd name="T1" fmla="*/ 147 h 147"/>
                <a:gd name="T2" fmla="*/ 41 w 41"/>
                <a:gd name="T3" fmla="*/ 10 h 147"/>
                <a:gd name="T4" fmla="*/ 0 w 41"/>
                <a:gd name="T5" fmla="*/ 10 h 147"/>
                <a:gd name="T6" fmla="*/ 13 w 41"/>
                <a:gd name="T7" fmla="*/ 127 h 147"/>
                <a:gd name="T8" fmla="*/ 34 w 41"/>
                <a:gd name="T9" fmla="*/ 74 h 147"/>
                <a:gd name="T10" fmla="*/ 28 w 41"/>
                <a:gd name="T11" fmla="*/ 74 h 147"/>
                <a:gd name="T12" fmla="*/ 23 w 41"/>
                <a:gd name="T13" fmla="*/ 74 h 147"/>
                <a:gd name="T14" fmla="*/ 18 w 41"/>
                <a:gd name="T15" fmla="*/ 74 h 147"/>
                <a:gd name="T16" fmla="*/ 14 w 41"/>
                <a:gd name="T17" fmla="*/ 74 h 147"/>
                <a:gd name="T18" fmla="*/ 8 w 41"/>
                <a:gd name="T19" fmla="*/ 74 h 147"/>
                <a:gd name="T20" fmla="*/ 34 w 41"/>
                <a:gd name="T21" fmla="*/ 63 h 147"/>
                <a:gd name="T22" fmla="*/ 28 w 41"/>
                <a:gd name="T23" fmla="*/ 63 h 147"/>
                <a:gd name="T24" fmla="*/ 23 w 41"/>
                <a:gd name="T25" fmla="*/ 63 h 147"/>
                <a:gd name="T26" fmla="*/ 18 w 41"/>
                <a:gd name="T27" fmla="*/ 63 h 147"/>
                <a:gd name="T28" fmla="*/ 14 w 41"/>
                <a:gd name="T29" fmla="*/ 63 h 147"/>
                <a:gd name="T30" fmla="*/ 8 w 41"/>
                <a:gd name="T31" fmla="*/ 63 h 147"/>
                <a:gd name="T32" fmla="*/ 34 w 41"/>
                <a:gd name="T33" fmla="*/ 52 h 147"/>
                <a:gd name="T34" fmla="*/ 28 w 41"/>
                <a:gd name="T35" fmla="*/ 52 h 147"/>
                <a:gd name="T36" fmla="*/ 23 w 41"/>
                <a:gd name="T37" fmla="*/ 52 h 147"/>
                <a:gd name="T38" fmla="*/ 18 w 41"/>
                <a:gd name="T39" fmla="*/ 52 h 147"/>
                <a:gd name="T40" fmla="*/ 14 w 41"/>
                <a:gd name="T41" fmla="*/ 52 h 147"/>
                <a:gd name="T42" fmla="*/ 8 w 41"/>
                <a:gd name="T43" fmla="*/ 52 h 147"/>
                <a:gd name="T44" fmla="*/ 34 w 41"/>
                <a:gd name="T45" fmla="*/ 42 h 147"/>
                <a:gd name="T46" fmla="*/ 28 w 41"/>
                <a:gd name="T47" fmla="*/ 42 h 147"/>
                <a:gd name="T48" fmla="*/ 23 w 41"/>
                <a:gd name="T49" fmla="*/ 42 h 147"/>
                <a:gd name="T50" fmla="*/ 18 w 41"/>
                <a:gd name="T51" fmla="*/ 42 h 147"/>
                <a:gd name="T52" fmla="*/ 14 w 41"/>
                <a:gd name="T53" fmla="*/ 42 h 147"/>
                <a:gd name="T54" fmla="*/ 8 w 41"/>
                <a:gd name="T55" fmla="*/ 42 h 147"/>
                <a:gd name="T56" fmla="*/ 34 w 41"/>
                <a:gd name="T57" fmla="*/ 31 h 147"/>
                <a:gd name="T58" fmla="*/ 28 w 41"/>
                <a:gd name="T59" fmla="*/ 31 h 147"/>
                <a:gd name="T60" fmla="*/ 23 w 41"/>
                <a:gd name="T61" fmla="*/ 31 h 147"/>
                <a:gd name="T62" fmla="*/ 18 w 41"/>
                <a:gd name="T63" fmla="*/ 31 h 147"/>
                <a:gd name="T64" fmla="*/ 14 w 41"/>
                <a:gd name="T65" fmla="*/ 31 h 147"/>
                <a:gd name="T66" fmla="*/ 8 w 41"/>
                <a:gd name="T67" fmla="*/ 31 h 147"/>
                <a:gd name="T68" fmla="*/ 34 w 41"/>
                <a:gd name="T69" fmla="*/ 20 h 147"/>
                <a:gd name="T70" fmla="*/ 28 w 41"/>
                <a:gd name="T71" fmla="*/ 20 h 147"/>
                <a:gd name="T72" fmla="*/ 23 w 41"/>
                <a:gd name="T73" fmla="*/ 20 h 147"/>
                <a:gd name="T74" fmla="*/ 18 w 41"/>
                <a:gd name="T75" fmla="*/ 20 h 147"/>
                <a:gd name="T76" fmla="*/ 14 w 41"/>
                <a:gd name="T77" fmla="*/ 20 h 147"/>
                <a:gd name="T78" fmla="*/ 8 w 41"/>
                <a:gd name="T79" fmla="*/ 20 h 147"/>
                <a:gd name="T80" fmla="*/ 34 w 41"/>
                <a:gd name="T81" fmla="*/ 9 h 147"/>
                <a:gd name="T82" fmla="*/ 28 w 41"/>
                <a:gd name="T83" fmla="*/ 9 h 147"/>
                <a:gd name="T84" fmla="*/ 23 w 41"/>
                <a:gd name="T85" fmla="*/ 9 h 147"/>
                <a:gd name="T86" fmla="*/ 18 w 41"/>
                <a:gd name="T87" fmla="*/ 9 h 147"/>
                <a:gd name="T88" fmla="*/ 14 w 41"/>
                <a:gd name="T89" fmla="*/ 9 h 147"/>
                <a:gd name="T90" fmla="*/ 8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7"/>
                    <a:pt x="0" y="137"/>
                    <a:pt x="0" y="137"/>
                  </a:cubicBezTo>
                  <a:cubicBezTo>
                    <a:pt x="0" y="143"/>
                    <a:pt x="4" y="147"/>
                    <a:pt x="10" y="147"/>
                  </a:cubicBezTo>
                  <a:cubicBezTo>
                    <a:pt x="32" y="147"/>
                    <a:pt x="32" y="147"/>
                    <a:pt x="32" y="147"/>
                  </a:cubicBezTo>
                  <a:cubicBezTo>
                    <a:pt x="37" y="147"/>
                    <a:pt x="41" y="143"/>
                    <a:pt x="41" y="137"/>
                  </a:cubicBezTo>
                  <a:cubicBezTo>
                    <a:pt x="41" y="10"/>
                    <a:pt x="41" y="10"/>
                    <a:pt x="41" y="10"/>
                  </a:cubicBezTo>
                  <a:cubicBezTo>
                    <a:pt x="41" y="4"/>
                    <a:pt x="37" y="0"/>
                    <a:pt x="32" y="0"/>
                  </a:cubicBezTo>
                  <a:cubicBezTo>
                    <a:pt x="10" y="0"/>
                    <a:pt x="10" y="0"/>
                    <a:pt x="10" y="0"/>
                  </a:cubicBezTo>
                  <a:cubicBezTo>
                    <a:pt x="4" y="0"/>
                    <a:pt x="0" y="4"/>
                    <a:pt x="0" y="10"/>
                  </a:cubicBezTo>
                  <a:close/>
                  <a:moveTo>
                    <a:pt x="28" y="127"/>
                  </a:moveTo>
                  <a:cubicBezTo>
                    <a:pt x="28" y="131"/>
                    <a:pt x="25" y="134"/>
                    <a:pt x="21" y="134"/>
                  </a:cubicBezTo>
                  <a:cubicBezTo>
                    <a:pt x="17" y="134"/>
                    <a:pt x="13" y="131"/>
                    <a:pt x="13" y="127"/>
                  </a:cubicBezTo>
                  <a:cubicBezTo>
                    <a:pt x="13" y="123"/>
                    <a:pt x="17" y="119"/>
                    <a:pt x="21" y="119"/>
                  </a:cubicBezTo>
                  <a:cubicBezTo>
                    <a:pt x="25" y="119"/>
                    <a:pt x="28" y="123"/>
                    <a:pt x="28" y="127"/>
                  </a:cubicBezTo>
                  <a:close/>
                  <a:moveTo>
                    <a:pt x="34" y="74"/>
                  </a:moveTo>
                  <a:cubicBezTo>
                    <a:pt x="34" y="80"/>
                    <a:pt x="34" y="80"/>
                    <a:pt x="34" y="80"/>
                  </a:cubicBezTo>
                  <a:cubicBezTo>
                    <a:pt x="28" y="80"/>
                    <a:pt x="28" y="80"/>
                    <a:pt x="28" y="80"/>
                  </a:cubicBezTo>
                  <a:cubicBezTo>
                    <a:pt x="28" y="74"/>
                    <a:pt x="28" y="74"/>
                    <a:pt x="28" y="74"/>
                  </a:cubicBezTo>
                  <a:cubicBezTo>
                    <a:pt x="34" y="74"/>
                    <a:pt x="34" y="74"/>
                    <a:pt x="34" y="74"/>
                  </a:cubicBezTo>
                  <a:cubicBezTo>
                    <a:pt x="34" y="74"/>
                    <a:pt x="34" y="74"/>
                    <a:pt x="34" y="74"/>
                  </a:cubicBezTo>
                  <a:close/>
                  <a:moveTo>
                    <a:pt x="23" y="74"/>
                  </a:moveTo>
                  <a:cubicBezTo>
                    <a:pt x="23" y="80"/>
                    <a:pt x="23" y="80"/>
                    <a:pt x="23" y="80"/>
                  </a:cubicBezTo>
                  <a:cubicBezTo>
                    <a:pt x="18" y="80"/>
                    <a:pt x="18" y="80"/>
                    <a:pt x="18" y="80"/>
                  </a:cubicBezTo>
                  <a:cubicBezTo>
                    <a:pt x="18" y="74"/>
                    <a:pt x="18" y="74"/>
                    <a:pt x="18" y="74"/>
                  </a:cubicBezTo>
                  <a:cubicBezTo>
                    <a:pt x="23" y="74"/>
                    <a:pt x="23" y="74"/>
                    <a:pt x="23" y="74"/>
                  </a:cubicBezTo>
                  <a:cubicBezTo>
                    <a:pt x="23" y="74"/>
                    <a:pt x="23" y="74"/>
                    <a:pt x="23" y="74"/>
                  </a:cubicBezTo>
                  <a:close/>
                  <a:moveTo>
                    <a:pt x="14" y="74"/>
                  </a:moveTo>
                  <a:cubicBezTo>
                    <a:pt x="14" y="80"/>
                    <a:pt x="14" y="80"/>
                    <a:pt x="14" y="80"/>
                  </a:cubicBezTo>
                  <a:cubicBezTo>
                    <a:pt x="8" y="80"/>
                    <a:pt x="8" y="80"/>
                    <a:pt x="8" y="80"/>
                  </a:cubicBezTo>
                  <a:cubicBezTo>
                    <a:pt x="8" y="74"/>
                    <a:pt x="8" y="74"/>
                    <a:pt x="8" y="74"/>
                  </a:cubicBezTo>
                  <a:cubicBezTo>
                    <a:pt x="14" y="74"/>
                    <a:pt x="14" y="74"/>
                    <a:pt x="14" y="74"/>
                  </a:cubicBezTo>
                  <a:cubicBezTo>
                    <a:pt x="14" y="74"/>
                    <a:pt x="14" y="74"/>
                    <a:pt x="14" y="74"/>
                  </a:cubicBezTo>
                  <a:close/>
                  <a:moveTo>
                    <a:pt x="34" y="63"/>
                  </a:moveTo>
                  <a:cubicBezTo>
                    <a:pt x="34" y="69"/>
                    <a:pt x="34" y="69"/>
                    <a:pt x="34" y="69"/>
                  </a:cubicBezTo>
                  <a:cubicBezTo>
                    <a:pt x="28" y="69"/>
                    <a:pt x="28" y="69"/>
                    <a:pt x="28" y="69"/>
                  </a:cubicBezTo>
                  <a:cubicBezTo>
                    <a:pt x="28" y="63"/>
                    <a:pt x="28" y="63"/>
                    <a:pt x="28" y="63"/>
                  </a:cubicBezTo>
                  <a:cubicBezTo>
                    <a:pt x="34" y="63"/>
                    <a:pt x="34" y="63"/>
                    <a:pt x="34" y="63"/>
                  </a:cubicBezTo>
                  <a:cubicBezTo>
                    <a:pt x="34" y="63"/>
                    <a:pt x="34" y="63"/>
                    <a:pt x="34" y="63"/>
                  </a:cubicBezTo>
                  <a:close/>
                  <a:moveTo>
                    <a:pt x="23" y="63"/>
                  </a:moveTo>
                  <a:cubicBezTo>
                    <a:pt x="23" y="69"/>
                    <a:pt x="23" y="69"/>
                    <a:pt x="23" y="69"/>
                  </a:cubicBezTo>
                  <a:cubicBezTo>
                    <a:pt x="18" y="69"/>
                    <a:pt x="18" y="69"/>
                    <a:pt x="18" y="69"/>
                  </a:cubicBezTo>
                  <a:cubicBezTo>
                    <a:pt x="18" y="63"/>
                    <a:pt x="18" y="63"/>
                    <a:pt x="18" y="63"/>
                  </a:cubicBezTo>
                  <a:cubicBezTo>
                    <a:pt x="23" y="63"/>
                    <a:pt x="23" y="63"/>
                    <a:pt x="23" y="63"/>
                  </a:cubicBezTo>
                  <a:cubicBezTo>
                    <a:pt x="23" y="63"/>
                    <a:pt x="23" y="63"/>
                    <a:pt x="23" y="63"/>
                  </a:cubicBezTo>
                  <a:close/>
                  <a:moveTo>
                    <a:pt x="14" y="63"/>
                  </a:moveTo>
                  <a:cubicBezTo>
                    <a:pt x="14" y="69"/>
                    <a:pt x="14" y="69"/>
                    <a:pt x="14" y="69"/>
                  </a:cubicBezTo>
                  <a:cubicBezTo>
                    <a:pt x="8" y="69"/>
                    <a:pt x="8" y="69"/>
                    <a:pt x="8" y="69"/>
                  </a:cubicBezTo>
                  <a:cubicBezTo>
                    <a:pt x="8" y="63"/>
                    <a:pt x="8" y="63"/>
                    <a:pt x="8" y="63"/>
                  </a:cubicBezTo>
                  <a:cubicBezTo>
                    <a:pt x="14" y="63"/>
                    <a:pt x="14" y="63"/>
                    <a:pt x="14" y="63"/>
                  </a:cubicBezTo>
                  <a:cubicBezTo>
                    <a:pt x="14" y="63"/>
                    <a:pt x="14" y="63"/>
                    <a:pt x="14" y="63"/>
                  </a:cubicBezTo>
                  <a:close/>
                  <a:moveTo>
                    <a:pt x="34" y="52"/>
                  </a:moveTo>
                  <a:cubicBezTo>
                    <a:pt x="34" y="58"/>
                    <a:pt x="34" y="58"/>
                    <a:pt x="34" y="58"/>
                  </a:cubicBezTo>
                  <a:cubicBezTo>
                    <a:pt x="28" y="58"/>
                    <a:pt x="28" y="58"/>
                    <a:pt x="28" y="58"/>
                  </a:cubicBezTo>
                  <a:cubicBezTo>
                    <a:pt x="28" y="52"/>
                    <a:pt x="28" y="52"/>
                    <a:pt x="28" y="52"/>
                  </a:cubicBezTo>
                  <a:cubicBezTo>
                    <a:pt x="34" y="52"/>
                    <a:pt x="34" y="52"/>
                    <a:pt x="34" y="52"/>
                  </a:cubicBezTo>
                  <a:cubicBezTo>
                    <a:pt x="34" y="52"/>
                    <a:pt x="34" y="52"/>
                    <a:pt x="34" y="52"/>
                  </a:cubicBezTo>
                  <a:close/>
                  <a:moveTo>
                    <a:pt x="23" y="52"/>
                  </a:moveTo>
                  <a:cubicBezTo>
                    <a:pt x="23" y="58"/>
                    <a:pt x="23" y="58"/>
                    <a:pt x="23" y="58"/>
                  </a:cubicBezTo>
                  <a:cubicBezTo>
                    <a:pt x="18" y="58"/>
                    <a:pt x="18" y="58"/>
                    <a:pt x="18" y="58"/>
                  </a:cubicBezTo>
                  <a:cubicBezTo>
                    <a:pt x="18" y="52"/>
                    <a:pt x="18" y="52"/>
                    <a:pt x="18" y="52"/>
                  </a:cubicBezTo>
                  <a:cubicBezTo>
                    <a:pt x="23" y="52"/>
                    <a:pt x="23" y="52"/>
                    <a:pt x="23" y="52"/>
                  </a:cubicBezTo>
                  <a:cubicBezTo>
                    <a:pt x="23" y="52"/>
                    <a:pt x="23" y="52"/>
                    <a:pt x="23" y="52"/>
                  </a:cubicBezTo>
                  <a:close/>
                  <a:moveTo>
                    <a:pt x="14" y="52"/>
                  </a:moveTo>
                  <a:cubicBezTo>
                    <a:pt x="14" y="58"/>
                    <a:pt x="14" y="58"/>
                    <a:pt x="14" y="58"/>
                  </a:cubicBezTo>
                  <a:cubicBezTo>
                    <a:pt x="8" y="58"/>
                    <a:pt x="8" y="58"/>
                    <a:pt x="8" y="58"/>
                  </a:cubicBezTo>
                  <a:cubicBezTo>
                    <a:pt x="8" y="52"/>
                    <a:pt x="8" y="52"/>
                    <a:pt x="8" y="52"/>
                  </a:cubicBezTo>
                  <a:cubicBezTo>
                    <a:pt x="14" y="52"/>
                    <a:pt x="14" y="52"/>
                    <a:pt x="14" y="52"/>
                  </a:cubicBezTo>
                  <a:cubicBezTo>
                    <a:pt x="14" y="52"/>
                    <a:pt x="14" y="52"/>
                    <a:pt x="14" y="52"/>
                  </a:cubicBezTo>
                  <a:close/>
                  <a:moveTo>
                    <a:pt x="34" y="42"/>
                  </a:moveTo>
                  <a:cubicBezTo>
                    <a:pt x="34" y="47"/>
                    <a:pt x="34" y="47"/>
                    <a:pt x="34" y="47"/>
                  </a:cubicBezTo>
                  <a:cubicBezTo>
                    <a:pt x="28" y="47"/>
                    <a:pt x="28" y="47"/>
                    <a:pt x="28" y="47"/>
                  </a:cubicBezTo>
                  <a:cubicBezTo>
                    <a:pt x="28" y="42"/>
                    <a:pt x="28" y="42"/>
                    <a:pt x="28" y="42"/>
                  </a:cubicBezTo>
                  <a:cubicBezTo>
                    <a:pt x="34" y="42"/>
                    <a:pt x="34" y="42"/>
                    <a:pt x="34" y="42"/>
                  </a:cubicBezTo>
                  <a:cubicBezTo>
                    <a:pt x="34" y="42"/>
                    <a:pt x="34" y="42"/>
                    <a:pt x="34" y="42"/>
                  </a:cubicBezTo>
                  <a:close/>
                  <a:moveTo>
                    <a:pt x="23" y="42"/>
                  </a:moveTo>
                  <a:cubicBezTo>
                    <a:pt x="23" y="47"/>
                    <a:pt x="23" y="47"/>
                    <a:pt x="23" y="47"/>
                  </a:cubicBezTo>
                  <a:cubicBezTo>
                    <a:pt x="18" y="47"/>
                    <a:pt x="18" y="47"/>
                    <a:pt x="18" y="47"/>
                  </a:cubicBezTo>
                  <a:cubicBezTo>
                    <a:pt x="18" y="42"/>
                    <a:pt x="18" y="42"/>
                    <a:pt x="18" y="42"/>
                  </a:cubicBezTo>
                  <a:cubicBezTo>
                    <a:pt x="23" y="42"/>
                    <a:pt x="23" y="42"/>
                    <a:pt x="23" y="42"/>
                  </a:cubicBezTo>
                  <a:cubicBezTo>
                    <a:pt x="23" y="42"/>
                    <a:pt x="23" y="42"/>
                    <a:pt x="23" y="42"/>
                  </a:cubicBezTo>
                  <a:close/>
                  <a:moveTo>
                    <a:pt x="14" y="42"/>
                  </a:moveTo>
                  <a:cubicBezTo>
                    <a:pt x="14" y="47"/>
                    <a:pt x="14" y="47"/>
                    <a:pt x="14" y="47"/>
                  </a:cubicBezTo>
                  <a:cubicBezTo>
                    <a:pt x="8" y="47"/>
                    <a:pt x="8" y="47"/>
                    <a:pt x="8" y="47"/>
                  </a:cubicBezTo>
                  <a:cubicBezTo>
                    <a:pt x="8" y="42"/>
                    <a:pt x="8" y="42"/>
                    <a:pt x="8" y="42"/>
                  </a:cubicBezTo>
                  <a:cubicBezTo>
                    <a:pt x="14" y="42"/>
                    <a:pt x="14" y="42"/>
                    <a:pt x="14" y="42"/>
                  </a:cubicBezTo>
                  <a:cubicBezTo>
                    <a:pt x="14" y="42"/>
                    <a:pt x="14" y="42"/>
                    <a:pt x="14" y="42"/>
                  </a:cubicBezTo>
                  <a:close/>
                  <a:moveTo>
                    <a:pt x="34" y="31"/>
                  </a:moveTo>
                  <a:cubicBezTo>
                    <a:pt x="34" y="37"/>
                    <a:pt x="34" y="37"/>
                    <a:pt x="34" y="37"/>
                  </a:cubicBezTo>
                  <a:cubicBezTo>
                    <a:pt x="28" y="37"/>
                    <a:pt x="28" y="37"/>
                    <a:pt x="28" y="37"/>
                  </a:cubicBezTo>
                  <a:cubicBezTo>
                    <a:pt x="28" y="31"/>
                    <a:pt x="28" y="31"/>
                    <a:pt x="28" y="31"/>
                  </a:cubicBezTo>
                  <a:cubicBezTo>
                    <a:pt x="34" y="31"/>
                    <a:pt x="34" y="31"/>
                    <a:pt x="34" y="31"/>
                  </a:cubicBezTo>
                  <a:cubicBezTo>
                    <a:pt x="34" y="31"/>
                    <a:pt x="34" y="31"/>
                    <a:pt x="34" y="31"/>
                  </a:cubicBezTo>
                  <a:close/>
                  <a:moveTo>
                    <a:pt x="23" y="31"/>
                  </a:moveTo>
                  <a:cubicBezTo>
                    <a:pt x="23" y="37"/>
                    <a:pt x="23" y="37"/>
                    <a:pt x="23" y="37"/>
                  </a:cubicBezTo>
                  <a:cubicBezTo>
                    <a:pt x="18" y="37"/>
                    <a:pt x="18" y="37"/>
                    <a:pt x="18" y="37"/>
                  </a:cubicBezTo>
                  <a:cubicBezTo>
                    <a:pt x="18" y="31"/>
                    <a:pt x="18" y="31"/>
                    <a:pt x="18" y="31"/>
                  </a:cubicBezTo>
                  <a:cubicBezTo>
                    <a:pt x="23" y="31"/>
                    <a:pt x="23" y="31"/>
                    <a:pt x="23" y="31"/>
                  </a:cubicBezTo>
                  <a:cubicBezTo>
                    <a:pt x="23" y="31"/>
                    <a:pt x="23" y="31"/>
                    <a:pt x="23" y="31"/>
                  </a:cubicBezTo>
                  <a:close/>
                  <a:moveTo>
                    <a:pt x="14" y="31"/>
                  </a:moveTo>
                  <a:cubicBezTo>
                    <a:pt x="14" y="37"/>
                    <a:pt x="14" y="37"/>
                    <a:pt x="14" y="37"/>
                  </a:cubicBezTo>
                  <a:cubicBezTo>
                    <a:pt x="8" y="37"/>
                    <a:pt x="8" y="37"/>
                    <a:pt x="8" y="37"/>
                  </a:cubicBezTo>
                  <a:cubicBezTo>
                    <a:pt x="8" y="31"/>
                    <a:pt x="8" y="31"/>
                    <a:pt x="8" y="31"/>
                  </a:cubicBezTo>
                  <a:cubicBezTo>
                    <a:pt x="14" y="31"/>
                    <a:pt x="14" y="31"/>
                    <a:pt x="14" y="31"/>
                  </a:cubicBezTo>
                  <a:cubicBezTo>
                    <a:pt x="14" y="31"/>
                    <a:pt x="14" y="31"/>
                    <a:pt x="14" y="31"/>
                  </a:cubicBezTo>
                  <a:close/>
                  <a:moveTo>
                    <a:pt x="34" y="20"/>
                  </a:moveTo>
                  <a:cubicBezTo>
                    <a:pt x="34" y="26"/>
                    <a:pt x="34" y="26"/>
                    <a:pt x="34" y="26"/>
                  </a:cubicBezTo>
                  <a:cubicBezTo>
                    <a:pt x="28" y="26"/>
                    <a:pt x="28" y="26"/>
                    <a:pt x="28" y="26"/>
                  </a:cubicBezTo>
                  <a:cubicBezTo>
                    <a:pt x="28" y="20"/>
                    <a:pt x="28" y="20"/>
                    <a:pt x="28" y="20"/>
                  </a:cubicBezTo>
                  <a:cubicBezTo>
                    <a:pt x="34" y="20"/>
                    <a:pt x="34" y="20"/>
                    <a:pt x="34" y="20"/>
                  </a:cubicBezTo>
                  <a:cubicBezTo>
                    <a:pt x="34" y="20"/>
                    <a:pt x="34" y="20"/>
                    <a:pt x="34" y="20"/>
                  </a:cubicBezTo>
                  <a:close/>
                  <a:moveTo>
                    <a:pt x="23" y="20"/>
                  </a:moveTo>
                  <a:cubicBezTo>
                    <a:pt x="23" y="26"/>
                    <a:pt x="23" y="26"/>
                    <a:pt x="23" y="26"/>
                  </a:cubicBezTo>
                  <a:cubicBezTo>
                    <a:pt x="18" y="26"/>
                    <a:pt x="18" y="26"/>
                    <a:pt x="18" y="26"/>
                  </a:cubicBezTo>
                  <a:cubicBezTo>
                    <a:pt x="18" y="20"/>
                    <a:pt x="18" y="20"/>
                    <a:pt x="18" y="20"/>
                  </a:cubicBezTo>
                  <a:cubicBezTo>
                    <a:pt x="23" y="20"/>
                    <a:pt x="23" y="20"/>
                    <a:pt x="23" y="20"/>
                  </a:cubicBezTo>
                  <a:cubicBezTo>
                    <a:pt x="23" y="20"/>
                    <a:pt x="23" y="20"/>
                    <a:pt x="23" y="20"/>
                  </a:cubicBezTo>
                  <a:close/>
                  <a:moveTo>
                    <a:pt x="14" y="20"/>
                  </a:moveTo>
                  <a:cubicBezTo>
                    <a:pt x="14" y="26"/>
                    <a:pt x="14" y="26"/>
                    <a:pt x="14" y="26"/>
                  </a:cubicBezTo>
                  <a:cubicBezTo>
                    <a:pt x="8" y="26"/>
                    <a:pt x="8" y="26"/>
                    <a:pt x="8" y="26"/>
                  </a:cubicBezTo>
                  <a:cubicBezTo>
                    <a:pt x="8" y="20"/>
                    <a:pt x="8" y="20"/>
                    <a:pt x="8" y="20"/>
                  </a:cubicBezTo>
                  <a:cubicBezTo>
                    <a:pt x="14" y="20"/>
                    <a:pt x="14" y="20"/>
                    <a:pt x="14" y="20"/>
                  </a:cubicBezTo>
                  <a:cubicBezTo>
                    <a:pt x="14" y="20"/>
                    <a:pt x="14" y="20"/>
                    <a:pt x="14" y="20"/>
                  </a:cubicBezTo>
                  <a:close/>
                  <a:moveTo>
                    <a:pt x="34" y="9"/>
                  </a:moveTo>
                  <a:cubicBezTo>
                    <a:pt x="34" y="15"/>
                    <a:pt x="34" y="15"/>
                    <a:pt x="34" y="15"/>
                  </a:cubicBezTo>
                  <a:cubicBezTo>
                    <a:pt x="28" y="15"/>
                    <a:pt x="28" y="15"/>
                    <a:pt x="28" y="15"/>
                  </a:cubicBezTo>
                  <a:cubicBezTo>
                    <a:pt x="28" y="9"/>
                    <a:pt x="28" y="9"/>
                    <a:pt x="28" y="9"/>
                  </a:cubicBezTo>
                  <a:cubicBezTo>
                    <a:pt x="34" y="9"/>
                    <a:pt x="34" y="9"/>
                    <a:pt x="34" y="9"/>
                  </a:cubicBezTo>
                  <a:cubicBezTo>
                    <a:pt x="34" y="9"/>
                    <a:pt x="34" y="9"/>
                    <a:pt x="34" y="9"/>
                  </a:cubicBezTo>
                  <a:close/>
                  <a:moveTo>
                    <a:pt x="23" y="9"/>
                  </a:moveTo>
                  <a:cubicBezTo>
                    <a:pt x="23" y="15"/>
                    <a:pt x="23" y="15"/>
                    <a:pt x="23" y="15"/>
                  </a:cubicBezTo>
                  <a:cubicBezTo>
                    <a:pt x="18" y="15"/>
                    <a:pt x="18" y="15"/>
                    <a:pt x="18" y="15"/>
                  </a:cubicBezTo>
                  <a:cubicBezTo>
                    <a:pt x="18" y="9"/>
                    <a:pt x="18" y="9"/>
                    <a:pt x="18" y="9"/>
                  </a:cubicBezTo>
                  <a:cubicBezTo>
                    <a:pt x="23" y="9"/>
                    <a:pt x="23" y="9"/>
                    <a:pt x="23" y="9"/>
                  </a:cubicBezTo>
                  <a:cubicBezTo>
                    <a:pt x="23" y="9"/>
                    <a:pt x="23" y="9"/>
                    <a:pt x="23" y="9"/>
                  </a:cubicBezTo>
                  <a:close/>
                  <a:moveTo>
                    <a:pt x="14" y="9"/>
                  </a:moveTo>
                  <a:cubicBezTo>
                    <a:pt x="14" y="15"/>
                    <a:pt x="14" y="15"/>
                    <a:pt x="14" y="15"/>
                  </a:cubicBezTo>
                  <a:cubicBezTo>
                    <a:pt x="8" y="15"/>
                    <a:pt x="8" y="15"/>
                    <a:pt x="8" y="15"/>
                  </a:cubicBezTo>
                  <a:cubicBezTo>
                    <a:pt x="8" y="9"/>
                    <a:pt x="8" y="9"/>
                    <a:pt x="8" y="9"/>
                  </a:cubicBezTo>
                  <a:cubicBezTo>
                    <a:pt x="14" y="9"/>
                    <a:pt x="14" y="9"/>
                    <a:pt x="14" y="9"/>
                  </a:cubicBezTo>
                  <a:cubicBezTo>
                    <a:pt x="14" y="9"/>
                    <a:pt x="14" y="9"/>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83" name="Freeform 2139"/>
            <p:cNvSpPr>
              <a:spLocks noEditPoints="1"/>
            </p:cNvSpPr>
            <p:nvPr/>
          </p:nvSpPr>
          <p:spPr bwMode="auto">
            <a:xfrm>
              <a:off x="17983200" y="1093788"/>
              <a:ext cx="153988" cy="554038"/>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8 w 41"/>
                <a:gd name="T11" fmla="*/ 74 h 147"/>
                <a:gd name="T12" fmla="*/ 23 w 41"/>
                <a:gd name="T13" fmla="*/ 74 h 147"/>
                <a:gd name="T14" fmla="*/ 17 w 41"/>
                <a:gd name="T15" fmla="*/ 74 h 147"/>
                <a:gd name="T16" fmla="*/ 13 w 41"/>
                <a:gd name="T17" fmla="*/ 74 h 147"/>
                <a:gd name="T18" fmla="*/ 7 w 41"/>
                <a:gd name="T19" fmla="*/ 74 h 147"/>
                <a:gd name="T20" fmla="*/ 33 w 41"/>
                <a:gd name="T21" fmla="*/ 63 h 147"/>
                <a:gd name="T22" fmla="*/ 28 w 41"/>
                <a:gd name="T23" fmla="*/ 63 h 147"/>
                <a:gd name="T24" fmla="*/ 23 w 41"/>
                <a:gd name="T25" fmla="*/ 63 h 147"/>
                <a:gd name="T26" fmla="*/ 17 w 41"/>
                <a:gd name="T27" fmla="*/ 63 h 147"/>
                <a:gd name="T28" fmla="*/ 13 w 41"/>
                <a:gd name="T29" fmla="*/ 63 h 147"/>
                <a:gd name="T30" fmla="*/ 7 w 41"/>
                <a:gd name="T31" fmla="*/ 63 h 147"/>
                <a:gd name="T32" fmla="*/ 33 w 41"/>
                <a:gd name="T33" fmla="*/ 53 h 147"/>
                <a:gd name="T34" fmla="*/ 28 w 41"/>
                <a:gd name="T35" fmla="*/ 53 h 147"/>
                <a:gd name="T36" fmla="*/ 23 w 41"/>
                <a:gd name="T37" fmla="*/ 53 h 147"/>
                <a:gd name="T38" fmla="*/ 17 w 41"/>
                <a:gd name="T39" fmla="*/ 53 h 147"/>
                <a:gd name="T40" fmla="*/ 13 w 41"/>
                <a:gd name="T41" fmla="*/ 53 h 147"/>
                <a:gd name="T42" fmla="*/ 7 w 41"/>
                <a:gd name="T43" fmla="*/ 53 h 147"/>
                <a:gd name="T44" fmla="*/ 33 w 41"/>
                <a:gd name="T45" fmla="*/ 42 h 147"/>
                <a:gd name="T46" fmla="*/ 28 w 41"/>
                <a:gd name="T47" fmla="*/ 42 h 147"/>
                <a:gd name="T48" fmla="*/ 23 w 41"/>
                <a:gd name="T49" fmla="*/ 42 h 147"/>
                <a:gd name="T50" fmla="*/ 17 w 41"/>
                <a:gd name="T51" fmla="*/ 42 h 147"/>
                <a:gd name="T52" fmla="*/ 13 w 41"/>
                <a:gd name="T53" fmla="*/ 42 h 147"/>
                <a:gd name="T54" fmla="*/ 7 w 41"/>
                <a:gd name="T55" fmla="*/ 42 h 147"/>
                <a:gd name="T56" fmla="*/ 33 w 41"/>
                <a:gd name="T57" fmla="*/ 31 h 147"/>
                <a:gd name="T58" fmla="*/ 28 w 41"/>
                <a:gd name="T59" fmla="*/ 31 h 147"/>
                <a:gd name="T60" fmla="*/ 23 w 41"/>
                <a:gd name="T61" fmla="*/ 31 h 147"/>
                <a:gd name="T62" fmla="*/ 17 w 41"/>
                <a:gd name="T63" fmla="*/ 31 h 147"/>
                <a:gd name="T64" fmla="*/ 13 w 41"/>
                <a:gd name="T65" fmla="*/ 31 h 147"/>
                <a:gd name="T66" fmla="*/ 7 w 41"/>
                <a:gd name="T67" fmla="*/ 31 h 147"/>
                <a:gd name="T68" fmla="*/ 33 w 41"/>
                <a:gd name="T69" fmla="*/ 20 h 147"/>
                <a:gd name="T70" fmla="*/ 28 w 41"/>
                <a:gd name="T71" fmla="*/ 20 h 147"/>
                <a:gd name="T72" fmla="*/ 23 w 41"/>
                <a:gd name="T73" fmla="*/ 20 h 147"/>
                <a:gd name="T74" fmla="*/ 17 w 41"/>
                <a:gd name="T75" fmla="*/ 20 h 147"/>
                <a:gd name="T76" fmla="*/ 13 w 41"/>
                <a:gd name="T77" fmla="*/ 20 h 147"/>
                <a:gd name="T78" fmla="*/ 7 w 41"/>
                <a:gd name="T79" fmla="*/ 20 h 147"/>
                <a:gd name="T80" fmla="*/ 33 w 41"/>
                <a:gd name="T81" fmla="*/ 9 h 147"/>
                <a:gd name="T82" fmla="*/ 28 w 41"/>
                <a:gd name="T83" fmla="*/ 9 h 147"/>
                <a:gd name="T84" fmla="*/ 23 w 41"/>
                <a:gd name="T85" fmla="*/ 9 h 147"/>
                <a:gd name="T86" fmla="*/ 17 w 41"/>
                <a:gd name="T87" fmla="*/ 9 h 147"/>
                <a:gd name="T88" fmla="*/ 13 w 41"/>
                <a:gd name="T89" fmla="*/ 9 h 147"/>
                <a:gd name="T90" fmla="*/ 7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8"/>
                    <a:pt x="0" y="138"/>
                    <a:pt x="0" y="138"/>
                  </a:cubicBezTo>
                  <a:cubicBezTo>
                    <a:pt x="0" y="143"/>
                    <a:pt x="4" y="147"/>
                    <a:pt x="9" y="147"/>
                  </a:cubicBezTo>
                  <a:cubicBezTo>
                    <a:pt x="31" y="147"/>
                    <a:pt x="31" y="147"/>
                    <a:pt x="31" y="147"/>
                  </a:cubicBezTo>
                  <a:cubicBezTo>
                    <a:pt x="37" y="147"/>
                    <a:pt x="41" y="143"/>
                    <a:pt x="41" y="138"/>
                  </a:cubicBezTo>
                  <a:cubicBezTo>
                    <a:pt x="41" y="10"/>
                    <a:pt x="41" y="10"/>
                    <a:pt x="41" y="10"/>
                  </a:cubicBezTo>
                  <a:cubicBezTo>
                    <a:pt x="41" y="4"/>
                    <a:pt x="37" y="0"/>
                    <a:pt x="31" y="0"/>
                  </a:cubicBezTo>
                  <a:cubicBezTo>
                    <a:pt x="9" y="0"/>
                    <a:pt x="9" y="0"/>
                    <a:pt x="9" y="0"/>
                  </a:cubicBezTo>
                  <a:cubicBezTo>
                    <a:pt x="4" y="0"/>
                    <a:pt x="0" y="4"/>
                    <a:pt x="0" y="10"/>
                  </a:cubicBezTo>
                  <a:close/>
                  <a:moveTo>
                    <a:pt x="28" y="127"/>
                  </a:moveTo>
                  <a:cubicBezTo>
                    <a:pt x="28" y="131"/>
                    <a:pt x="25" y="134"/>
                    <a:pt x="20" y="134"/>
                  </a:cubicBezTo>
                  <a:cubicBezTo>
                    <a:pt x="16" y="134"/>
                    <a:pt x="13" y="131"/>
                    <a:pt x="13" y="127"/>
                  </a:cubicBezTo>
                  <a:cubicBezTo>
                    <a:pt x="13" y="123"/>
                    <a:pt x="16" y="119"/>
                    <a:pt x="20" y="119"/>
                  </a:cubicBezTo>
                  <a:cubicBezTo>
                    <a:pt x="25" y="119"/>
                    <a:pt x="28" y="123"/>
                    <a:pt x="28" y="127"/>
                  </a:cubicBezTo>
                  <a:close/>
                  <a:moveTo>
                    <a:pt x="33" y="74"/>
                  </a:moveTo>
                  <a:cubicBezTo>
                    <a:pt x="33" y="80"/>
                    <a:pt x="33" y="80"/>
                    <a:pt x="33" y="80"/>
                  </a:cubicBezTo>
                  <a:cubicBezTo>
                    <a:pt x="28" y="80"/>
                    <a:pt x="28" y="80"/>
                    <a:pt x="28" y="80"/>
                  </a:cubicBezTo>
                  <a:cubicBezTo>
                    <a:pt x="28" y="74"/>
                    <a:pt x="28" y="74"/>
                    <a:pt x="28"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8" y="69"/>
                    <a:pt x="28" y="69"/>
                    <a:pt x="28" y="69"/>
                  </a:cubicBezTo>
                  <a:cubicBezTo>
                    <a:pt x="28" y="63"/>
                    <a:pt x="28" y="63"/>
                    <a:pt x="28"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3"/>
                  </a:moveTo>
                  <a:cubicBezTo>
                    <a:pt x="33" y="58"/>
                    <a:pt x="33" y="58"/>
                    <a:pt x="33" y="58"/>
                  </a:cubicBezTo>
                  <a:cubicBezTo>
                    <a:pt x="28" y="58"/>
                    <a:pt x="28" y="58"/>
                    <a:pt x="28" y="58"/>
                  </a:cubicBezTo>
                  <a:cubicBezTo>
                    <a:pt x="28" y="53"/>
                    <a:pt x="28" y="53"/>
                    <a:pt x="28" y="53"/>
                  </a:cubicBezTo>
                  <a:cubicBezTo>
                    <a:pt x="33" y="53"/>
                    <a:pt x="33" y="53"/>
                    <a:pt x="33" y="53"/>
                  </a:cubicBezTo>
                  <a:cubicBezTo>
                    <a:pt x="33" y="53"/>
                    <a:pt x="33" y="53"/>
                    <a:pt x="33" y="53"/>
                  </a:cubicBezTo>
                  <a:close/>
                  <a:moveTo>
                    <a:pt x="23" y="53"/>
                  </a:moveTo>
                  <a:cubicBezTo>
                    <a:pt x="23" y="58"/>
                    <a:pt x="23" y="58"/>
                    <a:pt x="23" y="58"/>
                  </a:cubicBezTo>
                  <a:cubicBezTo>
                    <a:pt x="17" y="58"/>
                    <a:pt x="17" y="58"/>
                    <a:pt x="17" y="58"/>
                  </a:cubicBezTo>
                  <a:cubicBezTo>
                    <a:pt x="17" y="53"/>
                    <a:pt x="17" y="53"/>
                    <a:pt x="17" y="53"/>
                  </a:cubicBezTo>
                  <a:cubicBezTo>
                    <a:pt x="23" y="53"/>
                    <a:pt x="23" y="53"/>
                    <a:pt x="23" y="53"/>
                  </a:cubicBezTo>
                  <a:cubicBezTo>
                    <a:pt x="23" y="53"/>
                    <a:pt x="23" y="53"/>
                    <a:pt x="23" y="53"/>
                  </a:cubicBezTo>
                  <a:close/>
                  <a:moveTo>
                    <a:pt x="13" y="53"/>
                  </a:moveTo>
                  <a:cubicBezTo>
                    <a:pt x="13" y="58"/>
                    <a:pt x="13" y="58"/>
                    <a:pt x="13" y="58"/>
                  </a:cubicBezTo>
                  <a:cubicBezTo>
                    <a:pt x="7" y="58"/>
                    <a:pt x="7" y="58"/>
                    <a:pt x="7" y="58"/>
                  </a:cubicBezTo>
                  <a:cubicBezTo>
                    <a:pt x="7" y="53"/>
                    <a:pt x="7" y="53"/>
                    <a:pt x="7" y="53"/>
                  </a:cubicBezTo>
                  <a:cubicBezTo>
                    <a:pt x="13" y="53"/>
                    <a:pt x="13" y="53"/>
                    <a:pt x="13" y="53"/>
                  </a:cubicBezTo>
                  <a:cubicBezTo>
                    <a:pt x="13" y="53"/>
                    <a:pt x="13" y="53"/>
                    <a:pt x="13" y="53"/>
                  </a:cubicBezTo>
                  <a:close/>
                  <a:moveTo>
                    <a:pt x="33" y="42"/>
                  </a:moveTo>
                  <a:cubicBezTo>
                    <a:pt x="33" y="48"/>
                    <a:pt x="33" y="48"/>
                    <a:pt x="33" y="48"/>
                  </a:cubicBezTo>
                  <a:cubicBezTo>
                    <a:pt x="28" y="48"/>
                    <a:pt x="28" y="48"/>
                    <a:pt x="28" y="48"/>
                  </a:cubicBezTo>
                  <a:cubicBezTo>
                    <a:pt x="28" y="42"/>
                    <a:pt x="28" y="42"/>
                    <a:pt x="28" y="42"/>
                  </a:cubicBezTo>
                  <a:cubicBezTo>
                    <a:pt x="33" y="42"/>
                    <a:pt x="33" y="42"/>
                    <a:pt x="33" y="42"/>
                  </a:cubicBezTo>
                  <a:cubicBezTo>
                    <a:pt x="33" y="42"/>
                    <a:pt x="33" y="42"/>
                    <a:pt x="33" y="42"/>
                  </a:cubicBezTo>
                  <a:close/>
                  <a:moveTo>
                    <a:pt x="23" y="42"/>
                  </a:moveTo>
                  <a:cubicBezTo>
                    <a:pt x="23" y="48"/>
                    <a:pt x="23" y="48"/>
                    <a:pt x="23" y="48"/>
                  </a:cubicBezTo>
                  <a:cubicBezTo>
                    <a:pt x="17" y="48"/>
                    <a:pt x="17" y="48"/>
                    <a:pt x="17" y="48"/>
                  </a:cubicBezTo>
                  <a:cubicBezTo>
                    <a:pt x="17" y="42"/>
                    <a:pt x="17" y="42"/>
                    <a:pt x="17" y="42"/>
                  </a:cubicBezTo>
                  <a:cubicBezTo>
                    <a:pt x="23" y="42"/>
                    <a:pt x="23" y="42"/>
                    <a:pt x="23" y="42"/>
                  </a:cubicBezTo>
                  <a:cubicBezTo>
                    <a:pt x="23" y="42"/>
                    <a:pt x="23" y="42"/>
                    <a:pt x="23" y="42"/>
                  </a:cubicBezTo>
                  <a:close/>
                  <a:moveTo>
                    <a:pt x="13" y="42"/>
                  </a:moveTo>
                  <a:cubicBezTo>
                    <a:pt x="13" y="48"/>
                    <a:pt x="13" y="48"/>
                    <a:pt x="13" y="48"/>
                  </a:cubicBezTo>
                  <a:cubicBezTo>
                    <a:pt x="7" y="48"/>
                    <a:pt x="7" y="48"/>
                    <a:pt x="7" y="48"/>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8" y="37"/>
                    <a:pt x="28" y="37"/>
                    <a:pt x="28" y="37"/>
                  </a:cubicBezTo>
                  <a:cubicBezTo>
                    <a:pt x="28" y="31"/>
                    <a:pt x="28" y="31"/>
                    <a:pt x="28"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8" y="26"/>
                    <a:pt x="28" y="26"/>
                    <a:pt x="28" y="26"/>
                  </a:cubicBezTo>
                  <a:cubicBezTo>
                    <a:pt x="28" y="20"/>
                    <a:pt x="28" y="20"/>
                    <a:pt x="28"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8" y="15"/>
                    <a:pt x="28" y="15"/>
                    <a:pt x="28" y="15"/>
                  </a:cubicBezTo>
                  <a:cubicBezTo>
                    <a:pt x="28" y="9"/>
                    <a:pt x="28" y="9"/>
                    <a:pt x="28"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84" name="Freeform 2140"/>
            <p:cNvSpPr>
              <a:spLocks noEditPoints="1"/>
            </p:cNvSpPr>
            <p:nvPr/>
          </p:nvSpPr>
          <p:spPr bwMode="auto">
            <a:xfrm>
              <a:off x="18200688" y="1093788"/>
              <a:ext cx="153988" cy="554038"/>
            </a:xfrm>
            <a:custGeom>
              <a:avLst/>
              <a:gdLst>
                <a:gd name="T0" fmla="*/ 10 w 41"/>
                <a:gd name="T1" fmla="*/ 147 h 147"/>
                <a:gd name="T2" fmla="*/ 41 w 41"/>
                <a:gd name="T3" fmla="*/ 10 h 147"/>
                <a:gd name="T4" fmla="*/ 0 w 41"/>
                <a:gd name="T5" fmla="*/ 10 h 147"/>
                <a:gd name="T6" fmla="*/ 13 w 41"/>
                <a:gd name="T7" fmla="*/ 127 h 147"/>
                <a:gd name="T8" fmla="*/ 34 w 41"/>
                <a:gd name="T9" fmla="*/ 74 h 147"/>
                <a:gd name="T10" fmla="*/ 28 w 41"/>
                <a:gd name="T11" fmla="*/ 74 h 147"/>
                <a:gd name="T12" fmla="*/ 23 w 41"/>
                <a:gd name="T13" fmla="*/ 74 h 147"/>
                <a:gd name="T14" fmla="*/ 18 w 41"/>
                <a:gd name="T15" fmla="*/ 74 h 147"/>
                <a:gd name="T16" fmla="*/ 14 w 41"/>
                <a:gd name="T17" fmla="*/ 74 h 147"/>
                <a:gd name="T18" fmla="*/ 8 w 41"/>
                <a:gd name="T19" fmla="*/ 74 h 147"/>
                <a:gd name="T20" fmla="*/ 34 w 41"/>
                <a:gd name="T21" fmla="*/ 63 h 147"/>
                <a:gd name="T22" fmla="*/ 28 w 41"/>
                <a:gd name="T23" fmla="*/ 63 h 147"/>
                <a:gd name="T24" fmla="*/ 23 w 41"/>
                <a:gd name="T25" fmla="*/ 63 h 147"/>
                <a:gd name="T26" fmla="*/ 18 w 41"/>
                <a:gd name="T27" fmla="*/ 63 h 147"/>
                <a:gd name="T28" fmla="*/ 14 w 41"/>
                <a:gd name="T29" fmla="*/ 63 h 147"/>
                <a:gd name="T30" fmla="*/ 8 w 41"/>
                <a:gd name="T31" fmla="*/ 63 h 147"/>
                <a:gd name="T32" fmla="*/ 34 w 41"/>
                <a:gd name="T33" fmla="*/ 53 h 147"/>
                <a:gd name="T34" fmla="*/ 28 w 41"/>
                <a:gd name="T35" fmla="*/ 53 h 147"/>
                <a:gd name="T36" fmla="*/ 23 w 41"/>
                <a:gd name="T37" fmla="*/ 53 h 147"/>
                <a:gd name="T38" fmla="*/ 18 w 41"/>
                <a:gd name="T39" fmla="*/ 53 h 147"/>
                <a:gd name="T40" fmla="*/ 14 w 41"/>
                <a:gd name="T41" fmla="*/ 53 h 147"/>
                <a:gd name="T42" fmla="*/ 8 w 41"/>
                <a:gd name="T43" fmla="*/ 53 h 147"/>
                <a:gd name="T44" fmla="*/ 34 w 41"/>
                <a:gd name="T45" fmla="*/ 42 h 147"/>
                <a:gd name="T46" fmla="*/ 28 w 41"/>
                <a:gd name="T47" fmla="*/ 42 h 147"/>
                <a:gd name="T48" fmla="*/ 23 w 41"/>
                <a:gd name="T49" fmla="*/ 42 h 147"/>
                <a:gd name="T50" fmla="*/ 18 w 41"/>
                <a:gd name="T51" fmla="*/ 42 h 147"/>
                <a:gd name="T52" fmla="*/ 14 w 41"/>
                <a:gd name="T53" fmla="*/ 42 h 147"/>
                <a:gd name="T54" fmla="*/ 8 w 41"/>
                <a:gd name="T55" fmla="*/ 42 h 147"/>
                <a:gd name="T56" fmla="*/ 34 w 41"/>
                <a:gd name="T57" fmla="*/ 31 h 147"/>
                <a:gd name="T58" fmla="*/ 28 w 41"/>
                <a:gd name="T59" fmla="*/ 31 h 147"/>
                <a:gd name="T60" fmla="*/ 23 w 41"/>
                <a:gd name="T61" fmla="*/ 31 h 147"/>
                <a:gd name="T62" fmla="*/ 18 w 41"/>
                <a:gd name="T63" fmla="*/ 31 h 147"/>
                <a:gd name="T64" fmla="*/ 14 w 41"/>
                <a:gd name="T65" fmla="*/ 31 h 147"/>
                <a:gd name="T66" fmla="*/ 8 w 41"/>
                <a:gd name="T67" fmla="*/ 31 h 147"/>
                <a:gd name="T68" fmla="*/ 34 w 41"/>
                <a:gd name="T69" fmla="*/ 20 h 147"/>
                <a:gd name="T70" fmla="*/ 28 w 41"/>
                <a:gd name="T71" fmla="*/ 20 h 147"/>
                <a:gd name="T72" fmla="*/ 23 w 41"/>
                <a:gd name="T73" fmla="*/ 20 h 147"/>
                <a:gd name="T74" fmla="*/ 18 w 41"/>
                <a:gd name="T75" fmla="*/ 20 h 147"/>
                <a:gd name="T76" fmla="*/ 14 w 41"/>
                <a:gd name="T77" fmla="*/ 20 h 147"/>
                <a:gd name="T78" fmla="*/ 8 w 41"/>
                <a:gd name="T79" fmla="*/ 20 h 147"/>
                <a:gd name="T80" fmla="*/ 34 w 41"/>
                <a:gd name="T81" fmla="*/ 9 h 147"/>
                <a:gd name="T82" fmla="*/ 28 w 41"/>
                <a:gd name="T83" fmla="*/ 9 h 147"/>
                <a:gd name="T84" fmla="*/ 23 w 41"/>
                <a:gd name="T85" fmla="*/ 9 h 147"/>
                <a:gd name="T86" fmla="*/ 18 w 41"/>
                <a:gd name="T87" fmla="*/ 9 h 147"/>
                <a:gd name="T88" fmla="*/ 14 w 41"/>
                <a:gd name="T89" fmla="*/ 9 h 147"/>
                <a:gd name="T90" fmla="*/ 8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8"/>
                    <a:pt x="0" y="138"/>
                    <a:pt x="0" y="138"/>
                  </a:cubicBezTo>
                  <a:cubicBezTo>
                    <a:pt x="0" y="143"/>
                    <a:pt x="4" y="147"/>
                    <a:pt x="10" y="147"/>
                  </a:cubicBezTo>
                  <a:cubicBezTo>
                    <a:pt x="32" y="147"/>
                    <a:pt x="32" y="147"/>
                    <a:pt x="32" y="147"/>
                  </a:cubicBezTo>
                  <a:cubicBezTo>
                    <a:pt x="37" y="147"/>
                    <a:pt x="41" y="143"/>
                    <a:pt x="41" y="138"/>
                  </a:cubicBezTo>
                  <a:cubicBezTo>
                    <a:pt x="41" y="10"/>
                    <a:pt x="41" y="10"/>
                    <a:pt x="41" y="10"/>
                  </a:cubicBezTo>
                  <a:cubicBezTo>
                    <a:pt x="41" y="4"/>
                    <a:pt x="37" y="0"/>
                    <a:pt x="32" y="0"/>
                  </a:cubicBezTo>
                  <a:cubicBezTo>
                    <a:pt x="10" y="0"/>
                    <a:pt x="10" y="0"/>
                    <a:pt x="10" y="0"/>
                  </a:cubicBezTo>
                  <a:cubicBezTo>
                    <a:pt x="4" y="0"/>
                    <a:pt x="0" y="4"/>
                    <a:pt x="0" y="10"/>
                  </a:cubicBezTo>
                  <a:close/>
                  <a:moveTo>
                    <a:pt x="28" y="127"/>
                  </a:moveTo>
                  <a:cubicBezTo>
                    <a:pt x="28" y="131"/>
                    <a:pt x="25" y="134"/>
                    <a:pt x="21" y="134"/>
                  </a:cubicBezTo>
                  <a:cubicBezTo>
                    <a:pt x="17" y="134"/>
                    <a:pt x="13" y="131"/>
                    <a:pt x="13" y="127"/>
                  </a:cubicBezTo>
                  <a:cubicBezTo>
                    <a:pt x="13" y="123"/>
                    <a:pt x="17" y="119"/>
                    <a:pt x="21" y="119"/>
                  </a:cubicBezTo>
                  <a:cubicBezTo>
                    <a:pt x="25" y="119"/>
                    <a:pt x="28" y="123"/>
                    <a:pt x="28" y="127"/>
                  </a:cubicBezTo>
                  <a:close/>
                  <a:moveTo>
                    <a:pt x="34" y="74"/>
                  </a:moveTo>
                  <a:cubicBezTo>
                    <a:pt x="34" y="80"/>
                    <a:pt x="34" y="80"/>
                    <a:pt x="34" y="80"/>
                  </a:cubicBezTo>
                  <a:cubicBezTo>
                    <a:pt x="28" y="80"/>
                    <a:pt x="28" y="80"/>
                    <a:pt x="28" y="80"/>
                  </a:cubicBezTo>
                  <a:cubicBezTo>
                    <a:pt x="28" y="74"/>
                    <a:pt x="28" y="74"/>
                    <a:pt x="28" y="74"/>
                  </a:cubicBezTo>
                  <a:cubicBezTo>
                    <a:pt x="34" y="74"/>
                    <a:pt x="34" y="74"/>
                    <a:pt x="34" y="74"/>
                  </a:cubicBezTo>
                  <a:cubicBezTo>
                    <a:pt x="34" y="74"/>
                    <a:pt x="34" y="74"/>
                    <a:pt x="34" y="74"/>
                  </a:cubicBezTo>
                  <a:close/>
                  <a:moveTo>
                    <a:pt x="23" y="74"/>
                  </a:moveTo>
                  <a:cubicBezTo>
                    <a:pt x="23" y="80"/>
                    <a:pt x="23" y="80"/>
                    <a:pt x="23" y="80"/>
                  </a:cubicBezTo>
                  <a:cubicBezTo>
                    <a:pt x="18" y="80"/>
                    <a:pt x="18" y="80"/>
                    <a:pt x="18" y="80"/>
                  </a:cubicBezTo>
                  <a:cubicBezTo>
                    <a:pt x="18" y="74"/>
                    <a:pt x="18" y="74"/>
                    <a:pt x="18" y="74"/>
                  </a:cubicBezTo>
                  <a:cubicBezTo>
                    <a:pt x="23" y="74"/>
                    <a:pt x="23" y="74"/>
                    <a:pt x="23" y="74"/>
                  </a:cubicBezTo>
                  <a:cubicBezTo>
                    <a:pt x="23" y="74"/>
                    <a:pt x="23" y="74"/>
                    <a:pt x="23" y="74"/>
                  </a:cubicBezTo>
                  <a:close/>
                  <a:moveTo>
                    <a:pt x="14" y="74"/>
                  </a:moveTo>
                  <a:cubicBezTo>
                    <a:pt x="14" y="80"/>
                    <a:pt x="14" y="80"/>
                    <a:pt x="14" y="80"/>
                  </a:cubicBezTo>
                  <a:cubicBezTo>
                    <a:pt x="8" y="80"/>
                    <a:pt x="8" y="80"/>
                    <a:pt x="8" y="80"/>
                  </a:cubicBezTo>
                  <a:cubicBezTo>
                    <a:pt x="8" y="74"/>
                    <a:pt x="8" y="74"/>
                    <a:pt x="8" y="74"/>
                  </a:cubicBezTo>
                  <a:cubicBezTo>
                    <a:pt x="14" y="74"/>
                    <a:pt x="14" y="74"/>
                    <a:pt x="14" y="74"/>
                  </a:cubicBezTo>
                  <a:cubicBezTo>
                    <a:pt x="14" y="74"/>
                    <a:pt x="14" y="74"/>
                    <a:pt x="14" y="74"/>
                  </a:cubicBezTo>
                  <a:close/>
                  <a:moveTo>
                    <a:pt x="34" y="63"/>
                  </a:moveTo>
                  <a:cubicBezTo>
                    <a:pt x="34" y="69"/>
                    <a:pt x="34" y="69"/>
                    <a:pt x="34" y="69"/>
                  </a:cubicBezTo>
                  <a:cubicBezTo>
                    <a:pt x="28" y="69"/>
                    <a:pt x="28" y="69"/>
                    <a:pt x="28" y="69"/>
                  </a:cubicBezTo>
                  <a:cubicBezTo>
                    <a:pt x="28" y="63"/>
                    <a:pt x="28" y="63"/>
                    <a:pt x="28" y="63"/>
                  </a:cubicBezTo>
                  <a:cubicBezTo>
                    <a:pt x="34" y="63"/>
                    <a:pt x="34" y="63"/>
                    <a:pt x="34" y="63"/>
                  </a:cubicBezTo>
                  <a:cubicBezTo>
                    <a:pt x="34" y="63"/>
                    <a:pt x="34" y="63"/>
                    <a:pt x="34" y="63"/>
                  </a:cubicBezTo>
                  <a:close/>
                  <a:moveTo>
                    <a:pt x="23" y="63"/>
                  </a:moveTo>
                  <a:cubicBezTo>
                    <a:pt x="23" y="69"/>
                    <a:pt x="23" y="69"/>
                    <a:pt x="23" y="69"/>
                  </a:cubicBezTo>
                  <a:cubicBezTo>
                    <a:pt x="18" y="69"/>
                    <a:pt x="18" y="69"/>
                    <a:pt x="18" y="69"/>
                  </a:cubicBezTo>
                  <a:cubicBezTo>
                    <a:pt x="18" y="63"/>
                    <a:pt x="18" y="63"/>
                    <a:pt x="18" y="63"/>
                  </a:cubicBezTo>
                  <a:cubicBezTo>
                    <a:pt x="23" y="63"/>
                    <a:pt x="23" y="63"/>
                    <a:pt x="23" y="63"/>
                  </a:cubicBezTo>
                  <a:cubicBezTo>
                    <a:pt x="23" y="63"/>
                    <a:pt x="23" y="63"/>
                    <a:pt x="23" y="63"/>
                  </a:cubicBezTo>
                  <a:close/>
                  <a:moveTo>
                    <a:pt x="14" y="63"/>
                  </a:moveTo>
                  <a:cubicBezTo>
                    <a:pt x="14" y="69"/>
                    <a:pt x="14" y="69"/>
                    <a:pt x="14" y="69"/>
                  </a:cubicBezTo>
                  <a:cubicBezTo>
                    <a:pt x="8" y="69"/>
                    <a:pt x="8" y="69"/>
                    <a:pt x="8" y="69"/>
                  </a:cubicBezTo>
                  <a:cubicBezTo>
                    <a:pt x="8" y="63"/>
                    <a:pt x="8" y="63"/>
                    <a:pt x="8" y="63"/>
                  </a:cubicBezTo>
                  <a:cubicBezTo>
                    <a:pt x="14" y="63"/>
                    <a:pt x="14" y="63"/>
                    <a:pt x="14" y="63"/>
                  </a:cubicBezTo>
                  <a:cubicBezTo>
                    <a:pt x="14" y="63"/>
                    <a:pt x="14" y="63"/>
                    <a:pt x="14" y="63"/>
                  </a:cubicBezTo>
                  <a:close/>
                  <a:moveTo>
                    <a:pt x="34" y="53"/>
                  </a:moveTo>
                  <a:cubicBezTo>
                    <a:pt x="34" y="58"/>
                    <a:pt x="34" y="58"/>
                    <a:pt x="34" y="58"/>
                  </a:cubicBezTo>
                  <a:cubicBezTo>
                    <a:pt x="28" y="58"/>
                    <a:pt x="28" y="58"/>
                    <a:pt x="28" y="58"/>
                  </a:cubicBezTo>
                  <a:cubicBezTo>
                    <a:pt x="28" y="53"/>
                    <a:pt x="28" y="53"/>
                    <a:pt x="28" y="53"/>
                  </a:cubicBezTo>
                  <a:cubicBezTo>
                    <a:pt x="34" y="53"/>
                    <a:pt x="34" y="53"/>
                    <a:pt x="34" y="53"/>
                  </a:cubicBezTo>
                  <a:cubicBezTo>
                    <a:pt x="34" y="53"/>
                    <a:pt x="34" y="53"/>
                    <a:pt x="34" y="53"/>
                  </a:cubicBezTo>
                  <a:close/>
                  <a:moveTo>
                    <a:pt x="23" y="53"/>
                  </a:moveTo>
                  <a:cubicBezTo>
                    <a:pt x="23" y="58"/>
                    <a:pt x="23" y="58"/>
                    <a:pt x="23" y="58"/>
                  </a:cubicBezTo>
                  <a:cubicBezTo>
                    <a:pt x="18" y="58"/>
                    <a:pt x="18" y="58"/>
                    <a:pt x="18" y="58"/>
                  </a:cubicBezTo>
                  <a:cubicBezTo>
                    <a:pt x="18" y="53"/>
                    <a:pt x="18" y="53"/>
                    <a:pt x="18" y="53"/>
                  </a:cubicBezTo>
                  <a:cubicBezTo>
                    <a:pt x="23" y="53"/>
                    <a:pt x="23" y="53"/>
                    <a:pt x="23" y="53"/>
                  </a:cubicBezTo>
                  <a:cubicBezTo>
                    <a:pt x="23" y="53"/>
                    <a:pt x="23" y="53"/>
                    <a:pt x="23" y="53"/>
                  </a:cubicBezTo>
                  <a:close/>
                  <a:moveTo>
                    <a:pt x="14" y="53"/>
                  </a:moveTo>
                  <a:cubicBezTo>
                    <a:pt x="14" y="58"/>
                    <a:pt x="14" y="58"/>
                    <a:pt x="14" y="58"/>
                  </a:cubicBezTo>
                  <a:cubicBezTo>
                    <a:pt x="8" y="58"/>
                    <a:pt x="8" y="58"/>
                    <a:pt x="8" y="58"/>
                  </a:cubicBezTo>
                  <a:cubicBezTo>
                    <a:pt x="8" y="53"/>
                    <a:pt x="8" y="53"/>
                    <a:pt x="8" y="53"/>
                  </a:cubicBezTo>
                  <a:cubicBezTo>
                    <a:pt x="14" y="53"/>
                    <a:pt x="14" y="53"/>
                    <a:pt x="14" y="53"/>
                  </a:cubicBezTo>
                  <a:cubicBezTo>
                    <a:pt x="14" y="53"/>
                    <a:pt x="14" y="53"/>
                    <a:pt x="14" y="53"/>
                  </a:cubicBezTo>
                  <a:close/>
                  <a:moveTo>
                    <a:pt x="34" y="42"/>
                  </a:moveTo>
                  <a:cubicBezTo>
                    <a:pt x="34" y="48"/>
                    <a:pt x="34" y="48"/>
                    <a:pt x="34" y="48"/>
                  </a:cubicBezTo>
                  <a:cubicBezTo>
                    <a:pt x="28" y="48"/>
                    <a:pt x="28" y="48"/>
                    <a:pt x="28" y="48"/>
                  </a:cubicBezTo>
                  <a:cubicBezTo>
                    <a:pt x="28" y="42"/>
                    <a:pt x="28" y="42"/>
                    <a:pt x="28" y="42"/>
                  </a:cubicBezTo>
                  <a:cubicBezTo>
                    <a:pt x="34" y="42"/>
                    <a:pt x="34" y="42"/>
                    <a:pt x="34" y="42"/>
                  </a:cubicBezTo>
                  <a:cubicBezTo>
                    <a:pt x="34" y="42"/>
                    <a:pt x="34" y="42"/>
                    <a:pt x="34" y="42"/>
                  </a:cubicBezTo>
                  <a:close/>
                  <a:moveTo>
                    <a:pt x="23" y="42"/>
                  </a:moveTo>
                  <a:cubicBezTo>
                    <a:pt x="23" y="48"/>
                    <a:pt x="23" y="48"/>
                    <a:pt x="23" y="48"/>
                  </a:cubicBezTo>
                  <a:cubicBezTo>
                    <a:pt x="18" y="48"/>
                    <a:pt x="18" y="48"/>
                    <a:pt x="18" y="48"/>
                  </a:cubicBezTo>
                  <a:cubicBezTo>
                    <a:pt x="18" y="42"/>
                    <a:pt x="18" y="42"/>
                    <a:pt x="18" y="42"/>
                  </a:cubicBezTo>
                  <a:cubicBezTo>
                    <a:pt x="23" y="42"/>
                    <a:pt x="23" y="42"/>
                    <a:pt x="23" y="42"/>
                  </a:cubicBezTo>
                  <a:cubicBezTo>
                    <a:pt x="23" y="42"/>
                    <a:pt x="23" y="42"/>
                    <a:pt x="23" y="42"/>
                  </a:cubicBezTo>
                  <a:close/>
                  <a:moveTo>
                    <a:pt x="14" y="42"/>
                  </a:moveTo>
                  <a:cubicBezTo>
                    <a:pt x="14" y="48"/>
                    <a:pt x="14" y="48"/>
                    <a:pt x="14" y="48"/>
                  </a:cubicBezTo>
                  <a:cubicBezTo>
                    <a:pt x="8" y="48"/>
                    <a:pt x="8" y="48"/>
                    <a:pt x="8" y="48"/>
                  </a:cubicBezTo>
                  <a:cubicBezTo>
                    <a:pt x="8" y="42"/>
                    <a:pt x="8" y="42"/>
                    <a:pt x="8" y="42"/>
                  </a:cubicBezTo>
                  <a:cubicBezTo>
                    <a:pt x="14" y="42"/>
                    <a:pt x="14" y="42"/>
                    <a:pt x="14" y="42"/>
                  </a:cubicBezTo>
                  <a:cubicBezTo>
                    <a:pt x="14" y="42"/>
                    <a:pt x="14" y="42"/>
                    <a:pt x="14" y="42"/>
                  </a:cubicBezTo>
                  <a:close/>
                  <a:moveTo>
                    <a:pt x="34" y="31"/>
                  </a:moveTo>
                  <a:cubicBezTo>
                    <a:pt x="34" y="37"/>
                    <a:pt x="34" y="37"/>
                    <a:pt x="34" y="37"/>
                  </a:cubicBezTo>
                  <a:cubicBezTo>
                    <a:pt x="28" y="37"/>
                    <a:pt x="28" y="37"/>
                    <a:pt x="28" y="37"/>
                  </a:cubicBezTo>
                  <a:cubicBezTo>
                    <a:pt x="28" y="31"/>
                    <a:pt x="28" y="31"/>
                    <a:pt x="28" y="31"/>
                  </a:cubicBezTo>
                  <a:cubicBezTo>
                    <a:pt x="34" y="31"/>
                    <a:pt x="34" y="31"/>
                    <a:pt x="34" y="31"/>
                  </a:cubicBezTo>
                  <a:cubicBezTo>
                    <a:pt x="34" y="31"/>
                    <a:pt x="34" y="31"/>
                    <a:pt x="34" y="31"/>
                  </a:cubicBezTo>
                  <a:close/>
                  <a:moveTo>
                    <a:pt x="23" y="31"/>
                  </a:moveTo>
                  <a:cubicBezTo>
                    <a:pt x="23" y="37"/>
                    <a:pt x="23" y="37"/>
                    <a:pt x="23" y="37"/>
                  </a:cubicBezTo>
                  <a:cubicBezTo>
                    <a:pt x="18" y="37"/>
                    <a:pt x="18" y="37"/>
                    <a:pt x="18" y="37"/>
                  </a:cubicBezTo>
                  <a:cubicBezTo>
                    <a:pt x="18" y="31"/>
                    <a:pt x="18" y="31"/>
                    <a:pt x="18" y="31"/>
                  </a:cubicBezTo>
                  <a:cubicBezTo>
                    <a:pt x="23" y="31"/>
                    <a:pt x="23" y="31"/>
                    <a:pt x="23" y="31"/>
                  </a:cubicBezTo>
                  <a:cubicBezTo>
                    <a:pt x="23" y="31"/>
                    <a:pt x="23" y="31"/>
                    <a:pt x="23" y="31"/>
                  </a:cubicBezTo>
                  <a:close/>
                  <a:moveTo>
                    <a:pt x="14" y="31"/>
                  </a:moveTo>
                  <a:cubicBezTo>
                    <a:pt x="14" y="37"/>
                    <a:pt x="14" y="37"/>
                    <a:pt x="14" y="37"/>
                  </a:cubicBezTo>
                  <a:cubicBezTo>
                    <a:pt x="8" y="37"/>
                    <a:pt x="8" y="37"/>
                    <a:pt x="8" y="37"/>
                  </a:cubicBezTo>
                  <a:cubicBezTo>
                    <a:pt x="8" y="31"/>
                    <a:pt x="8" y="31"/>
                    <a:pt x="8" y="31"/>
                  </a:cubicBezTo>
                  <a:cubicBezTo>
                    <a:pt x="14" y="31"/>
                    <a:pt x="14" y="31"/>
                    <a:pt x="14" y="31"/>
                  </a:cubicBezTo>
                  <a:cubicBezTo>
                    <a:pt x="14" y="31"/>
                    <a:pt x="14" y="31"/>
                    <a:pt x="14" y="31"/>
                  </a:cubicBezTo>
                  <a:close/>
                  <a:moveTo>
                    <a:pt x="34" y="20"/>
                  </a:moveTo>
                  <a:cubicBezTo>
                    <a:pt x="34" y="26"/>
                    <a:pt x="34" y="26"/>
                    <a:pt x="34" y="26"/>
                  </a:cubicBezTo>
                  <a:cubicBezTo>
                    <a:pt x="28" y="26"/>
                    <a:pt x="28" y="26"/>
                    <a:pt x="28" y="26"/>
                  </a:cubicBezTo>
                  <a:cubicBezTo>
                    <a:pt x="28" y="20"/>
                    <a:pt x="28" y="20"/>
                    <a:pt x="28" y="20"/>
                  </a:cubicBezTo>
                  <a:cubicBezTo>
                    <a:pt x="34" y="20"/>
                    <a:pt x="34" y="20"/>
                    <a:pt x="34" y="20"/>
                  </a:cubicBezTo>
                  <a:cubicBezTo>
                    <a:pt x="34" y="20"/>
                    <a:pt x="34" y="20"/>
                    <a:pt x="34" y="20"/>
                  </a:cubicBezTo>
                  <a:close/>
                  <a:moveTo>
                    <a:pt x="23" y="20"/>
                  </a:moveTo>
                  <a:cubicBezTo>
                    <a:pt x="23" y="26"/>
                    <a:pt x="23" y="26"/>
                    <a:pt x="23" y="26"/>
                  </a:cubicBezTo>
                  <a:cubicBezTo>
                    <a:pt x="18" y="26"/>
                    <a:pt x="18" y="26"/>
                    <a:pt x="18" y="26"/>
                  </a:cubicBezTo>
                  <a:cubicBezTo>
                    <a:pt x="18" y="20"/>
                    <a:pt x="18" y="20"/>
                    <a:pt x="18" y="20"/>
                  </a:cubicBezTo>
                  <a:cubicBezTo>
                    <a:pt x="23" y="20"/>
                    <a:pt x="23" y="20"/>
                    <a:pt x="23" y="20"/>
                  </a:cubicBezTo>
                  <a:cubicBezTo>
                    <a:pt x="23" y="20"/>
                    <a:pt x="23" y="20"/>
                    <a:pt x="23" y="20"/>
                  </a:cubicBezTo>
                  <a:close/>
                  <a:moveTo>
                    <a:pt x="14" y="20"/>
                  </a:moveTo>
                  <a:cubicBezTo>
                    <a:pt x="14" y="26"/>
                    <a:pt x="14" y="26"/>
                    <a:pt x="14" y="26"/>
                  </a:cubicBezTo>
                  <a:cubicBezTo>
                    <a:pt x="8" y="26"/>
                    <a:pt x="8" y="26"/>
                    <a:pt x="8" y="26"/>
                  </a:cubicBezTo>
                  <a:cubicBezTo>
                    <a:pt x="8" y="20"/>
                    <a:pt x="8" y="20"/>
                    <a:pt x="8" y="20"/>
                  </a:cubicBezTo>
                  <a:cubicBezTo>
                    <a:pt x="14" y="20"/>
                    <a:pt x="14" y="20"/>
                    <a:pt x="14" y="20"/>
                  </a:cubicBezTo>
                  <a:cubicBezTo>
                    <a:pt x="14" y="20"/>
                    <a:pt x="14" y="20"/>
                    <a:pt x="14" y="20"/>
                  </a:cubicBezTo>
                  <a:close/>
                  <a:moveTo>
                    <a:pt x="34" y="9"/>
                  </a:moveTo>
                  <a:cubicBezTo>
                    <a:pt x="34" y="15"/>
                    <a:pt x="34" y="15"/>
                    <a:pt x="34" y="15"/>
                  </a:cubicBezTo>
                  <a:cubicBezTo>
                    <a:pt x="28" y="15"/>
                    <a:pt x="28" y="15"/>
                    <a:pt x="28" y="15"/>
                  </a:cubicBezTo>
                  <a:cubicBezTo>
                    <a:pt x="28" y="9"/>
                    <a:pt x="28" y="9"/>
                    <a:pt x="28" y="9"/>
                  </a:cubicBezTo>
                  <a:cubicBezTo>
                    <a:pt x="34" y="9"/>
                    <a:pt x="34" y="9"/>
                    <a:pt x="34" y="9"/>
                  </a:cubicBezTo>
                  <a:cubicBezTo>
                    <a:pt x="34" y="9"/>
                    <a:pt x="34" y="9"/>
                    <a:pt x="34" y="9"/>
                  </a:cubicBezTo>
                  <a:close/>
                  <a:moveTo>
                    <a:pt x="23" y="9"/>
                  </a:moveTo>
                  <a:cubicBezTo>
                    <a:pt x="23" y="15"/>
                    <a:pt x="23" y="15"/>
                    <a:pt x="23" y="15"/>
                  </a:cubicBezTo>
                  <a:cubicBezTo>
                    <a:pt x="18" y="15"/>
                    <a:pt x="18" y="15"/>
                    <a:pt x="18" y="15"/>
                  </a:cubicBezTo>
                  <a:cubicBezTo>
                    <a:pt x="18" y="9"/>
                    <a:pt x="18" y="9"/>
                    <a:pt x="18" y="9"/>
                  </a:cubicBezTo>
                  <a:cubicBezTo>
                    <a:pt x="23" y="9"/>
                    <a:pt x="23" y="9"/>
                    <a:pt x="23" y="9"/>
                  </a:cubicBezTo>
                  <a:cubicBezTo>
                    <a:pt x="23" y="9"/>
                    <a:pt x="23" y="9"/>
                    <a:pt x="23" y="9"/>
                  </a:cubicBezTo>
                  <a:close/>
                  <a:moveTo>
                    <a:pt x="14" y="9"/>
                  </a:moveTo>
                  <a:cubicBezTo>
                    <a:pt x="14" y="15"/>
                    <a:pt x="14" y="15"/>
                    <a:pt x="14" y="15"/>
                  </a:cubicBezTo>
                  <a:cubicBezTo>
                    <a:pt x="8" y="15"/>
                    <a:pt x="8" y="15"/>
                    <a:pt x="8" y="15"/>
                  </a:cubicBezTo>
                  <a:cubicBezTo>
                    <a:pt x="8" y="9"/>
                    <a:pt x="8" y="9"/>
                    <a:pt x="8" y="9"/>
                  </a:cubicBezTo>
                  <a:cubicBezTo>
                    <a:pt x="14" y="9"/>
                    <a:pt x="14" y="9"/>
                    <a:pt x="14" y="9"/>
                  </a:cubicBezTo>
                  <a:cubicBezTo>
                    <a:pt x="14" y="9"/>
                    <a:pt x="14" y="9"/>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85" name="Freeform 2141"/>
            <p:cNvSpPr>
              <a:spLocks noEditPoints="1"/>
            </p:cNvSpPr>
            <p:nvPr/>
          </p:nvSpPr>
          <p:spPr bwMode="auto">
            <a:xfrm>
              <a:off x="18422938" y="1093788"/>
              <a:ext cx="149225" cy="554038"/>
            </a:xfrm>
            <a:custGeom>
              <a:avLst/>
              <a:gdLst>
                <a:gd name="T0" fmla="*/ 9 w 40"/>
                <a:gd name="T1" fmla="*/ 147 h 147"/>
                <a:gd name="T2" fmla="*/ 40 w 40"/>
                <a:gd name="T3" fmla="*/ 10 h 147"/>
                <a:gd name="T4" fmla="*/ 0 w 40"/>
                <a:gd name="T5" fmla="*/ 10 h 147"/>
                <a:gd name="T6" fmla="*/ 13 w 40"/>
                <a:gd name="T7" fmla="*/ 127 h 147"/>
                <a:gd name="T8" fmla="*/ 33 w 40"/>
                <a:gd name="T9" fmla="*/ 74 h 147"/>
                <a:gd name="T10" fmla="*/ 27 w 40"/>
                <a:gd name="T11" fmla="*/ 74 h 147"/>
                <a:gd name="T12" fmla="*/ 23 w 40"/>
                <a:gd name="T13" fmla="*/ 74 h 147"/>
                <a:gd name="T14" fmla="*/ 17 w 40"/>
                <a:gd name="T15" fmla="*/ 74 h 147"/>
                <a:gd name="T16" fmla="*/ 13 w 40"/>
                <a:gd name="T17" fmla="*/ 74 h 147"/>
                <a:gd name="T18" fmla="*/ 7 w 40"/>
                <a:gd name="T19" fmla="*/ 74 h 147"/>
                <a:gd name="T20" fmla="*/ 33 w 40"/>
                <a:gd name="T21" fmla="*/ 63 h 147"/>
                <a:gd name="T22" fmla="*/ 27 w 40"/>
                <a:gd name="T23" fmla="*/ 63 h 147"/>
                <a:gd name="T24" fmla="*/ 23 w 40"/>
                <a:gd name="T25" fmla="*/ 63 h 147"/>
                <a:gd name="T26" fmla="*/ 17 w 40"/>
                <a:gd name="T27" fmla="*/ 63 h 147"/>
                <a:gd name="T28" fmla="*/ 13 w 40"/>
                <a:gd name="T29" fmla="*/ 63 h 147"/>
                <a:gd name="T30" fmla="*/ 7 w 40"/>
                <a:gd name="T31" fmla="*/ 63 h 147"/>
                <a:gd name="T32" fmla="*/ 33 w 40"/>
                <a:gd name="T33" fmla="*/ 53 h 147"/>
                <a:gd name="T34" fmla="*/ 27 w 40"/>
                <a:gd name="T35" fmla="*/ 53 h 147"/>
                <a:gd name="T36" fmla="*/ 23 w 40"/>
                <a:gd name="T37" fmla="*/ 53 h 147"/>
                <a:gd name="T38" fmla="*/ 17 w 40"/>
                <a:gd name="T39" fmla="*/ 53 h 147"/>
                <a:gd name="T40" fmla="*/ 13 w 40"/>
                <a:gd name="T41" fmla="*/ 53 h 147"/>
                <a:gd name="T42" fmla="*/ 7 w 40"/>
                <a:gd name="T43" fmla="*/ 53 h 147"/>
                <a:gd name="T44" fmla="*/ 33 w 40"/>
                <a:gd name="T45" fmla="*/ 42 h 147"/>
                <a:gd name="T46" fmla="*/ 27 w 40"/>
                <a:gd name="T47" fmla="*/ 42 h 147"/>
                <a:gd name="T48" fmla="*/ 23 w 40"/>
                <a:gd name="T49" fmla="*/ 42 h 147"/>
                <a:gd name="T50" fmla="*/ 17 w 40"/>
                <a:gd name="T51" fmla="*/ 42 h 147"/>
                <a:gd name="T52" fmla="*/ 13 w 40"/>
                <a:gd name="T53" fmla="*/ 42 h 147"/>
                <a:gd name="T54" fmla="*/ 7 w 40"/>
                <a:gd name="T55" fmla="*/ 42 h 147"/>
                <a:gd name="T56" fmla="*/ 33 w 40"/>
                <a:gd name="T57" fmla="*/ 31 h 147"/>
                <a:gd name="T58" fmla="*/ 27 w 40"/>
                <a:gd name="T59" fmla="*/ 31 h 147"/>
                <a:gd name="T60" fmla="*/ 23 w 40"/>
                <a:gd name="T61" fmla="*/ 31 h 147"/>
                <a:gd name="T62" fmla="*/ 17 w 40"/>
                <a:gd name="T63" fmla="*/ 31 h 147"/>
                <a:gd name="T64" fmla="*/ 13 w 40"/>
                <a:gd name="T65" fmla="*/ 31 h 147"/>
                <a:gd name="T66" fmla="*/ 7 w 40"/>
                <a:gd name="T67" fmla="*/ 31 h 147"/>
                <a:gd name="T68" fmla="*/ 33 w 40"/>
                <a:gd name="T69" fmla="*/ 20 h 147"/>
                <a:gd name="T70" fmla="*/ 27 w 40"/>
                <a:gd name="T71" fmla="*/ 20 h 147"/>
                <a:gd name="T72" fmla="*/ 23 w 40"/>
                <a:gd name="T73" fmla="*/ 20 h 147"/>
                <a:gd name="T74" fmla="*/ 17 w 40"/>
                <a:gd name="T75" fmla="*/ 20 h 147"/>
                <a:gd name="T76" fmla="*/ 13 w 40"/>
                <a:gd name="T77" fmla="*/ 20 h 147"/>
                <a:gd name="T78" fmla="*/ 7 w 40"/>
                <a:gd name="T79" fmla="*/ 20 h 147"/>
                <a:gd name="T80" fmla="*/ 33 w 40"/>
                <a:gd name="T81" fmla="*/ 9 h 147"/>
                <a:gd name="T82" fmla="*/ 27 w 40"/>
                <a:gd name="T83" fmla="*/ 9 h 147"/>
                <a:gd name="T84" fmla="*/ 23 w 40"/>
                <a:gd name="T85" fmla="*/ 9 h 147"/>
                <a:gd name="T86" fmla="*/ 17 w 40"/>
                <a:gd name="T87" fmla="*/ 9 h 147"/>
                <a:gd name="T88" fmla="*/ 13 w 40"/>
                <a:gd name="T89" fmla="*/ 9 h 147"/>
                <a:gd name="T90" fmla="*/ 7 w 40"/>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 h="147">
                  <a:moveTo>
                    <a:pt x="0" y="10"/>
                  </a:moveTo>
                  <a:cubicBezTo>
                    <a:pt x="0" y="138"/>
                    <a:pt x="0" y="138"/>
                    <a:pt x="0" y="138"/>
                  </a:cubicBezTo>
                  <a:cubicBezTo>
                    <a:pt x="0" y="143"/>
                    <a:pt x="4" y="147"/>
                    <a:pt x="9" y="147"/>
                  </a:cubicBezTo>
                  <a:cubicBezTo>
                    <a:pt x="31" y="147"/>
                    <a:pt x="31" y="147"/>
                    <a:pt x="31" y="147"/>
                  </a:cubicBezTo>
                  <a:cubicBezTo>
                    <a:pt x="36" y="147"/>
                    <a:pt x="40" y="143"/>
                    <a:pt x="40" y="138"/>
                  </a:cubicBezTo>
                  <a:cubicBezTo>
                    <a:pt x="40" y="10"/>
                    <a:pt x="40" y="10"/>
                    <a:pt x="40" y="10"/>
                  </a:cubicBezTo>
                  <a:cubicBezTo>
                    <a:pt x="40" y="4"/>
                    <a:pt x="36" y="0"/>
                    <a:pt x="31" y="0"/>
                  </a:cubicBezTo>
                  <a:cubicBezTo>
                    <a:pt x="9" y="0"/>
                    <a:pt x="9" y="0"/>
                    <a:pt x="9" y="0"/>
                  </a:cubicBezTo>
                  <a:cubicBezTo>
                    <a:pt x="4" y="0"/>
                    <a:pt x="0" y="4"/>
                    <a:pt x="0" y="10"/>
                  </a:cubicBezTo>
                  <a:close/>
                  <a:moveTo>
                    <a:pt x="27" y="127"/>
                  </a:moveTo>
                  <a:cubicBezTo>
                    <a:pt x="27" y="131"/>
                    <a:pt x="24" y="134"/>
                    <a:pt x="20" y="134"/>
                  </a:cubicBezTo>
                  <a:cubicBezTo>
                    <a:pt x="16" y="134"/>
                    <a:pt x="13" y="131"/>
                    <a:pt x="13" y="127"/>
                  </a:cubicBezTo>
                  <a:cubicBezTo>
                    <a:pt x="13" y="123"/>
                    <a:pt x="16" y="119"/>
                    <a:pt x="20" y="119"/>
                  </a:cubicBezTo>
                  <a:cubicBezTo>
                    <a:pt x="24" y="119"/>
                    <a:pt x="27" y="123"/>
                    <a:pt x="27" y="127"/>
                  </a:cubicBezTo>
                  <a:close/>
                  <a:moveTo>
                    <a:pt x="33" y="74"/>
                  </a:moveTo>
                  <a:cubicBezTo>
                    <a:pt x="33" y="80"/>
                    <a:pt x="33" y="80"/>
                    <a:pt x="33" y="80"/>
                  </a:cubicBezTo>
                  <a:cubicBezTo>
                    <a:pt x="27" y="80"/>
                    <a:pt x="27" y="80"/>
                    <a:pt x="27" y="80"/>
                  </a:cubicBezTo>
                  <a:cubicBezTo>
                    <a:pt x="27" y="74"/>
                    <a:pt x="27" y="74"/>
                    <a:pt x="27"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3"/>
                  </a:moveTo>
                  <a:cubicBezTo>
                    <a:pt x="33" y="58"/>
                    <a:pt x="33" y="58"/>
                    <a:pt x="33" y="58"/>
                  </a:cubicBezTo>
                  <a:cubicBezTo>
                    <a:pt x="27" y="58"/>
                    <a:pt x="27" y="58"/>
                    <a:pt x="27" y="58"/>
                  </a:cubicBezTo>
                  <a:cubicBezTo>
                    <a:pt x="27" y="53"/>
                    <a:pt x="27" y="53"/>
                    <a:pt x="27" y="53"/>
                  </a:cubicBezTo>
                  <a:cubicBezTo>
                    <a:pt x="33" y="53"/>
                    <a:pt x="33" y="53"/>
                    <a:pt x="33" y="53"/>
                  </a:cubicBezTo>
                  <a:cubicBezTo>
                    <a:pt x="33" y="53"/>
                    <a:pt x="33" y="53"/>
                    <a:pt x="33" y="53"/>
                  </a:cubicBezTo>
                  <a:close/>
                  <a:moveTo>
                    <a:pt x="23" y="53"/>
                  </a:moveTo>
                  <a:cubicBezTo>
                    <a:pt x="23" y="58"/>
                    <a:pt x="23" y="58"/>
                    <a:pt x="23" y="58"/>
                  </a:cubicBezTo>
                  <a:cubicBezTo>
                    <a:pt x="17" y="58"/>
                    <a:pt x="17" y="58"/>
                    <a:pt x="17" y="58"/>
                  </a:cubicBezTo>
                  <a:cubicBezTo>
                    <a:pt x="17" y="53"/>
                    <a:pt x="17" y="53"/>
                    <a:pt x="17" y="53"/>
                  </a:cubicBezTo>
                  <a:cubicBezTo>
                    <a:pt x="23" y="53"/>
                    <a:pt x="23" y="53"/>
                    <a:pt x="23" y="53"/>
                  </a:cubicBezTo>
                  <a:cubicBezTo>
                    <a:pt x="23" y="53"/>
                    <a:pt x="23" y="53"/>
                    <a:pt x="23" y="53"/>
                  </a:cubicBezTo>
                  <a:close/>
                  <a:moveTo>
                    <a:pt x="13" y="53"/>
                  </a:moveTo>
                  <a:cubicBezTo>
                    <a:pt x="13" y="58"/>
                    <a:pt x="13" y="58"/>
                    <a:pt x="13" y="58"/>
                  </a:cubicBezTo>
                  <a:cubicBezTo>
                    <a:pt x="7" y="58"/>
                    <a:pt x="7" y="58"/>
                    <a:pt x="7" y="58"/>
                  </a:cubicBezTo>
                  <a:cubicBezTo>
                    <a:pt x="7" y="53"/>
                    <a:pt x="7" y="53"/>
                    <a:pt x="7" y="53"/>
                  </a:cubicBezTo>
                  <a:cubicBezTo>
                    <a:pt x="13" y="53"/>
                    <a:pt x="13" y="53"/>
                    <a:pt x="13" y="53"/>
                  </a:cubicBezTo>
                  <a:cubicBezTo>
                    <a:pt x="13" y="53"/>
                    <a:pt x="13" y="53"/>
                    <a:pt x="13" y="53"/>
                  </a:cubicBezTo>
                  <a:close/>
                  <a:moveTo>
                    <a:pt x="33" y="42"/>
                  </a:moveTo>
                  <a:cubicBezTo>
                    <a:pt x="33" y="48"/>
                    <a:pt x="33" y="48"/>
                    <a:pt x="33" y="48"/>
                  </a:cubicBezTo>
                  <a:cubicBezTo>
                    <a:pt x="27" y="48"/>
                    <a:pt x="27" y="48"/>
                    <a:pt x="27" y="48"/>
                  </a:cubicBezTo>
                  <a:cubicBezTo>
                    <a:pt x="27" y="42"/>
                    <a:pt x="27" y="42"/>
                    <a:pt x="27" y="42"/>
                  </a:cubicBezTo>
                  <a:cubicBezTo>
                    <a:pt x="33" y="42"/>
                    <a:pt x="33" y="42"/>
                    <a:pt x="33" y="42"/>
                  </a:cubicBezTo>
                  <a:cubicBezTo>
                    <a:pt x="33" y="42"/>
                    <a:pt x="33" y="42"/>
                    <a:pt x="33" y="42"/>
                  </a:cubicBezTo>
                  <a:close/>
                  <a:moveTo>
                    <a:pt x="23" y="42"/>
                  </a:moveTo>
                  <a:cubicBezTo>
                    <a:pt x="23" y="48"/>
                    <a:pt x="23" y="48"/>
                    <a:pt x="23" y="48"/>
                  </a:cubicBezTo>
                  <a:cubicBezTo>
                    <a:pt x="17" y="48"/>
                    <a:pt x="17" y="48"/>
                    <a:pt x="17" y="48"/>
                  </a:cubicBezTo>
                  <a:cubicBezTo>
                    <a:pt x="17" y="42"/>
                    <a:pt x="17" y="42"/>
                    <a:pt x="17" y="42"/>
                  </a:cubicBezTo>
                  <a:cubicBezTo>
                    <a:pt x="23" y="42"/>
                    <a:pt x="23" y="42"/>
                    <a:pt x="23" y="42"/>
                  </a:cubicBezTo>
                  <a:cubicBezTo>
                    <a:pt x="23" y="42"/>
                    <a:pt x="23" y="42"/>
                    <a:pt x="23" y="42"/>
                  </a:cubicBezTo>
                  <a:close/>
                  <a:moveTo>
                    <a:pt x="13" y="42"/>
                  </a:moveTo>
                  <a:cubicBezTo>
                    <a:pt x="13" y="48"/>
                    <a:pt x="13" y="48"/>
                    <a:pt x="13" y="48"/>
                  </a:cubicBezTo>
                  <a:cubicBezTo>
                    <a:pt x="7" y="48"/>
                    <a:pt x="7" y="48"/>
                    <a:pt x="7" y="48"/>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7" y="37"/>
                    <a:pt x="27" y="37"/>
                    <a:pt x="27" y="37"/>
                  </a:cubicBezTo>
                  <a:cubicBezTo>
                    <a:pt x="27" y="31"/>
                    <a:pt x="27" y="31"/>
                    <a:pt x="27"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86" name="Freeform 2142"/>
            <p:cNvSpPr>
              <a:spLocks noEditPoints="1"/>
            </p:cNvSpPr>
            <p:nvPr/>
          </p:nvSpPr>
          <p:spPr bwMode="auto">
            <a:xfrm>
              <a:off x="18640425" y="1093788"/>
              <a:ext cx="153988" cy="554038"/>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7 w 41"/>
                <a:gd name="T11" fmla="*/ 74 h 147"/>
                <a:gd name="T12" fmla="*/ 23 w 41"/>
                <a:gd name="T13" fmla="*/ 74 h 147"/>
                <a:gd name="T14" fmla="*/ 17 w 41"/>
                <a:gd name="T15" fmla="*/ 74 h 147"/>
                <a:gd name="T16" fmla="*/ 13 w 41"/>
                <a:gd name="T17" fmla="*/ 74 h 147"/>
                <a:gd name="T18" fmla="*/ 7 w 41"/>
                <a:gd name="T19" fmla="*/ 74 h 147"/>
                <a:gd name="T20" fmla="*/ 33 w 41"/>
                <a:gd name="T21" fmla="*/ 63 h 147"/>
                <a:gd name="T22" fmla="*/ 27 w 41"/>
                <a:gd name="T23" fmla="*/ 63 h 147"/>
                <a:gd name="T24" fmla="*/ 23 w 41"/>
                <a:gd name="T25" fmla="*/ 63 h 147"/>
                <a:gd name="T26" fmla="*/ 17 w 41"/>
                <a:gd name="T27" fmla="*/ 63 h 147"/>
                <a:gd name="T28" fmla="*/ 13 w 41"/>
                <a:gd name="T29" fmla="*/ 63 h 147"/>
                <a:gd name="T30" fmla="*/ 7 w 41"/>
                <a:gd name="T31" fmla="*/ 63 h 147"/>
                <a:gd name="T32" fmla="*/ 33 w 41"/>
                <a:gd name="T33" fmla="*/ 53 h 147"/>
                <a:gd name="T34" fmla="*/ 27 w 41"/>
                <a:gd name="T35" fmla="*/ 53 h 147"/>
                <a:gd name="T36" fmla="*/ 23 w 41"/>
                <a:gd name="T37" fmla="*/ 53 h 147"/>
                <a:gd name="T38" fmla="*/ 17 w 41"/>
                <a:gd name="T39" fmla="*/ 53 h 147"/>
                <a:gd name="T40" fmla="*/ 13 w 41"/>
                <a:gd name="T41" fmla="*/ 53 h 147"/>
                <a:gd name="T42" fmla="*/ 7 w 41"/>
                <a:gd name="T43" fmla="*/ 53 h 147"/>
                <a:gd name="T44" fmla="*/ 33 w 41"/>
                <a:gd name="T45" fmla="*/ 42 h 147"/>
                <a:gd name="T46" fmla="*/ 27 w 41"/>
                <a:gd name="T47" fmla="*/ 42 h 147"/>
                <a:gd name="T48" fmla="*/ 23 w 41"/>
                <a:gd name="T49" fmla="*/ 42 h 147"/>
                <a:gd name="T50" fmla="*/ 17 w 41"/>
                <a:gd name="T51" fmla="*/ 42 h 147"/>
                <a:gd name="T52" fmla="*/ 13 w 41"/>
                <a:gd name="T53" fmla="*/ 42 h 147"/>
                <a:gd name="T54" fmla="*/ 7 w 41"/>
                <a:gd name="T55" fmla="*/ 42 h 147"/>
                <a:gd name="T56" fmla="*/ 33 w 41"/>
                <a:gd name="T57" fmla="*/ 31 h 147"/>
                <a:gd name="T58" fmla="*/ 27 w 41"/>
                <a:gd name="T59" fmla="*/ 31 h 147"/>
                <a:gd name="T60" fmla="*/ 23 w 41"/>
                <a:gd name="T61" fmla="*/ 31 h 147"/>
                <a:gd name="T62" fmla="*/ 17 w 41"/>
                <a:gd name="T63" fmla="*/ 31 h 147"/>
                <a:gd name="T64" fmla="*/ 13 w 41"/>
                <a:gd name="T65" fmla="*/ 31 h 147"/>
                <a:gd name="T66" fmla="*/ 7 w 41"/>
                <a:gd name="T67" fmla="*/ 31 h 147"/>
                <a:gd name="T68" fmla="*/ 33 w 41"/>
                <a:gd name="T69" fmla="*/ 20 h 147"/>
                <a:gd name="T70" fmla="*/ 27 w 41"/>
                <a:gd name="T71" fmla="*/ 20 h 147"/>
                <a:gd name="T72" fmla="*/ 23 w 41"/>
                <a:gd name="T73" fmla="*/ 20 h 147"/>
                <a:gd name="T74" fmla="*/ 17 w 41"/>
                <a:gd name="T75" fmla="*/ 20 h 147"/>
                <a:gd name="T76" fmla="*/ 13 w 41"/>
                <a:gd name="T77" fmla="*/ 20 h 147"/>
                <a:gd name="T78" fmla="*/ 7 w 41"/>
                <a:gd name="T79" fmla="*/ 20 h 147"/>
                <a:gd name="T80" fmla="*/ 33 w 41"/>
                <a:gd name="T81" fmla="*/ 9 h 147"/>
                <a:gd name="T82" fmla="*/ 27 w 41"/>
                <a:gd name="T83" fmla="*/ 9 h 147"/>
                <a:gd name="T84" fmla="*/ 23 w 41"/>
                <a:gd name="T85" fmla="*/ 9 h 147"/>
                <a:gd name="T86" fmla="*/ 17 w 41"/>
                <a:gd name="T87" fmla="*/ 9 h 147"/>
                <a:gd name="T88" fmla="*/ 13 w 41"/>
                <a:gd name="T89" fmla="*/ 9 h 147"/>
                <a:gd name="T90" fmla="*/ 7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8"/>
                    <a:pt x="0" y="138"/>
                    <a:pt x="0" y="138"/>
                  </a:cubicBezTo>
                  <a:cubicBezTo>
                    <a:pt x="0" y="143"/>
                    <a:pt x="4" y="147"/>
                    <a:pt x="9" y="147"/>
                  </a:cubicBezTo>
                  <a:cubicBezTo>
                    <a:pt x="31" y="147"/>
                    <a:pt x="31" y="147"/>
                    <a:pt x="31" y="147"/>
                  </a:cubicBezTo>
                  <a:cubicBezTo>
                    <a:pt x="36" y="147"/>
                    <a:pt x="41" y="143"/>
                    <a:pt x="41" y="138"/>
                  </a:cubicBezTo>
                  <a:cubicBezTo>
                    <a:pt x="41" y="10"/>
                    <a:pt x="41" y="10"/>
                    <a:pt x="41" y="10"/>
                  </a:cubicBezTo>
                  <a:cubicBezTo>
                    <a:pt x="41" y="4"/>
                    <a:pt x="36" y="0"/>
                    <a:pt x="31" y="0"/>
                  </a:cubicBezTo>
                  <a:cubicBezTo>
                    <a:pt x="9" y="0"/>
                    <a:pt x="9" y="0"/>
                    <a:pt x="9" y="0"/>
                  </a:cubicBezTo>
                  <a:cubicBezTo>
                    <a:pt x="4" y="0"/>
                    <a:pt x="0" y="4"/>
                    <a:pt x="0" y="10"/>
                  </a:cubicBezTo>
                  <a:close/>
                  <a:moveTo>
                    <a:pt x="28" y="127"/>
                  </a:moveTo>
                  <a:cubicBezTo>
                    <a:pt x="28" y="131"/>
                    <a:pt x="24" y="134"/>
                    <a:pt x="20" y="134"/>
                  </a:cubicBezTo>
                  <a:cubicBezTo>
                    <a:pt x="16" y="134"/>
                    <a:pt x="13" y="131"/>
                    <a:pt x="13" y="127"/>
                  </a:cubicBezTo>
                  <a:cubicBezTo>
                    <a:pt x="13" y="123"/>
                    <a:pt x="16" y="119"/>
                    <a:pt x="20" y="119"/>
                  </a:cubicBezTo>
                  <a:cubicBezTo>
                    <a:pt x="24" y="119"/>
                    <a:pt x="28" y="123"/>
                    <a:pt x="28" y="127"/>
                  </a:cubicBezTo>
                  <a:close/>
                  <a:moveTo>
                    <a:pt x="33" y="74"/>
                  </a:moveTo>
                  <a:cubicBezTo>
                    <a:pt x="33" y="80"/>
                    <a:pt x="33" y="80"/>
                    <a:pt x="33" y="80"/>
                  </a:cubicBezTo>
                  <a:cubicBezTo>
                    <a:pt x="27" y="80"/>
                    <a:pt x="27" y="80"/>
                    <a:pt x="27" y="80"/>
                  </a:cubicBezTo>
                  <a:cubicBezTo>
                    <a:pt x="27" y="74"/>
                    <a:pt x="27" y="74"/>
                    <a:pt x="27"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7" y="80"/>
                    <a:pt x="7" y="80"/>
                    <a:pt x="7" y="80"/>
                  </a:cubicBezTo>
                  <a:cubicBezTo>
                    <a:pt x="7" y="74"/>
                    <a:pt x="7" y="74"/>
                    <a:pt x="7" y="74"/>
                  </a:cubicBezTo>
                  <a:cubicBezTo>
                    <a:pt x="13" y="74"/>
                    <a:pt x="13" y="74"/>
                    <a:pt x="13" y="74"/>
                  </a:cubicBezTo>
                  <a:cubicBezTo>
                    <a:pt x="13" y="74"/>
                    <a:pt x="13" y="74"/>
                    <a:pt x="13" y="74"/>
                  </a:cubicBezTo>
                  <a:close/>
                  <a:moveTo>
                    <a:pt x="33" y="63"/>
                  </a:moveTo>
                  <a:cubicBezTo>
                    <a:pt x="33" y="69"/>
                    <a:pt x="33" y="69"/>
                    <a:pt x="33" y="69"/>
                  </a:cubicBezTo>
                  <a:cubicBezTo>
                    <a:pt x="27" y="69"/>
                    <a:pt x="27" y="69"/>
                    <a:pt x="27" y="69"/>
                  </a:cubicBezTo>
                  <a:cubicBezTo>
                    <a:pt x="27" y="63"/>
                    <a:pt x="27" y="63"/>
                    <a:pt x="27"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7" y="69"/>
                    <a:pt x="7" y="69"/>
                    <a:pt x="7" y="69"/>
                  </a:cubicBezTo>
                  <a:cubicBezTo>
                    <a:pt x="7" y="63"/>
                    <a:pt x="7" y="63"/>
                    <a:pt x="7" y="63"/>
                  </a:cubicBezTo>
                  <a:cubicBezTo>
                    <a:pt x="13" y="63"/>
                    <a:pt x="13" y="63"/>
                    <a:pt x="13" y="63"/>
                  </a:cubicBezTo>
                  <a:cubicBezTo>
                    <a:pt x="13" y="63"/>
                    <a:pt x="13" y="63"/>
                    <a:pt x="13" y="63"/>
                  </a:cubicBezTo>
                  <a:close/>
                  <a:moveTo>
                    <a:pt x="33" y="53"/>
                  </a:moveTo>
                  <a:cubicBezTo>
                    <a:pt x="33" y="58"/>
                    <a:pt x="33" y="58"/>
                    <a:pt x="33" y="58"/>
                  </a:cubicBezTo>
                  <a:cubicBezTo>
                    <a:pt x="27" y="58"/>
                    <a:pt x="27" y="58"/>
                    <a:pt x="27" y="58"/>
                  </a:cubicBezTo>
                  <a:cubicBezTo>
                    <a:pt x="27" y="53"/>
                    <a:pt x="27" y="53"/>
                    <a:pt x="27" y="53"/>
                  </a:cubicBezTo>
                  <a:cubicBezTo>
                    <a:pt x="33" y="53"/>
                    <a:pt x="33" y="53"/>
                    <a:pt x="33" y="53"/>
                  </a:cubicBezTo>
                  <a:cubicBezTo>
                    <a:pt x="33" y="53"/>
                    <a:pt x="33" y="53"/>
                    <a:pt x="33" y="53"/>
                  </a:cubicBezTo>
                  <a:close/>
                  <a:moveTo>
                    <a:pt x="23" y="53"/>
                  </a:moveTo>
                  <a:cubicBezTo>
                    <a:pt x="23" y="58"/>
                    <a:pt x="23" y="58"/>
                    <a:pt x="23" y="58"/>
                  </a:cubicBezTo>
                  <a:cubicBezTo>
                    <a:pt x="17" y="58"/>
                    <a:pt x="17" y="58"/>
                    <a:pt x="17" y="58"/>
                  </a:cubicBezTo>
                  <a:cubicBezTo>
                    <a:pt x="17" y="53"/>
                    <a:pt x="17" y="53"/>
                    <a:pt x="17" y="53"/>
                  </a:cubicBezTo>
                  <a:cubicBezTo>
                    <a:pt x="23" y="53"/>
                    <a:pt x="23" y="53"/>
                    <a:pt x="23" y="53"/>
                  </a:cubicBezTo>
                  <a:cubicBezTo>
                    <a:pt x="23" y="53"/>
                    <a:pt x="23" y="53"/>
                    <a:pt x="23" y="53"/>
                  </a:cubicBezTo>
                  <a:close/>
                  <a:moveTo>
                    <a:pt x="13" y="53"/>
                  </a:moveTo>
                  <a:cubicBezTo>
                    <a:pt x="13" y="58"/>
                    <a:pt x="13" y="58"/>
                    <a:pt x="13" y="58"/>
                  </a:cubicBezTo>
                  <a:cubicBezTo>
                    <a:pt x="7" y="58"/>
                    <a:pt x="7" y="58"/>
                    <a:pt x="7" y="58"/>
                  </a:cubicBezTo>
                  <a:cubicBezTo>
                    <a:pt x="7" y="53"/>
                    <a:pt x="7" y="53"/>
                    <a:pt x="7" y="53"/>
                  </a:cubicBezTo>
                  <a:cubicBezTo>
                    <a:pt x="13" y="53"/>
                    <a:pt x="13" y="53"/>
                    <a:pt x="13" y="53"/>
                  </a:cubicBezTo>
                  <a:cubicBezTo>
                    <a:pt x="13" y="53"/>
                    <a:pt x="13" y="53"/>
                    <a:pt x="13" y="53"/>
                  </a:cubicBezTo>
                  <a:close/>
                  <a:moveTo>
                    <a:pt x="33" y="42"/>
                  </a:moveTo>
                  <a:cubicBezTo>
                    <a:pt x="33" y="48"/>
                    <a:pt x="33" y="48"/>
                    <a:pt x="33" y="48"/>
                  </a:cubicBezTo>
                  <a:cubicBezTo>
                    <a:pt x="27" y="48"/>
                    <a:pt x="27" y="48"/>
                    <a:pt x="27" y="48"/>
                  </a:cubicBezTo>
                  <a:cubicBezTo>
                    <a:pt x="27" y="42"/>
                    <a:pt x="27" y="42"/>
                    <a:pt x="27" y="42"/>
                  </a:cubicBezTo>
                  <a:cubicBezTo>
                    <a:pt x="33" y="42"/>
                    <a:pt x="33" y="42"/>
                    <a:pt x="33" y="42"/>
                  </a:cubicBezTo>
                  <a:cubicBezTo>
                    <a:pt x="33" y="42"/>
                    <a:pt x="33" y="42"/>
                    <a:pt x="33" y="42"/>
                  </a:cubicBezTo>
                  <a:close/>
                  <a:moveTo>
                    <a:pt x="23" y="42"/>
                  </a:moveTo>
                  <a:cubicBezTo>
                    <a:pt x="23" y="48"/>
                    <a:pt x="23" y="48"/>
                    <a:pt x="23" y="48"/>
                  </a:cubicBezTo>
                  <a:cubicBezTo>
                    <a:pt x="17" y="48"/>
                    <a:pt x="17" y="48"/>
                    <a:pt x="17" y="48"/>
                  </a:cubicBezTo>
                  <a:cubicBezTo>
                    <a:pt x="17" y="42"/>
                    <a:pt x="17" y="42"/>
                    <a:pt x="17" y="42"/>
                  </a:cubicBezTo>
                  <a:cubicBezTo>
                    <a:pt x="23" y="42"/>
                    <a:pt x="23" y="42"/>
                    <a:pt x="23" y="42"/>
                  </a:cubicBezTo>
                  <a:cubicBezTo>
                    <a:pt x="23" y="42"/>
                    <a:pt x="23" y="42"/>
                    <a:pt x="23" y="42"/>
                  </a:cubicBezTo>
                  <a:close/>
                  <a:moveTo>
                    <a:pt x="13" y="42"/>
                  </a:moveTo>
                  <a:cubicBezTo>
                    <a:pt x="13" y="48"/>
                    <a:pt x="13" y="48"/>
                    <a:pt x="13" y="48"/>
                  </a:cubicBezTo>
                  <a:cubicBezTo>
                    <a:pt x="7" y="48"/>
                    <a:pt x="7" y="48"/>
                    <a:pt x="7" y="48"/>
                  </a:cubicBezTo>
                  <a:cubicBezTo>
                    <a:pt x="7" y="42"/>
                    <a:pt x="7" y="42"/>
                    <a:pt x="7" y="42"/>
                  </a:cubicBezTo>
                  <a:cubicBezTo>
                    <a:pt x="13" y="42"/>
                    <a:pt x="13" y="42"/>
                    <a:pt x="13" y="42"/>
                  </a:cubicBezTo>
                  <a:cubicBezTo>
                    <a:pt x="13" y="42"/>
                    <a:pt x="13" y="42"/>
                    <a:pt x="13" y="42"/>
                  </a:cubicBezTo>
                  <a:close/>
                  <a:moveTo>
                    <a:pt x="33" y="31"/>
                  </a:moveTo>
                  <a:cubicBezTo>
                    <a:pt x="33" y="37"/>
                    <a:pt x="33" y="37"/>
                    <a:pt x="33" y="37"/>
                  </a:cubicBezTo>
                  <a:cubicBezTo>
                    <a:pt x="27" y="37"/>
                    <a:pt x="27" y="37"/>
                    <a:pt x="27" y="37"/>
                  </a:cubicBezTo>
                  <a:cubicBezTo>
                    <a:pt x="27" y="31"/>
                    <a:pt x="27" y="31"/>
                    <a:pt x="27"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7" y="37"/>
                    <a:pt x="7" y="37"/>
                    <a:pt x="7" y="37"/>
                  </a:cubicBezTo>
                  <a:cubicBezTo>
                    <a:pt x="7" y="31"/>
                    <a:pt x="7" y="31"/>
                    <a:pt x="7" y="31"/>
                  </a:cubicBezTo>
                  <a:cubicBezTo>
                    <a:pt x="13" y="31"/>
                    <a:pt x="13" y="31"/>
                    <a:pt x="13" y="31"/>
                  </a:cubicBezTo>
                  <a:cubicBezTo>
                    <a:pt x="13" y="31"/>
                    <a:pt x="13" y="31"/>
                    <a:pt x="13" y="31"/>
                  </a:cubicBezTo>
                  <a:close/>
                  <a:moveTo>
                    <a:pt x="33" y="20"/>
                  </a:moveTo>
                  <a:cubicBezTo>
                    <a:pt x="33" y="26"/>
                    <a:pt x="33" y="26"/>
                    <a:pt x="33" y="26"/>
                  </a:cubicBezTo>
                  <a:cubicBezTo>
                    <a:pt x="27" y="26"/>
                    <a:pt x="27" y="26"/>
                    <a:pt x="27" y="26"/>
                  </a:cubicBezTo>
                  <a:cubicBezTo>
                    <a:pt x="27" y="20"/>
                    <a:pt x="27" y="20"/>
                    <a:pt x="27"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7" y="26"/>
                    <a:pt x="7" y="26"/>
                    <a:pt x="7" y="26"/>
                  </a:cubicBezTo>
                  <a:cubicBezTo>
                    <a:pt x="7" y="20"/>
                    <a:pt x="7" y="20"/>
                    <a:pt x="7" y="20"/>
                  </a:cubicBezTo>
                  <a:cubicBezTo>
                    <a:pt x="13" y="20"/>
                    <a:pt x="13" y="20"/>
                    <a:pt x="13" y="20"/>
                  </a:cubicBezTo>
                  <a:cubicBezTo>
                    <a:pt x="13" y="20"/>
                    <a:pt x="13" y="20"/>
                    <a:pt x="13" y="20"/>
                  </a:cubicBezTo>
                  <a:close/>
                  <a:moveTo>
                    <a:pt x="33" y="9"/>
                  </a:moveTo>
                  <a:cubicBezTo>
                    <a:pt x="33" y="15"/>
                    <a:pt x="33" y="15"/>
                    <a:pt x="33" y="15"/>
                  </a:cubicBezTo>
                  <a:cubicBezTo>
                    <a:pt x="27" y="15"/>
                    <a:pt x="27" y="15"/>
                    <a:pt x="27" y="15"/>
                  </a:cubicBezTo>
                  <a:cubicBezTo>
                    <a:pt x="27" y="9"/>
                    <a:pt x="27" y="9"/>
                    <a:pt x="27"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7" y="15"/>
                    <a:pt x="7" y="15"/>
                    <a:pt x="7" y="15"/>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87" name="Freeform 2143"/>
            <p:cNvSpPr>
              <a:spLocks noEditPoints="1"/>
            </p:cNvSpPr>
            <p:nvPr/>
          </p:nvSpPr>
          <p:spPr bwMode="auto">
            <a:xfrm>
              <a:off x="18857913" y="1093788"/>
              <a:ext cx="153988" cy="554038"/>
            </a:xfrm>
            <a:custGeom>
              <a:avLst/>
              <a:gdLst>
                <a:gd name="T0" fmla="*/ 9 w 41"/>
                <a:gd name="T1" fmla="*/ 147 h 147"/>
                <a:gd name="T2" fmla="*/ 41 w 41"/>
                <a:gd name="T3" fmla="*/ 10 h 147"/>
                <a:gd name="T4" fmla="*/ 0 w 41"/>
                <a:gd name="T5" fmla="*/ 10 h 147"/>
                <a:gd name="T6" fmla="*/ 13 w 41"/>
                <a:gd name="T7" fmla="*/ 127 h 147"/>
                <a:gd name="T8" fmla="*/ 33 w 41"/>
                <a:gd name="T9" fmla="*/ 74 h 147"/>
                <a:gd name="T10" fmla="*/ 28 w 41"/>
                <a:gd name="T11" fmla="*/ 74 h 147"/>
                <a:gd name="T12" fmla="*/ 23 w 41"/>
                <a:gd name="T13" fmla="*/ 74 h 147"/>
                <a:gd name="T14" fmla="*/ 17 w 41"/>
                <a:gd name="T15" fmla="*/ 74 h 147"/>
                <a:gd name="T16" fmla="*/ 13 w 41"/>
                <a:gd name="T17" fmla="*/ 74 h 147"/>
                <a:gd name="T18" fmla="*/ 8 w 41"/>
                <a:gd name="T19" fmla="*/ 74 h 147"/>
                <a:gd name="T20" fmla="*/ 33 w 41"/>
                <a:gd name="T21" fmla="*/ 63 h 147"/>
                <a:gd name="T22" fmla="*/ 28 w 41"/>
                <a:gd name="T23" fmla="*/ 63 h 147"/>
                <a:gd name="T24" fmla="*/ 23 w 41"/>
                <a:gd name="T25" fmla="*/ 63 h 147"/>
                <a:gd name="T26" fmla="*/ 17 w 41"/>
                <a:gd name="T27" fmla="*/ 63 h 147"/>
                <a:gd name="T28" fmla="*/ 13 w 41"/>
                <a:gd name="T29" fmla="*/ 63 h 147"/>
                <a:gd name="T30" fmla="*/ 8 w 41"/>
                <a:gd name="T31" fmla="*/ 63 h 147"/>
                <a:gd name="T32" fmla="*/ 33 w 41"/>
                <a:gd name="T33" fmla="*/ 53 h 147"/>
                <a:gd name="T34" fmla="*/ 28 w 41"/>
                <a:gd name="T35" fmla="*/ 53 h 147"/>
                <a:gd name="T36" fmla="*/ 23 w 41"/>
                <a:gd name="T37" fmla="*/ 53 h 147"/>
                <a:gd name="T38" fmla="*/ 17 w 41"/>
                <a:gd name="T39" fmla="*/ 53 h 147"/>
                <a:gd name="T40" fmla="*/ 13 w 41"/>
                <a:gd name="T41" fmla="*/ 53 h 147"/>
                <a:gd name="T42" fmla="*/ 8 w 41"/>
                <a:gd name="T43" fmla="*/ 53 h 147"/>
                <a:gd name="T44" fmla="*/ 33 w 41"/>
                <a:gd name="T45" fmla="*/ 42 h 147"/>
                <a:gd name="T46" fmla="*/ 28 w 41"/>
                <a:gd name="T47" fmla="*/ 42 h 147"/>
                <a:gd name="T48" fmla="*/ 23 w 41"/>
                <a:gd name="T49" fmla="*/ 42 h 147"/>
                <a:gd name="T50" fmla="*/ 17 w 41"/>
                <a:gd name="T51" fmla="*/ 42 h 147"/>
                <a:gd name="T52" fmla="*/ 13 w 41"/>
                <a:gd name="T53" fmla="*/ 42 h 147"/>
                <a:gd name="T54" fmla="*/ 8 w 41"/>
                <a:gd name="T55" fmla="*/ 42 h 147"/>
                <a:gd name="T56" fmla="*/ 33 w 41"/>
                <a:gd name="T57" fmla="*/ 31 h 147"/>
                <a:gd name="T58" fmla="*/ 28 w 41"/>
                <a:gd name="T59" fmla="*/ 31 h 147"/>
                <a:gd name="T60" fmla="*/ 23 w 41"/>
                <a:gd name="T61" fmla="*/ 31 h 147"/>
                <a:gd name="T62" fmla="*/ 17 w 41"/>
                <a:gd name="T63" fmla="*/ 31 h 147"/>
                <a:gd name="T64" fmla="*/ 13 w 41"/>
                <a:gd name="T65" fmla="*/ 31 h 147"/>
                <a:gd name="T66" fmla="*/ 8 w 41"/>
                <a:gd name="T67" fmla="*/ 31 h 147"/>
                <a:gd name="T68" fmla="*/ 33 w 41"/>
                <a:gd name="T69" fmla="*/ 20 h 147"/>
                <a:gd name="T70" fmla="*/ 28 w 41"/>
                <a:gd name="T71" fmla="*/ 20 h 147"/>
                <a:gd name="T72" fmla="*/ 23 w 41"/>
                <a:gd name="T73" fmla="*/ 20 h 147"/>
                <a:gd name="T74" fmla="*/ 17 w 41"/>
                <a:gd name="T75" fmla="*/ 20 h 147"/>
                <a:gd name="T76" fmla="*/ 13 w 41"/>
                <a:gd name="T77" fmla="*/ 20 h 147"/>
                <a:gd name="T78" fmla="*/ 8 w 41"/>
                <a:gd name="T79" fmla="*/ 20 h 147"/>
                <a:gd name="T80" fmla="*/ 33 w 41"/>
                <a:gd name="T81" fmla="*/ 9 h 147"/>
                <a:gd name="T82" fmla="*/ 28 w 41"/>
                <a:gd name="T83" fmla="*/ 9 h 147"/>
                <a:gd name="T84" fmla="*/ 23 w 41"/>
                <a:gd name="T85" fmla="*/ 9 h 147"/>
                <a:gd name="T86" fmla="*/ 17 w 41"/>
                <a:gd name="T87" fmla="*/ 9 h 147"/>
                <a:gd name="T88" fmla="*/ 13 w 41"/>
                <a:gd name="T89" fmla="*/ 9 h 147"/>
                <a:gd name="T90" fmla="*/ 8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8"/>
                    <a:pt x="0" y="138"/>
                    <a:pt x="0" y="138"/>
                  </a:cubicBezTo>
                  <a:cubicBezTo>
                    <a:pt x="0" y="143"/>
                    <a:pt x="4" y="147"/>
                    <a:pt x="9" y="147"/>
                  </a:cubicBezTo>
                  <a:cubicBezTo>
                    <a:pt x="32" y="147"/>
                    <a:pt x="32" y="147"/>
                    <a:pt x="32" y="147"/>
                  </a:cubicBezTo>
                  <a:cubicBezTo>
                    <a:pt x="37" y="147"/>
                    <a:pt x="41" y="143"/>
                    <a:pt x="41" y="138"/>
                  </a:cubicBezTo>
                  <a:cubicBezTo>
                    <a:pt x="41" y="10"/>
                    <a:pt x="41" y="10"/>
                    <a:pt x="41" y="10"/>
                  </a:cubicBezTo>
                  <a:cubicBezTo>
                    <a:pt x="41" y="4"/>
                    <a:pt x="37" y="0"/>
                    <a:pt x="32" y="0"/>
                  </a:cubicBezTo>
                  <a:cubicBezTo>
                    <a:pt x="9" y="0"/>
                    <a:pt x="9" y="0"/>
                    <a:pt x="9" y="0"/>
                  </a:cubicBezTo>
                  <a:cubicBezTo>
                    <a:pt x="4" y="0"/>
                    <a:pt x="0" y="4"/>
                    <a:pt x="0" y="10"/>
                  </a:cubicBezTo>
                  <a:close/>
                  <a:moveTo>
                    <a:pt x="28" y="127"/>
                  </a:moveTo>
                  <a:cubicBezTo>
                    <a:pt x="28" y="131"/>
                    <a:pt x="25" y="134"/>
                    <a:pt x="21" y="134"/>
                  </a:cubicBezTo>
                  <a:cubicBezTo>
                    <a:pt x="16" y="134"/>
                    <a:pt x="13" y="131"/>
                    <a:pt x="13" y="127"/>
                  </a:cubicBezTo>
                  <a:cubicBezTo>
                    <a:pt x="13" y="123"/>
                    <a:pt x="16" y="119"/>
                    <a:pt x="21" y="119"/>
                  </a:cubicBezTo>
                  <a:cubicBezTo>
                    <a:pt x="25" y="119"/>
                    <a:pt x="28" y="123"/>
                    <a:pt x="28" y="127"/>
                  </a:cubicBezTo>
                  <a:close/>
                  <a:moveTo>
                    <a:pt x="33" y="74"/>
                  </a:moveTo>
                  <a:cubicBezTo>
                    <a:pt x="33" y="80"/>
                    <a:pt x="33" y="80"/>
                    <a:pt x="33" y="80"/>
                  </a:cubicBezTo>
                  <a:cubicBezTo>
                    <a:pt x="28" y="80"/>
                    <a:pt x="28" y="80"/>
                    <a:pt x="28" y="80"/>
                  </a:cubicBezTo>
                  <a:cubicBezTo>
                    <a:pt x="28" y="74"/>
                    <a:pt x="28" y="74"/>
                    <a:pt x="28" y="74"/>
                  </a:cubicBezTo>
                  <a:cubicBezTo>
                    <a:pt x="33" y="74"/>
                    <a:pt x="33" y="74"/>
                    <a:pt x="33" y="74"/>
                  </a:cubicBezTo>
                  <a:cubicBezTo>
                    <a:pt x="33" y="74"/>
                    <a:pt x="33" y="74"/>
                    <a:pt x="33" y="74"/>
                  </a:cubicBezTo>
                  <a:close/>
                  <a:moveTo>
                    <a:pt x="23" y="74"/>
                  </a:moveTo>
                  <a:cubicBezTo>
                    <a:pt x="23" y="80"/>
                    <a:pt x="23" y="80"/>
                    <a:pt x="23" y="80"/>
                  </a:cubicBezTo>
                  <a:cubicBezTo>
                    <a:pt x="17" y="80"/>
                    <a:pt x="17" y="80"/>
                    <a:pt x="17" y="80"/>
                  </a:cubicBezTo>
                  <a:cubicBezTo>
                    <a:pt x="17" y="74"/>
                    <a:pt x="17" y="74"/>
                    <a:pt x="17" y="74"/>
                  </a:cubicBezTo>
                  <a:cubicBezTo>
                    <a:pt x="23" y="74"/>
                    <a:pt x="23" y="74"/>
                    <a:pt x="23" y="74"/>
                  </a:cubicBezTo>
                  <a:cubicBezTo>
                    <a:pt x="23" y="74"/>
                    <a:pt x="23" y="74"/>
                    <a:pt x="23" y="74"/>
                  </a:cubicBezTo>
                  <a:close/>
                  <a:moveTo>
                    <a:pt x="13" y="74"/>
                  </a:moveTo>
                  <a:cubicBezTo>
                    <a:pt x="13" y="80"/>
                    <a:pt x="13" y="80"/>
                    <a:pt x="13" y="80"/>
                  </a:cubicBezTo>
                  <a:cubicBezTo>
                    <a:pt x="8" y="80"/>
                    <a:pt x="8" y="80"/>
                    <a:pt x="8" y="80"/>
                  </a:cubicBezTo>
                  <a:cubicBezTo>
                    <a:pt x="8" y="74"/>
                    <a:pt x="8" y="74"/>
                    <a:pt x="8" y="74"/>
                  </a:cubicBezTo>
                  <a:cubicBezTo>
                    <a:pt x="13" y="74"/>
                    <a:pt x="13" y="74"/>
                    <a:pt x="13" y="74"/>
                  </a:cubicBezTo>
                  <a:cubicBezTo>
                    <a:pt x="13" y="74"/>
                    <a:pt x="13" y="74"/>
                    <a:pt x="13" y="74"/>
                  </a:cubicBezTo>
                  <a:close/>
                  <a:moveTo>
                    <a:pt x="33" y="63"/>
                  </a:moveTo>
                  <a:cubicBezTo>
                    <a:pt x="33" y="69"/>
                    <a:pt x="33" y="69"/>
                    <a:pt x="33" y="69"/>
                  </a:cubicBezTo>
                  <a:cubicBezTo>
                    <a:pt x="28" y="69"/>
                    <a:pt x="28" y="69"/>
                    <a:pt x="28" y="69"/>
                  </a:cubicBezTo>
                  <a:cubicBezTo>
                    <a:pt x="28" y="63"/>
                    <a:pt x="28" y="63"/>
                    <a:pt x="28" y="63"/>
                  </a:cubicBezTo>
                  <a:cubicBezTo>
                    <a:pt x="33" y="63"/>
                    <a:pt x="33" y="63"/>
                    <a:pt x="33" y="63"/>
                  </a:cubicBezTo>
                  <a:cubicBezTo>
                    <a:pt x="33" y="63"/>
                    <a:pt x="33" y="63"/>
                    <a:pt x="33" y="63"/>
                  </a:cubicBezTo>
                  <a:close/>
                  <a:moveTo>
                    <a:pt x="23" y="63"/>
                  </a:moveTo>
                  <a:cubicBezTo>
                    <a:pt x="23" y="69"/>
                    <a:pt x="23" y="69"/>
                    <a:pt x="23" y="69"/>
                  </a:cubicBezTo>
                  <a:cubicBezTo>
                    <a:pt x="17" y="69"/>
                    <a:pt x="17" y="69"/>
                    <a:pt x="17" y="69"/>
                  </a:cubicBezTo>
                  <a:cubicBezTo>
                    <a:pt x="17" y="63"/>
                    <a:pt x="17" y="63"/>
                    <a:pt x="17" y="63"/>
                  </a:cubicBezTo>
                  <a:cubicBezTo>
                    <a:pt x="23" y="63"/>
                    <a:pt x="23" y="63"/>
                    <a:pt x="23" y="63"/>
                  </a:cubicBezTo>
                  <a:cubicBezTo>
                    <a:pt x="23" y="63"/>
                    <a:pt x="23" y="63"/>
                    <a:pt x="23" y="63"/>
                  </a:cubicBezTo>
                  <a:close/>
                  <a:moveTo>
                    <a:pt x="13" y="63"/>
                  </a:moveTo>
                  <a:cubicBezTo>
                    <a:pt x="13" y="69"/>
                    <a:pt x="13" y="69"/>
                    <a:pt x="13" y="69"/>
                  </a:cubicBezTo>
                  <a:cubicBezTo>
                    <a:pt x="8" y="69"/>
                    <a:pt x="8" y="69"/>
                    <a:pt x="8" y="69"/>
                  </a:cubicBezTo>
                  <a:cubicBezTo>
                    <a:pt x="8" y="63"/>
                    <a:pt x="8" y="63"/>
                    <a:pt x="8" y="63"/>
                  </a:cubicBezTo>
                  <a:cubicBezTo>
                    <a:pt x="13" y="63"/>
                    <a:pt x="13" y="63"/>
                    <a:pt x="13" y="63"/>
                  </a:cubicBezTo>
                  <a:cubicBezTo>
                    <a:pt x="13" y="63"/>
                    <a:pt x="13" y="63"/>
                    <a:pt x="13" y="63"/>
                  </a:cubicBezTo>
                  <a:close/>
                  <a:moveTo>
                    <a:pt x="33" y="53"/>
                  </a:moveTo>
                  <a:cubicBezTo>
                    <a:pt x="33" y="58"/>
                    <a:pt x="33" y="58"/>
                    <a:pt x="33" y="58"/>
                  </a:cubicBezTo>
                  <a:cubicBezTo>
                    <a:pt x="28" y="58"/>
                    <a:pt x="28" y="58"/>
                    <a:pt x="28" y="58"/>
                  </a:cubicBezTo>
                  <a:cubicBezTo>
                    <a:pt x="28" y="53"/>
                    <a:pt x="28" y="53"/>
                    <a:pt x="28" y="53"/>
                  </a:cubicBezTo>
                  <a:cubicBezTo>
                    <a:pt x="33" y="53"/>
                    <a:pt x="33" y="53"/>
                    <a:pt x="33" y="53"/>
                  </a:cubicBezTo>
                  <a:cubicBezTo>
                    <a:pt x="33" y="53"/>
                    <a:pt x="33" y="53"/>
                    <a:pt x="33" y="53"/>
                  </a:cubicBezTo>
                  <a:close/>
                  <a:moveTo>
                    <a:pt x="23" y="53"/>
                  </a:moveTo>
                  <a:cubicBezTo>
                    <a:pt x="23" y="58"/>
                    <a:pt x="23" y="58"/>
                    <a:pt x="23" y="58"/>
                  </a:cubicBezTo>
                  <a:cubicBezTo>
                    <a:pt x="17" y="58"/>
                    <a:pt x="17" y="58"/>
                    <a:pt x="17" y="58"/>
                  </a:cubicBezTo>
                  <a:cubicBezTo>
                    <a:pt x="17" y="53"/>
                    <a:pt x="17" y="53"/>
                    <a:pt x="17" y="53"/>
                  </a:cubicBezTo>
                  <a:cubicBezTo>
                    <a:pt x="23" y="53"/>
                    <a:pt x="23" y="53"/>
                    <a:pt x="23" y="53"/>
                  </a:cubicBezTo>
                  <a:cubicBezTo>
                    <a:pt x="23" y="53"/>
                    <a:pt x="23" y="53"/>
                    <a:pt x="23" y="53"/>
                  </a:cubicBezTo>
                  <a:close/>
                  <a:moveTo>
                    <a:pt x="13" y="53"/>
                  </a:moveTo>
                  <a:cubicBezTo>
                    <a:pt x="13" y="58"/>
                    <a:pt x="13" y="58"/>
                    <a:pt x="13" y="58"/>
                  </a:cubicBezTo>
                  <a:cubicBezTo>
                    <a:pt x="8" y="58"/>
                    <a:pt x="8" y="58"/>
                    <a:pt x="8" y="58"/>
                  </a:cubicBezTo>
                  <a:cubicBezTo>
                    <a:pt x="8" y="53"/>
                    <a:pt x="8" y="53"/>
                    <a:pt x="8" y="53"/>
                  </a:cubicBezTo>
                  <a:cubicBezTo>
                    <a:pt x="13" y="53"/>
                    <a:pt x="13" y="53"/>
                    <a:pt x="13" y="53"/>
                  </a:cubicBezTo>
                  <a:cubicBezTo>
                    <a:pt x="13" y="53"/>
                    <a:pt x="13" y="53"/>
                    <a:pt x="13" y="53"/>
                  </a:cubicBezTo>
                  <a:close/>
                  <a:moveTo>
                    <a:pt x="33" y="42"/>
                  </a:moveTo>
                  <a:cubicBezTo>
                    <a:pt x="33" y="48"/>
                    <a:pt x="33" y="48"/>
                    <a:pt x="33" y="48"/>
                  </a:cubicBezTo>
                  <a:cubicBezTo>
                    <a:pt x="28" y="48"/>
                    <a:pt x="28" y="48"/>
                    <a:pt x="28" y="48"/>
                  </a:cubicBezTo>
                  <a:cubicBezTo>
                    <a:pt x="28" y="42"/>
                    <a:pt x="28" y="42"/>
                    <a:pt x="28" y="42"/>
                  </a:cubicBezTo>
                  <a:cubicBezTo>
                    <a:pt x="33" y="42"/>
                    <a:pt x="33" y="42"/>
                    <a:pt x="33" y="42"/>
                  </a:cubicBezTo>
                  <a:cubicBezTo>
                    <a:pt x="33" y="42"/>
                    <a:pt x="33" y="42"/>
                    <a:pt x="33" y="42"/>
                  </a:cubicBezTo>
                  <a:close/>
                  <a:moveTo>
                    <a:pt x="23" y="42"/>
                  </a:moveTo>
                  <a:cubicBezTo>
                    <a:pt x="23" y="48"/>
                    <a:pt x="23" y="48"/>
                    <a:pt x="23" y="48"/>
                  </a:cubicBezTo>
                  <a:cubicBezTo>
                    <a:pt x="17" y="48"/>
                    <a:pt x="17" y="48"/>
                    <a:pt x="17" y="48"/>
                  </a:cubicBezTo>
                  <a:cubicBezTo>
                    <a:pt x="17" y="42"/>
                    <a:pt x="17" y="42"/>
                    <a:pt x="17" y="42"/>
                  </a:cubicBezTo>
                  <a:cubicBezTo>
                    <a:pt x="23" y="42"/>
                    <a:pt x="23" y="42"/>
                    <a:pt x="23" y="42"/>
                  </a:cubicBezTo>
                  <a:cubicBezTo>
                    <a:pt x="23" y="42"/>
                    <a:pt x="23" y="42"/>
                    <a:pt x="23" y="42"/>
                  </a:cubicBezTo>
                  <a:close/>
                  <a:moveTo>
                    <a:pt x="13" y="42"/>
                  </a:moveTo>
                  <a:cubicBezTo>
                    <a:pt x="13" y="48"/>
                    <a:pt x="13" y="48"/>
                    <a:pt x="13" y="48"/>
                  </a:cubicBezTo>
                  <a:cubicBezTo>
                    <a:pt x="8" y="48"/>
                    <a:pt x="8" y="48"/>
                    <a:pt x="8" y="48"/>
                  </a:cubicBezTo>
                  <a:cubicBezTo>
                    <a:pt x="8" y="42"/>
                    <a:pt x="8" y="42"/>
                    <a:pt x="8" y="42"/>
                  </a:cubicBezTo>
                  <a:cubicBezTo>
                    <a:pt x="13" y="42"/>
                    <a:pt x="13" y="42"/>
                    <a:pt x="13" y="42"/>
                  </a:cubicBezTo>
                  <a:cubicBezTo>
                    <a:pt x="13" y="42"/>
                    <a:pt x="13" y="42"/>
                    <a:pt x="13" y="42"/>
                  </a:cubicBezTo>
                  <a:close/>
                  <a:moveTo>
                    <a:pt x="33" y="31"/>
                  </a:moveTo>
                  <a:cubicBezTo>
                    <a:pt x="33" y="37"/>
                    <a:pt x="33" y="37"/>
                    <a:pt x="33" y="37"/>
                  </a:cubicBezTo>
                  <a:cubicBezTo>
                    <a:pt x="28" y="37"/>
                    <a:pt x="28" y="37"/>
                    <a:pt x="28" y="37"/>
                  </a:cubicBezTo>
                  <a:cubicBezTo>
                    <a:pt x="28" y="31"/>
                    <a:pt x="28" y="31"/>
                    <a:pt x="28" y="31"/>
                  </a:cubicBezTo>
                  <a:cubicBezTo>
                    <a:pt x="33" y="31"/>
                    <a:pt x="33" y="31"/>
                    <a:pt x="33" y="31"/>
                  </a:cubicBezTo>
                  <a:cubicBezTo>
                    <a:pt x="33" y="31"/>
                    <a:pt x="33" y="31"/>
                    <a:pt x="33" y="31"/>
                  </a:cubicBezTo>
                  <a:close/>
                  <a:moveTo>
                    <a:pt x="23" y="31"/>
                  </a:moveTo>
                  <a:cubicBezTo>
                    <a:pt x="23" y="37"/>
                    <a:pt x="23" y="37"/>
                    <a:pt x="23" y="37"/>
                  </a:cubicBezTo>
                  <a:cubicBezTo>
                    <a:pt x="17" y="37"/>
                    <a:pt x="17" y="37"/>
                    <a:pt x="17" y="37"/>
                  </a:cubicBezTo>
                  <a:cubicBezTo>
                    <a:pt x="17" y="31"/>
                    <a:pt x="17" y="31"/>
                    <a:pt x="17" y="31"/>
                  </a:cubicBezTo>
                  <a:cubicBezTo>
                    <a:pt x="23" y="31"/>
                    <a:pt x="23" y="31"/>
                    <a:pt x="23" y="31"/>
                  </a:cubicBezTo>
                  <a:cubicBezTo>
                    <a:pt x="23" y="31"/>
                    <a:pt x="23" y="31"/>
                    <a:pt x="23" y="31"/>
                  </a:cubicBezTo>
                  <a:close/>
                  <a:moveTo>
                    <a:pt x="13" y="31"/>
                  </a:moveTo>
                  <a:cubicBezTo>
                    <a:pt x="13" y="37"/>
                    <a:pt x="13" y="37"/>
                    <a:pt x="13" y="37"/>
                  </a:cubicBezTo>
                  <a:cubicBezTo>
                    <a:pt x="8" y="37"/>
                    <a:pt x="8" y="37"/>
                    <a:pt x="8" y="37"/>
                  </a:cubicBezTo>
                  <a:cubicBezTo>
                    <a:pt x="8" y="31"/>
                    <a:pt x="8" y="31"/>
                    <a:pt x="8" y="31"/>
                  </a:cubicBezTo>
                  <a:cubicBezTo>
                    <a:pt x="13" y="31"/>
                    <a:pt x="13" y="31"/>
                    <a:pt x="13" y="31"/>
                  </a:cubicBezTo>
                  <a:cubicBezTo>
                    <a:pt x="13" y="31"/>
                    <a:pt x="13" y="31"/>
                    <a:pt x="13" y="31"/>
                  </a:cubicBezTo>
                  <a:close/>
                  <a:moveTo>
                    <a:pt x="33" y="20"/>
                  </a:moveTo>
                  <a:cubicBezTo>
                    <a:pt x="33" y="26"/>
                    <a:pt x="33" y="26"/>
                    <a:pt x="33" y="26"/>
                  </a:cubicBezTo>
                  <a:cubicBezTo>
                    <a:pt x="28" y="26"/>
                    <a:pt x="28" y="26"/>
                    <a:pt x="28" y="26"/>
                  </a:cubicBezTo>
                  <a:cubicBezTo>
                    <a:pt x="28" y="20"/>
                    <a:pt x="28" y="20"/>
                    <a:pt x="28" y="20"/>
                  </a:cubicBezTo>
                  <a:cubicBezTo>
                    <a:pt x="33" y="20"/>
                    <a:pt x="33" y="20"/>
                    <a:pt x="33" y="20"/>
                  </a:cubicBezTo>
                  <a:cubicBezTo>
                    <a:pt x="33" y="20"/>
                    <a:pt x="33" y="20"/>
                    <a:pt x="33" y="20"/>
                  </a:cubicBezTo>
                  <a:close/>
                  <a:moveTo>
                    <a:pt x="23" y="20"/>
                  </a:moveTo>
                  <a:cubicBezTo>
                    <a:pt x="23" y="26"/>
                    <a:pt x="23" y="26"/>
                    <a:pt x="23" y="26"/>
                  </a:cubicBezTo>
                  <a:cubicBezTo>
                    <a:pt x="17" y="26"/>
                    <a:pt x="17" y="26"/>
                    <a:pt x="17" y="26"/>
                  </a:cubicBezTo>
                  <a:cubicBezTo>
                    <a:pt x="17" y="20"/>
                    <a:pt x="17" y="20"/>
                    <a:pt x="17" y="20"/>
                  </a:cubicBezTo>
                  <a:cubicBezTo>
                    <a:pt x="23" y="20"/>
                    <a:pt x="23" y="20"/>
                    <a:pt x="23" y="20"/>
                  </a:cubicBezTo>
                  <a:cubicBezTo>
                    <a:pt x="23" y="20"/>
                    <a:pt x="23" y="20"/>
                    <a:pt x="23" y="20"/>
                  </a:cubicBezTo>
                  <a:close/>
                  <a:moveTo>
                    <a:pt x="13" y="20"/>
                  </a:moveTo>
                  <a:cubicBezTo>
                    <a:pt x="13" y="26"/>
                    <a:pt x="13" y="26"/>
                    <a:pt x="13" y="26"/>
                  </a:cubicBezTo>
                  <a:cubicBezTo>
                    <a:pt x="8" y="26"/>
                    <a:pt x="8" y="26"/>
                    <a:pt x="8" y="26"/>
                  </a:cubicBezTo>
                  <a:cubicBezTo>
                    <a:pt x="8" y="20"/>
                    <a:pt x="8" y="20"/>
                    <a:pt x="8" y="20"/>
                  </a:cubicBezTo>
                  <a:cubicBezTo>
                    <a:pt x="13" y="20"/>
                    <a:pt x="13" y="20"/>
                    <a:pt x="13" y="20"/>
                  </a:cubicBezTo>
                  <a:cubicBezTo>
                    <a:pt x="13" y="20"/>
                    <a:pt x="13" y="20"/>
                    <a:pt x="13" y="20"/>
                  </a:cubicBezTo>
                  <a:close/>
                  <a:moveTo>
                    <a:pt x="33" y="9"/>
                  </a:moveTo>
                  <a:cubicBezTo>
                    <a:pt x="33" y="15"/>
                    <a:pt x="33" y="15"/>
                    <a:pt x="33" y="15"/>
                  </a:cubicBezTo>
                  <a:cubicBezTo>
                    <a:pt x="28" y="15"/>
                    <a:pt x="28" y="15"/>
                    <a:pt x="28" y="15"/>
                  </a:cubicBezTo>
                  <a:cubicBezTo>
                    <a:pt x="28" y="9"/>
                    <a:pt x="28" y="9"/>
                    <a:pt x="28" y="9"/>
                  </a:cubicBezTo>
                  <a:cubicBezTo>
                    <a:pt x="33" y="9"/>
                    <a:pt x="33" y="9"/>
                    <a:pt x="33" y="9"/>
                  </a:cubicBezTo>
                  <a:cubicBezTo>
                    <a:pt x="33" y="9"/>
                    <a:pt x="33" y="9"/>
                    <a:pt x="33" y="9"/>
                  </a:cubicBezTo>
                  <a:close/>
                  <a:moveTo>
                    <a:pt x="23" y="9"/>
                  </a:moveTo>
                  <a:cubicBezTo>
                    <a:pt x="23" y="15"/>
                    <a:pt x="23" y="15"/>
                    <a:pt x="23" y="15"/>
                  </a:cubicBezTo>
                  <a:cubicBezTo>
                    <a:pt x="17" y="15"/>
                    <a:pt x="17" y="15"/>
                    <a:pt x="17" y="15"/>
                  </a:cubicBezTo>
                  <a:cubicBezTo>
                    <a:pt x="17" y="9"/>
                    <a:pt x="17" y="9"/>
                    <a:pt x="17" y="9"/>
                  </a:cubicBezTo>
                  <a:cubicBezTo>
                    <a:pt x="23" y="9"/>
                    <a:pt x="23" y="9"/>
                    <a:pt x="23" y="9"/>
                  </a:cubicBezTo>
                  <a:cubicBezTo>
                    <a:pt x="23" y="9"/>
                    <a:pt x="23" y="9"/>
                    <a:pt x="23" y="9"/>
                  </a:cubicBezTo>
                  <a:close/>
                  <a:moveTo>
                    <a:pt x="13" y="9"/>
                  </a:moveTo>
                  <a:cubicBezTo>
                    <a:pt x="13" y="15"/>
                    <a:pt x="13" y="15"/>
                    <a:pt x="13" y="15"/>
                  </a:cubicBezTo>
                  <a:cubicBezTo>
                    <a:pt x="8" y="15"/>
                    <a:pt x="8" y="15"/>
                    <a:pt x="8" y="15"/>
                  </a:cubicBezTo>
                  <a:cubicBezTo>
                    <a:pt x="8" y="9"/>
                    <a:pt x="8" y="9"/>
                    <a:pt x="8"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88" name="Freeform 2144"/>
            <p:cNvSpPr>
              <a:spLocks noEditPoints="1"/>
            </p:cNvSpPr>
            <p:nvPr/>
          </p:nvSpPr>
          <p:spPr bwMode="auto">
            <a:xfrm>
              <a:off x="19075400" y="1093788"/>
              <a:ext cx="153988" cy="554038"/>
            </a:xfrm>
            <a:custGeom>
              <a:avLst/>
              <a:gdLst>
                <a:gd name="T0" fmla="*/ 10 w 41"/>
                <a:gd name="T1" fmla="*/ 147 h 147"/>
                <a:gd name="T2" fmla="*/ 41 w 41"/>
                <a:gd name="T3" fmla="*/ 10 h 147"/>
                <a:gd name="T4" fmla="*/ 0 w 41"/>
                <a:gd name="T5" fmla="*/ 10 h 147"/>
                <a:gd name="T6" fmla="*/ 13 w 41"/>
                <a:gd name="T7" fmla="*/ 127 h 147"/>
                <a:gd name="T8" fmla="*/ 34 w 41"/>
                <a:gd name="T9" fmla="*/ 74 h 147"/>
                <a:gd name="T10" fmla="*/ 28 w 41"/>
                <a:gd name="T11" fmla="*/ 74 h 147"/>
                <a:gd name="T12" fmla="*/ 23 w 41"/>
                <a:gd name="T13" fmla="*/ 74 h 147"/>
                <a:gd name="T14" fmla="*/ 18 w 41"/>
                <a:gd name="T15" fmla="*/ 74 h 147"/>
                <a:gd name="T16" fmla="*/ 14 w 41"/>
                <a:gd name="T17" fmla="*/ 74 h 147"/>
                <a:gd name="T18" fmla="*/ 8 w 41"/>
                <a:gd name="T19" fmla="*/ 74 h 147"/>
                <a:gd name="T20" fmla="*/ 34 w 41"/>
                <a:gd name="T21" fmla="*/ 63 h 147"/>
                <a:gd name="T22" fmla="*/ 28 w 41"/>
                <a:gd name="T23" fmla="*/ 63 h 147"/>
                <a:gd name="T24" fmla="*/ 23 w 41"/>
                <a:gd name="T25" fmla="*/ 63 h 147"/>
                <a:gd name="T26" fmla="*/ 18 w 41"/>
                <a:gd name="T27" fmla="*/ 63 h 147"/>
                <a:gd name="T28" fmla="*/ 14 w 41"/>
                <a:gd name="T29" fmla="*/ 63 h 147"/>
                <a:gd name="T30" fmla="*/ 8 w 41"/>
                <a:gd name="T31" fmla="*/ 63 h 147"/>
                <a:gd name="T32" fmla="*/ 34 w 41"/>
                <a:gd name="T33" fmla="*/ 53 h 147"/>
                <a:gd name="T34" fmla="*/ 28 w 41"/>
                <a:gd name="T35" fmla="*/ 53 h 147"/>
                <a:gd name="T36" fmla="*/ 23 w 41"/>
                <a:gd name="T37" fmla="*/ 53 h 147"/>
                <a:gd name="T38" fmla="*/ 18 w 41"/>
                <a:gd name="T39" fmla="*/ 53 h 147"/>
                <a:gd name="T40" fmla="*/ 14 w 41"/>
                <a:gd name="T41" fmla="*/ 53 h 147"/>
                <a:gd name="T42" fmla="*/ 8 w 41"/>
                <a:gd name="T43" fmla="*/ 53 h 147"/>
                <a:gd name="T44" fmla="*/ 34 w 41"/>
                <a:gd name="T45" fmla="*/ 42 h 147"/>
                <a:gd name="T46" fmla="*/ 28 w 41"/>
                <a:gd name="T47" fmla="*/ 42 h 147"/>
                <a:gd name="T48" fmla="*/ 23 w 41"/>
                <a:gd name="T49" fmla="*/ 42 h 147"/>
                <a:gd name="T50" fmla="*/ 18 w 41"/>
                <a:gd name="T51" fmla="*/ 42 h 147"/>
                <a:gd name="T52" fmla="*/ 14 w 41"/>
                <a:gd name="T53" fmla="*/ 42 h 147"/>
                <a:gd name="T54" fmla="*/ 8 w 41"/>
                <a:gd name="T55" fmla="*/ 42 h 147"/>
                <a:gd name="T56" fmla="*/ 34 w 41"/>
                <a:gd name="T57" fmla="*/ 31 h 147"/>
                <a:gd name="T58" fmla="*/ 28 w 41"/>
                <a:gd name="T59" fmla="*/ 31 h 147"/>
                <a:gd name="T60" fmla="*/ 23 w 41"/>
                <a:gd name="T61" fmla="*/ 31 h 147"/>
                <a:gd name="T62" fmla="*/ 18 w 41"/>
                <a:gd name="T63" fmla="*/ 31 h 147"/>
                <a:gd name="T64" fmla="*/ 14 w 41"/>
                <a:gd name="T65" fmla="*/ 31 h 147"/>
                <a:gd name="T66" fmla="*/ 8 w 41"/>
                <a:gd name="T67" fmla="*/ 31 h 147"/>
                <a:gd name="T68" fmla="*/ 34 w 41"/>
                <a:gd name="T69" fmla="*/ 20 h 147"/>
                <a:gd name="T70" fmla="*/ 28 w 41"/>
                <a:gd name="T71" fmla="*/ 20 h 147"/>
                <a:gd name="T72" fmla="*/ 23 w 41"/>
                <a:gd name="T73" fmla="*/ 20 h 147"/>
                <a:gd name="T74" fmla="*/ 18 w 41"/>
                <a:gd name="T75" fmla="*/ 20 h 147"/>
                <a:gd name="T76" fmla="*/ 14 w 41"/>
                <a:gd name="T77" fmla="*/ 20 h 147"/>
                <a:gd name="T78" fmla="*/ 8 w 41"/>
                <a:gd name="T79" fmla="*/ 20 h 147"/>
                <a:gd name="T80" fmla="*/ 34 w 41"/>
                <a:gd name="T81" fmla="*/ 9 h 147"/>
                <a:gd name="T82" fmla="*/ 28 w 41"/>
                <a:gd name="T83" fmla="*/ 9 h 147"/>
                <a:gd name="T84" fmla="*/ 23 w 41"/>
                <a:gd name="T85" fmla="*/ 9 h 147"/>
                <a:gd name="T86" fmla="*/ 18 w 41"/>
                <a:gd name="T87" fmla="*/ 9 h 147"/>
                <a:gd name="T88" fmla="*/ 14 w 41"/>
                <a:gd name="T89" fmla="*/ 9 h 147"/>
                <a:gd name="T90" fmla="*/ 8 w 41"/>
                <a:gd name="T9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7">
                  <a:moveTo>
                    <a:pt x="0" y="10"/>
                  </a:moveTo>
                  <a:cubicBezTo>
                    <a:pt x="0" y="138"/>
                    <a:pt x="0" y="138"/>
                    <a:pt x="0" y="138"/>
                  </a:cubicBezTo>
                  <a:cubicBezTo>
                    <a:pt x="0" y="143"/>
                    <a:pt x="4" y="147"/>
                    <a:pt x="10" y="147"/>
                  </a:cubicBezTo>
                  <a:cubicBezTo>
                    <a:pt x="32" y="147"/>
                    <a:pt x="32" y="147"/>
                    <a:pt x="32" y="147"/>
                  </a:cubicBezTo>
                  <a:cubicBezTo>
                    <a:pt x="37" y="147"/>
                    <a:pt x="41" y="143"/>
                    <a:pt x="41" y="138"/>
                  </a:cubicBezTo>
                  <a:cubicBezTo>
                    <a:pt x="41" y="10"/>
                    <a:pt x="41" y="10"/>
                    <a:pt x="41" y="10"/>
                  </a:cubicBezTo>
                  <a:cubicBezTo>
                    <a:pt x="41" y="4"/>
                    <a:pt x="37" y="0"/>
                    <a:pt x="32" y="0"/>
                  </a:cubicBezTo>
                  <a:cubicBezTo>
                    <a:pt x="10" y="0"/>
                    <a:pt x="10" y="0"/>
                    <a:pt x="10" y="0"/>
                  </a:cubicBezTo>
                  <a:cubicBezTo>
                    <a:pt x="4" y="0"/>
                    <a:pt x="0" y="4"/>
                    <a:pt x="0" y="10"/>
                  </a:cubicBezTo>
                  <a:close/>
                  <a:moveTo>
                    <a:pt x="28" y="127"/>
                  </a:moveTo>
                  <a:cubicBezTo>
                    <a:pt x="28" y="131"/>
                    <a:pt x="25" y="134"/>
                    <a:pt x="21" y="134"/>
                  </a:cubicBezTo>
                  <a:cubicBezTo>
                    <a:pt x="17" y="134"/>
                    <a:pt x="13" y="131"/>
                    <a:pt x="13" y="127"/>
                  </a:cubicBezTo>
                  <a:cubicBezTo>
                    <a:pt x="13" y="123"/>
                    <a:pt x="17" y="119"/>
                    <a:pt x="21" y="119"/>
                  </a:cubicBezTo>
                  <a:cubicBezTo>
                    <a:pt x="25" y="119"/>
                    <a:pt x="28" y="123"/>
                    <a:pt x="28" y="127"/>
                  </a:cubicBezTo>
                  <a:close/>
                  <a:moveTo>
                    <a:pt x="34" y="74"/>
                  </a:moveTo>
                  <a:cubicBezTo>
                    <a:pt x="34" y="80"/>
                    <a:pt x="34" y="80"/>
                    <a:pt x="34" y="80"/>
                  </a:cubicBezTo>
                  <a:cubicBezTo>
                    <a:pt x="28" y="80"/>
                    <a:pt x="28" y="80"/>
                    <a:pt x="28" y="80"/>
                  </a:cubicBezTo>
                  <a:cubicBezTo>
                    <a:pt x="28" y="74"/>
                    <a:pt x="28" y="74"/>
                    <a:pt x="28" y="74"/>
                  </a:cubicBezTo>
                  <a:cubicBezTo>
                    <a:pt x="34" y="74"/>
                    <a:pt x="34" y="74"/>
                    <a:pt x="34" y="74"/>
                  </a:cubicBezTo>
                  <a:cubicBezTo>
                    <a:pt x="34" y="74"/>
                    <a:pt x="34" y="74"/>
                    <a:pt x="34" y="74"/>
                  </a:cubicBezTo>
                  <a:close/>
                  <a:moveTo>
                    <a:pt x="23" y="74"/>
                  </a:moveTo>
                  <a:cubicBezTo>
                    <a:pt x="23" y="80"/>
                    <a:pt x="23" y="80"/>
                    <a:pt x="23" y="80"/>
                  </a:cubicBezTo>
                  <a:cubicBezTo>
                    <a:pt x="18" y="80"/>
                    <a:pt x="18" y="80"/>
                    <a:pt x="18" y="80"/>
                  </a:cubicBezTo>
                  <a:cubicBezTo>
                    <a:pt x="18" y="74"/>
                    <a:pt x="18" y="74"/>
                    <a:pt x="18" y="74"/>
                  </a:cubicBezTo>
                  <a:cubicBezTo>
                    <a:pt x="23" y="74"/>
                    <a:pt x="23" y="74"/>
                    <a:pt x="23" y="74"/>
                  </a:cubicBezTo>
                  <a:cubicBezTo>
                    <a:pt x="23" y="74"/>
                    <a:pt x="23" y="74"/>
                    <a:pt x="23" y="74"/>
                  </a:cubicBezTo>
                  <a:close/>
                  <a:moveTo>
                    <a:pt x="14" y="74"/>
                  </a:moveTo>
                  <a:cubicBezTo>
                    <a:pt x="14" y="80"/>
                    <a:pt x="14" y="80"/>
                    <a:pt x="14" y="80"/>
                  </a:cubicBezTo>
                  <a:cubicBezTo>
                    <a:pt x="8" y="80"/>
                    <a:pt x="8" y="80"/>
                    <a:pt x="8" y="80"/>
                  </a:cubicBezTo>
                  <a:cubicBezTo>
                    <a:pt x="8" y="74"/>
                    <a:pt x="8" y="74"/>
                    <a:pt x="8" y="74"/>
                  </a:cubicBezTo>
                  <a:cubicBezTo>
                    <a:pt x="14" y="74"/>
                    <a:pt x="14" y="74"/>
                    <a:pt x="14" y="74"/>
                  </a:cubicBezTo>
                  <a:cubicBezTo>
                    <a:pt x="14" y="74"/>
                    <a:pt x="14" y="74"/>
                    <a:pt x="14" y="74"/>
                  </a:cubicBezTo>
                  <a:close/>
                  <a:moveTo>
                    <a:pt x="34" y="63"/>
                  </a:moveTo>
                  <a:cubicBezTo>
                    <a:pt x="34" y="69"/>
                    <a:pt x="34" y="69"/>
                    <a:pt x="34" y="69"/>
                  </a:cubicBezTo>
                  <a:cubicBezTo>
                    <a:pt x="28" y="69"/>
                    <a:pt x="28" y="69"/>
                    <a:pt x="28" y="69"/>
                  </a:cubicBezTo>
                  <a:cubicBezTo>
                    <a:pt x="28" y="63"/>
                    <a:pt x="28" y="63"/>
                    <a:pt x="28" y="63"/>
                  </a:cubicBezTo>
                  <a:cubicBezTo>
                    <a:pt x="34" y="63"/>
                    <a:pt x="34" y="63"/>
                    <a:pt x="34" y="63"/>
                  </a:cubicBezTo>
                  <a:cubicBezTo>
                    <a:pt x="34" y="63"/>
                    <a:pt x="34" y="63"/>
                    <a:pt x="34" y="63"/>
                  </a:cubicBezTo>
                  <a:close/>
                  <a:moveTo>
                    <a:pt x="23" y="63"/>
                  </a:moveTo>
                  <a:cubicBezTo>
                    <a:pt x="23" y="69"/>
                    <a:pt x="23" y="69"/>
                    <a:pt x="23" y="69"/>
                  </a:cubicBezTo>
                  <a:cubicBezTo>
                    <a:pt x="18" y="69"/>
                    <a:pt x="18" y="69"/>
                    <a:pt x="18" y="69"/>
                  </a:cubicBezTo>
                  <a:cubicBezTo>
                    <a:pt x="18" y="63"/>
                    <a:pt x="18" y="63"/>
                    <a:pt x="18" y="63"/>
                  </a:cubicBezTo>
                  <a:cubicBezTo>
                    <a:pt x="23" y="63"/>
                    <a:pt x="23" y="63"/>
                    <a:pt x="23" y="63"/>
                  </a:cubicBezTo>
                  <a:cubicBezTo>
                    <a:pt x="23" y="63"/>
                    <a:pt x="23" y="63"/>
                    <a:pt x="23" y="63"/>
                  </a:cubicBezTo>
                  <a:close/>
                  <a:moveTo>
                    <a:pt x="14" y="63"/>
                  </a:moveTo>
                  <a:cubicBezTo>
                    <a:pt x="14" y="69"/>
                    <a:pt x="14" y="69"/>
                    <a:pt x="14" y="69"/>
                  </a:cubicBezTo>
                  <a:cubicBezTo>
                    <a:pt x="8" y="69"/>
                    <a:pt x="8" y="69"/>
                    <a:pt x="8" y="69"/>
                  </a:cubicBezTo>
                  <a:cubicBezTo>
                    <a:pt x="8" y="63"/>
                    <a:pt x="8" y="63"/>
                    <a:pt x="8" y="63"/>
                  </a:cubicBezTo>
                  <a:cubicBezTo>
                    <a:pt x="14" y="63"/>
                    <a:pt x="14" y="63"/>
                    <a:pt x="14" y="63"/>
                  </a:cubicBezTo>
                  <a:cubicBezTo>
                    <a:pt x="14" y="63"/>
                    <a:pt x="14" y="63"/>
                    <a:pt x="14" y="63"/>
                  </a:cubicBezTo>
                  <a:close/>
                  <a:moveTo>
                    <a:pt x="34" y="53"/>
                  </a:moveTo>
                  <a:cubicBezTo>
                    <a:pt x="34" y="58"/>
                    <a:pt x="34" y="58"/>
                    <a:pt x="34" y="58"/>
                  </a:cubicBezTo>
                  <a:cubicBezTo>
                    <a:pt x="28" y="58"/>
                    <a:pt x="28" y="58"/>
                    <a:pt x="28" y="58"/>
                  </a:cubicBezTo>
                  <a:cubicBezTo>
                    <a:pt x="28" y="53"/>
                    <a:pt x="28" y="53"/>
                    <a:pt x="28" y="53"/>
                  </a:cubicBezTo>
                  <a:cubicBezTo>
                    <a:pt x="34" y="53"/>
                    <a:pt x="34" y="53"/>
                    <a:pt x="34" y="53"/>
                  </a:cubicBezTo>
                  <a:cubicBezTo>
                    <a:pt x="34" y="53"/>
                    <a:pt x="34" y="53"/>
                    <a:pt x="34" y="53"/>
                  </a:cubicBezTo>
                  <a:close/>
                  <a:moveTo>
                    <a:pt x="23" y="53"/>
                  </a:moveTo>
                  <a:cubicBezTo>
                    <a:pt x="23" y="58"/>
                    <a:pt x="23" y="58"/>
                    <a:pt x="23" y="58"/>
                  </a:cubicBezTo>
                  <a:cubicBezTo>
                    <a:pt x="18" y="58"/>
                    <a:pt x="18" y="58"/>
                    <a:pt x="18" y="58"/>
                  </a:cubicBezTo>
                  <a:cubicBezTo>
                    <a:pt x="18" y="53"/>
                    <a:pt x="18" y="53"/>
                    <a:pt x="18" y="53"/>
                  </a:cubicBezTo>
                  <a:cubicBezTo>
                    <a:pt x="23" y="53"/>
                    <a:pt x="23" y="53"/>
                    <a:pt x="23" y="53"/>
                  </a:cubicBezTo>
                  <a:cubicBezTo>
                    <a:pt x="23" y="53"/>
                    <a:pt x="23" y="53"/>
                    <a:pt x="23" y="53"/>
                  </a:cubicBezTo>
                  <a:close/>
                  <a:moveTo>
                    <a:pt x="14" y="53"/>
                  </a:moveTo>
                  <a:cubicBezTo>
                    <a:pt x="14" y="58"/>
                    <a:pt x="14" y="58"/>
                    <a:pt x="14" y="58"/>
                  </a:cubicBezTo>
                  <a:cubicBezTo>
                    <a:pt x="8" y="58"/>
                    <a:pt x="8" y="58"/>
                    <a:pt x="8" y="58"/>
                  </a:cubicBezTo>
                  <a:cubicBezTo>
                    <a:pt x="8" y="53"/>
                    <a:pt x="8" y="53"/>
                    <a:pt x="8" y="53"/>
                  </a:cubicBezTo>
                  <a:cubicBezTo>
                    <a:pt x="14" y="53"/>
                    <a:pt x="14" y="53"/>
                    <a:pt x="14" y="53"/>
                  </a:cubicBezTo>
                  <a:cubicBezTo>
                    <a:pt x="14" y="53"/>
                    <a:pt x="14" y="53"/>
                    <a:pt x="14" y="53"/>
                  </a:cubicBezTo>
                  <a:close/>
                  <a:moveTo>
                    <a:pt x="34" y="42"/>
                  </a:moveTo>
                  <a:cubicBezTo>
                    <a:pt x="34" y="48"/>
                    <a:pt x="34" y="48"/>
                    <a:pt x="34" y="48"/>
                  </a:cubicBezTo>
                  <a:cubicBezTo>
                    <a:pt x="28" y="48"/>
                    <a:pt x="28" y="48"/>
                    <a:pt x="28" y="48"/>
                  </a:cubicBezTo>
                  <a:cubicBezTo>
                    <a:pt x="28" y="42"/>
                    <a:pt x="28" y="42"/>
                    <a:pt x="28" y="42"/>
                  </a:cubicBezTo>
                  <a:cubicBezTo>
                    <a:pt x="34" y="42"/>
                    <a:pt x="34" y="42"/>
                    <a:pt x="34" y="42"/>
                  </a:cubicBezTo>
                  <a:cubicBezTo>
                    <a:pt x="34" y="42"/>
                    <a:pt x="34" y="42"/>
                    <a:pt x="34" y="42"/>
                  </a:cubicBezTo>
                  <a:close/>
                  <a:moveTo>
                    <a:pt x="23" y="42"/>
                  </a:moveTo>
                  <a:cubicBezTo>
                    <a:pt x="23" y="48"/>
                    <a:pt x="23" y="48"/>
                    <a:pt x="23" y="48"/>
                  </a:cubicBezTo>
                  <a:cubicBezTo>
                    <a:pt x="18" y="48"/>
                    <a:pt x="18" y="48"/>
                    <a:pt x="18" y="48"/>
                  </a:cubicBezTo>
                  <a:cubicBezTo>
                    <a:pt x="18" y="42"/>
                    <a:pt x="18" y="42"/>
                    <a:pt x="18" y="42"/>
                  </a:cubicBezTo>
                  <a:cubicBezTo>
                    <a:pt x="23" y="42"/>
                    <a:pt x="23" y="42"/>
                    <a:pt x="23" y="42"/>
                  </a:cubicBezTo>
                  <a:cubicBezTo>
                    <a:pt x="23" y="42"/>
                    <a:pt x="23" y="42"/>
                    <a:pt x="23" y="42"/>
                  </a:cubicBezTo>
                  <a:close/>
                  <a:moveTo>
                    <a:pt x="14" y="42"/>
                  </a:moveTo>
                  <a:cubicBezTo>
                    <a:pt x="14" y="48"/>
                    <a:pt x="14" y="48"/>
                    <a:pt x="14" y="48"/>
                  </a:cubicBezTo>
                  <a:cubicBezTo>
                    <a:pt x="8" y="48"/>
                    <a:pt x="8" y="48"/>
                    <a:pt x="8" y="48"/>
                  </a:cubicBezTo>
                  <a:cubicBezTo>
                    <a:pt x="8" y="42"/>
                    <a:pt x="8" y="42"/>
                    <a:pt x="8" y="42"/>
                  </a:cubicBezTo>
                  <a:cubicBezTo>
                    <a:pt x="14" y="42"/>
                    <a:pt x="14" y="42"/>
                    <a:pt x="14" y="42"/>
                  </a:cubicBezTo>
                  <a:cubicBezTo>
                    <a:pt x="14" y="42"/>
                    <a:pt x="14" y="42"/>
                    <a:pt x="14" y="42"/>
                  </a:cubicBezTo>
                  <a:close/>
                  <a:moveTo>
                    <a:pt x="34" y="31"/>
                  </a:moveTo>
                  <a:cubicBezTo>
                    <a:pt x="34" y="37"/>
                    <a:pt x="34" y="37"/>
                    <a:pt x="34" y="37"/>
                  </a:cubicBezTo>
                  <a:cubicBezTo>
                    <a:pt x="28" y="37"/>
                    <a:pt x="28" y="37"/>
                    <a:pt x="28" y="37"/>
                  </a:cubicBezTo>
                  <a:cubicBezTo>
                    <a:pt x="28" y="31"/>
                    <a:pt x="28" y="31"/>
                    <a:pt x="28" y="31"/>
                  </a:cubicBezTo>
                  <a:cubicBezTo>
                    <a:pt x="34" y="31"/>
                    <a:pt x="34" y="31"/>
                    <a:pt x="34" y="31"/>
                  </a:cubicBezTo>
                  <a:cubicBezTo>
                    <a:pt x="34" y="31"/>
                    <a:pt x="34" y="31"/>
                    <a:pt x="34" y="31"/>
                  </a:cubicBezTo>
                  <a:close/>
                  <a:moveTo>
                    <a:pt x="23" y="31"/>
                  </a:moveTo>
                  <a:cubicBezTo>
                    <a:pt x="23" y="37"/>
                    <a:pt x="23" y="37"/>
                    <a:pt x="23" y="37"/>
                  </a:cubicBezTo>
                  <a:cubicBezTo>
                    <a:pt x="18" y="37"/>
                    <a:pt x="18" y="37"/>
                    <a:pt x="18" y="37"/>
                  </a:cubicBezTo>
                  <a:cubicBezTo>
                    <a:pt x="18" y="31"/>
                    <a:pt x="18" y="31"/>
                    <a:pt x="18" y="31"/>
                  </a:cubicBezTo>
                  <a:cubicBezTo>
                    <a:pt x="23" y="31"/>
                    <a:pt x="23" y="31"/>
                    <a:pt x="23" y="31"/>
                  </a:cubicBezTo>
                  <a:cubicBezTo>
                    <a:pt x="23" y="31"/>
                    <a:pt x="23" y="31"/>
                    <a:pt x="23" y="31"/>
                  </a:cubicBezTo>
                  <a:close/>
                  <a:moveTo>
                    <a:pt x="14" y="31"/>
                  </a:moveTo>
                  <a:cubicBezTo>
                    <a:pt x="14" y="37"/>
                    <a:pt x="14" y="37"/>
                    <a:pt x="14" y="37"/>
                  </a:cubicBezTo>
                  <a:cubicBezTo>
                    <a:pt x="8" y="37"/>
                    <a:pt x="8" y="37"/>
                    <a:pt x="8" y="37"/>
                  </a:cubicBezTo>
                  <a:cubicBezTo>
                    <a:pt x="8" y="31"/>
                    <a:pt x="8" y="31"/>
                    <a:pt x="8" y="31"/>
                  </a:cubicBezTo>
                  <a:cubicBezTo>
                    <a:pt x="14" y="31"/>
                    <a:pt x="14" y="31"/>
                    <a:pt x="14" y="31"/>
                  </a:cubicBezTo>
                  <a:cubicBezTo>
                    <a:pt x="14" y="31"/>
                    <a:pt x="14" y="31"/>
                    <a:pt x="14" y="31"/>
                  </a:cubicBezTo>
                  <a:close/>
                  <a:moveTo>
                    <a:pt x="34" y="20"/>
                  </a:moveTo>
                  <a:cubicBezTo>
                    <a:pt x="34" y="26"/>
                    <a:pt x="34" y="26"/>
                    <a:pt x="34" y="26"/>
                  </a:cubicBezTo>
                  <a:cubicBezTo>
                    <a:pt x="28" y="26"/>
                    <a:pt x="28" y="26"/>
                    <a:pt x="28" y="26"/>
                  </a:cubicBezTo>
                  <a:cubicBezTo>
                    <a:pt x="28" y="20"/>
                    <a:pt x="28" y="20"/>
                    <a:pt x="28" y="20"/>
                  </a:cubicBezTo>
                  <a:cubicBezTo>
                    <a:pt x="34" y="20"/>
                    <a:pt x="34" y="20"/>
                    <a:pt x="34" y="20"/>
                  </a:cubicBezTo>
                  <a:cubicBezTo>
                    <a:pt x="34" y="20"/>
                    <a:pt x="34" y="20"/>
                    <a:pt x="34" y="20"/>
                  </a:cubicBezTo>
                  <a:close/>
                  <a:moveTo>
                    <a:pt x="23" y="20"/>
                  </a:moveTo>
                  <a:cubicBezTo>
                    <a:pt x="23" y="26"/>
                    <a:pt x="23" y="26"/>
                    <a:pt x="23" y="26"/>
                  </a:cubicBezTo>
                  <a:cubicBezTo>
                    <a:pt x="18" y="26"/>
                    <a:pt x="18" y="26"/>
                    <a:pt x="18" y="26"/>
                  </a:cubicBezTo>
                  <a:cubicBezTo>
                    <a:pt x="18" y="20"/>
                    <a:pt x="18" y="20"/>
                    <a:pt x="18" y="20"/>
                  </a:cubicBezTo>
                  <a:cubicBezTo>
                    <a:pt x="23" y="20"/>
                    <a:pt x="23" y="20"/>
                    <a:pt x="23" y="20"/>
                  </a:cubicBezTo>
                  <a:cubicBezTo>
                    <a:pt x="23" y="20"/>
                    <a:pt x="23" y="20"/>
                    <a:pt x="23" y="20"/>
                  </a:cubicBezTo>
                  <a:close/>
                  <a:moveTo>
                    <a:pt x="14" y="20"/>
                  </a:moveTo>
                  <a:cubicBezTo>
                    <a:pt x="14" y="26"/>
                    <a:pt x="14" y="26"/>
                    <a:pt x="14" y="26"/>
                  </a:cubicBezTo>
                  <a:cubicBezTo>
                    <a:pt x="8" y="26"/>
                    <a:pt x="8" y="26"/>
                    <a:pt x="8" y="26"/>
                  </a:cubicBezTo>
                  <a:cubicBezTo>
                    <a:pt x="8" y="20"/>
                    <a:pt x="8" y="20"/>
                    <a:pt x="8" y="20"/>
                  </a:cubicBezTo>
                  <a:cubicBezTo>
                    <a:pt x="14" y="20"/>
                    <a:pt x="14" y="20"/>
                    <a:pt x="14" y="20"/>
                  </a:cubicBezTo>
                  <a:cubicBezTo>
                    <a:pt x="14" y="20"/>
                    <a:pt x="14" y="20"/>
                    <a:pt x="14" y="20"/>
                  </a:cubicBezTo>
                  <a:close/>
                  <a:moveTo>
                    <a:pt x="34" y="9"/>
                  </a:moveTo>
                  <a:cubicBezTo>
                    <a:pt x="34" y="15"/>
                    <a:pt x="34" y="15"/>
                    <a:pt x="34" y="15"/>
                  </a:cubicBezTo>
                  <a:cubicBezTo>
                    <a:pt x="28" y="15"/>
                    <a:pt x="28" y="15"/>
                    <a:pt x="28" y="15"/>
                  </a:cubicBezTo>
                  <a:cubicBezTo>
                    <a:pt x="28" y="9"/>
                    <a:pt x="28" y="9"/>
                    <a:pt x="28" y="9"/>
                  </a:cubicBezTo>
                  <a:cubicBezTo>
                    <a:pt x="34" y="9"/>
                    <a:pt x="34" y="9"/>
                    <a:pt x="34" y="9"/>
                  </a:cubicBezTo>
                  <a:cubicBezTo>
                    <a:pt x="34" y="9"/>
                    <a:pt x="34" y="9"/>
                    <a:pt x="34" y="9"/>
                  </a:cubicBezTo>
                  <a:close/>
                  <a:moveTo>
                    <a:pt x="23" y="9"/>
                  </a:moveTo>
                  <a:cubicBezTo>
                    <a:pt x="23" y="15"/>
                    <a:pt x="23" y="15"/>
                    <a:pt x="23" y="15"/>
                  </a:cubicBezTo>
                  <a:cubicBezTo>
                    <a:pt x="18" y="15"/>
                    <a:pt x="18" y="15"/>
                    <a:pt x="18" y="15"/>
                  </a:cubicBezTo>
                  <a:cubicBezTo>
                    <a:pt x="18" y="9"/>
                    <a:pt x="18" y="9"/>
                    <a:pt x="18" y="9"/>
                  </a:cubicBezTo>
                  <a:cubicBezTo>
                    <a:pt x="23" y="9"/>
                    <a:pt x="23" y="9"/>
                    <a:pt x="23" y="9"/>
                  </a:cubicBezTo>
                  <a:cubicBezTo>
                    <a:pt x="23" y="9"/>
                    <a:pt x="23" y="9"/>
                    <a:pt x="23" y="9"/>
                  </a:cubicBezTo>
                  <a:close/>
                  <a:moveTo>
                    <a:pt x="14" y="9"/>
                  </a:moveTo>
                  <a:cubicBezTo>
                    <a:pt x="14" y="15"/>
                    <a:pt x="14" y="15"/>
                    <a:pt x="14" y="15"/>
                  </a:cubicBezTo>
                  <a:cubicBezTo>
                    <a:pt x="8" y="15"/>
                    <a:pt x="8" y="15"/>
                    <a:pt x="8" y="15"/>
                  </a:cubicBezTo>
                  <a:cubicBezTo>
                    <a:pt x="8" y="9"/>
                    <a:pt x="8" y="9"/>
                    <a:pt x="8" y="9"/>
                  </a:cubicBezTo>
                  <a:cubicBezTo>
                    <a:pt x="14" y="9"/>
                    <a:pt x="14" y="9"/>
                    <a:pt x="14" y="9"/>
                  </a:cubicBezTo>
                  <a:cubicBezTo>
                    <a:pt x="14" y="9"/>
                    <a:pt x="14" y="9"/>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89" name="Freeform 2145"/>
            <p:cNvSpPr>
              <a:spLocks noEditPoints="1"/>
            </p:cNvSpPr>
            <p:nvPr/>
          </p:nvSpPr>
          <p:spPr bwMode="auto">
            <a:xfrm>
              <a:off x="17983200" y="1733550"/>
              <a:ext cx="153988" cy="550863"/>
            </a:xfrm>
            <a:custGeom>
              <a:avLst/>
              <a:gdLst>
                <a:gd name="T0" fmla="*/ 9 w 41"/>
                <a:gd name="T1" fmla="*/ 146 h 146"/>
                <a:gd name="T2" fmla="*/ 41 w 41"/>
                <a:gd name="T3" fmla="*/ 9 h 146"/>
                <a:gd name="T4" fmla="*/ 0 w 41"/>
                <a:gd name="T5" fmla="*/ 9 h 146"/>
                <a:gd name="T6" fmla="*/ 13 w 41"/>
                <a:gd name="T7" fmla="*/ 126 h 146"/>
                <a:gd name="T8" fmla="*/ 33 w 41"/>
                <a:gd name="T9" fmla="*/ 73 h 146"/>
                <a:gd name="T10" fmla="*/ 28 w 41"/>
                <a:gd name="T11" fmla="*/ 73 h 146"/>
                <a:gd name="T12" fmla="*/ 23 w 41"/>
                <a:gd name="T13" fmla="*/ 73 h 146"/>
                <a:gd name="T14" fmla="*/ 17 w 41"/>
                <a:gd name="T15" fmla="*/ 73 h 146"/>
                <a:gd name="T16" fmla="*/ 13 w 41"/>
                <a:gd name="T17" fmla="*/ 73 h 146"/>
                <a:gd name="T18" fmla="*/ 7 w 41"/>
                <a:gd name="T19" fmla="*/ 73 h 146"/>
                <a:gd name="T20" fmla="*/ 33 w 41"/>
                <a:gd name="T21" fmla="*/ 63 h 146"/>
                <a:gd name="T22" fmla="*/ 28 w 41"/>
                <a:gd name="T23" fmla="*/ 63 h 146"/>
                <a:gd name="T24" fmla="*/ 23 w 41"/>
                <a:gd name="T25" fmla="*/ 63 h 146"/>
                <a:gd name="T26" fmla="*/ 17 w 41"/>
                <a:gd name="T27" fmla="*/ 63 h 146"/>
                <a:gd name="T28" fmla="*/ 13 w 41"/>
                <a:gd name="T29" fmla="*/ 63 h 146"/>
                <a:gd name="T30" fmla="*/ 7 w 41"/>
                <a:gd name="T31" fmla="*/ 63 h 146"/>
                <a:gd name="T32" fmla="*/ 33 w 41"/>
                <a:gd name="T33" fmla="*/ 52 h 146"/>
                <a:gd name="T34" fmla="*/ 28 w 41"/>
                <a:gd name="T35" fmla="*/ 52 h 146"/>
                <a:gd name="T36" fmla="*/ 23 w 41"/>
                <a:gd name="T37" fmla="*/ 52 h 146"/>
                <a:gd name="T38" fmla="*/ 17 w 41"/>
                <a:gd name="T39" fmla="*/ 52 h 146"/>
                <a:gd name="T40" fmla="*/ 13 w 41"/>
                <a:gd name="T41" fmla="*/ 52 h 146"/>
                <a:gd name="T42" fmla="*/ 7 w 41"/>
                <a:gd name="T43" fmla="*/ 52 h 146"/>
                <a:gd name="T44" fmla="*/ 33 w 41"/>
                <a:gd name="T45" fmla="*/ 41 h 146"/>
                <a:gd name="T46" fmla="*/ 28 w 41"/>
                <a:gd name="T47" fmla="*/ 41 h 146"/>
                <a:gd name="T48" fmla="*/ 23 w 41"/>
                <a:gd name="T49" fmla="*/ 41 h 146"/>
                <a:gd name="T50" fmla="*/ 17 w 41"/>
                <a:gd name="T51" fmla="*/ 41 h 146"/>
                <a:gd name="T52" fmla="*/ 13 w 41"/>
                <a:gd name="T53" fmla="*/ 41 h 146"/>
                <a:gd name="T54" fmla="*/ 7 w 41"/>
                <a:gd name="T55" fmla="*/ 41 h 146"/>
                <a:gd name="T56" fmla="*/ 33 w 41"/>
                <a:gd name="T57" fmla="*/ 30 h 146"/>
                <a:gd name="T58" fmla="*/ 28 w 41"/>
                <a:gd name="T59" fmla="*/ 30 h 146"/>
                <a:gd name="T60" fmla="*/ 23 w 41"/>
                <a:gd name="T61" fmla="*/ 30 h 146"/>
                <a:gd name="T62" fmla="*/ 17 w 41"/>
                <a:gd name="T63" fmla="*/ 30 h 146"/>
                <a:gd name="T64" fmla="*/ 13 w 41"/>
                <a:gd name="T65" fmla="*/ 30 h 146"/>
                <a:gd name="T66" fmla="*/ 7 w 41"/>
                <a:gd name="T67" fmla="*/ 30 h 146"/>
                <a:gd name="T68" fmla="*/ 33 w 41"/>
                <a:gd name="T69" fmla="*/ 19 h 146"/>
                <a:gd name="T70" fmla="*/ 28 w 41"/>
                <a:gd name="T71" fmla="*/ 19 h 146"/>
                <a:gd name="T72" fmla="*/ 23 w 41"/>
                <a:gd name="T73" fmla="*/ 19 h 146"/>
                <a:gd name="T74" fmla="*/ 17 w 41"/>
                <a:gd name="T75" fmla="*/ 19 h 146"/>
                <a:gd name="T76" fmla="*/ 13 w 41"/>
                <a:gd name="T77" fmla="*/ 19 h 146"/>
                <a:gd name="T78" fmla="*/ 7 w 41"/>
                <a:gd name="T79" fmla="*/ 19 h 146"/>
                <a:gd name="T80" fmla="*/ 33 w 41"/>
                <a:gd name="T81" fmla="*/ 9 h 146"/>
                <a:gd name="T82" fmla="*/ 28 w 41"/>
                <a:gd name="T83" fmla="*/ 9 h 146"/>
                <a:gd name="T84" fmla="*/ 23 w 41"/>
                <a:gd name="T85" fmla="*/ 9 h 146"/>
                <a:gd name="T86" fmla="*/ 17 w 41"/>
                <a:gd name="T87" fmla="*/ 9 h 146"/>
                <a:gd name="T88" fmla="*/ 13 w 41"/>
                <a:gd name="T89" fmla="*/ 9 h 146"/>
                <a:gd name="T90" fmla="*/ 7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1" y="146"/>
                    <a:pt x="31" y="146"/>
                    <a:pt x="31" y="146"/>
                  </a:cubicBezTo>
                  <a:cubicBezTo>
                    <a:pt x="37" y="146"/>
                    <a:pt x="41" y="142"/>
                    <a:pt x="41" y="137"/>
                  </a:cubicBezTo>
                  <a:cubicBezTo>
                    <a:pt x="41" y="9"/>
                    <a:pt x="41" y="9"/>
                    <a:pt x="41" y="9"/>
                  </a:cubicBezTo>
                  <a:cubicBezTo>
                    <a:pt x="41" y="4"/>
                    <a:pt x="37" y="0"/>
                    <a:pt x="31" y="0"/>
                  </a:cubicBezTo>
                  <a:cubicBezTo>
                    <a:pt x="9" y="0"/>
                    <a:pt x="9" y="0"/>
                    <a:pt x="9" y="0"/>
                  </a:cubicBezTo>
                  <a:cubicBezTo>
                    <a:pt x="4" y="0"/>
                    <a:pt x="0" y="4"/>
                    <a:pt x="0" y="9"/>
                  </a:cubicBezTo>
                  <a:close/>
                  <a:moveTo>
                    <a:pt x="28" y="126"/>
                  </a:moveTo>
                  <a:cubicBezTo>
                    <a:pt x="28" y="130"/>
                    <a:pt x="25" y="133"/>
                    <a:pt x="20" y="133"/>
                  </a:cubicBezTo>
                  <a:cubicBezTo>
                    <a:pt x="16" y="133"/>
                    <a:pt x="13" y="130"/>
                    <a:pt x="13" y="126"/>
                  </a:cubicBezTo>
                  <a:cubicBezTo>
                    <a:pt x="13" y="122"/>
                    <a:pt x="16" y="119"/>
                    <a:pt x="20" y="119"/>
                  </a:cubicBezTo>
                  <a:cubicBezTo>
                    <a:pt x="25" y="119"/>
                    <a:pt x="28" y="122"/>
                    <a:pt x="28" y="126"/>
                  </a:cubicBezTo>
                  <a:close/>
                  <a:moveTo>
                    <a:pt x="33" y="73"/>
                  </a:moveTo>
                  <a:cubicBezTo>
                    <a:pt x="33" y="79"/>
                    <a:pt x="33" y="79"/>
                    <a:pt x="33" y="79"/>
                  </a:cubicBezTo>
                  <a:cubicBezTo>
                    <a:pt x="28" y="79"/>
                    <a:pt x="28" y="79"/>
                    <a:pt x="28" y="79"/>
                  </a:cubicBezTo>
                  <a:cubicBezTo>
                    <a:pt x="28" y="73"/>
                    <a:pt x="28" y="73"/>
                    <a:pt x="28" y="73"/>
                  </a:cubicBezTo>
                  <a:cubicBezTo>
                    <a:pt x="33" y="73"/>
                    <a:pt x="33" y="73"/>
                    <a:pt x="33" y="73"/>
                  </a:cubicBezTo>
                  <a:cubicBezTo>
                    <a:pt x="33" y="73"/>
                    <a:pt x="33" y="73"/>
                    <a:pt x="33" y="73"/>
                  </a:cubicBezTo>
                  <a:close/>
                  <a:moveTo>
                    <a:pt x="23" y="73"/>
                  </a:moveTo>
                  <a:cubicBezTo>
                    <a:pt x="23" y="79"/>
                    <a:pt x="23" y="79"/>
                    <a:pt x="23" y="79"/>
                  </a:cubicBezTo>
                  <a:cubicBezTo>
                    <a:pt x="17" y="79"/>
                    <a:pt x="17" y="79"/>
                    <a:pt x="17" y="79"/>
                  </a:cubicBezTo>
                  <a:cubicBezTo>
                    <a:pt x="17" y="73"/>
                    <a:pt x="17" y="73"/>
                    <a:pt x="17" y="73"/>
                  </a:cubicBezTo>
                  <a:cubicBezTo>
                    <a:pt x="23" y="73"/>
                    <a:pt x="23" y="73"/>
                    <a:pt x="23" y="73"/>
                  </a:cubicBezTo>
                  <a:cubicBezTo>
                    <a:pt x="23" y="73"/>
                    <a:pt x="23" y="73"/>
                    <a:pt x="23" y="73"/>
                  </a:cubicBezTo>
                  <a:close/>
                  <a:moveTo>
                    <a:pt x="13" y="73"/>
                  </a:moveTo>
                  <a:cubicBezTo>
                    <a:pt x="13" y="79"/>
                    <a:pt x="13" y="79"/>
                    <a:pt x="13" y="79"/>
                  </a:cubicBezTo>
                  <a:cubicBezTo>
                    <a:pt x="7" y="79"/>
                    <a:pt x="7" y="79"/>
                    <a:pt x="7" y="79"/>
                  </a:cubicBezTo>
                  <a:cubicBezTo>
                    <a:pt x="7" y="73"/>
                    <a:pt x="7" y="73"/>
                    <a:pt x="7" y="73"/>
                  </a:cubicBezTo>
                  <a:cubicBezTo>
                    <a:pt x="13" y="73"/>
                    <a:pt x="13" y="73"/>
                    <a:pt x="13" y="73"/>
                  </a:cubicBezTo>
                  <a:cubicBezTo>
                    <a:pt x="13" y="73"/>
                    <a:pt x="13" y="73"/>
                    <a:pt x="13" y="73"/>
                  </a:cubicBezTo>
                  <a:close/>
                  <a:moveTo>
                    <a:pt x="33" y="63"/>
                  </a:moveTo>
                  <a:cubicBezTo>
                    <a:pt x="33" y="68"/>
                    <a:pt x="33" y="68"/>
                    <a:pt x="33" y="68"/>
                  </a:cubicBezTo>
                  <a:cubicBezTo>
                    <a:pt x="28" y="68"/>
                    <a:pt x="28" y="68"/>
                    <a:pt x="28" y="68"/>
                  </a:cubicBezTo>
                  <a:cubicBezTo>
                    <a:pt x="28" y="63"/>
                    <a:pt x="28" y="63"/>
                    <a:pt x="28" y="63"/>
                  </a:cubicBezTo>
                  <a:cubicBezTo>
                    <a:pt x="33" y="63"/>
                    <a:pt x="33" y="63"/>
                    <a:pt x="33" y="63"/>
                  </a:cubicBezTo>
                  <a:cubicBezTo>
                    <a:pt x="33" y="63"/>
                    <a:pt x="33" y="63"/>
                    <a:pt x="33" y="63"/>
                  </a:cubicBezTo>
                  <a:close/>
                  <a:moveTo>
                    <a:pt x="23" y="63"/>
                  </a:moveTo>
                  <a:cubicBezTo>
                    <a:pt x="23" y="68"/>
                    <a:pt x="23" y="68"/>
                    <a:pt x="23" y="68"/>
                  </a:cubicBezTo>
                  <a:cubicBezTo>
                    <a:pt x="17" y="68"/>
                    <a:pt x="17" y="68"/>
                    <a:pt x="17" y="68"/>
                  </a:cubicBezTo>
                  <a:cubicBezTo>
                    <a:pt x="17" y="63"/>
                    <a:pt x="17" y="63"/>
                    <a:pt x="17" y="63"/>
                  </a:cubicBezTo>
                  <a:cubicBezTo>
                    <a:pt x="23" y="63"/>
                    <a:pt x="23" y="63"/>
                    <a:pt x="23" y="63"/>
                  </a:cubicBezTo>
                  <a:cubicBezTo>
                    <a:pt x="23" y="63"/>
                    <a:pt x="23" y="63"/>
                    <a:pt x="23" y="63"/>
                  </a:cubicBezTo>
                  <a:close/>
                  <a:moveTo>
                    <a:pt x="13" y="63"/>
                  </a:moveTo>
                  <a:cubicBezTo>
                    <a:pt x="13" y="68"/>
                    <a:pt x="13" y="68"/>
                    <a:pt x="13" y="68"/>
                  </a:cubicBezTo>
                  <a:cubicBezTo>
                    <a:pt x="7" y="68"/>
                    <a:pt x="7" y="68"/>
                    <a:pt x="7" y="68"/>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8" y="58"/>
                    <a:pt x="28" y="58"/>
                    <a:pt x="28" y="58"/>
                  </a:cubicBezTo>
                  <a:cubicBezTo>
                    <a:pt x="28" y="52"/>
                    <a:pt x="28" y="52"/>
                    <a:pt x="28"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8" y="47"/>
                    <a:pt x="28" y="47"/>
                    <a:pt x="28" y="47"/>
                  </a:cubicBezTo>
                  <a:cubicBezTo>
                    <a:pt x="28" y="41"/>
                    <a:pt x="28" y="41"/>
                    <a:pt x="28"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0"/>
                  </a:moveTo>
                  <a:cubicBezTo>
                    <a:pt x="33" y="36"/>
                    <a:pt x="33" y="36"/>
                    <a:pt x="33" y="36"/>
                  </a:cubicBezTo>
                  <a:cubicBezTo>
                    <a:pt x="28" y="36"/>
                    <a:pt x="28" y="36"/>
                    <a:pt x="28" y="36"/>
                  </a:cubicBezTo>
                  <a:cubicBezTo>
                    <a:pt x="28" y="30"/>
                    <a:pt x="28" y="30"/>
                    <a:pt x="28" y="30"/>
                  </a:cubicBezTo>
                  <a:cubicBezTo>
                    <a:pt x="33" y="30"/>
                    <a:pt x="33" y="30"/>
                    <a:pt x="33" y="30"/>
                  </a:cubicBezTo>
                  <a:cubicBezTo>
                    <a:pt x="33" y="30"/>
                    <a:pt x="33" y="30"/>
                    <a:pt x="33" y="30"/>
                  </a:cubicBezTo>
                  <a:close/>
                  <a:moveTo>
                    <a:pt x="23" y="30"/>
                  </a:moveTo>
                  <a:cubicBezTo>
                    <a:pt x="23" y="36"/>
                    <a:pt x="23" y="36"/>
                    <a:pt x="23" y="36"/>
                  </a:cubicBezTo>
                  <a:cubicBezTo>
                    <a:pt x="17" y="36"/>
                    <a:pt x="17" y="36"/>
                    <a:pt x="17" y="36"/>
                  </a:cubicBezTo>
                  <a:cubicBezTo>
                    <a:pt x="17" y="30"/>
                    <a:pt x="17" y="30"/>
                    <a:pt x="17" y="30"/>
                  </a:cubicBezTo>
                  <a:cubicBezTo>
                    <a:pt x="23" y="30"/>
                    <a:pt x="23" y="30"/>
                    <a:pt x="23" y="30"/>
                  </a:cubicBezTo>
                  <a:cubicBezTo>
                    <a:pt x="23" y="30"/>
                    <a:pt x="23" y="30"/>
                    <a:pt x="23" y="30"/>
                  </a:cubicBezTo>
                  <a:close/>
                  <a:moveTo>
                    <a:pt x="13" y="30"/>
                  </a:moveTo>
                  <a:cubicBezTo>
                    <a:pt x="13" y="36"/>
                    <a:pt x="13" y="36"/>
                    <a:pt x="13" y="36"/>
                  </a:cubicBezTo>
                  <a:cubicBezTo>
                    <a:pt x="7" y="36"/>
                    <a:pt x="7" y="36"/>
                    <a:pt x="7" y="36"/>
                  </a:cubicBezTo>
                  <a:cubicBezTo>
                    <a:pt x="7" y="30"/>
                    <a:pt x="7" y="30"/>
                    <a:pt x="7" y="30"/>
                  </a:cubicBezTo>
                  <a:cubicBezTo>
                    <a:pt x="13" y="30"/>
                    <a:pt x="13" y="30"/>
                    <a:pt x="13" y="30"/>
                  </a:cubicBezTo>
                  <a:cubicBezTo>
                    <a:pt x="13" y="30"/>
                    <a:pt x="13" y="30"/>
                    <a:pt x="13" y="30"/>
                  </a:cubicBezTo>
                  <a:close/>
                  <a:moveTo>
                    <a:pt x="33" y="19"/>
                  </a:moveTo>
                  <a:cubicBezTo>
                    <a:pt x="33" y="25"/>
                    <a:pt x="33" y="25"/>
                    <a:pt x="33" y="25"/>
                  </a:cubicBezTo>
                  <a:cubicBezTo>
                    <a:pt x="28" y="25"/>
                    <a:pt x="28" y="25"/>
                    <a:pt x="28" y="25"/>
                  </a:cubicBezTo>
                  <a:cubicBezTo>
                    <a:pt x="28" y="19"/>
                    <a:pt x="28" y="19"/>
                    <a:pt x="28" y="19"/>
                  </a:cubicBezTo>
                  <a:cubicBezTo>
                    <a:pt x="33" y="19"/>
                    <a:pt x="33" y="19"/>
                    <a:pt x="33" y="19"/>
                  </a:cubicBezTo>
                  <a:cubicBezTo>
                    <a:pt x="33" y="19"/>
                    <a:pt x="33" y="19"/>
                    <a:pt x="33" y="19"/>
                  </a:cubicBezTo>
                  <a:close/>
                  <a:moveTo>
                    <a:pt x="23" y="19"/>
                  </a:moveTo>
                  <a:cubicBezTo>
                    <a:pt x="23" y="25"/>
                    <a:pt x="23" y="25"/>
                    <a:pt x="23" y="25"/>
                  </a:cubicBezTo>
                  <a:cubicBezTo>
                    <a:pt x="17" y="25"/>
                    <a:pt x="17" y="25"/>
                    <a:pt x="17" y="25"/>
                  </a:cubicBezTo>
                  <a:cubicBezTo>
                    <a:pt x="17" y="19"/>
                    <a:pt x="17" y="19"/>
                    <a:pt x="17" y="19"/>
                  </a:cubicBezTo>
                  <a:cubicBezTo>
                    <a:pt x="23" y="19"/>
                    <a:pt x="23" y="19"/>
                    <a:pt x="23" y="19"/>
                  </a:cubicBezTo>
                  <a:cubicBezTo>
                    <a:pt x="23" y="19"/>
                    <a:pt x="23" y="19"/>
                    <a:pt x="23" y="19"/>
                  </a:cubicBezTo>
                  <a:close/>
                  <a:moveTo>
                    <a:pt x="13" y="19"/>
                  </a:moveTo>
                  <a:cubicBezTo>
                    <a:pt x="13" y="25"/>
                    <a:pt x="13" y="25"/>
                    <a:pt x="13" y="25"/>
                  </a:cubicBezTo>
                  <a:cubicBezTo>
                    <a:pt x="7" y="25"/>
                    <a:pt x="7" y="25"/>
                    <a:pt x="7" y="25"/>
                  </a:cubicBezTo>
                  <a:cubicBezTo>
                    <a:pt x="7" y="19"/>
                    <a:pt x="7" y="19"/>
                    <a:pt x="7" y="19"/>
                  </a:cubicBezTo>
                  <a:cubicBezTo>
                    <a:pt x="13" y="19"/>
                    <a:pt x="13" y="19"/>
                    <a:pt x="13" y="19"/>
                  </a:cubicBezTo>
                  <a:cubicBezTo>
                    <a:pt x="13" y="19"/>
                    <a:pt x="13" y="19"/>
                    <a:pt x="13" y="19"/>
                  </a:cubicBezTo>
                  <a:close/>
                  <a:moveTo>
                    <a:pt x="33" y="9"/>
                  </a:moveTo>
                  <a:cubicBezTo>
                    <a:pt x="33" y="14"/>
                    <a:pt x="33" y="14"/>
                    <a:pt x="33" y="14"/>
                  </a:cubicBezTo>
                  <a:cubicBezTo>
                    <a:pt x="28" y="14"/>
                    <a:pt x="28" y="14"/>
                    <a:pt x="28" y="14"/>
                  </a:cubicBezTo>
                  <a:cubicBezTo>
                    <a:pt x="28" y="9"/>
                    <a:pt x="28" y="9"/>
                    <a:pt x="28" y="9"/>
                  </a:cubicBezTo>
                  <a:cubicBezTo>
                    <a:pt x="33" y="9"/>
                    <a:pt x="33" y="9"/>
                    <a:pt x="33" y="9"/>
                  </a:cubicBezTo>
                  <a:cubicBezTo>
                    <a:pt x="33" y="9"/>
                    <a:pt x="33" y="9"/>
                    <a:pt x="33" y="9"/>
                  </a:cubicBezTo>
                  <a:close/>
                  <a:moveTo>
                    <a:pt x="23" y="9"/>
                  </a:moveTo>
                  <a:cubicBezTo>
                    <a:pt x="23" y="14"/>
                    <a:pt x="23" y="14"/>
                    <a:pt x="23" y="14"/>
                  </a:cubicBezTo>
                  <a:cubicBezTo>
                    <a:pt x="17" y="14"/>
                    <a:pt x="17" y="14"/>
                    <a:pt x="17" y="14"/>
                  </a:cubicBezTo>
                  <a:cubicBezTo>
                    <a:pt x="17" y="9"/>
                    <a:pt x="17" y="9"/>
                    <a:pt x="17" y="9"/>
                  </a:cubicBezTo>
                  <a:cubicBezTo>
                    <a:pt x="23" y="9"/>
                    <a:pt x="23" y="9"/>
                    <a:pt x="23" y="9"/>
                  </a:cubicBezTo>
                  <a:cubicBezTo>
                    <a:pt x="23" y="9"/>
                    <a:pt x="23" y="9"/>
                    <a:pt x="23" y="9"/>
                  </a:cubicBezTo>
                  <a:close/>
                  <a:moveTo>
                    <a:pt x="13" y="9"/>
                  </a:moveTo>
                  <a:cubicBezTo>
                    <a:pt x="13" y="14"/>
                    <a:pt x="13" y="14"/>
                    <a:pt x="13" y="14"/>
                  </a:cubicBezTo>
                  <a:cubicBezTo>
                    <a:pt x="7" y="14"/>
                    <a:pt x="7" y="14"/>
                    <a:pt x="7" y="14"/>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90" name="Freeform 2146"/>
            <p:cNvSpPr>
              <a:spLocks noEditPoints="1"/>
            </p:cNvSpPr>
            <p:nvPr/>
          </p:nvSpPr>
          <p:spPr bwMode="auto">
            <a:xfrm>
              <a:off x="18200688" y="1733550"/>
              <a:ext cx="153988" cy="550863"/>
            </a:xfrm>
            <a:custGeom>
              <a:avLst/>
              <a:gdLst>
                <a:gd name="T0" fmla="*/ 10 w 41"/>
                <a:gd name="T1" fmla="*/ 146 h 146"/>
                <a:gd name="T2" fmla="*/ 41 w 41"/>
                <a:gd name="T3" fmla="*/ 9 h 146"/>
                <a:gd name="T4" fmla="*/ 0 w 41"/>
                <a:gd name="T5" fmla="*/ 9 h 146"/>
                <a:gd name="T6" fmla="*/ 13 w 41"/>
                <a:gd name="T7" fmla="*/ 126 h 146"/>
                <a:gd name="T8" fmla="*/ 34 w 41"/>
                <a:gd name="T9" fmla="*/ 73 h 146"/>
                <a:gd name="T10" fmla="*/ 28 w 41"/>
                <a:gd name="T11" fmla="*/ 73 h 146"/>
                <a:gd name="T12" fmla="*/ 23 w 41"/>
                <a:gd name="T13" fmla="*/ 73 h 146"/>
                <a:gd name="T14" fmla="*/ 18 w 41"/>
                <a:gd name="T15" fmla="*/ 73 h 146"/>
                <a:gd name="T16" fmla="*/ 14 w 41"/>
                <a:gd name="T17" fmla="*/ 73 h 146"/>
                <a:gd name="T18" fmla="*/ 8 w 41"/>
                <a:gd name="T19" fmla="*/ 73 h 146"/>
                <a:gd name="T20" fmla="*/ 34 w 41"/>
                <a:gd name="T21" fmla="*/ 63 h 146"/>
                <a:gd name="T22" fmla="*/ 28 w 41"/>
                <a:gd name="T23" fmla="*/ 63 h 146"/>
                <a:gd name="T24" fmla="*/ 23 w 41"/>
                <a:gd name="T25" fmla="*/ 63 h 146"/>
                <a:gd name="T26" fmla="*/ 18 w 41"/>
                <a:gd name="T27" fmla="*/ 63 h 146"/>
                <a:gd name="T28" fmla="*/ 14 w 41"/>
                <a:gd name="T29" fmla="*/ 63 h 146"/>
                <a:gd name="T30" fmla="*/ 8 w 41"/>
                <a:gd name="T31" fmla="*/ 63 h 146"/>
                <a:gd name="T32" fmla="*/ 34 w 41"/>
                <a:gd name="T33" fmla="*/ 52 h 146"/>
                <a:gd name="T34" fmla="*/ 28 w 41"/>
                <a:gd name="T35" fmla="*/ 52 h 146"/>
                <a:gd name="T36" fmla="*/ 23 w 41"/>
                <a:gd name="T37" fmla="*/ 52 h 146"/>
                <a:gd name="T38" fmla="*/ 18 w 41"/>
                <a:gd name="T39" fmla="*/ 52 h 146"/>
                <a:gd name="T40" fmla="*/ 14 w 41"/>
                <a:gd name="T41" fmla="*/ 52 h 146"/>
                <a:gd name="T42" fmla="*/ 8 w 41"/>
                <a:gd name="T43" fmla="*/ 52 h 146"/>
                <a:gd name="T44" fmla="*/ 34 w 41"/>
                <a:gd name="T45" fmla="*/ 41 h 146"/>
                <a:gd name="T46" fmla="*/ 28 w 41"/>
                <a:gd name="T47" fmla="*/ 41 h 146"/>
                <a:gd name="T48" fmla="*/ 23 w 41"/>
                <a:gd name="T49" fmla="*/ 41 h 146"/>
                <a:gd name="T50" fmla="*/ 18 w 41"/>
                <a:gd name="T51" fmla="*/ 41 h 146"/>
                <a:gd name="T52" fmla="*/ 14 w 41"/>
                <a:gd name="T53" fmla="*/ 41 h 146"/>
                <a:gd name="T54" fmla="*/ 8 w 41"/>
                <a:gd name="T55" fmla="*/ 41 h 146"/>
                <a:gd name="T56" fmla="*/ 34 w 41"/>
                <a:gd name="T57" fmla="*/ 30 h 146"/>
                <a:gd name="T58" fmla="*/ 28 w 41"/>
                <a:gd name="T59" fmla="*/ 30 h 146"/>
                <a:gd name="T60" fmla="*/ 23 w 41"/>
                <a:gd name="T61" fmla="*/ 30 h 146"/>
                <a:gd name="T62" fmla="*/ 18 w 41"/>
                <a:gd name="T63" fmla="*/ 30 h 146"/>
                <a:gd name="T64" fmla="*/ 14 w 41"/>
                <a:gd name="T65" fmla="*/ 30 h 146"/>
                <a:gd name="T66" fmla="*/ 8 w 41"/>
                <a:gd name="T67" fmla="*/ 30 h 146"/>
                <a:gd name="T68" fmla="*/ 34 w 41"/>
                <a:gd name="T69" fmla="*/ 19 h 146"/>
                <a:gd name="T70" fmla="*/ 28 w 41"/>
                <a:gd name="T71" fmla="*/ 19 h 146"/>
                <a:gd name="T72" fmla="*/ 23 w 41"/>
                <a:gd name="T73" fmla="*/ 19 h 146"/>
                <a:gd name="T74" fmla="*/ 18 w 41"/>
                <a:gd name="T75" fmla="*/ 19 h 146"/>
                <a:gd name="T76" fmla="*/ 14 w 41"/>
                <a:gd name="T77" fmla="*/ 19 h 146"/>
                <a:gd name="T78" fmla="*/ 8 w 41"/>
                <a:gd name="T79" fmla="*/ 19 h 146"/>
                <a:gd name="T80" fmla="*/ 34 w 41"/>
                <a:gd name="T81" fmla="*/ 9 h 146"/>
                <a:gd name="T82" fmla="*/ 28 w 41"/>
                <a:gd name="T83" fmla="*/ 9 h 146"/>
                <a:gd name="T84" fmla="*/ 23 w 41"/>
                <a:gd name="T85" fmla="*/ 9 h 146"/>
                <a:gd name="T86" fmla="*/ 18 w 41"/>
                <a:gd name="T87" fmla="*/ 9 h 146"/>
                <a:gd name="T88" fmla="*/ 14 w 41"/>
                <a:gd name="T89" fmla="*/ 9 h 146"/>
                <a:gd name="T90" fmla="*/ 8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10" y="146"/>
                  </a:cubicBezTo>
                  <a:cubicBezTo>
                    <a:pt x="32" y="146"/>
                    <a:pt x="32" y="146"/>
                    <a:pt x="32" y="146"/>
                  </a:cubicBezTo>
                  <a:cubicBezTo>
                    <a:pt x="37" y="146"/>
                    <a:pt x="41" y="142"/>
                    <a:pt x="41" y="137"/>
                  </a:cubicBezTo>
                  <a:cubicBezTo>
                    <a:pt x="41" y="9"/>
                    <a:pt x="41" y="9"/>
                    <a:pt x="41" y="9"/>
                  </a:cubicBezTo>
                  <a:cubicBezTo>
                    <a:pt x="41" y="4"/>
                    <a:pt x="37" y="0"/>
                    <a:pt x="32" y="0"/>
                  </a:cubicBezTo>
                  <a:cubicBezTo>
                    <a:pt x="10" y="0"/>
                    <a:pt x="10" y="0"/>
                    <a:pt x="10" y="0"/>
                  </a:cubicBezTo>
                  <a:cubicBezTo>
                    <a:pt x="4" y="0"/>
                    <a:pt x="0" y="4"/>
                    <a:pt x="0" y="9"/>
                  </a:cubicBezTo>
                  <a:close/>
                  <a:moveTo>
                    <a:pt x="28" y="126"/>
                  </a:moveTo>
                  <a:cubicBezTo>
                    <a:pt x="28" y="130"/>
                    <a:pt x="25" y="133"/>
                    <a:pt x="21" y="133"/>
                  </a:cubicBezTo>
                  <a:cubicBezTo>
                    <a:pt x="17" y="133"/>
                    <a:pt x="13" y="130"/>
                    <a:pt x="13" y="126"/>
                  </a:cubicBezTo>
                  <a:cubicBezTo>
                    <a:pt x="13" y="122"/>
                    <a:pt x="17" y="119"/>
                    <a:pt x="21" y="119"/>
                  </a:cubicBezTo>
                  <a:cubicBezTo>
                    <a:pt x="25" y="119"/>
                    <a:pt x="28" y="122"/>
                    <a:pt x="28" y="126"/>
                  </a:cubicBezTo>
                  <a:close/>
                  <a:moveTo>
                    <a:pt x="34" y="73"/>
                  </a:moveTo>
                  <a:cubicBezTo>
                    <a:pt x="34" y="79"/>
                    <a:pt x="34" y="79"/>
                    <a:pt x="34" y="79"/>
                  </a:cubicBezTo>
                  <a:cubicBezTo>
                    <a:pt x="28" y="79"/>
                    <a:pt x="28" y="79"/>
                    <a:pt x="28" y="79"/>
                  </a:cubicBezTo>
                  <a:cubicBezTo>
                    <a:pt x="28" y="73"/>
                    <a:pt x="28" y="73"/>
                    <a:pt x="28" y="73"/>
                  </a:cubicBezTo>
                  <a:cubicBezTo>
                    <a:pt x="34" y="73"/>
                    <a:pt x="34" y="73"/>
                    <a:pt x="34" y="73"/>
                  </a:cubicBezTo>
                  <a:cubicBezTo>
                    <a:pt x="34" y="73"/>
                    <a:pt x="34" y="73"/>
                    <a:pt x="34" y="73"/>
                  </a:cubicBezTo>
                  <a:close/>
                  <a:moveTo>
                    <a:pt x="23" y="73"/>
                  </a:moveTo>
                  <a:cubicBezTo>
                    <a:pt x="23" y="79"/>
                    <a:pt x="23" y="79"/>
                    <a:pt x="23" y="79"/>
                  </a:cubicBezTo>
                  <a:cubicBezTo>
                    <a:pt x="18" y="79"/>
                    <a:pt x="18" y="79"/>
                    <a:pt x="18" y="79"/>
                  </a:cubicBezTo>
                  <a:cubicBezTo>
                    <a:pt x="18" y="73"/>
                    <a:pt x="18" y="73"/>
                    <a:pt x="18" y="73"/>
                  </a:cubicBezTo>
                  <a:cubicBezTo>
                    <a:pt x="23" y="73"/>
                    <a:pt x="23" y="73"/>
                    <a:pt x="23" y="73"/>
                  </a:cubicBezTo>
                  <a:cubicBezTo>
                    <a:pt x="23" y="73"/>
                    <a:pt x="23" y="73"/>
                    <a:pt x="23" y="73"/>
                  </a:cubicBezTo>
                  <a:close/>
                  <a:moveTo>
                    <a:pt x="14" y="73"/>
                  </a:moveTo>
                  <a:cubicBezTo>
                    <a:pt x="14" y="79"/>
                    <a:pt x="14" y="79"/>
                    <a:pt x="14" y="79"/>
                  </a:cubicBezTo>
                  <a:cubicBezTo>
                    <a:pt x="8" y="79"/>
                    <a:pt x="8" y="79"/>
                    <a:pt x="8" y="79"/>
                  </a:cubicBezTo>
                  <a:cubicBezTo>
                    <a:pt x="8" y="73"/>
                    <a:pt x="8" y="73"/>
                    <a:pt x="8" y="73"/>
                  </a:cubicBezTo>
                  <a:cubicBezTo>
                    <a:pt x="14" y="73"/>
                    <a:pt x="14" y="73"/>
                    <a:pt x="14" y="73"/>
                  </a:cubicBezTo>
                  <a:cubicBezTo>
                    <a:pt x="14" y="73"/>
                    <a:pt x="14" y="73"/>
                    <a:pt x="14" y="73"/>
                  </a:cubicBezTo>
                  <a:close/>
                  <a:moveTo>
                    <a:pt x="34" y="63"/>
                  </a:moveTo>
                  <a:cubicBezTo>
                    <a:pt x="34" y="68"/>
                    <a:pt x="34" y="68"/>
                    <a:pt x="34" y="68"/>
                  </a:cubicBezTo>
                  <a:cubicBezTo>
                    <a:pt x="28" y="68"/>
                    <a:pt x="28" y="68"/>
                    <a:pt x="28" y="68"/>
                  </a:cubicBezTo>
                  <a:cubicBezTo>
                    <a:pt x="28" y="63"/>
                    <a:pt x="28" y="63"/>
                    <a:pt x="28" y="63"/>
                  </a:cubicBezTo>
                  <a:cubicBezTo>
                    <a:pt x="34" y="63"/>
                    <a:pt x="34" y="63"/>
                    <a:pt x="34" y="63"/>
                  </a:cubicBezTo>
                  <a:cubicBezTo>
                    <a:pt x="34" y="63"/>
                    <a:pt x="34" y="63"/>
                    <a:pt x="34" y="63"/>
                  </a:cubicBezTo>
                  <a:close/>
                  <a:moveTo>
                    <a:pt x="23" y="63"/>
                  </a:moveTo>
                  <a:cubicBezTo>
                    <a:pt x="23" y="68"/>
                    <a:pt x="23" y="68"/>
                    <a:pt x="23" y="68"/>
                  </a:cubicBezTo>
                  <a:cubicBezTo>
                    <a:pt x="18" y="68"/>
                    <a:pt x="18" y="68"/>
                    <a:pt x="18" y="68"/>
                  </a:cubicBezTo>
                  <a:cubicBezTo>
                    <a:pt x="18" y="63"/>
                    <a:pt x="18" y="63"/>
                    <a:pt x="18" y="63"/>
                  </a:cubicBezTo>
                  <a:cubicBezTo>
                    <a:pt x="23" y="63"/>
                    <a:pt x="23" y="63"/>
                    <a:pt x="23" y="63"/>
                  </a:cubicBezTo>
                  <a:cubicBezTo>
                    <a:pt x="23" y="63"/>
                    <a:pt x="23" y="63"/>
                    <a:pt x="23" y="63"/>
                  </a:cubicBezTo>
                  <a:close/>
                  <a:moveTo>
                    <a:pt x="14" y="63"/>
                  </a:moveTo>
                  <a:cubicBezTo>
                    <a:pt x="14" y="68"/>
                    <a:pt x="14" y="68"/>
                    <a:pt x="14" y="68"/>
                  </a:cubicBezTo>
                  <a:cubicBezTo>
                    <a:pt x="8" y="68"/>
                    <a:pt x="8" y="68"/>
                    <a:pt x="8" y="68"/>
                  </a:cubicBezTo>
                  <a:cubicBezTo>
                    <a:pt x="8" y="63"/>
                    <a:pt x="8" y="63"/>
                    <a:pt x="8" y="63"/>
                  </a:cubicBezTo>
                  <a:cubicBezTo>
                    <a:pt x="14" y="63"/>
                    <a:pt x="14" y="63"/>
                    <a:pt x="14" y="63"/>
                  </a:cubicBezTo>
                  <a:cubicBezTo>
                    <a:pt x="14" y="63"/>
                    <a:pt x="14" y="63"/>
                    <a:pt x="14" y="63"/>
                  </a:cubicBezTo>
                  <a:close/>
                  <a:moveTo>
                    <a:pt x="34" y="52"/>
                  </a:moveTo>
                  <a:cubicBezTo>
                    <a:pt x="34" y="58"/>
                    <a:pt x="34" y="58"/>
                    <a:pt x="34" y="58"/>
                  </a:cubicBezTo>
                  <a:cubicBezTo>
                    <a:pt x="28" y="58"/>
                    <a:pt x="28" y="58"/>
                    <a:pt x="28" y="58"/>
                  </a:cubicBezTo>
                  <a:cubicBezTo>
                    <a:pt x="28" y="52"/>
                    <a:pt x="28" y="52"/>
                    <a:pt x="28" y="52"/>
                  </a:cubicBezTo>
                  <a:cubicBezTo>
                    <a:pt x="34" y="52"/>
                    <a:pt x="34" y="52"/>
                    <a:pt x="34" y="52"/>
                  </a:cubicBezTo>
                  <a:cubicBezTo>
                    <a:pt x="34" y="52"/>
                    <a:pt x="34" y="52"/>
                    <a:pt x="34" y="52"/>
                  </a:cubicBezTo>
                  <a:close/>
                  <a:moveTo>
                    <a:pt x="23" y="52"/>
                  </a:moveTo>
                  <a:cubicBezTo>
                    <a:pt x="23" y="58"/>
                    <a:pt x="23" y="58"/>
                    <a:pt x="23" y="58"/>
                  </a:cubicBezTo>
                  <a:cubicBezTo>
                    <a:pt x="18" y="58"/>
                    <a:pt x="18" y="58"/>
                    <a:pt x="18" y="58"/>
                  </a:cubicBezTo>
                  <a:cubicBezTo>
                    <a:pt x="18" y="52"/>
                    <a:pt x="18" y="52"/>
                    <a:pt x="18" y="52"/>
                  </a:cubicBezTo>
                  <a:cubicBezTo>
                    <a:pt x="23" y="52"/>
                    <a:pt x="23" y="52"/>
                    <a:pt x="23" y="52"/>
                  </a:cubicBezTo>
                  <a:cubicBezTo>
                    <a:pt x="23" y="52"/>
                    <a:pt x="23" y="52"/>
                    <a:pt x="23" y="52"/>
                  </a:cubicBezTo>
                  <a:close/>
                  <a:moveTo>
                    <a:pt x="14" y="52"/>
                  </a:moveTo>
                  <a:cubicBezTo>
                    <a:pt x="14" y="58"/>
                    <a:pt x="14" y="58"/>
                    <a:pt x="14" y="58"/>
                  </a:cubicBezTo>
                  <a:cubicBezTo>
                    <a:pt x="8" y="58"/>
                    <a:pt x="8" y="58"/>
                    <a:pt x="8" y="58"/>
                  </a:cubicBezTo>
                  <a:cubicBezTo>
                    <a:pt x="8" y="52"/>
                    <a:pt x="8" y="52"/>
                    <a:pt x="8" y="52"/>
                  </a:cubicBezTo>
                  <a:cubicBezTo>
                    <a:pt x="14" y="52"/>
                    <a:pt x="14" y="52"/>
                    <a:pt x="14" y="52"/>
                  </a:cubicBezTo>
                  <a:cubicBezTo>
                    <a:pt x="14" y="52"/>
                    <a:pt x="14" y="52"/>
                    <a:pt x="14" y="52"/>
                  </a:cubicBezTo>
                  <a:close/>
                  <a:moveTo>
                    <a:pt x="34" y="41"/>
                  </a:moveTo>
                  <a:cubicBezTo>
                    <a:pt x="34" y="47"/>
                    <a:pt x="34" y="47"/>
                    <a:pt x="34" y="47"/>
                  </a:cubicBezTo>
                  <a:cubicBezTo>
                    <a:pt x="28" y="47"/>
                    <a:pt x="28" y="47"/>
                    <a:pt x="28" y="47"/>
                  </a:cubicBezTo>
                  <a:cubicBezTo>
                    <a:pt x="28" y="41"/>
                    <a:pt x="28" y="41"/>
                    <a:pt x="28" y="41"/>
                  </a:cubicBezTo>
                  <a:cubicBezTo>
                    <a:pt x="34" y="41"/>
                    <a:pt x="34" y="41"/>
                    <a:pt x="34" y="41"/>
                  </a:cubicBezTo>
                  <a:cubicBezTo>
                    <a:pt x="34" y="41"/>
                    <a:pt x="34" y="41"/>
                    <a:pt x="34" y="41"/>
                  </a:cubicBezTo>
                  <a:close/>
                  <a:moveTo>
                    <a:pt x="23" y="41"/>
                  </a:moveTo>
                  <a:cubicBezTo>
                    <a:pt x="23" y="47"/>
                    <a:pt x="23" y="47"/>
                    <a:pt x="23" y="47"/>
                  </a:cubicBezTo>
                  <a:cubicBezTo>
                    <a:pt x="18" y="47"/>
                    <a:pt x="18" y="47"/>
                    <a:pt x="18" y="47"/>
                  </a:cubicBezTo>
                  <a:cubicBezTo>
                    <a:pt x="18" y="41"/>
                    <a:pt x="18" y="41"/>
                    <a:pt x="18" y="41"/>
                  </a:cubicBezTo>
                  <a:cubicBezTo>
                    <a:pt x="23" y="41"/>
                    <a:pt x="23" y="41"/>
                    <a:pt x="23" y="41"/>
                  </a:cubicBezTo>
                  <a:cubicBezTo>
                    <a:pt x="23" y="41"/>
                    <a:pt x="23" y="41"/>
                    <a:pt x="23" y="41"/>
                  </a:cubicBezTo>
                  <a:close/>
                  <a:moveTo>
                    <a:pt x="14" y="41"/>
                  </a:moveTo>
                  <a:cubicBezTo>
                    <a:pt x="14" y="47"/>
                    <a:pt x="14" y="47"/>
                    <a:pt x="14" y="47"/>
                  </a:cubicBezTo>
                  <a:cubicBezTo>
                    <a:pt x="8" y="47"/>
                    <a:pt x="8" y="47"/>
                    <a:pt x="8" y="47"/>
                  </a:cubicBezTo>
                  <a:cubicBezTo>
                    <a:pt x="8" y="41"/>
                    <a:pt x="8" y="41"/>
                    <a:pt x="8" y="41"/>
                  </a:cubicBezTo>
                  <a:cubicBezTo>
                    <a:pt x="14" y="41"/>
                    <a:pt x="14" y="41"/>
                    <a:pt x="14" y="41"/>
                  </a:cubicBezTo>
                  <a:cubicBezTo>
                    <a:pt x="14" y="41"/>
                    <a:pt x="14" y="41"/>
                    <a:pt x="14" y="41"/>
                  </a:cubicBezTo>
                  <a:close/>
                  <a:moveTo>
                    <a:pt x="34" y="30"/>
                  </a:moveTo>
                  <a:cubicBezTo>
                    <a:pt x="34" y="36"/>
                    <a:pt x="34" y="36"/>
                    <a:pt x="34" y="36"/>
                  </a:cubicBezTo>
                  <a:cubicBezTo>
                    <a:pt x="28" y="36"/>
                    <a:pt x="28" y="36"/>
                    <a:pt x="28" y="36"/>
                  </a:cubicBezTo>
                  <a:cubicBezTo>
                    <a:pt x="28" y="30"/>
                    <a:pt x="28" y="30"/>
                    <a:pt x="28" y="30"/>
                  </a:cubicBezTo>
                  <a:cubicBezTo>
                    <a:pt x="34" y="30"/>
                    <a:pt x="34" y="30"/>
                    <a:pt x="34" y="30"/>
                  </a:cubicBezTo>
                  <a:cubicBezTo>
                    <a:pt x="34" y="30"/>
                    <a:pt x="34" y="30"/>
                    <a:pt x="34" y="30"/>
                  </a:cubicBezTo>
                  <a:close/>
                  <a:moveTo>
                    <a:pt x="23" y="30"/>
                  </a:moveTo>
                  <a:cubicBezTo>
                    <a:pt x="23" y="36"/>
                    <a:pt x="23" y="36"/>
                    <a:pt x="23" y="36"/>
                  </a:cubicBezTo>
                  <a:cubicBezTo>
                    <a:pt x="18" y="36"/>
                    <a:pt x="18" y="36"/>
                    <a:pt x="18" y="36"/>
                  </a:cubicBezTo>
                  <a:cubicBezTo>
                    <a:pt x="18" y="30"/>
                    <a:pt x="18" y="30"/>
                    <a:pt x="18" y="30"/>
                  </a:cubicBezTo>
                  <a:cubicBezTo>
                    <a:pt x="23" y="30"/>
                    <a:pt x="23" y="30"/>
                    <a:pt x="23" y="30"/>
                  </a:cubicBezTo>
                  <a:cubicBezTo>
                    <a:pt x="23" y="30"/>
                    <a:pt x="23" y="30"/>
                    <a:pt x="23" y="30"/>
                  </a:cubicBezTo>
                  <a:close/>
                  <a:moveTo>
                    <a:pt x="14" y="30"/>
                  </a:moveTo>
                  <a:cubicBezTo>
                    <a:pt x="14" y="36"/>
                    <a:pt x="14" y="36"/>
                    <a:pt x="14" y="36"/>
                  </a:cubicBezTo>
                  <a:cubicBezTo>
                    <a:pt x="8" y="36"/>
                    <a:pt x="8" y="36"/>
                    <a:pt x="8" y="36"/>
                  </a:cubicBezTo>
                  <a:cubicBezTo>
                    <a:pt x="8" y="30"/>
                    <a:pt x="8" y="30"/>
                    <a:pt x="8" y="30"/>
                  </a:cubicBezTo>
                  <a:cubicBezTo>
                    <a:pt x="14" y="30"/>
                    <a:pt x="14" y="30"/>
                    <a:pt x="14" y="30"/>
                  </a:cubicBezTo>
                  <a:cubicBezTo>
                    <a:pt x="14" y="30"/>
                    <a:pt x="14" y="30"/>
                    <a:pt x="14" y="30"/>
                  </a:cubicBezTo>
                  <a:close/>
                  <a:moveTo>
                    <a:pt x="34" y="19"/>
                  </a:moveTo>
                  <a:cubicBezTo>
                    <a:pt x="34" y="25"/>
                    <a:pt x="34" y="25"/>
                    <a:pt x="34" y="25"/>
                  </a:cubicBezTo>
                  <a:cubicBezTo>
                    <a:pt x="28" y="25"/>
                    <a:pt x="28" y="25"/>
                    <a:pt x="28" y="25"/>
                  </a:cubicBezTo>
                  <a:cubicBezTo>
                    <a:pt x="28" y="19"/>
                    <a:pt x="28" y="19"/>
                    <a:pt x="28" y="19"/>
                  </a:cubicBezTo>
                  <a:cubicBezTo>
                    <a:pt x="34" y="19"/>
                    <a:pt x="34" y="19"/>
                    <a:pt x="34" y="19"/>
                  </a:cubicBezTo>
                  <a:cubicBezTo>
                    <a:pt x="34" y="19"/>
                    <a:pt x="34" y="19"/>
                    <a:pt x="34" y="19"/>
                  </a:cubicBezTo>
                  <a:close/>
                  <a:moveTo>
                    <a:pt x="23" y="19"/>
                  </a:moveTo>
                  <a:cubicBezTo>
                    <a:pt x="23" y="25"/>
                    <a:pt x="23" y="25"/>
                    <a:pt x="23" y="25"/>
                  </a:cubicBezTo>
                  <a:cubicBezTo>
                    <a:pt x="18" y="25"/>
                    <a:pt x="18" y="25"/>
                    <a:pt x="18" y="25"/>
                  </a:cubicBezTo>
                  <a:cubicBezTo>
                    <a:pt x="18" y="19"/>
                    <a:pt x="18" y="19"/>
                    <a:pt x="18" y="19"/>
                  </a:cubicBezTo>
                  <a:cubicBezTo>
                    <a:pt x="23" y="19"/>
                    <a:pt x="23" y="19"/>
                    <a:pt x="23" y="19"/>
                  </a:cubicBezTo>
                  <a:cubicBezTo>
                    <a:pt x="23" y="19"/>
                    <a:pt x="23" y="19"/>
                    <a:pt x="23" y="19"/>
                  </a:cubicBezTo>
                  <a:close/>
                  <a:moveTo>
                    <a:pt x="14" y="19"/>
                  </a:moveTo>
                  <a:cubicBezTo>
                    <a:pt x="14" y="25"/>
                    <a:pt x="14" y="25"/>
                    <a:pt x="14" y="25"/>
                  </a:cubicBezTo>
                  <a:cubicBezTo>
                    <a:pt x="8" y="25"/>
                    <a:pt x="8" y="25"/>
                    <a:pt x="8" y="25"/>
                  </a:cubicBezTo>
                  <a:cubicBezTo>
                    <a:pt x="8" y="19"/>
                    <a:pt x="8" y="19"/>
                    <a:pt x="8" y="19"/>
                  </a:cubicBezTo>
                  <a:cubicBezTo>
                    <a:pt x="14" y="19"/>
                    <a:pt x="14" y="19"/>
                    <a:pt x="14" y="19"/>
                  </a:cubicBezTo>
                  <a:cubicBezTo>
                    <a:pt x="14" y="19"/>
                    <a:pt x="14" y="19"/>
                    <a:pt x="14" y="19"/>
                  </a:cubicBezTo>
                  <a:close/>
                  <a:moveTo>
                    <a:pt x="34" y="9"/>
                  </a:moveTo>
                  <a:cubicBezTo>
                    <a:pt x="34" y="14"/>
                    <a:pt x="34" y="14"/>
                    <a:pt x="34" y="14"/>
                  </a:cubicBezTo>
                  <a:cubicBezTo>
                    <a:pt x="28" y="14"/>
                    <a:pt x="28" y="14"/>
                    <a:pt x="28" y="14"/>
                  </a:cubicBezTo>
                  <a:cubicBezTo>
                    <a:pt x="28" y="9"/>
                    <a:pt x="28" y="9"/>
                    <a:pt x="28" y="9"/>
                  </a:cubicBezTo>
                  <a:cubicBezTo>
                    <a:pt x="34" y="9"/>
                    <a:pt x="34" y="9"/>
                    <a:pt x="34" y="9"/>
                  </a:cubicBezTo>
                  <a:cubicBezTo>
                    <a:pt x="34" y="9"/>
                    <a:pt x="34" y="9"/>
                    <a:pt x="34" y="9"/>
                  </a:cubicBezTo>
                  <a:close/>
                  <a:moveTo>
                    <a:pt x="23" y="9"/>
                  </a:moveTo>
                  <a:cubicBezTo>
                    <a:pt x="23" y="14"/>
                    <a:pt x="23" y="14"/>
                    <a:pt x="23" y="14"/>
                  </a:cubicBezTo>
                  <a:cubicBezTo>
                    <a:pt x="18" y="14"/>
                    <a:pt x="18" y="14"/>
                    <a:pt x="18" y="14"/>
                  </a:cubicBezTo>
                  <a:cubicBezTo>
                    <a:pt x="18" y="9"/>
                    <a:pt x="18" y="9"/>
                    <a:pt x="18" y="9"/>
                  </a:cubicBezTo>
                  <a:cubicBezTo>
                    <a:pt x="23" y="9"/>
                    <a:pt x="23" y="9"/>
                    <a:pt x="23" y="9"/>
                  </a:cubicBezTo>
                  <a:cubicBezTo>
                    <a:pt x="23" y="9"/>
                    <a:pt x="23" y="9"/>
                    <a:pt x="23" y="9"/>
                  </a:cubicBezTo>
                  <a:close/>
                  <a:moveTo>
                    <a:pt x="14" y="9"/>
                  </a:moveTo>
                  <a:cubicBezTo>
                    <a:pt x="14" y="14"/>
                    <a:pt x="14" y="14"/>
                    <a:pt x="14" y="14"/>
                  </a:cubicBezTo>
                  <a:cubicBezTo>
                    <a:pt x="8" y="14"/>
                    <a:pt x="8" y="14"/>
                    <a:pt x="8" y="14"/>
                  </a:cubicBezTo>
                  <a:cubicBezTo>
                    <a:pt x="8" y="9"/>
                    <a:pt x="8" y="9"/>
                    <a:pt x="8" y="9"/>
                  </a:cubicBezTo>
                  <a:cubicBezTo>
                    <a:pt x="14" y="9"/>
                    <a:pt x="14" y="9"/>
                    <a:pt x="14" y="9"/>
                  </a:cubicBezTo>
                  <a:cubicBezTo>
                    <a:pt x="14" y="9"/>
                    <a:pt x="14" y="9"/>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91" name="Freeform 2147"/>
            <p:cNvSpPr>
              <a:spLocks noEditPoints="1"/>
            </p:cNvSpPr>
            <p:nvPr/>
          </p:nvSpPr>
          <p:spPr bwMode="auto">
            <a:xfrm>
              <a:off x="18422938" y="1733550"/>
              <a:ext cx="149225" cy="550863"/>
            </a:xfrm>
            <a:custGeom>
              <a:avLst/>
              <a:gdLst>
                <a:gd name="T0" fmla="*/ 9 w 40"/>
                <a:gd name="T1" fmla="*/ 146 h 146"/>
                <a:gd name="T2" fmla="*/ 40 w 40"/>
                <a:gd name="T3" fmla="*/ 9 h 146"/>
                <a:gd name="T4" fmla="*/ 0 w 40"/>
                <a:gd name="T5" fmla="*/ 9 h 146"/>
                <a:gd name="T6" fmla="*/ 13 w 40"/>
                <a:gd name="T7" fmla="*/ 126 h 146"/>
                <a:gd name="T8" fmla="*/ 33 w 40"/>
                <a:gd name="T9" fmla="*/ 73 h 146"/>
                <a:gd name="T10" fmla="*/ 27 w 40"/>
                <a:gd name="T11" fmla="*/ 73 h 146"/>
                <a:gd name="T12" fmla="*/ 23 w 40"/>
                <a:gd name="T13" fmla="*/ 73 h 146"/>
                <a:gd name="T14" fmla="*/ 17 w 40"/>
                <a:gd name="T15" fmla="*/ 73 h 146"/>
                <a:gd name="T16" fmla="*/ 13 w 40"/>
                <a:gd name="T17" fmla="*/ 73 h 146"/>
                <a:gd name="T18" fmla="*/ 7 w 40"/>
                <a:gd name="T19" fmla="*/ 73 h 146"/>
                <a:gd name="T20" fmla="*/ 33 w 40"/>
                <a:gd name="T21" fmla="*/ 63 h 146"/>
                <a:gd name="T22" fmla="*/ 27 w 40"/>
                <a:gd name="T23" fmla="*/ 63 h 146"/>
                <a:gd name="T24" fmla="*/ 23 w 40"/>
                <a:gd name="T25" fmla="*/ 63 h 146"/>
                <a:gd name="T26" fmla="*/ 17 w 40"/>
                <a:gd name="T27" fmla="*/ 63 h 146"/>
                <a:gd name="T28" fmla="*/ 13 w 40"/>
                <a:gd name="T29" fmla="*/ 63 h 146"/>
                <a:gd name="T30" fmla="*/ 7 w 40"/>
                <a:gd name="T31" fmla="*/ 63 h 146"/>
                <a:gd name="T32" fmla="*/ 33 w 40"/>
                <a:gd name="T33" fmla="*/ 52 h 146"/>
                <a:gd name="T34" fmla="*/ 27 w 40"/>
                <a:gd name="T35" fmla="*/ 52 h 146"/>
                <a:gd name="T36" fmla="*/ 23 w 40"/>
                <a:gd name="T37" fmla="*/ 52 h 146"/>
                <a:gd name="T38" fmla="*/ 17 w 40"/>
                <a:gd name="T39" fmla="*/ 52 h 146"/>
                <a:gd name="T40" fmla="*/ 13 w 40"/>
                <a:gd name="T41" fmla="*/ 52 h 146"/>
                <a:gd name="T42" fmla="*/ 7 w 40"/>
                <a:gd name="T43" fmla="*/ 52 h 146"/>
                <a:gd name="T44" fmla="*/ 33 w 40"/>
                <a:gd name="T45" fmla="*/ 41 h 146"/>
                <a:gd name="T46" fmla="*/ 27 w 40"/>
                <a:gd name="T47" fmla="*/ 41 h 146"/>
                <a:gd name="T48" fmla="*/ 23 w 40"/>
                <a:gd name="T49" fmla="*/ 41 h 146"/>
                <a:gd name="T50" fmla="*/ 17 w 40"/>
                <a:gd name="T51" fmla="*/ 41 h 146"/>
                <a:gd name="T52" fmla="*/ 13 w 40"/>
                <a:gd name="T53" fmla="*/ 41 h 146"/>
                <a:gd name="T54" fmla="*/ 7 w 40"/>
                <a:gd name="T55" fmla="*/ 41 h 146"/>
                <a:gd name="T56" fmla="*/ 33 w 40"/>
                <a:gd name="T57" fmla="*/ 30 h 146"/>
                <a:gd name="T58" fmla="*/ 27 w 40"/>
                <a:gd name="T59" fmla="*/ 30 h 146"/>
                <a:gd name="T60" fmla="*/ 23 w 40"/>
                <a:gd name="T61" fmla="*/ 30 h 146"/>
                <a:gd name="T62" fmla="*/ 17 w 40"/>
                <a:gd name="T63" fmla="*/ 30 h 146"/>
                <a:gd name="T64" fmla="*/ 13 w 40"/>
                <a:gd name="T65" fmla="*/ 30 h 146"/>
                <a:gd name="T66" fmla="*/ 7 w 40"/>
                <a:gd name="T67" fmla="*/ 30 h 146"/>
                <a:gd name="T68" fmla="*/ 33 w 40"/>
                <a:gd name="T69" fmla="*/ 19 h 146"/>
                <a:gd name="T70" fmla="*/ 27 w 40"/>
                <a:gd name="T71" fmla="*/ 19 h 146"/>
                <a:gd name="T72" fmla="*/ 23 w 40"/>
                <a:gd name="T73" fmla="*/ 19 h 146"/>
                <a:gd name="T74" fmla="*/ 17 w 40"/>
                <a:gd name="T75" fmla="*/ 19 h 146"/>
                <a:gd name="T76" fmla="*/ 13 w 40"/>
                <a:gd name="T77" fmla="*/ 19 h 146"/>
                <a:gd name="T78" fmla="*/ 7 w 40"/>
                <a:gd name="T79" fmla="*/ 19 h 146"/>
                <a:gd name="T80" fmla="*/ 33 w 40"/>
                <a:gd name="T81" fmla="*/ 9 h 146"/>
                <a:gd name="T82" fmla="*/ 27 w 40"/>
                <a:gd name="T83" fmla="*/ 9 h 146"/>
                <a:gd name="T84" fmla="*/ 23 w 40"/>
                <a:gd name="T85" fmla="*/ 9 h 146"/>
                <a:gd name="T86" fmla="*/ 17 w 40"/>
                <a:gd name="T87" fmla="*/ 9 h 146"/>
                <a:gd name="T88" fmla="*/ 13 w 40"/>
                <a:gd name="T89" fmla="*/ 9 h 146"/>
                <a:gd name="T90" fmla="*/ 7 w 40"/>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 h="146">
                  <a:moveTo>
                    <a:pt x="0" y="9"/>
                  </a:moveTo>
                  <a:cubicBezTo>
                    <a:pt x="0" y="137"/>
                    <a:pt x="0" y="137"/>
                    <a:pt x="0" y="137"/>
                  </a:cubicBezTo>
                  <a:cubicBezTo>
                    <a:pt x="0" y="142"/>
                    <a:pt x="4" y="146"/>
                    <a:pt x="9" y="146"/>
                  </a:cubicBezTo>
                  <a:cubicBezTo>
                    <a:pt x="31" y="146"/>
                    <a:pt x="31" y="146"/>
                    <a:pt x="31" y="146"/>
                  </a:cubicBezTo>
                  <a:cubicBezTo>
                    <a:pt x="36" y="146"/>
                    <a:pt x="40" y="142"/>
                    <a:pt x="40" y="137"/>
                  </a:cubicBezTo>
                  <a:cubicBezTo>
                    <a:pt x="40" y="9"/>
                    <a:pt x="40" y="9"/>
                    <a:pt x="40" y="9"/>
                  </a:cubicBezTo>
                  <a:cubicBezTo>
                    <a:pt x="40" y="4"/>
                    <a:pt x="36" y="0"/>
                    <a:pt x="31" y="0"/>
                  </a:cubicBezTo>
                  <a:cubicBezTo>
                    <a:pt x="9" y="0"/>
                    <a:pt x="9" y="0"/>
                    <a:pt x="9" y="0"/>
                  </a:cubicBezTo>
                  <a:cubicBezTo>
                    <a:pt x="4" y="0"/>
                    <a:pt x="0" y="4"/>
                    <a:pt x="0" y="9"/>
                  </a:cubicBezTo>
                  <a:close/>
                  <a:moveTo>
                    <a:pt x="27" y="126"/>
                  </a:moveTo>
                  <a:cubicBezTo>
                    <a:pt x="27" y="130"/>
                    <a:pt x="24" y="133"/>
                    <a:pt x="20" y="133"/>
                  </a:cubicBezTo>
                  <a:cubicBezTo>
                    <a:pt x="16" y="133"/>
                    <a:pt x="13" y="130"/>
                    <a:pt x="13" y="126"/>
                  </a:cubicBezTo>
                  <a:cubicBezTo>
                    <a:pt x="13" y="122"/>
                    <a:pt x="16" y="119"/>
                    <a:pt x="20" y="119"/>
                  </a:cubicBezTo>
                  <a:cubicBezTo>
                    <a:pt x="24" y="119"/>
                    <a:pt x="27" y="122"/>
                    <a:pt x="27" y="126"/>
                  </a:cubicBezTo>
                  <a:close/>
                  <a:moveTo>
                    <a:pt x="33" y="73"/>
                  </a:moveTo>
                  <a:cubicBezTo>
                    <a:pt x="33" y="79"/>
                    <a:pt x="33" y="79"/>
                    <a:pt x="33" y="79"/>
                  </a:cubicBezTo>
                  <a:cubicBezTo>
                    <a:pt x="27" y="79"/>
                    <a:pt x="27" y="79"/>
                    <a:pt x="27" y="79"/>
                  </a:cubicBezTo>
                  <a:cubicBezTo>
                    <a:pt x="27" y="73"/>
                    <a:pt x="27" y="73"/>
                    <a:pt x="27" y="73"/>
                  </a:cubicBezTo>
                  <a:cubicBezTo>
                    <a:pt x="33" y="73"/>
                    <a:pt x="33" y="73"/>
                    <a:pt x="33" y="73"/>
                  </a:cubicBezTo>
                  <a:cubicBezTo>
                    <a:pt x="33" y="73"/>
                    <a:pt x="33" y="73"/>
                    <a:pt x="33" y="73"/>
                  </a:cubicBezTo>
                  <a:close/>
                  <a:moveTo>
                    <a:pt x="23" y="73"/>
                  </a:moveTo>
                  <a:cubicBezTo>
                    <a:pt x="23" y="79"/>
                    <a:pt x="23" y="79"/>
                    <a:pt x="23" y="79"/>
                  </a:cubicBezTo>
                  <a:cubicBezTo>
                    <a:pt x="17" y="79"/>
                    <a:pt x="17" y="79"/>
                    <a:pt x="17" y="79"/>
                  </a:cubicBezTo>
                  <a:cubicBezTo>
                    <a:pt x="17" y="73"/>
                    <a:pt x="17" y="73"/>
                    <a:pt x="17" y="73"/>
                  </a:cubicBezTo>
                  <a:cubicBezTo>
                    <a:pt x="23" y="73"/>
                    <a:pt x="23" y="73"/>
                    <a:pt x="23" y="73"/>
                  </a:cubicBezTo>
                  <a:cubicBezTo>
                    <a:pt x="23" y="73"/>
                    <a:pt x="23" y="73"/>
                    <a:pt x="23" y="73"/>
                  </a:cubicBezTo>
                  <a:close/>
                  <a:moveTo>
                    <a:pt x="13" y="73"/>
                  </a:moveTo>
                  <a:cubicBezTo>
                    <a:pt x="13" y="79"/>
                    <a:pt x="13" y="79"/>
                    <a:pt x="13" y="79"/>
                  </a:cubicBezTo>
                  <a:cubicBezTo>
                    <a:pt x="7" y="79"/>
                    <a:pt x="7" y="79"/>
                    <a:pt x="7" y="79"/>
                  </a:cubicBezTo>
                  <a:cubicBezTo>
                    <a:pt x="7" y="73"/>
                    <a:pt x="7" y="73"/>
                    <a:pt x="7" y="73"/>
                  </a:cubicBezTo>
                  <a:cubicBezTo>
                    <a:pt x="13" y="73"/>
                    <a:pt x="13" y="73"/>
                    <a:pt x="13" y="73"/>
                  </a:cubicBezTo>
                  <a:cubicBezTo>
                    <a:pt x="13" y="73"/>
                    <a:pt x="13" y="73"/>
                    <a:pt x="13" y="73"/>
                  </a:cubicBezTo>
                  <a:close/>
                  <a:moveTo>
                    <a:pt x="33" y="63"/>
                  </a:moveTo>
                  <a:cubicBezTo>
                    <a:pt x="33" y="68"/>
                    <a:pt x="33" y="68"/>
                    <a:pt x="33" y="68"/>
                  </a:cubicBezTo>
                  <a:cubicBezTo>
                    <a:pt x="27" y="68"/>
                    <a:pt x="27" y="68"/>
                    <a:pt x="27" y="68"/>
                  </a:cubicBezTo>
                  <a:cubicBezTo>
                    <a:pt x="27" y="63"/>
                    <a:pt x="27" y="63"/>
                    <a:pt x="27" y="63"/>
                  </a:cubicBezTo>
                  <a:cubicBezTo>
                    <a:pt x="33" y="63"/>
                    <a:pt x="33" y="63"/>
                    <a:pt x="33" y="63"/>
                  </a:cubicBezTo>
                  <a:cubicBezTo>
                    <a:pt x="33" y="63"/>
                    <a:pt x="33" y="63"/>
                    <a:pt x="33" y="63"/>
                  </a:cubicBezTo>
                  <a:close/>
                  <a:moveTo>
                    <a:pt x="23" y="63"/>
                  </a:moveTo>
                  <a:cubicBezTo>
                    <a:pt x="23" y="68"/>
                    <a:pt x="23" y="68"/>
                    <a:pt x="23" y="68"/>
                  </a:cubicBezTo>
                  <a:cubicBezTo>
                    <a:pt x="17" y="68"/>
                    <a:pt x="17" y="68"/>
                    <a:pt x="17" y="68"/>
                  </a:cubicBezTo>
                  <a:cubicBezTo>
                    <a:pt x="17" y="63"/>
                    <a:pt x="17" y="63"/>
                    <a:pt x="17" y="63"/>
                  </a:cubicBezTo>
                  <a:cubicBezTo>
                    <a:pt x="23" y="63"/>
                    <a:pt x="23" y="63"/>
                    <a:pt x="23" y="63"/>
                  </a:cubicBezTo>
                  <a:cubicBezTo>
                    <a:pt x="23" y="63"/>
                    <a:pt x="23" y="63"/>
                    <a:pt x="23" y="63"/>
                  </a:cubicBezTo>
                  <a:close/>
                  <a:moveTo>
                    <a:pt x="13" y="63"/>
                  </a:moveTo>
                  <a:cubicBezTo>
                    <a:pt x="13" y="68"/>
                    <a:pt x="13" y="68"/>
                    <a:pt x="13" y="68"/>
                  </a:cubicBezTo>
                  <a:cubicBezTo>
                    <a:pt x="7" y="68"/>
                    <a:pt x="7" y="68"/>
                    <a:pt x="7" y="68"/>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0"/>
                  </a:moveTo>
                  <a:cubicBezTo>
                    <a:pt x="33" y="36"/>
                    <a:pt x="33" y="36"/>
                    <a:pt x="33" y="36"/>
                  </a:cubicBezTo>
                  <a:cubicBezTo>
                    <a:pt x="27" y="36"/>
                    <a:pt x="27" y="36"/>
                    <a:pt x="27" y="36"/>
                  </a:cubicBezTo>
                  <a:cubicBezTo>
                    <a:pt x="27" y="30"/>
                    <a:pt x="27" y="30"/>
                    <a:pt x="27" y="30"/>
                  </a:cubicBezTo>
                  <a:cubicBezTo>
                    <a:pt x="33" y="30"/>
                    <a:pt x="33" y="30"/>
                    <a:pt x="33" y="30"/>
                  </a:cubicBezTo>
                  <a:cubicBezTo>
                    <a:pt x="33" y="30"/>
                    <a:pt x="33" y="30"/>
                    <a:pt x="33" y="30"/>
                  </a:cubicBezTo>
                  <a:close/>
                  <a:moveTo>
                    <a:pt x="23" y="30"/>
                  </a:moveTo>
                  <a:cubicBezTo>
                    <a:pt x="23" y="36"/>
                    <a:pt x="23" y="36"/>
                    <a:pt x="23" y="36"/>
                  </a:cubicBezTo>
                  <a:cubicBezTo>
                    <a:pt x="17" y="36"/>
                    <a:pt x="17" y="36"/>
                    <a:pt x="17" y="36"/>
                  </a:cubicBezTo>
                  <a:cubicBezTo>
                    <a:pt x="17" y="30"/>
                    <a:pt x="17" y="30"/>
                    <a:pt x="17" y="30"/>
                  </a:cubicBezTo>
                  <a:cubicBezTo>
                    <a:pt x="23" y="30"/>
                    <a:pt x="23" y="30"/>
                    <a:pt x="23" y="30"/>
                  </a:cubicBezTo>
                  <a:cubicBezTo>
                    <a:pt x="23" y="30"/>
                    <a:pt x="23" y="30"/>
                    <a:pt x="23" y="30"/>
                  </a:cubicBezTo>
                  <a:close/>
                  <a:moveTo>
                    <a:pt x="13" y="30"/>
                  </a:moveTo>
                  <a:cubicBezTo>
                    <a:pt x="13" y="36"/>
                    <a:pt x="13" y="36"/>
                    <a:pt x="13" y="36"/>
                  </a:cubicBezTo>
                  <a:cubicBezTo>
                    <a:pt x="7" y="36"/>
                    <a:pt x="7" y="36"/>
                    <a:pt x="7" y="36"/>
                  </a:cubicBezTo>
                  <a:cubicBezTo>
                    <a:pt x="7" y="30"/>
                    <a:pt x="7" y="30"/>
                    <a:pt x="7" y="30"/>
                  </a:cubicBezTo>
                  <a:cubicBezTo>
                    <a:pt x="13" y="30"/>
                    <a:pt x="13" y="30"/>
                    <a:pt x="13" y="30"/>
                  </a:cubicBezTo>
                  <a:cubicBezTo>
                    <a:pt x="13" y="30"/>
                    <a:pt x="13" y="30"/>
                    <a:pt x="13" y="30"/>
                  </a:cubicBezTo>
                  <a:close/>
                  <a:moveTo>
                    <a:pt x="33" y="19"/>
                  </a:moveTo>
                  <a:cubicBezTo>
                    <a:pt x="33" y="25"/>
                    <a:pt x="33" y="25"/>
                    <a:pt x="33" y="25"/>
                  </a:cubicBezTo>
                  <a:cubicBezTo>
                    <a:pt x="27" y="25"/>
                    <a:pt x="27" y="25"/>
                    <a:pt x="27" y="25"/>
                  </a:cubicBezTo>
                  <a:cubicBezTo>
                    <a:pt x="27" y="19"/>
                    <a:pt x="27" y="19"/>
                    <a:pt x="27" y="19"/>
                  </a:cubicBezTo>
                  <a:cubicBezTo>
                    <a:pt x="33" y="19"/>
                    <a:pt x="33" y="19"/>
                    <a:pt x="33" y="19"/>
                  </a:cubicBezTo>
                  <a:cubicBezTo>
                    <a:pt x="33" y="19"/>
                    <a:pt x="33" y="19"/>
                    <a:pt x="33" y="19"/>
                  </a:cubicBezTo>
                  <a:close/>
                  <a:moveTo>
                    <a:pt x="23" y="19"/>
                  </a:moveTo>
                  <a:cubicBezTo>
                    <a:pt x="23" y="25"/>
                    <a:pt x="23" y="25"/>
                    <a:pt x="23" y="25"/>
                  </a:cubicBezTo>
                  <a:cubicBezTo>
                    <a:pt x="17" y="25"/>
                    <a:pt x="17" y="25"/>
                    <a:pt x="17" y="25"/>
                  </a:cubicBezTo>
                  <a:cubicBezTo>
                    <a:pt x="17" y="19"/>
                    <a:pt x="17" y="19"/>
                    <a:pt x="17" y="19"/>
                  </a:cubicBezTo>
                  <a:cubicBezTo>
                    <a:pt x="23" y="19"/>
                    <a:pt x="23" y="19"/>
                    <a:pt x="23" y="19"/>
                  </a:cubicBezTo>
                  <a:cubicBezTo>
                    <a:pt x="23" y="19"/>
                    <a:pt x="23" y="19"/>
                    <a:pt x="23" y="19"/>
                  </a:cubicBezTo>
                  <a:close/>
                  <a:moveTo>
                    <a:pt x="13" y="19"/>
                  </a:moveTo>
                  <a:cubicBezTo>
                    <a:pt x="13" y="25"/>
                    <a:pt x="13" y="25"/>
                    <a:pt x="13" y="25"/>
                  </a:cubicBezTo>
                  <a:cubicBezTo>
                    <a:pt x="7" y="25"/>
                    <a:pt x="7" y="25"/>
                    <a:pt x="7" y="25"/>
                  </a:cubicBezTo>
                  <a:cubicBezTo>
                    <a:pt x="7" y="19"/>
                    <a:pt x="7" y="19"/>
                    <a:pt x="7" y="19"/>
                  </a:cubicBezTo>
                  <a:cubicBezTo>
                    <a:pt x="13" y="19"/>
                    <a:pt x="13" y="19"/>
                    <a:pt x="13" y="19"/>
                  </a:cubicBezTo>
                  <a:cubicBezTo>
                    <a:pt x="13" y="19"/>
                    <a:pt x="13" y="19"/>
                    <a:pt x="13" y="19"/>
                  </a:cubicBezTo>
                  <a:close/>
                  <a:moveTo>
                    <a:pt x="33" y="9"/>
                  </a:moveTo>
                  <a:cubicBezTo>
                    <a:pt x="33" y="14"/>
                    <a:pt x="33" y="14"/>
                    <a:pt x="33" y="14"/>
                  </a:cubicBezTo>
                  <a:cubicBezTo>
                    <a:pt x="27" y="14"/>
                    <a:pt x="27" y="14"/>
                    <a:pt x="27" y="14"/>
                  </a:cubicBezTo>
                  <a:cubicBezTo>
                    <a:pt x="27" y="9"/>
                    <a:pt x="27" y="9"/>
                    <a:pt x="27" y="9"/>
                  </a:cubicBezTo>
                  <a:cubicBezTo>
                    <a:pt x="33" y="9"/>
                    <a:pt x="33" y="9"/>
                    <a:pt x="33" y="9"/>
                  </a:cubicBezTo>
                  <a:cubicBezTo>
                    <a:pt x="33" y="9"/>
                    <a:pt x="33" y="9"/>
                    <a:pt x="33" y="9"/>
                  </a:cubicBezTo>
                  <a:close/>
                  <a:moveTo>
                    <a:pt x="23" y="9"/>
                  </a:moveTo>
                  <a:cubicBezTo>
                    <a:pt x="23" y="14"/>
                    <a:pt x="23" y="14"/>
                    <a:pt x="23" y="14"/>
                  </a:cubicBezTo>
                  <a:cubicBezTo>
                    <a:pt x="17" y="14"/>
                    <a:pt x="17" y="14"/>
                    <a:pt x="17" y="14"/>
                  </a:cubicBezTo>
                  <a:cubicBezTo>
                    <a:pt x="17" y="9"/>
                    <a:pt x="17" y="9"/>
                    <a:pt x="17" y="9"/>
                  </a:cubicBezTo>
                  <a:cubicBezTo>
                    <a:pt x="23" y="9"/>
                    <a:pt x="23" y="9"/>
                    <a:pt x="23" y="9"/>
                  </a:cubicBezTo>
                  <a:cubicBezTo>
                    <a:pt x="23" y="9"/>
                    <a:pt x="23" y="9"/>
                    <a:pt x="23" y="9"/>
                  </a:cubicBezTo>
                  <a:close/>
                  <a:moveTo>
                    <a:pt x="13" y="9"/>
                  </a:moveTo>
                  <a:cubicBezTo>
                    <a:pt x="13" y="14"/>
                    <a:pt x="13" y="14"/>
                    <a:pt x="13" y="14"/>
                  </a:cubicBezTo>
                  <a:cubicBezTo>
                    <a:pt x="7" y="14"/>
                    <a:pt x="7" y="14"/>
                    <a:pt x="7" y="14"/>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92" name="Freeform 2148"/>
            <p:cNvSpPr>
              <a:spLocks noEditPoints="1"/>
            </p:cNvSpPr>
            <p:nvPr/>
          </p:nvSpPr>
          <p:spPr bwMode="auto">
            <a:xfrm>
              <a:off x="18640425" y="1733550"/>
              <a:ext cx="153988" cy="550863"/>
            </a:xfrm>
            <a:custGeom>
              <a:avLst/>
              <a:gdLst>
                <a:gd name="T0" fmla="*/ 9 w 41"/>
                <a:gd name="T1" fmla="*/ 146 h 146"/>
                <a:gd name="T2" fmla="*/ 41 w 41"/>
                <a:gd name="T3" fmla="*/ 9 h 146"/>
                <a:gd name="T4" fmla="*/ 0 w 41"/>
                <a:gd name="T5" fmla="*/ 9 h 146"/>
                <a:gd name="T6" fmla="*/ 13 w 41"/>
                <a:gd name="T7" fmla="*/ 126 h 146"/>
                <a:gd name="T8" fmla="*/ 33 w 41"/>
                <a:gd name="T9" fmla="*/ 73 h 146"/>
                <a:gd name="T10" fmla="*/ 27 w 41"/>
                <a:gd name="T11" fmla="*/ 73 h 146"/>
                <a:gd name="T12" fmla="*/ 23 w 41"/>
                <a:gd name="T13" fmla="*/ 73 h 146"/>
                <a:gd name="T14" fmla="*/ 17 w 41"/>
                <a:gd name="T15" fmla="*/ 73 h 146"/>
                <a:gd name="T16" fmla="*/ 13 w 41"/>
                <a:gd name="T17" fmla="*/ 73 h 146"/>
                <a:gd name="T18" fmla="*/ 7 w 41"/>
                <a:gd name="T19" fmla="*/ 73 h 146"/>
                <a:gd name="T20" fmla="*/ 33 w 41"/>
                <a:gd name="T21" fmla="*/ 63 h 146"/>
                <a:gd name="T22" fmla="*/ 27 w 41"/>
                <a:gd name="T23" fmla="*/ 63 h 146"/>
                <a:gd name="T24" fmla="*/ 23 w 41"/>
                <a:gd name="T25" fmla="*/ 63 h 146"/>
                <a:gd name="T26" fmla="*/ 17 w 41"/>
                <a:gd name="T27" fmla="*/ 63 h 146"/>
                <a:gd name="T28" fmla="*/ 13 w 41"/>
                <a:gd name="T29" fmla="*/ 63 h 146"/>
                <a:gd name="T30" fmla="*/ 7 w 41"/>
                <a:gd name="T31" fmla="*/ 63 h 146"/>
                <a:gd name="T32" fmla="*/ 33 w 41"/>
                <a:gd name="T33" fmla="*/ 52 h 146"/>
                <a:gd name="T34" fmla="*/ 27 w 41"/>
                <a:gd name="T35" fmla="*/ 52 h 146"/>
                <a:gd name="T36" fmla="*/ 23 w 41"/>
                <a:gd name="T37" fmla="*/ 52 h 146"/>
                <a:gd name="T38" fmla="*/ 17 w 41"/>
                <a:gd name="T39" fmla="*/ 52 h 146"/>
                <a:gd name="T40" fmla="*/ 13 w 41"/>
                <a:gd name="T41" fmla="*/ 52 h 146"/>
                <a:gd name="T42" fmla="*/ 7 w 41"/>
                <a:gd name="T43" fmla="*/ 52 h 146"/>
                <a:gd name="T44" fmla="*/ 33 w 41"/>
                <a:gd name="T45" fmla="*/ 41 h 146"/>
                <a:gd name="T46" fmla="*/ 27 w 41"/>
                <a:gd name="T47" fmla="*/ 41 h 146"/>
                <a:gd name="T48" fmla="*/ 23 w 41"/>
                <a:gd name="T49" fmla="*/ 41 h 146"/>
                <a:gd name="T50" fmla="*/ 17 w 41"/>
                <a:gd name="T51" fmla="*/ 41 h 146"/>
                <a:gd name="T52" fmla="*/ 13 w 41"/>
                <a:gd name="T53" fmla="*/ 41 h 146"/>
                <a:gd name="T54" fmla="*/ 7 w 41"/>
                <a:gd name="T55" fmla="*/ 41 h 146"/>
                <a:gd name="T56" fmla="*/ 33 w 41"/>
                <a:gd name="T57" fmla="*/ 30 h 146"/>
                <a:gd name="T58" fmla="*/ 27 w 41"/>
                <a:gd name="T59" fmla="*/ 30 h 146"/>
                <a:gd name="T60" fmla="*/ 23 w 41"/>
                <a:gd name="T61" fmla="*/ 30 h 146"/>
                <a:gd name="T62" fmla="*/ 17 w 41"/>
                <a:gd name="T63" fmla="*/ 30 h 146"/>
                <a:gd name="T64" fmla="*/ 13 w 41"/>
                <a:gd name="T65" fmla="*/ 30 h 146"/>
                <a:gd name="T66" fmla="*/ 7 w 41"/>
                <a:gd name="T67" fmla="*/ 30 h 146"/>
                <a:gd name="T68" fmla="*/ 33 w 41"/>
                <a:gd name="T69" fmla="*/ 19 h 146"/>
                <a:gd name="T70" fmla="*/ 27 w 41"/>
                <a:gd name="T71" fmla="*/ 19 h 146"/>
                <a:gd name="T72" fmla="*/ 23 w 41"/>
                <a:gd name="T73" fmla="*/ 19 h 146"/>
                <a:gd name="T74" fmla="*/ 17 w 41"/>
                <a:gd name="T75" fmla="*/ 19 h 146"/>
                <a:gd name="T76" fmla="*/ 13 w 41"/>
                <a:gd name="T77" fmla="*/ 19 h 146"/>
                <a:gd name="T78" fmla="*/ 7 w 41"/>
                <a:gd name="T79" fmla="*/ 19 h 146"/>
                <a:gd name="T80" fmla="*/ 33 w 41"/>
                <a:gd name="T81" fmla="*/ 9 h 146"/>
                <a:gd name="T82" fmla="*/ 27 w 41"/>
                <a:gd name="T83" fmla="*/ 9 h 146"/>
                <a:gd name="T84" fmla="*/ 23 w 41"/>
                <a:gd name="T85" fmla="*/ 9 h 146"/>
                <a:gd name="T86" fmla="*/ 17 w 41"/>
                <a:gd name="T87" fmla="*/ 9 h 146"/>
                <a:gd name="T88" fmla="*/ 13 w 41"/>
                <a:gd name="T89" fmla="*/ 9 h 146"/>
                <a:gd name="T90" fmla="*/ 7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1" y="146"/>
                    <a:pt x="31" y="146"/>
                    <a:pt x="31" y="146"/>
                  </a:cubicBezTo>
                  <a:cubicBezTo>
                    <a:pt x="36" y="146"/>
                    <a:pt x="41" y="142"/>
                    <a:pt x="41" y="137"/>
                  </a:cubicBezTo>
                  <a:cubicBezTo>
                    <a:pt x="41" y="9"/>
                    <a:pt x="41" y="9"/>
                    <a:pt x="41" y="9"/>
                  </a:cubicBezTo>
                  <a:cubicBezTo>
                    <a:pt x="41" y="4"/>
                    <a:pt x="36" y="0"/>
                    <a:pt x="31" y="0"/>
                  </a:cubicBezTo>
                  <a:cubicBezTo>
                    <a:pt x="9" y="0"/>
                    <a:pt x="9" y="0"/>
                    <a:pt x="9" y="0"/>
                  </a:cubicBezTo>
                  <a:cubicBezTo>
                    <a:pt x="4" y="0"/>
                    <a:pt x="0" y="4"/>
                    <a:pt x="0" y="9"/>
                  </a:cubicBezTo>
                  <a:close/>
                  <a:moveTo>
                    <a:pt x="28" y="126"/>
                  </a:moveTo>
                  <a:cubicBezTo>
                    <a:pt x="28" y="130"/>
                    <a:pt x="24" y="133"/>
                    <a:pt x="20" y="133"/>
                  </a:cubicBezTo>
                  <a:cubicBezTo>
                    <a:pt x="16" y="133"/>
                    <a:pt x="13" y="130"/>
                    <a:pt x="13" y="126"/>
                  </a:cubicBezTo>
                  <a:cubicBezTo>
                    <a:pt x="13" y="122"/>
                    <a:pt x="16" y="119"/>
                    <a:pt x="20" y="119"/>
                  </a:cubicBezTo>
                  <a:cubicBezTo>
                    <a:pt x="24" y="119"/>
                    <a:pt x="28" y="122"/>
                    <a:pt x="28" y="126"/>
                  </a:cubicBezTo>
                  <a:close/>
                  <a:moveTo>
                    <a:pt x="33" y="73"/>
                  </a:moveTo>
                  <a:cubicBezTo>
                    <a:pt x="33" y="79"/>
                    <a:pt x="33" y="79"/>
                    <a:pt x="33" y="79"/>
                  </a:cubicBezTo>
                  <a:cubicBezTo>
                    <a:pt x="27" y="79"/>
                    <a:pt x="27" y="79"/>
                    <a:pt x="27" y="79"/>
                  </a:cubicBezTo>
                  <a:cubicBezTo>
                    <a:pt x="27" y="73"/>
                    <a:pt x="27" y="73"/>
                    <a:pt x="27" y="73"/>
                  </a:cubicBezTo>
                  <a:cubicBezTo>
                    <a:pt x="33" y="73"/>
                    <a:pt x="33" y="73"/>
                    <a:pt x="33" y="73"/>
                  </a:cubicBezTo>
                  <a:cubicBezTo>
                    <a:pt x="33" y="73"/>
                    <a:pt x="33" y="73"/>
                    <a:pt x="33" y="73"/>
                  </a:cubicBezTo>
                  <a:close/>
                  <a:moveTo>
                    <a:pt x="23" y="73"/>
                  </a:moveTo>
                  <a:cubicBezTo>
                    <a:pt x="23" y="79"/>
                    <a:pt x="23" y="79"/>
                    <a:pt x="23" y="79"/>
                  </a:cubicBezTo>
                  <a:cubicBezTo>
                    <a:pt x="17" y="79"/>
                    <a:pt x="17" y="79"/>
                    <a:pt x="17" y="79"/>
                  </a:cubicBezTo>
                  <a:cubicBezTo>
                    <a:pt x="17" y="73"/>
                    <a:pt x="17" y="73"/>
                    <a:pt x="17" y="73"/>
                  </a:cubicBezTo>
                  <a:cubicBezTo>
                    <a:pt x="23" y="73"/>
                    <a:pt x="23" y="73"/>
                    <a:pt x="23" y="73"/>
                  </a:cubicBezTo>
                  <a:cubicBezTo>
                    <a:pt x="23" y="73"/>
                    <a:pt x="23" y="73"/>
                    <a:pt x="23" y="73"/>
                  </a:cubicBezTo>
                  <a:close/>
                  <a:moveTo>
                    <a:pt x="13" y="73"/>
                  </a:moveTo>
                  <a:cubicBezTo>
                    <a:pt x="13" y="79"/>
                    <a:pt x="13" y="79"/>
                    <a:pt x="13" y="79"/>
                  </a:cubicBezTo>
                  <a:cubicBezTo>
                    <a:pt x="7" y="79"/>
                    <a:pt x="7" y="79"/>
                    <a:pt x="7" y="79"/>
                  </a:cubicBezTo>
                  <a:cubicBezTo>
                    <a:pt x="7" y="73"/>
                    <a:pt x="7" y="73"/>
                    <a:pt x="7" y="73"/>
                  </a:cubicBezTo>
                  <a:cubicBezTo>
                    <a:pt x="13" y="73"/>
                    <a:pt x="13" y="73"/>
                    <a:pt x="13" y="73"/>
                  </a:cubicBezTo>
                  <a:cubicBezTo>
                    <a:pt x="13" y="73"/>
                    <a:pt x="13" y="73"/>
                    <a:pt x="13" y="73"/>
                  </a:cubicBezTo>
                  <a:close/>
                  <a:moveTo>
                    <a:pt x="33" y="63"/>
                  </a:moveTo>
                  <a:cubicBezTo>
                    <a:pt x="33" y="68"/>
                    <a:pt x="33" y="68"/>
                    <a:pt x="33" y="68"/>
                  </a:cubicBezTo>
                  <a:cubicBezTo>
                    <a:pt x="27" y="68"/>
                    <a:pt x="27" y="68"/>
                    <a:pt x="27" y="68"/>
                  </a:cubicBezTo>
                  <a:cubicBezTo>
                    <a:pt x="27" y="63"/>
                    <a:pt x="27" y="63"/>
                    <a:pt x="27" y="63"/>
                  </a:cubicBezTo>
                  <a:cubicBezTo>
                    <a:pt x="33" y="63"/>
                    <a:pt x="33" y="63"/>
                    <a:pt x="33" y="63"/>
                  </a:cubicBezTo>
                  <a:cubicBezTo>
                    <a:pt x="33" y="63"/>
                    <a:pt x="33" y="63"/>
                    <a:pt x="33" y="63"/>
                  </a:cubicBezTo>
                  <a:close/>
                  <a:moveTo>
                    <a:pt x="23" y="63"/>
                  </a:moveTo>
                  <a:cubicBezTo>
                    <a:pt x="23" y="68"/>
                    <a:pt x="23" y="68"/>
                    <a:pt x="23" y="68"/>
                  </a:cubicBezTo>
                  <a:cubicBezTo>
                    <a:pt x="17" y="68"/>
                    <a:pt x="17" y="68"/>
                    <a:pt x="17" y="68"/>
                  </a:cubicBezTo>
                  <a:cubicBezTo>
                    <a:pt x="17" y="63"/>
                    <a:pt x="17" y="63"/>
                    <a:pt x="17" y="63"/>
                  </a:cubicBezTo>
                  <a:cubicBezTo>
                    <a:pt x="23" y="63"/>
                    <a:pt x="23" y="63"/>
                    <a:pt x="23" y="63"/>
                  </a:cubicBezTo>
                  <a:cubicBezTo>
                    <a:pt x="23" y="63"/>
                    <a:pt x="23" y="63"/>
                    <a:pt x="23" y="63"/>
                  </a:cubicBezTo>
                  <a:close/>
                  <a:moveTo>
                    <a:pt x="13" y="63"/>
                  </a:moveTo>
                  <a:cubicBezTo>
                    <a:pt x="13" y="68"/>
                    <a:pt x="13" y="68"/>
                    <a:pt x="13" y="68"/>
                  </a:cubicBezTo>
                  <a:cubicBezTo>
                    <a:pt x="7" y="68"/>
                    <a:pt x="7" y="68"/>
                    <a:pt x="7" y="68"/>
                  </a:cubicBezTo>
                  <a:cubicBezTo>
                    <a:pt x="7" y="63"/>
                    <a:pt x="7" y="63"/>
                    <a:pt x="7" y="63"/>
                  </a:cubicBezTo>
                  <a:cubicBezTo>
                    <a:pt x="13" y="63"/>
                    <a:pt x="13" y="63"/>
                    <a:pt x="13" y="63"/>
                  </a:cubicBezTo>
                  <a:cubicBezTo>
                    <a:pt x="13" y="63"/>
                    <a:pt x="13" y="63"/>
                    <a:pt x="13" y="63"/>
                  </a:cubicBezTo>
                  <a:close/>
                  <a:moveTo>
                    <a:pt x="33" y="52"/>
                  </a:moveTo>
                  <a:cubicBezTo>
                    <a:pt x="33" y="58"/>
                    <a:pt x="33" y="58"/>
                    <a:pt x="33" y="58"/>
                  </a:cubicBezTo>
                  <a:cubicBezTo>
                    <a:pt x="27" y="58"/>
                    <a:pt x="27" y="58"/>
                    <a:pt x="27" y="58"/>
                  </a:cubicBezTo>
                  <a:cubicBezTo>
                    <a:pt x="27" y="52"/>
                    <a:pt x="27" y="52"/>
                    <a:pt x="27"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7" y="58"/>
                    <a:pt x="7" y="58"/>
                    <a:pt x="7" y="58"/>
                  </a:cubicBezTo>
                  <a:cubicBezTo>
                    <a:pt x="7" y="52"/>
                    <a:pt x="7" y="52"/>
                    <a:pt x="7" y="52"/>
                  </a:cubicBezTo>
                  <a:cubicBezTo>
                    <a:pt x="13" y="52"/>
                    <a:pt x="13" y="52"/>
                    <a:pt x="13" y="52"/>
                  </a:cubicBezTo>
                  <a:cubicBezTo>
                    <a:pt x="13" y="52"/>
                    <a:pt x="13" y="52"/>
                    <a:pt x="13" y="52"/>
                  </a:cubicBezTo>
                  <a:close/>
                  <a:moveTo>
                    <a:pt x="33" y="41"/>
                  </a:moveTo>
                  <a:cubicBezTo>
                    <a:pt x="33" y="47"/>
                    <a:pt x="33" y="47"/>
                    <a:pt x="33" y="47"/>
                  </a:cubicBezTo>
                  <a:cubicBezTo>
                    <a:pt x="27" y="47"/>
                    <a:pt x="27" y="47"/>
                    <a:pt x="27" y="47"/>
                  </a:cubicBezTo>
                  <a:cubicBezTo>
                    <a:pt x="27" y="41"/>
                    <a:pt x="27" y="41"/>
                    <a:pt x="27"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7" y="47"/>
                    <a:pt x="7" y="47"/>
                    <a:pt x="7" y="47"/>
                  </a:cubicBezTo>
                  <a:cubicBezTo>
                    <a:pt x="7" y="41"/>
                    <a:pt x="7" y="41"/>
                    <a:pt x="7" y="41"/>
                  </a:cubicBezTo>
                  <a:cubicBezTo>
                    <a:pt x="13" y="41"/>
                    <a:pt x="13" y="41"/>
                    <a:pt x="13" y="41"/>
                  </a:cubicBezTo>
                  <a:cubicBezTo>
                    <a:pt x="13" y="41"/>
                    <a:pt x="13" y="41"/>
                    <a:pt x="13" y="41"/>
                  </a:cubicBezTo>
                  <a:close/>
                  <a:moveTo>
                    <a:pt x="33" y="30"/>
                  </a:moveTo>
                  <a:cubicBezTo>
                    <a:pt x="33" y="36"/>
                    <a:pt x="33" y="36"/>
                    <a:pt x="33" y="36"/>
                  </a:cubicBezTo>
                  <a:cubicBezTo>
                    <a:pt x="27" y="36"/>
                    <a:pt x="27" y="36"/>
                    <a:pt x="27" y="36"/>
                  </a:cubicBezTo>
                  <a:cubicBezTo>
                    <a:pt x="27" y="30"/>
                    <a:pt x="27" y="30"/>
                    <a:pt x="27" y="30"/>
                  </a:cubicBezTo>
                  <a:cubicBezTo>
                    <a:pt x="33" y="30"/>
                    <a:pt x="33" y="30"/>
                    <a:pt x="33" y="30"/>
                  </a:cubicBezTo>
                  <a:cubicBezTo>
                    <a:pt x="33" y="30"/>
                    <a:pt x="33" y="30"/>
                    <a:pt x="33" y="30"/>
                  </a:cubicBezTo>
                  <a:close/>
                  <a:moveTo>
                    <a:pt x="23" y="30"/>
                  </a:moveTo>
                  <a:cubicBezTo>
                    <a:pt x="23" y="36"/>
                    <a:pt x="23" y="36"/>
                    <a:pt x="23" y="36"/>
                  </a:cubicBezTo>
                  <a:cubicBezTo>
                    <a:pt x="17" y="36"/>
                    <a:pt x="17" y="36"/>
                    <a:pt x="17" y="36"/>
                  </a:cubicBezTo>
                  <a:cubicBezTo>
                    <a:pt x="17" y="30"/>
                    <a:pt x="17" y="30"/>
                    <a:pt x="17" y="30"/>
                  </a:cubicBezTo>
                  <a:cubicBezTo>
                    <a:pt x="23" y="30"/>
                    <a:pt x="23" y="30"/>
                    <a:pt x="23" y="30"/>
                  </a:cubicBezTo>
                  <a:cubicBezTo>
                    <a:pt x="23" y="30"/>
                    <a:pt x="23" y="30"/>
                    <a:pt x="23" y="30"/>
                  </a:cubicBezTo>
                  <a:close/>
                  <a:moveTo>
                    <a:pt x="13" y="30"/>
                  </a:moveTo>
                  <a:cubicBezTo>
                    <a:pt x="13" y="36"/>
                    <a:pt x="13" y="36"/>
                    <a:pt x="13" y="36"/>
                  </a:cubicBezTo>
                  <a:cubicBezTo>
                    <a:pt x="7" y="36"/>
                    <a:pt x="7" y="36"/>
                    <a:pt x="7" y="36"/>
                  </a:cubicBezTo>
                  <a:cubicBezTo>
                    <a:pt x="7" y="30"/>
                    <a:pt x="7" y="30"/>
                    <a:pt x="7" y="30"/>
                  </a:cubicBezTo>
                  <a:cubicBezTo>
                    <a:pt x="13" y="30"/>
                    <a:pt x="13" y="30"/>
                    <a:pt x="13" y="30"/>
                  </a:cubicBezTo>
                  <a:cubicBezTo>
                    <a:pt x="13" y="30"/>
                    <a:pt x="13" y="30"/>
                    <a:pt x="13" y="30"/>
                  </a:cubicBezTo>
                  <a:close/>
                  <a:moveTo>
                    <a:pt x="33" y="19"/>
                  </a:moveTo>
                  <a:cubicBezTo>
                    <a:pt x="33" y="25"/>
                    <a:pt x="33" y="25"/>
                    <a:pt x="33" y="25"/>
                  </a:cubicBezTo>
                  <a:cubicBezTo>
                    <a:pt x="27" y="25"/>
                    <a:pt x="27" y="25"/>
                    <a:pt x="27" y="25"/>
                  </a:cubicBezTo>
                  <a:cubicBezTo>
                    <a:pt x="27" y="19"/>
                    <a:pt x="27" y="19"/>
                    <a:pt x="27" y="19"/>
                  </a:cubicBezTo>
                  <a:cubicBezTo>
                    <a:pt x="33" y="19"/>
                    <a:pt x="33" y="19"/>
                    <a:pt x="33" y="19"/>
                  </a:cubicBezTo>
                  <a:cubicBezTo>
                    <a:pt x="33" y="19"/>
                    <a:pt x="33" y="19"/>
                    <a:pt x="33" y="19"/>
                  </a:cubicBezTo>
                  <a:close/>
                  <a:moveTo>
                    <a:pt x="23" y="19"/>
                  </a:moveTo>
                  <a:cubicBezTo>
                    <a:pt x="23" y="25"/>
                    <a:pt x="23" y="25"/>
                    <a:pt x="23" y="25"/>
                  </a:cubicBezTo>
                  <a:cubicBezTo>
                    <a:pt x="17" y="25"/>
                    <a:pt x="17" y="25"/>
                    <a:pt x="17" y="25"/>
                  </a:cubicBezTo>
                  <a:cubicBezTo>
                    <a:pt x="17" y="19"/>
                    <a:pt x="17" y="19"/>
                    <a:pt x="17" y="19"/>
                  </a:cubicBezTo>
                  <a:cubicBezTo>
                    <a:pt x="23" y="19"/>
                    <a:pt x="23" y="19"/>
                    <a:pt x="23" y="19"/>
                  </a:cubicBezTo>
                  <a:cubicBezTo>
                    <a:pt x="23" y="19"/>
                    <a:pt x="23" y="19"/>
                    <a:pt x="23" y="19"/>
                  </a:cubicBezTo>
                  <a:close/>
                  <a:moveTo>
                    <a:pt x="13" y="19"/>
                  </a:moveTo>
                  <a:cubicBezTo>
                    <a:pt x="13" y="25"/>
                    <a:pt x="13" y="25"/>
                    <a:pt x="13" y="25"/>
                  </a:cubicBezTo>
                  <a:cubicBezTo>
                    <a:pt x="7" y="25"/>
                    <a:pt x="7" y="25"/>
                    <a:pt x="7" y="25"/>
                  </a:cubicBezTo>
                  <a:cubicBezTo>
                    <a:pt x="7" y="19"/>
                    <a:pt x="7" y="19"/>
                    <a:pt x="7" y="19"/>
                  </a:cubicBezTo>
                  <a:cubicBezTo>
                    <a:pt x="13" y="19"/>
                    <a:pt x="13" y="19"/>
                    <a:pt x="13" y="19"/>
                  </a:cubicBezTo>
                  <a:cubicBezTo>
                    <a:pt x="13" y="19"/>
                    <a:pt x="13" y="19"/>
                    <a:pt x="13" y="19"/>
                  </a:cubicBezTo>
                  <a:close/>
                  <a:moveTo>
                    <a:pt x="33" y="9"/>
                  </a:moveTo>
                  <a:cubicBezTo>
                    <a:pt x="33" y="14"/>
                    <a:pt x="33" y="14"/>
                    <a:pt x="33" y="14"/>
                  </a:cubicBezTo>
                  <a:cubicBezTo>
                    <a:pt x="27" y="14"/>
                    <a:pt x="27" y="14"/>
                    <a:pt x="27" y="14"/>
                  </a:cubicBezTo>
                  <a:cubicBezTo>
                    <a:pt x="27" y="9"/>
                    <a:pt x="27" y="9"/>
                    <a:pt x="27" y="9"/>
                  </a:cubicBezTo>
                  <a:cubicBezTo>
                    <a:pt x="33" y="9"/>
                    <a:pt x="33" y="9"/>
                    <a:pt x="33" y="9"/>
                  </a:cubicBezTo>
                  <a:cubicBezTo>
                    <a:pt x="33" y="9"/>
                    <a:pt x="33" y="9"/>
                    <a:pt x="33" y="9"/>
                  </a:cubicBezTo>
                  <a:close/>
                  <a:moveTo>
                    <a:pt x="23" y="9"/>
                  </a:moveTo>
                  <a:cubicBezTo>
                    <a:pt x="23" y="14"/>
                    <a:pt x="23" y="14"/>
                    <a:pt x="23" y="14"/>
                  </a:cubicBezTo>
                  <a:cubicBezTo>
                    <a:pt x="17" y="14"/>
                    <a:pt x="17" y="14"/>
                    <a:pt x="17" y="14"/>
                  </a:cubicBezTo>
                  <a:cubicBezTo>
                    <a:pt x="17" y="9"/>
                    <a:pt x="17" y="9"/>
                    <a:pt x="17" y="9"/>
                  </a:cubicBezTo>
                  <a:cubicBezTo>
                    <a:pt x="23" y="9"/>
                    <a:pt x="23" y="9"/>
                    <a:pt x="23" y="9"/>
                  </a:cubicBezTo>
                  <a:cubicBezTo>
                    <a:pt x="23" y="9"/>
                    <a:pt x="23" y="9"/>
                    <a:pt x="23" y="9"/>
                  </a:cubicBezTo>
                  <a:close/>
                  <a:moveTo>
                    <a:pt x="13" y="9"/>
                  </a:moveTo>
                  <a:cubicBezTo>
                    <a:pt x="13" y="14"/>
                    <a:pt x="13" y="14"/>
                    <a:pt x="13" y="14"/>
                  </a:cubicBezTo>
                  <a:cubicBezTo>
                    <a:pt x="7" y="14"/>
                    <a:pt x="7" y="14"/>
                    <a:pt x="7" y="14"/>
                  </a:cubicBezTo>
                  <a:cubicBezTo>
                    <a:pt x="7" y="9"/>
                    <a:pt x="7" y="9"/>
                    <a:pt x="7"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93" name="Freeform 2149"/>
            <p:cNvSpPr>
              <a:spLocks noEditPoints="1"/>
            </p:cNvSpPr>
            <p:nvPr/>
          </p:nvSpPr>
          <p:spPr bwMode="auto">
            <a:xfrm>
              <a:off x="18857913" y="1733550"/>
              <a:ext cx="153988" cy="550863"/>
            </a:xfrm>
            <a:custGeom>
              <a:avLst/>
              <a:gdLst>
                <a:gd name="T0" fmla="*/ 9 w 41"/>
                <a:gd name="T1" fmla="*/ 146 h 146"/>
                <a:gd name="T2" fmla="*/ 41 w 41"/>
                <a:gd name="T3" fmla="*/ 9 h 146"/>
                <a:gd name="T4" fmla="*/ 0 w 41"/>
                <a:gd name="T5" fmla="*/ 9 h 146"/>
                <a:gd name="T6" fmla="*/ 13 w 41"/>
                <a:gd name="T7" fmla="*/ 126 h 146"/>
                <a:gd name="T8" fmla="*/ 33 w 41"/>
                <a:gd name="T9" fmla="*/ 73 h 146"/>
                <a:gd name="T10" fmla="*/ 28 w 41"/>
                <a:gd name="T11" fmla="*/ 73 h 146"/>
                <a:gd name="T12" fmla="*/ 23 w 41"/>
                <a:gd name="T13" fmla="*/ 73 h 146"/>
                <a:gd name="T14" fmla="*/ 17 w 41"/>
                <a:gd name="T15" fmla="*/ 73 h 146"/>
                <a:gd name="T16" fmla="*/ 13 w 41"/>
                <a:gd name="T17" fmla="*/ 73 h 146"/>
                <a:gd name="T18" fmla="*/ 8 w 41"/>
                <a:gd name="T19" fmla="*/ 73 h 146"/>
                <a:gd name="T20" fmla="*/ 33 w 41"/>
                <a:gd name="T21" fmla="*/ 63 h 146"/>
                <a:gd name="T22" fmla="*/ 28 w 41"/>
                <a:gd name="T23" fmla="*/ 63 h 146"/>
                <a:gd name="T24" fmla="*/ 23 w 41"/>
                <a:gd name="T25" fmla="*/ 63 h 146"/>
                <a:gd name="T26" fmla="*/ 17 w 41"/>
                <a:gd name="T27" fmla="*/ 63 h 146"/>
                <a:gd name="T28" fmla="*/ 13 w 41"/>
                <a:gd name="T29" fmla="*/ 63 h 146"/>
                <a:gd name="T30" fmla="*/ 8 w 41"/>
                <a:gd name="T31" fmla="*/ 63 h 146"/>
                <a:gd name="T32" fmla="*/ 33 w 41"/>
                <a:gd name="T33" fmla="*/ 52 h 146"/>
                <a:gd name="T34" fmla="*/ 28 w 41"/>
                <a:gd name="T35" fmla="*/ 52 h 146"/>
                <a:gd name="T36" fmla="*/ 23 w 41"/>
                <a:gd name="T37" fmla="*/ 52 h 146"/>
                <a:gd name="T38" fmla="*/ 17 w 41"/>
                <a:gd name="T39" fmla="*/ 52 h 146"/>
                <a:gd name="T40" fmla="*/ 13 w 41"/>
                <a:gd name="T41" fmla="*/ 52 h 146"/>
                <a:gd name="T42" fmla="*/ 8 w 41"/>
                <a:gd name="T43" fmla="*/ 52 h 146"/>
                <a:gd name="T44" fmla="*/ 33 w 41"/>
                <a:gd name="T45" fmla="*/ 41 h 146"/>
                <a:gd name="T46" fmla="*/ 28 w 41"/>
                <a:gd name="T47" fmla="*/ 41 h 146"/>
                <a:gd name="T48" fmla="*/ 23 w 41"/>
                <a:gd name="T49" fmla="*/ 41 h 146"/>
                <a:gd name="T50" fmla="*/ 17 w 41"/>
                <a:gd name="T51" fmla="*/ 41 h 146"/>
                <a:gd name="T52" fmla="*/ 13 w 41"/>
                <a:gd name="T53" fmla="*/ 41 h 146"/>
                <a:gd name="T54" fmla="*/ 8 w 41"/>
                <a:gd name="T55" fmla="*/ 41 h 146"/>
                <a:gd name="T56" fmla="*/ 33 w 41"/>
                <a:gd name="T57" fmla="*/ 30 h 146"/>
                <a:gd name="T58" fmla="*/ 28 w 41"/>
                <a:gd name="T59" fmla="*/ 30 h 146"/>
                <a:gd name="T60" fmla="*/ 23 w 41"/>
                <a:gd name="T61" fmla="*/ 30 h 146"/>
                <a:gd name="T62" fmla="*/ 17 w 41"/>
                <a:gd name="T63" fmla="*/ 30 h 146"/>
                <a:gd name="T64" fmla="*/ 13 w 41"/>
                <a:gd name="T65" fmla="*/ 30 h 146"/>
                <a:gd name="T66" fmla="*/ 8 w 41"/>
                <a:gd name="T67" fmla="*/ 30 h 146"/>
                <a:gd name="T68" fmla="*/ 33 w 41"/>
                <a:gd name="T69" fmla="*/ 19 h 146"/>
                <a:gd name="T70" fmla="*/ 28 w 41"/>
                <a:gd name="T71" fmla="*/ 19 h 146"/>
                <a:gd name="T72" fmla="*/ 23 w 41"/>
                <a:gd name="T73" fmla="*/ 19 h 146"/>
                <a:gd name="T74" fmla="*/ 17 w 41"/>
                <a:gd name="T75" fmla="*/ 19 h 146"/>
                <a:gd name="T76" fmla="*/ 13 w 41"/>
                <a:gd name="T77" fmla="*/ 19 h 146"/>
                <a:gd name="T78" fmla="*/ 8 w 41"/>
                <a:gd name="T79" fmla="*/ 19 h 146"/>
                <a:gd name="T80" fmla="*/ 33 w 41"/>
                <a:gd name="T81" fmla="*/ 9 h 146"/>
                <a:gd name="T82" fmla="*/ 28 w 41"/>
                <a:gd name="T83" fmla="*/ 9 h 146"/>
                <a:gd name="T84" fmla="*/ 23 w 41"/>
                <a:gd name="T85" fmla="*/ 9 h 146"/>
                <a:gd name="T86" fmla="*/ 17 w 41"/>
                <a:gd name="T87" fmla="*/ 9 h 146"/>
                <a:gd name="T88" fmla="*/ 13 w 41"/>
                <a:gd name="T89" fmla="*/ 9 h 146"/>
                <a:gd name="T90" fmla="*/ 8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9" y="146"/>
                  </a:cubicBezTo>
                  <a:cubicBezTo>
                    <a:pt x="32" y="146"/>
                    <a:pt x="32" y="146"/>
                    <a:pt x="32" y="146"/>
                  </a:cubicBezTo>
                  <a:cubicBezTo>
                    <a:pt x="37" y="146"/>
                    <a:pt x="41" y="142"/>
                    <a:pt x="41" y="137"/>
                  </a:cubicBezTo>
                  <a:cubicBezTo>
                    <a:pt x="41" y="9"/>
                    <a:pt x="41" y="9"/>
                    <a:pt x="41" y="9"/>
                  </a:cubicBezTo>
                  <a:cubicBezTo>
                    <a:pt x="41" y="4"/>
                    <a:pt x="37" y="0"/>
                    <a:pt x="32" y="0"/>
                  </a:cubicBezTo>
                  <a:cubicBezTo>
                    <a:pt x="9" y="0"/>
                    <a:pt x="9" y="0"/>
                    <a:pt x="9" y="0"/>
                  </a:cubicBezTo>
                  <a:cubicBezTo>
                    <a:pt x="4" y="0"/>
                    <a:pt x="0" y="4"/>
                    <a:pt x="0" y="9"/>
                  </a:cubicBezTo>
                  <a:close/>
                  <a:moveTo>
                    <a:pt x="28" y="126"/>
                  </a:moveTo>
                  <a:cubicBezTo>
                    <a:pt x="28" y="130"/>
                    <a:pt x="25" y="133"/>
                    <a:pt x="21" y="133"/>
                  </a:cubicBezTo>
                  <a:cubicBezTo>
                    <a:pt x="16" y="133"/>
                    <a:pt x="13" y="130"/>
                    <a:pt x="13" y="126"/>
                  </a:cubicBezTo>
                  <a:cubicBezTo>
                    <a:pt x="13" y="122"/>
                    <a:pt x="16" y="119"/>
                    <a:pt x="21" y="119"/>
                  </a:cubicBezTo>
                  <a:cubicBezTo>
                    <a:pt x="25" y="119"/>
                    <a:pt x="28" y="122"/>
                    <a:pt x="28" y="126"/>
                  </a:cubicBezTo>
                  <a:close/>
                  <a:moveTo>
                    <a:pt x="33" y="73"/>
                  </a:moveTo>
                  <a:cubicBezTo>
                    <a:pt x="33" y="79"/>
                    <a:pt x="33" y="79"/>
                    <a:pt x="33" y="79"/>
                  </a:cubicBezTo>
                  <a:cubicBezTo>
                    <a:pt x="28" y="79"/>
                    <a:pt x="28" y="79"/>
                    <a:pt x="28" y="79"/>
                  </a:cubicBezTo>
                  <a:cubicBezTo>
                    <a:pt x="28" y="73"/>
                    <a:pt x="28" y="73"/>
                    <a:pt x="28" y="73"/>
                  </a:cubicBezTo>
                  <a:cubicBezTo>
                    <a:pt x="33" y="73"/>
                    <a:pt x="33" y="73"/>
                    <a:pt x="33" y="73"/>
                  </a:cubicBezTo>
                  <a:cubicBezTo>
                    <a:pt x="33" y="73"/>
                    <a:pt x="33" y="73"/>
                    <a:pt x="33" y="73"/>
                  </a:cubicBezTo>
                  <a:close/>
                  <a:moveTo>
                    <a:pt x="23" y="73"/>
                  </a:moveTo>
                  <a:cubicBezTo>
                    <a:pt x="23" y="79"/>
                    <a:pt x="23" y="79"/>
                    <a:pt x="23" y="79"/>
                  </a:cubicBezTo>
                  <a:cubicBezTo>
                    <a:pt x="17" y="79"/>
                    <a:pt x="17" y="79"/>
                    <a:pt x="17" y="79"/>
                  </a:cubicBezTo>
                  <a:cubicBezTo>
                    <a:pt x="17" y="73"/>
                    <a:pt x="17" y="73"/>
                    <a:pt x="17" y="73"/>
                  </a:cubicBezTo>
                  <a:cubicBezTo>
                    <a:pt x="23" y="73"/>
                    <a:pt x="23" y="73"/>
                    <a:pt x="23" y="73"/>
                  </a:cubicBezTo>
                  <a:cubicBezTo>
                    <a:pt x="23" y="73"/>
                    <a:pt x="23" y="73"/>
                    <a:pt x="23" y="73"/>
                  </a:cubicBezTo>
                  <a:close/>
                  <a:moveTo>
                    <a:pt x="13" y="73"/>
                  </a:moveTo>
                  <a:cubicBezTo>
                    <a:pt x="13" y="79"/>
                    <a:pt x="13" y="79"/>
                    <a:pt x="13" y="79"/>
                  </a:cubicBezTo>
                  <a:cubicBezTo>
                    <a:pt x="8" y="79"/>
                    <a:pt x="8" y="79"/>
                    <a:pt x="8" y="79"/>
                  </a:cubicBezTo>
                  <a:cubicBezTo>
                    <a:pt x="8" y="73"/>
                    <a:pt x="8" y="73"/>
                    <a:pt x="8" y="73"/>
                  </a:cubicBezTo>
                  <a:cubicBezTo>
                    <a:pt x="13" y="73"/>
                    <a:pt x="13" y="73"/>
                    <a:pt x="13" y="73"/>
                  </a:cubicBezTo>
                  <a:cubicBezTo>
                    <a:pt x="13" y="73"/>
                    <a:pt x="13" y="73"/>
                    <a:pt x="13" y="73"/>
                  </a:cubicBezTo>
                  <a:close/>
                  <a:moveTo>
                    <a:pt x="33" y="63"/>
                  </a:moveTo>
                  <a:cubicBezTo>
                    <a:pt x="33" y="68"/>
                    <a:pt x="33" y="68"/>
                    <a:pt x="33" y="68"/>
                  </a:cubicBezTo>
                  <a:cubicBezTo>
                    <a:pt x="28" y="68"/>
                    <a:pt x="28" y="68"/>
                    <a:pt x="28" y="68"/>
                  </a:cubicBezTo>
                  <a:cubicBezTo>
                    <a:pt x="28" y="63"/>
                    <a:pt x="28" y="63"/>
                    <a:pt x="28" y="63"/>
                  </a:cubicBezTo>
                  <a:cubicBezTo>
                    <a:pt x="33" y="63"/>
                    <a:pt x="33" y="63"/>
                    <a:pt x="33" y="63"/>
                  </a:cubicBezTo>
                  <a:cubicBezTo>
                    <a:pt x="33" y="63"/>
                    <a:pt x="33" y="63"/>
                    <a:pt x="33" y="63"/>
                  </a:cubicBezTo>
                  <a:close/>
                  <a:moveTo>
                    <a:pt x="23" y="63"/>
                  </a:moveTo>
                  <a:cubicBezTo>
                    <a:pt x="23" y="68"/>
                    <a:pt x="23" y="68"/>
                    <a:pt x="23" y="68"/>
                  </a:cubicBezTo>
                  <a:cubicBezTo>
                    <a:pt x="17" y="68"/>
                    <a:pt x="17" y="68"/>
                    <a:pt x="17" y="68"/>
                  </a:cubicBezTo>
                  <a:cubicBezTo>
                    <a:pt x="17" y="63"/>
                    <a:pt x="17" y="63"/>
                    <a:pt x="17" y="63"/>
                  </a:cubicBezTo>
                  <a:cubicBezTo>
                    <a:pt x="23" y="63"/>
                    <a:pt x="23" y="63"/>
                    <a:pt x="23" y="63"/>
                  </a:cubicBezTo>
                  <a:cubicBezTo>
                    <a:pt x="23" y="63"/>
                    <a:pt x="23" y="63"/>
                    <a:pt x="23" y="63"/>
                  </a:cubicBezTo>
                  <a:close/>
                  <a:moveTo>
                    <a:pt x="13" y="63"/>
                  </a:moveTo>
                  <a:cubicBezTo>
                    <a:pt x="13" y="68"/>
                    <a:pt x="13" y="68"/>
                    <a:pt x="13" y="68"/>
                  </a:cubicBezTo>
                  <a:cubicBezTo>
                    <a:pt x="8" y="68"/>
                    <a:pt x="8" y="68"/>
                    <a:pt x="8" y="68"/>
                  </a:cubicBezTo>
                  <a:cubicBezTo>
                    <a:pt x="8" y="63"/>
                    <a:pt x="8" y="63"/>
                    <a:pt x="8" y="63"/>
                  </a:cubicBezTo>
                  <a:cubicBezTo>
                    <a:pt x="13" y="63"/>
                    <a:pt x="13" y="63"/>
                    <a:pt x="13" y="63"/>
                  </a:cubicBezTo>
                  <a:cubicBezTo>
                    <a:pt x="13" y="63"/>
                    <a:pt x="13" y="63"/>
                    <a:pt x="13" y="63"/>
                  </a:cubicBezTo>
                  <a:close/>
                  <a:moveTo>
                    <a:pt x="33" y="52"/>
                  </a:moveTo>
                  <a:cubicBezTo>
                    <a:pt x="33" y="58"/>
                    <a:pt x="33" y="58"/>
                    <a:pt x="33" y="58"/>
                  </a:cubicBezTo>
                  <a:cubicBezTo>
                    <a:pt x="28" y="58"/>
                    <a:pt x="28" y="58"/>
                    <a:pt x="28" y="58"/>
                  </a:cubicBezTo>
                  <a:cubicBezTo>
                    <a:pt x="28" y="52"/>
                    <a:pt x="28" y="52"/>
                    <a:pt x="28" y="52"/>
                  </a:cubicBezTo>
                  <a:cubicBezTo>
                    <a:pt x="33" y="52"/>
                    <a:pt x="33" y="52"/>
                    <a:pt x="33" y="52"/>
                  </a:cubicBezTo>
                  <a:cubicBezTo>
                    <a:pt x="33" y="52"/>
                    <a:pt x="33" y="52"/>
                    <a:pt x="33" y="52"/>
                  </a:cubicBezTo>
                  <a:close/>
                  <a:moveTo>
                    <a:pt x="23" y="52"/>
                  </a:moveTo>
                  <a:cubicBezTo>
                    <a:pt x="23" y="58"/>
                    <a:pt x="23" y="58"/>
                    <a:pt x="23" y="58"/>
                  </a:cubicBezTo>
                  <a:cubicBezTo>
                    <a:pt x="17" y="58"/>
                    <a:pt x="17" y="58"/>
                    <a:pt x="17" y="58"/>
                  </a:cubicBezTo>
                  <a:cubicBezTo>
                    <a:pt x="17" y="52"/>
                    <a:pt x="17" y="52"/>
                    <a:pt x="17" y="52"/>
                  </a:cubicBezTo>
                  <a:cubicBezTo>
                    <a:pt x="23" y="52"/>
                    <a:pt x="23" y="52"/>
                    <a:pt x="23" y="52"/>
                  </a:cubicBezTo>
                  <a:cubicBezTo>
                    <a:pt x="23" y="52"/>
                    <a:pt x="23" y="52"/>
                    <a:pt x="23" y="52"/>
                  </a:cubicBezTo>
                  <a:close/>
                  <a:moveTo>
                    <a:pt x="13" y="52"/>
                  </a:moveTo>
                  <a:cubicBezTo>
                    <a:pt x="13" y="58"/>
                    <a:pt x="13" y="58"/>
                    <a:pt x="13" y="58"/>
                  </a:cubicBezTo>
                  <a:cubicBezTo>
                    <a:pt x="8" y="58"/>
                    <a:pt x="8" y="58"/>
                    <a:pt x="8" y="58"/>
                  </a:cubicBezTo>
                  <a:cubicBezTo>
                    <a:pt x="8" y="52"/>
                    <a:pt x="8" y="52"/>
                    <a:pt x="8" y="52"/>
                  </a:cubicBezTo>
                  <a:cubicBezTo>
                    <a:pt x="13" y="52"/>
                    <a:pt x="13" y="52"/>
                    <a:pt x="13" y="52"/>
                  </a:cubicBezTo>
                  <a:cubicBezTo>
                    <a:pt x="13" y="52"/>
                    <a:pt x="13" y="52"/>
                    <a:pt x="13" y="52"/>
                  </a:cubicBezTo>
                  <a:close/>
                  <a:moveTo>
                    <a:pt x="33" y="41"/>
                  </a:moveTo>
                  <a:cubicBezTo>
                    <a:pt x="33" y="47"/>
                    <a:pt x="33" y="47"/>
                    <a:pt x="33" y="47"/>
                  </a:cubicBezTo>
                  <a:cubicBezTo>
                    <a:pt x="28" y="47"/>
                    <a:pt x="28" y="47"/>
                    <a:pt x="28" y="47"/>
                  </a:cubicBezTo>
                  <a:cubicBezTo>
                    <a:pt x="28" y="41"/>
                    <a:pt x="28" y="41"/>
                    <a:pt x="28" y="41"/>
                  </a:cubicBezTo>
                  <a:cubicBezTo>
                    <a:pt x="33" y="41"/>
                    <a:pt x="33" y="41"/>
                    <a:pt x="33" y="41"/>
                  </a:cubicBezTo>
                  <a:cubicBezTo>
                    <a:pt x="33" y="41"/>
                    <a:pt x="33" y="41"/>
                    <a:pt x="33" y="41"/>
                  </a:cubicBezTo>
                  <a:close/>
                  <a:moveTo>
                    <a:pt x="23" y="41"/>
                  </a:moveTo>
                  <a:cubicBezTo>
                    <a:pt x="23" y="47"/>
                    <a:pt x="23" y="47"/>
                    <a:pt x="23" y="47"/>
                  </a:cubicBezTo>
                  <a:cubicBezTo>
                    <a:pt x="17" y="47"/>
                    <a:pt x="17" y="47"/>
                    <a:pt x="17" y="47"/>
                  </a:cubicBezTo>
                  <a:cubicBezTo>
                    <a:pt x="17" y="41"/>
                    <a:pt x="17" y="41"/>
                    <a:pt x="17" y="41"/>
                  </a:cubicBezTo>
                  <a:cubicBezTo>
                    <a:pt x="23" y="41"/>
                    <a:pt x="23" y="41"/>
                    <a:pt x="23" y="41"/>
                  </a:cubicBezTo>
                  <a:cubicBezTo>
                    <a:pt x="23" y="41"/>
                    <a:pt x="23" y="41"/>
                    <a:pt x="23" y="41"/>
                  </a:cubicBezTo>
                  <a:close/>
                  <a:moveTo>
                    <a:pt x="13" y="41"/>
                  </a:moveTo>
                  <a:cubicBezTo>
                    <a:pt x="13" y="47"/>
                    <a:pt x="13" y="47"/>
                    <a:pt x="13" y="47"/>
                  </a:cubicBezTo>
                  <a:cubicBezTo>
                    <a:pt x="8" y="47"/>
                    <a:pt x="8" y="47"/>
                    <a:pt x="8" y="47"/>
                  </a:cubicBezTo>
                  <a:cubicBezTo>
                    <a:pt x="8" y="41"/>
                    <a:pt x="8" y="41"/>
                    <a:pt x="8" y="41"/>
                  </a:cubicBezTo>
                  <a:cubicBezTo>
                    <a:pt x="13" y="41"/>
                    <a:pt x="13" y="41"/>
                    <a:pt x="13" y="41"/>
                  </a:cubicBezTo>
                  <a:cubicBezTo>
                    <a:pt x="13" y="41"/>
                    <a:pt x="13" y="41"/>
                    <a:pt x="13" y="41"/>
                  </a:cubicBezTo>
                  <a:close/>
                  <a:moveTo>
                    <a:pt x="33" y="30"/>
                  </a:moveTo>
                  <a:cubicBezTo>
                    <a:pt x="33" y="36"/>
                    <a:pt x="33" y="36"/>
                    <a:pt x="33" y="36"/>
                  </a:cubicBezTo>
                  <a:cubicBezTo>
                    <a:pt x="28" y="36"/>
                    <a:pt x="28" y="36"/>
                    <a:pt x="28" y="36"/>
                  </a:cubicBezTo>
                  <a:cubicBezTo>
                    <a:pt x="28" y="30"/>
                    <a:pt x="28" y="30"/>
                    <a:pt x="28" y="30"/>
                  </a:cubicBezTo>
                  <a:cubicBezTo>
                    <a:pt x="33" y="30"/>
                    <a:pt x="33" y="30"/>
                    <a:pt x="33" y="30"/>
                  </a:cubicBezTo>
                  <a:cubicBezTo>
                    <a:pt x="33" y="30"/>
                    <a:pt x="33" y="30"/>
                    <a:pt x="33" y="30"/>
                  </a:cubicBezTo>
                  <a:close/>
                  <a:moveTo>
                    <a:pt x="23" y="30"/>
                  </a:moveTo>
                  <a:cubicBezTo>
                    <a:pt x="23" y="36"/>
                    <a:pt x="23" y="36"/>
                    <a:pt x="23" y="36"/>
                  </a:cubicBezTo>
                  <a:cubicBezTo>
                    <a:pt x="17" y="36"/>
                    <a:pt x="17" y="36"/>
                    <a:pt x="17" y="36"/>
                  </a:cubicBezTo>
                  <a:cubicBezTo>
                    <a:pt x="17" y="30"/>
                    <a:pt x="17" y="30"/>
                    <a:pt x="17" y="30"/>
                  </a:cubicBezTo>
                  <a:cubicBezTo>
                    <a:pt x="23" y="30"/>
                    <a:pt x="23" y="30"/>
                    <a:pt x="23" y="30"/>
                  </a:cubicBezTo>
                  <a:cubicBezTo>
                    <a:pt x="23" y="30"/>
                    <a:pt x="23" y="30"/>
                    <a:pt x="23" y="30"/>
                  </a:cubicBezTo>
                  <a:close/>
                  <a:moveTo>
                    <a:pt x="13" y="30"/>
                  </a:moveTo>
                  <a:cubicBezTo>
                    <a:pt x="13" y="36"/>
                    <a:pt x="13" y="36"/>
                    <a:pt x="13" y="36"/>
                  </a:cubicBezTo>
                  <a:cubicBezTo>
                    <a:pt x="8" y="36"/>
                    <a:pt x="8" y="36"/>
                    <a:pt x="8" y="36"/>
                  </a:cubicBezTo>
                  <a:cubicBezTo>
                    <a:pt x="8" y="30"/>
                    <a:pt x="8" y="30"/>
                    <a:pt x="8" y="30"/>
                  </a:cubicBezTo>
                  <a:cubicBezTo>
                    <a:pt x="13" y="30"/>
                    <a:pt x="13" y="30"/>
                    <a:pt x="13" y="30"/>
                  </a:cubicBezTo>
                  <a:cubicBezTo>
                    <a:pt x="13" y="30"/>
                    <a:pt x="13" y="30"/>
                    <a:pt x="13" y="30"/>
                  </a:cubicBezTo>
                  <a:close/>
                  <a:moveTo>
                    <a:pt x="33" y="19"/>
                  </a:moveTo>
                  <a:cubicBezTo>
                    <a:pt x="33" y="25"/>
                    <a:pt x="33" y="25"/>
                    <a:pt x="33" y="25"/>
                  </a:cubicBezTo>
                  <a:cubicBezTo>
                    <a:pt x="28" y="25"/>
                    <a:pt x="28" y="25"/>
                    <a:pt x="28" y="25"/>
                  </a:cubicBezTo>
                  <a:cubicBezTo>
                    <a:pt x="28" y="19"/>
                    <a:pt x="28" y="19"/>
                    <a:pt x="28" y="19"/>
                  </a:cubicBezTo>
                  <a:cubicBezTo>
                    <a:pt x="33" y="19"/>
                    <a:pt x="33" y="19"/>
                    <a:pt x="33" y="19"/>
                  </a:cubicBezTo>
                  <a:cubicBezTo>
                    <a:pt x="33" y="19"/>
                    <a:pt x="33" y="19"/>
                    <a:pt x="33" y="19"/>
                  </a:cubicBezTo>
                  <a:close/>
                  <a:moveTo>
                    <a:pt x="23" y="19"/>
                  </a:moveTo>
                  <a:cubicBezTo>
                    <a:pt x="23" y="25"/>
                    <a:pt x="23" y="25"/>
                    <a:pt x="23" y="25"/>
                  </a:cubicBezTo>
                  <a:cubicBezTo>
                    <a:pt x="17" y="25"/>
                    <a:pt x="17" y="25"/>
                    <a:pt x="17" y="25"/>
                  </a:cubicBezTo>
                  <a:cubicBezTo>
                    <a:pt x="17" y="19"/>
                    <a:pt x="17" y="19"/>
                    <a:pt x="17" y="19"/>
                  </a:cubicBezTo>
                  <a:cubicBezTo>
                    <a:pt x="23" y="19"/>
                    <a:pt x="23" y="19"/>
                    <a:pt x="23" y="19"/>
                  </a:cubicBezTo>
                  <a:cubicBezTo>
                    <a:pt x="23" y="19"/>
                    <a:pt x="23" y="19"/>
                    <a:pt x="23" y="19"/>
                  </a:cubicBezTo>
                  <a:close/>
                  <a:moveTo>
                    <a:pt x="13" y="19"/>
                  </a:moveTo>
                  <a:cubicBezTo>
                    <a:pt x="13" y="25"/>
                    <a:pt x="13" y="25"/>
                    <a:pt x="13" y="25"/>
                  </a:cubicBezTo>
                  <a:cubicBezTo>
                    <a:pt x="8" y="25"/>
                    <a:pt x="8" y="25"/>
                    <a:pt x="8" y="25"/>
                  </a:cubicBezTo>
                  <a:cubicBezTo>
                    <a:pt x="8" y="19"/>
                    <a:pt x="8" y="19"/>
                    <a:pt x="8" y="19"/>
                  </a:cubicBezTo>
                  <a:cubicBezTo>
                    <a:pt x="13" y="19"/>
                    <a:pt x="13" y="19"/>
                    <a:pt x="13" y="19"/>
                  </a:cubicBezTo>
                  <a:cubicBezTo>
                    <a:pt x="13" y="19"/>
                    <a:pt x="13" y="19"/>
                    <a:pt x="13" y="19"/>
                  </a:cubicBezTo>
                  <a:close/>
                  <a:moveTo>
                    <a:pt x="33" y="9"/>
                  </a:moveTo>
                  <a:cubicBezTo>
                    <a:pt x="33" y="14"/>
                    <a:pt x="33" y="14"/>
                    <a:pt x="33" y="14"/>
                  </a:cubicBezTo>
                  <a:cubicBezTo>
                    <a:pt x="28" y="14"/>
                    <a:pt x="28" y="14"/>
                    <a:pt x="28" y="14"/>
                  </a:cubicBezTo>
                  <a:cubicBezTo>
                    <a:pt x="28" y="9"/>
                    <a:pt x="28" y="9"/>
                    <a:pt x="28" y="9"/>
                  </a:cubicBezTo>
                  <a:cubicBezTo>
                    <a:pt x="33" y="9"/>
                    <a:pt x="33" y="9"/>
                    <a:pt x="33" y="9"/>
                  </a:cubicBezTo>
                  <a:cubicBezTo>
                    <a:pt x="33" y="9"/>
                    <a:pt x="33" y="9"/>
                    <a:pt x="33" y="9"/>
                  </a:cubicBezTo>
                  <a:close/>
                  <a:moveTo>
                    <a:pt x="23" y="9"/>
                  </a:moveTo>
                  <a:cubicBezTo>
                    <a:pt x="23" y="14"/>
                    <a:pt x="23" y="14"/>
                    <a:pt x="23" y="14"/>
                  </a:cubicBezTo>
                  <a:cubicBezTo>
                    <a:pt x="17" y="14"/>
                    <a:pt x="17" y="14"/>
                    <a:pt x="17" y="14"/>
                  </a:cubicBezTo>
                  <a:cubicBezTo>
                    <a:pt x="17" y="9"/>
                    <a:pt x="17" y="9"/>
                    <a:pt x="17" y="9"/>
                  </a:cubicBezTo>
                  <a:cubicBezTo>
                    <a:pt x="23" y="9"/>
                    <a:pt x="23" y="9"/>
                    <a:pt x="23" y="9"/>
                  </a:cubicBezTo>
                  <a:cubicBezTo>
                    <a:pt x="23" y="9"/>
                    <a:pt x="23" y="9"/>
                    <a:pt x="23" y="9"/>
                  </a:cubicBezTo>
                  <a:close/>
                  <a:moveTo>
                    <a:pt x="13" y="9"/>
                  </a:moveTo>
                  <a:cubicBezTo>
                    <a:pt x="13" y="14"/>
                    <a:pt x="13" y="14"/>
                    <a:pt x="13" y="14"/>
                  </a:cubicBezTo>
                  <a:cubicBezTo>
                    <a:pt x="8" y="14"/>
                    <a:pt x="8" y="14"/>
                    <a:pt x="8" y="14"/>
                  </a:cubicBezTo>
                  <a:cubicBezTo>
                    <a:pt x="8" y="9"/>
                    <a:pt x="8" y="9"/>
                    <a:pt x="8" y="9"/>
                  </a:cubicBezTo>
                  <a:cubicBezTo>
                    <a:pt x="13" y="9"/>
                    <a:pt x="13" y="9"/>
                    <a:pt x="13" y="9"/>
                  </a:cubicBezTo>
                  <a:cubicBezTo>
                    <a:pt x="13" y="9"/>
                    <a:pt x="13" y="9"/>
                    <a:pt x="1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94" name="Freeform 2150"/>
            <p:cNvSpPr>
              <a:spLocks noEditPoints="1"/>
            </p:cNvSpPr>
            <p:nvPr/>
          </p:nvSpPr>
          <p:spPr bwMode="auto">
            <a:xfrm>
              <a:off x="19075400" y="1733550"/>
              <a:ext cx="153988" cy="550863"/>
            </a:xfrm>
            <a:custGeom>
              <a:avLst/>
              <a:gdLst>
                <a:gd name="T0" fmla="*/ 10 w 41"/>
                <a:gd name="T1" fmla="*/ 146 h 146"/>
                <a:gd name="T2" fmla="*/ 41 w 41"/>
                <a:gd name="T3" fmla="*/ 9 h 146"/>
                <a:gd name="T4" fmla="*/ 0 w 41"/>
                <a:gd name="T5" fmla="*/ 9 h 146"/>
                <a:gd name="T6" fmla="*/ 13 w 41"/>
                <a:gd name="T7" fmla="*/ 126 h 146"/>
                <a:gd name="T8" fmla="*/ 34 w 41"/>
                <a:gd name="T9" fmla="*/ 73 h 146"/>
                <a:gd name="T10" fmla="*/ 28 w 41"/>
                <a:gd name="T11" fmla="*/ 73 h 146"/>
                <a:gd name="T12" fmla="*/ 23 w 41"/>
                <a:gd name="T13" fmla="*/ 73 h 146"/>
                <a:gd name="T14" fmla="*/ 18 w 41"/>
                <a:gd name="T15" fmla="*/ 73 h 146"/>
                <a:gd name="T16" fmla="*/ 14 w 41"/>
                <a:gd name="T17" fmla="*/ 73 h 146"/>
                <a:gd name="T18" fmla="*/ 8 w 41"/>
                <a:gd name="T19" fmla="*/ 73 h 146"/>
                <a:gd name="T20" fmla="*/ 34 w 41"/>
                <a:gd name="T21" fmla="*/ 63 h 146"/>
                <a:gd name="T22" fmla="*/ 28 w 41"/>
                <a:gd name="T23" fmla="*/ 63 h 146"/>
                <a:gd name="T24" fmla="*/ 23 w 41"/>
                <a:gd name="T25" fmla="*/ 63 h 146"/>
                <a:gd name="T26" fmla="*/ 18 w 41"/>
                <a:gd name="T27" fmla="*/ 63 h 146"/>
                <a:gd name="T28" fmla="*/ 14 w 41"/>
                <a:gd name="T29" fmla="*/ 63 h 146"/>
                <a:gd name="T30" fmla="*/ 8 w 41"/>
                <a:gd name="T31" fmla="*/ 63 h 146"/>
                <a:gd name="T32" fmla="*/ 34 w 41"/>
                <a:gd name="T33" fmla="*/ 52 h 146"/>
                <a:gd name="T34" fmla="*/ 28 w 41"/>
                <a:gd name="T35" fmla="*/ 52 h 146"/>
                <a:gd name="T36" fmla="*/ 23 w 41"/>
                <a:gd name="T37" fmla="*/ 52 h 146"/>
                <a:gd name="T38" fmla="*/ 18 w 41"/>
                <a:gd name="T39" fmla="*/ 52 h 146"/>
                <a:gd name="T40" fmla="*/ 14 w 41"/>
                <a:gd name="T41" fmla="*/ 52 h 146"/>
                <a:gd name="T42" fmla="*/ 8 w 41"/>
                <a:gd name="T43" fmla="*/ 52 h 146"/>
                <a:gd name="T44" fmla="*/ 34 w 41"/>
                <a:gd name="T45" fmla="*/ 41 h 146"/>
                <a:gd name="T46" fmla="*/ 28 w 41"/>
                <a:gd name="T47" fmla="*/ 41 h 146"/>
                <a:gd name="T48" fmla="*/ 23 w 41"/>
                <a:gd name="T49" fmla="*/ 41 h 146"/>
                <a:gd name="T50" fmla="*/ 18 w 41"/>
                <a:gd name="T51" fmla="*/ 41 h 146"/>
                <a:gd name="T52" fmla="*/ 14 w 41"/>
                <a:gd name="T53" fmla="*/ 41 h 146"/>
                <a:gd name="T54" fmla="*/ 8 w 41"/>
                <a:gd name="T55" fmla="*/ 41 h 146"/>
                <a:gd name="T56" fmla="*/ 34 w 41"/>
                <a:gd name="T57" fmla="*/ 30 h 146"/>
                <a:gd name="T58" fmla="*/ 28 w 41"/>
                <a:gd name="T59" fmla="*/ 30 h 146"/>
                <a:gd name="T60" fmla="*/ 23 w 41"/>
                <a:gd name="T61" fmla="*/ 30 h 146"/>
                <a:gd name="T62" fmla="*/ 18 w 41"/>
                <a:gd name="T63" fmla="*/ 30 h 146"/>
                <a:gd name="T64" fmla="*/ 14 w 41"/>
                <a:gd name="T65" fmla="*/ 30 h 146"/>
                <a:gd name="T66" fmla="*/ 8 w 41"/>
                <a:gd name="T67" fmla="*/ 30 h 146"/>
                <a:gd name="T68" fmla="*/ 34 w 41"/>
                <a:gd name="T69" fmla="*/ 19 h 146"/>
                <a:gd name="T70" fmla="*/ 28 w 41"/>
                <a:gd name="T71" fmla="*/ 19 h 146"/>
                <a:gd name="T72" fmla="*/ 23 w 41"/>
                <a:gd name="T73" fmla="*/ 19 h 146"/>
                <a:gd name="T74" fmla="*/ 18 w 41"/>
                <a:gd name="T75" fmla="*/ 19 h 146"/>
                <a:gd name="T76" fmla="*/ 14 w 41"/>
                <a:gd name="T77" fmla="*/ 19 h 146"/>
                <a:gd name="T78" fmla="*/ 8 w 41"/>
                <a:gd name="T79" fmla="*/ 19 h 146"/>
                <a:gd name="T80" fmla="*/ 34 w 41"/>
                <a:gd name="T81" fmla="*/ 9 h 146"/>
                <a:gd name="T82" fmla="*/ 28 w 41"/>
                <a:gd name="T83" fmla="*/ 9 h 146"/>
                <a:gd name="T84" fmla="*/ 23 w 41"/>
                <a:gd name="T85" fmla="*/ 9 h 146"/>
                <a:gd name="T86" fmla="*/ 18 w 41"/>
                <a:gd name="T87" fmla="*/ 9 h 146"/>
                <a:gd name="T88" fmla="*/ 14 w 41"/>
                <a:gd name="T89" fmla="*/ 9 h 146"/>
                <a:gd name="T90" fmla="*/ 8 w 41"/>
                <a:gd name="T91"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146">
                  <a:moveTo>
                    <a:pt x="0" y="9"/>
                  </a:moveTo>
                  <a:cubicBezTo>
                    <a:pt x="0" y="137"/>
                    <a:pt x="0" y="137"/>
                    <a:pt x="0" y="137"/>
                  </a:cubicBezTo>
                  <a:cubicBezTo>
                    <a:pt x="0" y="142"/>
                    <a:pt x="4" y="146"/>
                    <a:pt x="10" y="146"/>
                  </a:cubicBezTo>
                  <a:cubicBezTo>
                    <a:pt x="32" y="146"/>
                    <a:pt x="32" y="146"/>
                    <a:pt x="32" y="146"/>
                  </a:cubicBezTo>
                  <a:cubicBezTo>
                    <a:pt x="37" y="146"/>
                    <a:pt x="41" y="142"/>
                    <a:pt x="41" y="137"/>
                  </a:cubicBezTo>
                  <a:cubicBezTo>
                    <a:pt x="41" y="9"/>
                    <a:pt x="41" y="9"/>
                    <a:pt x="41" y="9"/>
                  </a:cubicBezTo>
                  <a:cubicBezTo>
                    <a:pt x="41" y="4"/>
                    <a:pt x="37" y="0"/>
                    <a:pt x="32" y="0"/>
                  </a:cubicBezTo>
                  <a:cubicBezTo>
                    <a:pt x="10" y="0"/>
                    <a:pt x="10" y="0"/>
                    <a:pt x="10" y="0"/>
                  </a:cubicBezTo>
                  <a:cubicBezTo>
                    <a:pt x="4" y="0"/>
                    <a:pt x="0" y="4"/>
                    <a:pt x="0" y="9"/>
                  </a:cubicBezTo>
                  <a:close/>
                  <a:moveTo>
                    <a:pt x="28" y="126"/>
                  </a:moveTo>
                  <a:cubicBezTo>
                    <a:pt x="28" y="130"/>
                    <a:pt x="25" y="133"/>
                    <a:pt x="21" y="133"/>
                  </a:cubicBezTo>
                  <a:cubicBezTo>
                    <a:pt x="17" y="133"/>
                    <a:pt x="13" y="130"/>
                    <a:pt x="13" y="126"/>
                  </a:cubicBezTo>
                  <a:cubicBezTo>
                    <a:pt x="13" y="122"/>
                    <a:pt x="17" y="119"/>
                    <a:pt x="21" y="119"/>
                  </a:cubicBezTo>
                  <a:cubicBezTo>
                    <a:pt x="25" y="119"/>
                    <a:pt x="28" y="122"/>
                    <a:pt x="28" y="126"/>
                  </a:cubicBezTo>
                  <a:close/>
                  <a:moveTo>
                    <a:pt x="34" y="73"/>
                  </a:moveTo>
                  <a:cubicBezTo>
                    <a:pt x="34" y="79"/>
                    <a:pt x="34" y="79"/>
                    <a:pt x="34" y="79"/>
                  </a:cubicBezTo>
                  <a:cubicBezTo>
                    <a:pt x="28" y="79"/>
                    <a:pt x="28" y="79"/>
                    <a:pt x="28" y="79"/>
                  </a:cubicBezTo>
                  <a:cubicBezTo>
                    <a:pt x="28" y="73"/>
                    <a:pt x="28" y="73"/>
                    <a:pt x="28" y="73"/>
                  </a:cubicBezTo>
                  <a:cubicBezTo>
                    <a:pt x="34" y="73"/>
                    <a:pt x="34" y="73"/>
                    <a:pt x="34" y="73"/>
                  </a:cubicBezTo>
                  <a:cubicBezTo>
                    <a:pt x="34" y="73"/>
                    <a:pt x="34" y="73"/>
                    <a:pt x="34" y="73"/>
                  </a:cubicBezTo>
                  <a:close/>
                  <a:moveTo>
                    <a:pt x="23" y="73"/>
                  </a:moveTo>
                  <a:cubicBezTo>
                    <a:pt x="23" y="79"/>
                    <a:pt x="23" y="79"/>
                    <a:pt x="23" y="79"/>
                  </a:cubicBezTo>
                  <a:cubicBezTo>
                    <a:pt x="18" y="79"/>
                    <a:pt x="18" y="79"/>
                    <a:pt x="18" y="79"/>
                  </a:cubicBezTo>
                  <a:cubicBezTo>
                    <a:pt x="18" y="73"/>
                    <a:pt x="18" y="73"/>
                    <a:pt x="18" y="73"/>
                  </a:cubicBezTo>
                  <a:cubicBezTo>
                    <a:pt x="23" y="73"/>
                    <a:pt x="23" y="73"/>
                    <a:pt x="23" y="73"/>
                  </a:cubicBezTo>
                  <a:cubicBezTo>
                    <a:pt x="23" y="73"/>
                    <a:pt x="23" y="73"/>
                    <a:pt x="23" y="73"/>
                  </a:cubicBezTo>
                  <a:close/>
                  <a:moveTo>
                    <a:pt x="14" y="73"/>
                  </a:moveTo>
                  <a:cubicBezTo>
                    <a:pt x="14" y="79"/>
                    <a:pt x="14" y="79"/>
                    <a:pt x="14" y="79"/>
                  </a:cubicBezTo>
                  <a:cubicBezTo>
                    <a:pt x="8" y="79"/>
                    <a:pt x="8" y="79"/>
                    <a:pt x="8" y="79"/>
                  </a:cubicBezTo>
                  <a:cubicBezTo>
                    <a:pt x="8" y="73"/>
                    <a:pt x="8" y="73"/>
                    <a:pt x="8" y="73"/>
                  </a:cubicBezTo>
                  <a:cubicBezTo>
                    <a:pt x="14" y="73"/>
                    <a:pt x="14" y="73"/>
                    <a:pt x="14" y="73"/>
                  </a:cubicBezTo>
                  <a:cubicBezTo>
                    <a:pt x="14" y="73"/>
                    <a:pt x="14" y="73"/>
                    <a:pt x="14" y="73"/>
                  </a:cubicBezTo>
                  <a:close/>
                  <a:moveTo>
                    <a:pt x="34" y="63"/>
                  </a:moveTo>
                  <a:cubicBezTo>
                    <a:pt x="34" y="68"/>
                    <a:pt x="34" y="68"/>
                    <a:pt x="34" y="68"/>
                  </a:cubicBezTo>
                  <a:cubicBezTo>
                    <a:pt x="28" y="68"/>
                    <a:pt x="28" y="68"/>
                    <a:pt x="28" y="68"/>
                  </a:cubicBezTo>
                  <a:cubicBezTo>
                    <a:pt x="28" y="63"/>
                    <a:pt x="28" y="63"/>
                    <a:pt x="28" y="63"/>
                  </a:cubicBezTo>
                  <a:cubicBezTo>
                    <a:pt x="34" y="63"/>
                    <a:pt x="34" y="63"/>
                    <a:pt x="34" y="63"/>
                  </a:cubicBezTo>
                  <a:cubicBezTo>
                    <a:pt x="34" y="63"/>
                    <a:pt x="34" y="63"/>
                    <a:pt x="34" y="63"/>
                  </a:cubicBezTo>
                  <a:close/>
                  <a:moveTo>
                    <a:pt x="23" y="63"/>
                  </a:moveTo>
                  <a:cubicBezTo>
                    <a:pt x="23" y="68"/>
                    <a:pt x="23" y="68"/>
                    <a:pt x="23" y="68"/>
                  </a:cubicBezTo>
                  <a:cubicBezTo>
                    <a:pt x="18" y="68"/>
                    <a:pt x="18" y="68"/>
                    <a:pt x="18" y="68"/>
                  </a:cubicBezTo>
                  <a:cubicBezTo>
                    <a:pt x="18" y="63"/>
                    <a:pt x="18" y="63"/>
                    <a:pt x="18" y="63"/>
                  </a:cubicBezTo>
                  <a:cubicBezTo>
                    <a:pt x="23" y="63"/>
                    <a:pt x="23" y="63"/>
                    <a:pt x="23" y="63"/>
                  </a:cubicBezTo>
                  <a:cubicBezTo>
                    <a:pt x="23" y="63"/>
                    <a:pt x="23" y="63"/>
                    <a:pt x="23" y="63"/>
                  </a:cubicBezTo>
                  <a:close/>
                  <a:moveTo>
                    <a:pt x="14" y="63"/>
                  </a:moveTo>
                  <a:cubicBezTo>
                    <a:pt x="14" y="68"/>
                    <a:pt x="14" y="68"/>
                    <a:pt x="14" y="68"/>
                  </a:cubicBezTo>
                  <a:cubicBezTo>
                    <a:pt x="8" y="68"/>
                    <a:pt x="8" y="68"/>
                    <a:pt x="8" y="68"/>
                  </a:cubicBezTo>
                  <a:cubicBezTo>
                    <a:pt x="8" y="63"/>
                    <a:pt x="8" y="63"/>
                    <a:pt x="8" y="63"/>
                  </a:cubicBezTo>
                  <a:cubicBezTo>
                    <a:pt x="14" y="63"/>
                    <a:pt x="14" y="63"/>
                    <a:pt x="14" y="63"/>
                  </a:cubicBezTo>
                  <a:cubicBezTo>
                    <a:pt x="14" y="63"/>
                    <a:pt x="14" y="63"/>
                    <a:pt x="14" y="63"/>
                  </a:cubicBezTo>
                  <a:close/>
                  <a:moveTo>
                    <a:pt x="34" y="52"/>
                  </a:moveTo>
                  <a:cubicBezTo>
                    <a:pt x="34" y="58"/>
                    <a:pt x="34" y="58"/>
                    <a:pt x="34" y="58"/>
                  </a:cubicBezTo>
                  <a:cubicBezTo>
                    <a:pt x="28" y="58"/>
                    <a:pt x="28" y="58"/>
                    <a:pt x="28" y="58"/>
                  </a:cubicBezTo>
                  <a:cubicBezTo>
                    <a:pt x="28" y="52"/>
                    <a:pt x="28" y="52"/>
                    <a:pt x="28" y="52"/>
                  </a:cubicBezTo>
                  <a:cubicBezTo>
                    <a:pt x="34" y="52"/>
                    <a:pt x="34" y="52"/>
                    <a:pt x="34" y="52"/>
                  </a:cubicBezTo>
                  <a:cubicBezTo>
                    <a:pt x="34" y="52"/>
                    <a:pt x="34" y="52"/>
                    <a:pt x="34" y="52"/>
                  </a:cubicBezTo>
                  <a:close/>
                  <a:moveTo>
                    <a:pt x="23" y="52"/>
                  </a:moveTo>
                  <a:cubicBezTo>
                    <a:pt x="23" y="58"/>
                    <a:pt x="23" y="58"/>
                    <a:pt x="23" y="58"/>
                  </a:cubicBezTo>
                  <a:cubicBezTo>
                    <a:pt x="18" y="58"/>
                    <a:pt x="18" y="58"/>
                    <a:pt x="18" y="58"/>
                  </a:cubicBezTo>
                  <a:cubicBezTo>
                    <a:pt x="18" y="52"/>
                    <a:pt x="18" y="52"/>
                    <a:pt x="18" y="52"/>
                  </a:cubicBezTo>
                  <a:cubicBezTo>
                    <a:pt x="23" y="52"/>
                    <a:pt x="23" y="52"/>
                    <a:pt x="23" y="52"/>
                  </a:cubicBezTo>
                  <a:cubicBezTo>
                    <a:pt x="23" y="52"/>
                    <a:pt x="23" y="52"/>
                    <a:pt x="23" y="52"/>
                  </a:cubicBezTo>
                  <a:close/>
                  <a:moveTo>
                    <a:pt x="14" y="52"/>
                  </a:moveTo>
                  <a:cubicBezTo>
                    <a:pt x="14" y="58"/>
                    <a:pt x="14" y="58"/>
                    <a:pt x="14" y="58"/>
                  </a:cubicBezTo>
                  <a:cubicBezTo>
                    <a:pt x="8" y="58"/>
                    <a:pt x="8" y="58"/>
                    <a:pt x="8" y="58"/>
                  </a:cubicBezTo>
                  <a:cubicBezTo>
                    <a:pt x="8" y="52"/>
                    <a:pt x="8" y="52"/>
                    <a:pt x="8" y="52"/>
                  </a:cubicBezTo>
                  <a:cubicBezTo>
                    <a:pt x="14" y="52"/>
                    <a:pt x="14" y="52"/>
                    <a:pt x="14" y="52"/>
                  </a:cubicBezTo>
                  <a:cubicBezTo>
                    <a:pt x="14" y="52"/>
                    <a:pt x="14" y="52"/>
                    <a:pt x="14" y="52"/>
                  </a:cubicBezTo>
                  <a:close/>
                  <a:moveTo>
                    <a:pt x="34" y="41"/>
                  </a:moveTo>
                  <a:cubicBezTo>
                    <a:pt x="34" y="47"/>
                    <a:pt x="34" y="47"/>
                    <a:pt x="34" y="47"/>
                  </a:cubicBezTo>
                  <a:cubicBezTo>
                    <a:pt x="28" y="47"/>
                    <a:pt x="28" y="47"/>
                    <a:pt x="28" y="47"/>
                  </a:cubicBezTo>
                  <a:cubicBezTo>
                    <a:pt x="28" y="41"/>
                    <a:pt x="28" y="41"/>
                    <a:pt x="28" y="41"/>
                  </a:cubicBezTo>
                  <a:cubicBezTo>
                    <a:pt x="34" y="41"/>
                    <a:pt x="34" y="41"/>
                    <a:pt x="34" y="41"/>
                  </a:cubicBezTo>
                  <a:cubicBezTo>
                    <a:pt x="34" y="41"/>
                    <a:pt x="34" y="41"/>
                    <a:pt x="34" y="41"/>
                  </a:cubicBezTo>
                  <a:close/>
                  <a:moveTo>
                    <a:pt x="23" y="41"/>
                  </a:moveTo>
                  <a:cubicBezTo>
                    <a:pt x="23" y="47"/>
                    <a:pt x="23" y="47"/>
                    <a:pt x="23" y="47"/>
                  </a:cubicBezTo>
                  <a:cubicBezTo>
                    <a:pt x="18" y="47"/>
                    <a:pt x="18" y="47"/>
                    <a:pt x="18" y="47"/>
                  </a:cubicBezTo>
                  <a:cubicBezTo>
                    <a:pt x="18" y="41"/>
                    <a:pt x="18" y="41"/>
                    <a:pt x="18" y="41"/>
                  </a:cubicBezTo>
                  <a:cubicBezTo>
                    <a:pt x="23" y="41"/>
                    <a:pt x="23" y="41"/>
                    <a:pt x="23" y="41"/>
                  </a:cubicBezTo>
                  <a:cubicBezTo>
                    <a:pt x="23" y="41"/>
                    <a:pt x="23" y="41"/>
                    <a:pt x="23" y="41"/>
                  </a:cubicBezTo>
                  <a:close/>
                  <a:moveTo>
                    <a:pt x="14" y="41"/>
                  </a:moveTo>
                  <a:cubicBezTo>
                    <a:pt x="14" y="47"/>
                    <a:pt x="14" y="47"/>
                    <a:pt x="14" y="47"/>
                  </a:cubicBezTo>
                  <a:cubicBezTo>
                    <a:pt x="8" y="47"/>
                    <a:pt x="8" y="47"/>
                    <a:pt x="8" y="47"/>
                  </a:cubicBezTo>
                  <a:cubicBezTo>
                    <a:pt x="8" y="41"/>
                    <a:pt x="8" y="41"/>
                    <a:pt x="8" y="41"/>
                  </a:cubicBezTo>
                  <a:cubicBezTo>
                    <a:pt x="14" y="41"/>
                    <a:pt x="14" y="41"/>
                    <a:pt x="14" y="41"/>
                  </a:cubicBezTo>
                  <a:cubicBezTo>
                    <a:pt x="14" y="41"/>
                    <a:pt x="14" y="41"/>
                    <a:pt x="14" y="41"/>
                  </a:cubicBezTo>
                  <a:close/>
                  <a:moveTo>
                    <a:pt x="34" y="30"/>
                  </a:moveTo>
                  <a:cubicBezTo>
                    <a:pt x="34" y="36"/>
                    <a:pt x="34" y="36"/>
                    <a:pt x="34" y="36"/>
                  </a:cubicBezTo>
                  <a:cubicBezTo>
                    <a:pt x="28" y="36"/>
                    <a:pt x="28" y="36"/>
                    <a:pt x="28" y="36"/>
                  </a:cubicBezTo>
                  <a:cubicBezTo>
                    <a:pt x="28" y="30"/>
                    <a:pt x="28" y="30"/>
                    <a:pt x="28" y="30"/>
                  </a:cubicBezTo>
                  <a:cubicBezTo>
                    <a:pt x="34" y="30"/>
                    <a:pt x="34" y="30"/>
                    <a:pt x="34" y="30"/>
                  </a:cubicBezTo>
                  <a:cubicBezTo>
                    <a:pt x="34" y="30"/>
                    <a:pt x="34" y="30"/>
                    <a:pt x="34" y="30"/>
                  </a:cubicBezTo>
                  <a:close/>
                  <a:moveTo>
                    <a:pt x="23" y="30"/>
                  </a:moveTo>
                  <a:cubicBezTo>
                    <a:pt x="23" y="36"/>
                    <a:pt x="23" y="36"/>
                    <a:pt x="23" y="36"/>
                  </a:cubicBezTo>
                  <a:cubicBezTo>
                    <a:pt x="18" y="36"/>
                    <a:pt x="18" y="36"/>
                    <a:pt x="18" y="36"/>
                  </a:cubicBezTo>
                  <a:cubicBezTo>
                    <a:pt x="18" y="30"/>
                    <a:pt x="18" y="30"/>
                    <a:pt x="18" y="30"/>
                  </a:cubicBezTo>
                  <a:cubicBezTo>
                    <a:pt x="23" y="30"/>
                    <a:pt x="23" y="30"/>
                    <a:pt x="23" y="30"/>
                  </a:cubicBezTo>
                  <a:cubicBezTo>
                    <a:pt x="23" y="30"/>
                    <a:pt x="23" y="30"/>
                    <a:pt x="23" y="30"/>
                  </a:cubicBezTo>
                  <a:close/>
                  <a:moveTo>
                    <a:pt x="14" y="30"/>
                  </a:moveTo>
                  <a:cubicBezTo>
                    <a:pt x="14" y="36"/>
                    <a:pt x="14" y="36"/>
                    <a:pt x="14" y="36"/>
                  </a:cubicBezTo>
                  <a:cubicBezTo>
                    <a:pt x="8" y="36"/>
                    <a:pt x="8" y="36"/>
                    <a:pt x="8" y="36"/>
                  </a:cubicBezTo>
                  <a:cubicBezTo>
                    <a:pt x="8" y="30"/>
                    <a:pt x="8" y="30"/>
                    <a:pt x="8" y="30"/>
                  </a:cubicBezTo>
                  <a:cubicBezTo>
                    <a:pt x="14" y="30"/>
                    <a:pt x="14" y="30"/>
                    <a:pt x="14" y="30"/>
                  </a:cubicBezTo>
                  <a:cubicBezTo>
                    <a:pt x="14" y="30"/>
                    <a:pt x="14" y="30"/>
                    <a:pt x="14" y="30"/>
                  </a:cubicBezTo>
                  <a:close/>
                  <a:moveTo>
                    <a:pt x="34" y="19"/>
                  </a:moveTo>
                  <a:cubicBezTo>
                    <a:pt x="34" y="25"/>
                    <a:pt x="34" y="25"/>
                    <a:pt x="34" y="25"/>
                  </a:cubicBezTo>
                  <a:cubicBezTo>
                    <a:pt x="28" y="25"/>
                    <a:pt x="28" y="25"/>
                    <a:pt x="28" y="25"/>
                  </a:cubicBezTo>
                  <a:cubicBezTo>
                    <a:pt x="28" y="19"/>
                    <a:pt x="28" y="19"/>
                    <a:pt x="28" y="19"/>
                  </a:cubicBezTo>
                  <a:cubicBezTo>
                    <a:pt x="34" y="19"/>
                    <a:pt x="34" y="19"/>
                    <a:pt x="34" y="19"/>
                  </a:cubicBezTo>
                  <a:cubicBezTo>
                    <a:pt x="34" y="19"/>
                    <a:pt x="34" y="19"/>
                    <a:pt x="34" y="19"/>
                  </a:cubicBezTo>
                  <a:close/>
                  <a:moveTo>
                    <a:pt x="23" y="19"/>
                  </a:moveTo>
                  <a:cubicBezTo>
                    <a:pt x="23" y="25"/>
                    <a:pt x="23" y="25"/>
                    <a:pt x="23" y="25"/>
                  </a:cubicBezTo>
                  <a:cubicBezTo>
                    <a:pt x="18" y="25"/>
                    <a:pt x="18" y="25"/>
                    <a:pt x="18" y="25"/>
                  </a:cubicBezTo>
                  <a:cubicBezTo>
                    <a:pt x="18" y="19"/>
                    <a:pt x="18" y="19"/>
                    <a:pt x="18" y="19"/>
                  </a:cubicBezTo>
                  <a:cubicBezTo>
                    <a:pt x="23" y="19"/>
                    <a:pt x="23" y="19"/>
                    <a:pt x="23" y="19"/>
                  </a:cubicBezTo>
                  <a:cubicBezTo>
                    <a:pt x="23" y="19"/>
                    <a:pt x="23" y="19"/>
                    <a:pt x="23" y="19"/>
                  </a:cubicBezTo>
                  <a:close/>
                  <a:moveTo>
                    <a:pt x="14" y="19"/>
                  </a:moveTo>
                  <a:cubicBezTo>
                    <a:pt x="14" y="25"/>
                    <a:pt x="14" y="25"/>
                    <a:pt x="14" y="25"/>
                  </a:cubicBezTo>
                  <a:cubicBezTo>
                    <a:pt x="8" y="25"/>
                    <a:pt x="8" y="25"/>
                    <a:pt x="8" y="25"/>
                  </a:cubicBezTo>
                  <a:cubicBezTo>
                    <a:pt x="8" y="19"/>
                    <a:pt x="8" y="19"/>
                    <a:pt x="8" y="19"/>
                  </a:cubicBezTo>
                  <a:cubicBezTo>
                    <a:pt x="14" y="19"/>
                    <a:pt x="14" y="19"/>
                    <a:pt x="14" y="19"/>
                  </a:cubicBezTo>
                  <a:cubicBezTo>
                    <a:pt x="14" y="19"/>
                    <a:pt x="14" y="19"/>
                    <a:pt x="14" y="19"/>
                  </a:cubicBezTo>
                  <a:close/>
                  <a:moveTo>
                    <a:pt x="34" y="9"/>
                  </a:moveTo>
                  <a:cubicBezTo>
                    <a:pt x="34" y="14"/>
                    <a:pt x="34" y="14"/>
                    <a:pt x="34" y="14"/>
                  </a:cubicBezTo>
                  <a:cubicBezTo>
                    <a:pt x="28" y="14"/>
                    <a:pt x="28" y="14"/>
                    <a:pt x="28" y="14"/>
                  </a:cubicBezTo>
                  <a:cubicBezTo>
                    <a:pt x="28" y="9"/>
                    <a:pt x="28" y="9"/>
                    <a:pt x="28" y="9"/>
                  </a:cubicBezTo>
                  <a:cubicBezTo>
                    <a:pt x="34" y="9"/>
                    <a:pt x="34" y="9"/>
                    <a:pt x="34" y="9"/>
                  </a:cubicBezTo>
                  <a:cubicBezTo>
                    <a:pt x="34" y="9"/>
                    <a:pt x="34" y="9"/>
                    <a:pt x="34" y="9"/>
                  </a:cubicBezTo>
                  <a:close/>
                  <a:moveTo>
                    <a:pt x="23" y="9"/>
                  </a:moveTo>
                  <a:cubicBezTo>
                    <a:pt x="23" y="14"/>
                    <a:pt x="23" y="14"/>
                    <a:pt x="23" y="14"/>
                  </a:cubicBezTo>
                  <a:cubicBezTo>
                    <a:pt x="18" y="14"/>
                    <a:pt x="18" y="14"/>
                    <a:pt x="18" y="14"/>
                  </a:cubicBezTo>
                  <a:cubicBezTo>
                    <a:pt x="18" y="9"/>
                    <a:pt x="18" y="9"/>
                    <a:pt x="18" y="9"/>
                  </a:cubicBezTo>
                  <a:cubicBezTo>
                    <a:pt x="23" y="9"/>
                    <a:pt x="23" y="9"/>
                    <a:pt x="23" y="9"/>
                  </a:cubicBezTo>
                  <a:cubicBezTo>
                    <a:pt x="23" y="9"/>
                    <a:pt x="23" y="9"/>
                    <a:pt x="23" y="9"/>
                  </a:cubicBezTo>
                  <a:close/>
                  <a:moveTo>
                    <a:pt x="14" y="9"/>
                  </a:moveTo>
                  <a:cubicBezTo>
                    <a:pt x="14" y="14"/>
                    <a:pt x="14" y="14"/>
                    <a:pt x="14" y="14"/>
                  </a:cubicBezTo>
                  <a:cubicBezTo>
                    <a:pt x="8" y="14"/>
                    <a:pt x="8" y="14"/>
                    <a:pt x="8" y="14"/>
                  </a:cubicBezTo>
                  <a:cubicBezTo>
                    <a:pt x="8" y="9"/>
                    <a:pt x="8" y="9"/>
                    <a:pt x="8" y="9"/>
                  </a:cubicBezTo>
                  <a:cubicBezTo>
                    <a:pt x="14" y="9"/>
                    <a:pt x="14" y="9"/>
                    <a:pt x="14" y="9"/>
                  </a:cubicBezTo>
                  <a:cubicBezTo>
                    <a:pt x="14" y="9"/>
                    <a:pt x="14" y="9"/>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sp>
        <p:nvSpPr>
          <p:cNvPr id="2295" name="Freeform 2151"/>
          <p:cNvSpPr>
            <a:spLocks/>
          </p:cNvSpPr>
          <p:nvPr/>
        </p:nvSpPr>
        <p:spPr bwMode="auto">
          <a:xfrm>
            <a:off x="7976248" y="1613638"/>
            <a:ext cx="560063" cy="769217"/>
          </a:xfrm>
          <a:custGeom>
            <a:avLst/>
            <a:gdLst>
              <a:gd name="T0" fmla="*/ 0 w 698"/>
              <a:gd name="T1" fmla="*/ 0 h 719"/>
              <a:gd name="T2" fmla="*/ 698 w 698"/>
              <a:gd name="T3" fmla="*/ 368 h 719"/>
              <a:gd name="T4" fmla="*/ 0 w 698"/>
              <a:gd name="T5" fmla="*/ 719 h 719"/>
              <a:gd name="T6" fmla="*/ 0 w 698"/>
              <a:gd name="T7" fmla="*/ 565 h 719"/>
              <a:gd name="T8" fmla="*/ 348 w 698"/>
              <a:gd name="T9" fmla="*/ 368 h 719"/>
              <a:gd name="T10" fmla="*/ 0 w 698"/>
              <a:gd name="T11" fmla="*/ 157 h 719"/>
              <a:gd name="T12" fmla="*/ 0 w 698"/>
              <a:gd name="T13" fmla="*/ 0 h 719"/>
            </a:gdLst>
            <a:ahLst/>
            <a:cxnLst>
              <a:cxn ang="0">
                <a:pos x="T0" y="T1"/>
              </a:cxn>
              <a:cxn ang="0">
                <a:pos x="T2" y="T3"/>
              </a:cxn>
              <a:cxn ang="0">
                <a:pos x="T4" y="T5"/>
              </a:cxn>
              <a:cxn ang="0">
                <a:pos x="T6" y="T7"/>
              </a:cxn>
              <a:cxn ang="0">
                <a:pos x="T8" y="T9"/>
              </a:cxn>
              <a:cxn ang="0">
                <a:pos x="T10" y="T11"/>
              </a:cxn>
              <a:cxn ang="0">
                <a:pos x="T12" y="T13"/>
              </a:cxn>
            </a:cxnLst>
            <a:rect l="0" t="0" r="r" b="b"/>
            <a:pathLst>
              <a:path w="698" h="719">
                <a:moveTo>
                  <a:pt x="0" y="0"/>
                </a:moveTo>
                <a:lnTo>
                  <a:pt x="698" y="368"/>
                </a:lnTo>
                <a:lnTo>
                  <a:pt x="0" y="719"/>
                </a:lnTo>
                <a:lnTo>
                  <a:pt x="0" y="565"/>
                </a:lnTo>
                <a:lnTo>
                  <a:pt x="348" y="368"/>
                </a:lnTo>
                <a:lnTo>
                  <a:pt x="0" y="157"/>
                </a:lnTo>
                <a:lnTo>
                  <a:pt x="0" y="0"/>
                </a:ln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296" name="Freeform 2152"/>
          <p:cNvSpPr>
            <a:spLocks noEditPoints="1"/>
          </p:cNvSpPr>
          <p:nvPr/>
        </p:nvSpPr>
        <p:spPr bwMode="auto">
          <a:xfrm>
            <a:off x="8991807" y="1463869"/>
            <a:ext cx="1214215" cy="1199494"/>
          </a:xfrm>
          <a:custGeom>
            <a:avLst/>
            <a:gdLst>
              <a:gd name="T0" fmla="*/ 570 w 570"/>
              <a:gd name="T1" fmla="*/ 283 h 569"/>
              <a:gd name="T2" fmla="*/ 0 w 570"/>
              <a:gd name="T3" fmla="*/ 283 h 569"/>
              <a:gd name="T4" fmla="*/ 389 w 570"/>
              <a:gd name="T5" fmla="*/ 518 h 569"/>
              <a:gd name="T6" fmla="*/ 374 w 570"/>
              <a:gd name="T7" fmla="*/ 370 h 569"/>
              <a:gd name="T8" fmla="*/ 371 w 570"/>
              <a:gd name="T9" fmla="*/ 253 h 569"/>
              <a:gd name="T10" fmla="*/ 423 w 570"/>
              <a:gd name="T11" fmla="*/ 256 h 569"/>
              <a:gd name="T12" fmla="*/ 459 w 570"/>
              <a:gd name="T13" fmla="*/ 268 h 569"/>
              <a:gd name="T14" fmla="*/ 477 w 570"/>
              <a:gd name="T15" fmla="*/ 253 h 569"/>
              <a:gd name="T16" fmla="*/ 459 w 570"/>
              <a:gd name="T17" fmla="*/ 247 h 569"/>
              <a:gd name="T18" fmla="*/ 441 w 570"/>
              <a:gd name="T19" fmla="*/ 235 h 569"/>
              <a:gd name="T20" fmla="*/ 420 w 570"/>
              <a:gd name="T21" fmla="*/ 223 h 569"/>
              <a:gd name="T22" fmla="*/ 386 w 570"/>
              <a:gd name="T23" fmla="*/ 241 h 569"/>
              <a:gd name="T24" fmla="*/ 365 w 570"/>
              <a:gd name="T25" fmla="*/ 217 h 569"/>
              <a:gd name="T26" fmla="*/ 398 w 570"/>
              <a:gd name="T27" fmla="*/ 177 h 569"/>
              <a:gd name="T28" fmla="*/ 423 w 570"/>
              <a:gd name="T29" fmla="*/ 171 h 569"/>
              <a:gd name="T30" fmla="*/ 450 w 570"/>
              <a:gd name="T31" fmla="*/ 156 h 569"/>
              <a:gd name="T32" fmla="*/ 447 w 570"/>
              <a:gd name="T33" fmla="*/ 132 h 569"/>
              <a:gd name="T34" fmla="*/ 435 w 570"/>
              <a:gd name="T35" fmla="*/ 138 h 569"/>
              <a:gd name="T36" fmla="*/ 417 w 570"/>
              <a:gd name="T37" fmla="*/ 144 h 569"/>
              <a:gd name="T38" fmla="*/ 444 w 570"/>
              <a:gd name="T39" fmla="*/ 84 h 569"/>
              <a:gd name="T40" fmla="*/ 326 w 570"/>
              <a:gd name="T41" fmla="*/ 33 h 569"/>
              <a:gd name="T42" fmla="*/ 272 w 570"/>
              <a:gd name="T43" fmla="*/ 129 h 569"/>
              <a:gd name="T44" fmla="*/ 236 w 570"/>
              <a:gd name="T45" fmla="*/ 63 h 569"/>
              <a:gd name="T46" fmla="*/ 209 w 570"/>
              <a:gd name="T47" fmla="*/ 39 h 569"/>
              <a:gd name="T48" fmla="*/ 181 w 570"/>
              <a:gd name="T49" fmla="*/ 69 h 569"/>
              <a:gd name="T50" fmla="*/ 218 w 570"/>
              <a:gd name="T51" fmla="*/ 129 h 569"/>
              <a:gd name="T52" fmla="*/ 178 w 570"/>
              <a:gd name="T53" fmla="*/ 93 h 569"/>
              <a:gd name="T54" fmla="*/ 133 w 570"/>
              <a:gd name="T55" fmla="*/ 147 h 569"/>
              <a:gd name="T56" fmla="*/ 172 w 570"/>
              <a:gd name="T57" fmla="*/ 141 h 569"/>
              <a:gd name="T58" fmla="*/ 221 w 570"/>
              <a:gd name="T59" fmla="*/ 211 h 569"/>
              <a:gd name="T60" fmla="*/ 142 w 570"/>
              <a:gd name="T61" fmla="*/ 301 h 569"/>
              <a:gd name="T62" fmla="*/ 94 w 570"/>
              <a:gd name="T63" fmla="*/ 292 h 569"/>
              <a:gd name="T64" fmla="*/ 121 w 570"/>
              <a:gd name="T65" fmla="*/ 310 h 569"/>
              <a:gd name="T66" fmla="*/ 127 w 570"/>
              <a:gd name="T67" fmla="*/ 349 h 569"/>
              <a:gd name="T68" fmla="*/ 245 w 570"/>
              <a:gd name="T69" fmla="*/ 398 h 569"/>
              <a:gd name="T70" fmla="*/ 202 w 570"/>
              <a:gd name="T71" fmla="*/ 527 h 569"/>
              <a:gd name="T72" fmla="*/ 389 w 570"/>
              <a:gd name="T73" fmla="*/ 518 h 569"/>
              <a:gd name="T74" fmla="*/ 519 w 570"/>
              <a:gd name="T75" fmla="*/ 346 h 569"/>
              <a:gd name="T76" fmla="*/ 519 w 570"/>
              <a:gd name="T77" fmla="*/ 355 h 569"/>
              <a:gd name="T78" fmla="*/ 534 w 570"/>
              <a:gd name="T79" fmla="*/ 343 h 569"/>
              <a:gd name="T80" fmla="*/ 471 w 570"/>
              <a:gd name="T81" fmla="*/ 458 h 569"/>
              <a:gd name="T82" fmla="*/ 157 w 570"/>
              <a:gd name="T83" fmla="*/ 506 h 569"/>
              <a:gd name="T84" fmla="*/ 142 w 570"/>
              <a:gd name="T85" fmla="*/ 379 h 569"/>
              <a:gd name="T86" fmla="*/ 127 w 570"/>
              <a:gd name="T87" fmla="*/ 364 h 569"/>
              <a:gd name="T88" fmla="*/ 61 w 570"/>
              <a:gd name="T89" fmla="*/ 310 h 569"/>
              <a:gd name="T90" fmla="*/ 28 w 570"/>
              <a:gd name="T91" fmla="*/ 283 h 569"/>
              <a:gd name="T92" fmla="*/ 326 w 570"/>
              <a:gd name="T93" fmla="*/ 123 h 569"/>
              <a:gd name="T94" fmla="*/ 326 w 570"/>
              <a:gd name="T95" fmla="*/ 123 h 569"/>
              <a:gd name="T96" fmla="*/ 389 w 570"/>
              <a:gd name="T97" fmla="*/ 174 h 569"/>
              <a:gd name="T98" fmla="*/ 377 w 570"/>
              <a:gd name="T99" fmla="*/ 147 h 569"/>
              <a:gd name="T100" fmla="*/ 483 w 570"/>
              <a:gd name="T101" fmla="*/ 208 h 569"/>
              <a:gd name="T102" fmla="*/ 477 w 570"/>
              <a:gd name="T103" fmla="*/ 232 h 569"/>
              <a:gd name="T104" fmla="*/ 178 w 570"/>
              <a:gd name="T105" fmla="*/ 319 h 569"/>
              <a:gd name="T106" fmla="*/ 139 w 570"/>
              <a:gd name="T107" fmla="*/ 307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0" h="569">
                <a:moveTo>
                  <a:pt x="284" y="0"/>
                </a:moveTo>
                <a:cubicBezTo>
                  <a:pt x="441" y="0"/>
                  <a:pt x="570" y="126"/>
                  <a:pt x="570" y="283"/>
                </a:cubicBezTo>
                <a:cubicBezTo>
                  <a:pt x="570" y="443"/>
                  <a:pt x="441" y="569"/>
                  <a:pt x="284" y="569"/>
                </a:cubicBezTo>
                <a:cubicBezTo>
                  <a:pt x="127" y="569"/>
                  <a:pt x="0" y="443"/>
                  <a:pt x="0" y="283"/>
                </a:cubicBezTo>
                <a:cubicBezTo>
                  <a:pt x="0" y="126"/>
                  <a:pt x="127" y="0"/>
                  <a:pt x="284" y="0"/>
                </a:cubicBezTo>
                <a:close/>
                <a:moveTo>
                  <a:pt x="389" y="518"/>
                </a:moveTo>
                <a:cubicBezTo>
                  <a:pt x="380" y="470"/>
                  <a:pt x="407" y="389"/>
                  <a:pt x="392" y="373"/>
                </a:cubicBezTo>
                <a:cubicBezTo>
                  <a:pt x="386" y="370"/>
                  <a:pt x="380" y="367"/>
                  <a:pt x="374" y="370"/>
                </a:cubicBezTo>
                <a:cubicBezTo>
                  <a:pt x="362" y="373"/>
                  <a:pt x="350" y="379"/>
                  <a:pt x="341" y="376"/>
                </a:cubicBezTo>
                <a:cubicBezTo>
                  <a:pt x="290" y="352"/>
                  <a:pt x="320" y="271"/>
                  <a:pt x="371" y="253"/>
                </a:cubicBezTo>
                <a:cubicBezTo>
                  <a:pt x="380" y="250"/>
                  <a:pt x="389" y="250"/>
                  <a:pt x="398" y="250"/>
                </a:cubicBezTo>
                <a:cubicBezTo>
                  <a:pt x="414" y="247"/>
                  <a:pt x="423" y="247"/>
                  <a:pt x="423" y="256"/>
                </a:cubicBezTo>
                <a:cubicBezTo>
                  <a:pt x="423" y="268"/>
                  <a:pt x="447" y="277"/>
                  <a:pt x="453" y="277"/>
                </a:cubicBezTo>
                <a:cubicBezTo>
                  <a:pt x="456" y="277"/>
                  <a:pt x="456" y="268"/>
                  <a:pt x="459" y="268"/>
                </a:cubicBezTo>
                <a:cubicBezTo>
                  <a:pt x="480" y="268"/>
                  <a:pt x="495" y="280"/>
                  <a:pt x="498" y="271"/>
                </a:cubicBezTo>
                <a:cubicBezTo>
                  <a:pt x="504" y="241"/>
                  <a:pt x="501" y="256"/>
                  <a:pt x="477" y="253"/>
                </a:cubicBezTo>
                <a:cubicBezTo>
                  <a:pt x="468" y="250"/>
                  <a:pt x="474" y="235"/>
                  <a:pt x="465" y="235"/>
                </a:cubicBezTo>
                <a:cubicBezTo>
                  <a:pt x="459" y="232"/>
                  <a:pt x="468" y="253"/>
                  <a:pt x="459" y="247"/>
                </a:cubicBezTo>
                <a:cubicBezTo>
                  <a:pt x="447" y="238"/>
                  <a:pt x="441" y="217"/>
                  <a:pt x="429" y="214"/>
                </a:cubicBezTo>
                <a:cubicBezTo>
                  <a:pt x="414" y="211"/>
                  <a:pt x="438" y="226"/>
                  <a:pt x="441" y="235"/>
                </a:cubicBezTo>
                <a:cubicBezTo>
                  <a:pt x="444" y="244"/>
                  <a:pt x="432" y="256"/>
                  <a:pt x="426" y="247"/>
                </a:cubicBezTo>
                <a:cubicBezTo>
                  <a:pt x="423" y="244"/>
                  <a:pt x="438" y="235"/>
                  <a:pt x="420" y="223"/>
                </a:cubicBezTo>
                <a:cubicBezTo>
                  <a:pt x="417" y="217"/>
                  <a:pt x="407" y="217"/>
                  <a:pt x="401" y="223"/>
                </a:cubicBezTo>
                <a:cubicBezTo>
                  <a:pt x="392" y="232"/>
                  <a:pt x="389" y="241"/>
                  <a:pt x="386" y="241"/>
                </a:cubicBezTo>
                <a:cubicBezTo>
                  <a:pt x="377" y="247"/>
                  <a:pt x="371" y="247"/>
                  <a:pt x="362" y="244"/>
                </a:cubicBezTo>
                <a:cubicBezTo>
                  <a:pt x="350" y="241"/>
                  <a:pt x="353" y="214"/>
                  <a:pt x="365" y="217"/>
                </a:cubicBezTo>
                <a:cubicBezTo>
                  <a:pt x="401" y="226"/>
                  <a:pt x="368" y="205"/>
                  <a:pt x="377" y="199"/>
                </a:cubicBezTo>
                <a:cubicBezTo>
                  <a:pt x="380" y="196"/>
                  <a:pt x="392" y="187"/>
                  <a:pt x="398" y="177"/>
                </a:cubicBezTo>
                <a:cubicBezTo>
                  <a:pt x="404" y="171"/>
                  <a:pt x="401" y="153"/>
                  <a:pt x="414" y="156"/>
                </a:cubicBezTo>
                <a:cubicBezTo>
                  <a:pt x="420" y="156"/>
                  <a:pt x="417" y="168"/>
                  <a:pt x="423" y="171"/>
                </a:cubicBezTo>
                <a:cubicBezTo>
                  <a:pt x="426" y="174"/>
                  <a:pt x="435" y="171"/>
                  <a:pt x="441" y="171"/>
                </a:cubicBezTo>
                <a:cubicBezTo>
                  <a:pt x="450" y="171"/>
                  <a:pt x="450" y="165"/>
                  <a:pt x="450" y="156"/>
                </a:cubicBezTo>
                <a:cubicBezTo>
                  <a:pt x="450" y="144"/>
                  <a:pt x="471" y="147"/>
                  <a:pt x="471" y="141"/>
                </a:cubicBezTo>
                <a:cubicBezTo>
                  <a:pt x="468" y="132"/>
                  <a:pt x="447" y="144"/>
                  <a:pt x="447" y="132"/>
                </a:cubicBezTo>
                <a:cubicBezTo>
                  <a:pt x="447" y="117"/>
                  <a:pt x="465" y="114"/>
                  <a:pt x="453" y="111"/>
                </a:cubicBezTo>
                <a:cubicBezTo>
                  <a:pt x="444" y="108"/>
                  <a:pt x="432" y="117"/>
                  <a:pt x="435" y="138"/>
                </a:cubicBezTo>
                <a:cubicBezTo>
                  <a:pt x="438" y="159"/>
                  <a:pt x="441" y="168"/>
                  <a:pt x="426" y="162"/>
                </a:cubicBezTo>
                <a:cubicBezTo>
                  <a:pt x="414" y="153"/>
                  <a:pt x="429" y="138"/>
                  <a:pt x="417" y="144"/>
                </a:cubicBezTo>
                <a:cubicBezTo>
                  <a:pt x="407" y="150"/>
                  <a:pt x="401" y="153"/>
                  <a:pt x="401" y="138"/>
                </a:cubicBezTo>
                <a:cubicBezTo>
                  <a:pt x="401" y="126"/>
                  <a:pt x="426" y="90"/>
                  <a:pt x="444" y="84"/>
                </a:cubicBezTo>
                <a:cubicBezTo>
                  <a:pt x="411" y="57"/>
                  <a:pt x="371" y="39"/>
                  <a:pt x="326" y="33"/>
                </a:cubicBezTo>
                <a:cubicBezTo>
                  <a:pt x="326" y="33"/>
                  <a:pt x="326" y="33"/>
                  <a:pt x="326" y="33"/>
                </a:cubicBezTo>
                <a:cubicBezTo>
                  <a:pt x="326" y="57"/>
                  <a:pt x="326" y="72"/>
                  <a:pt x="323" y="84"/>
                </a:cubicBezTo>
                <a:cubicBezTo>
                  <a:pt x="323" y="99"/>
                  <a:pt x="278" y="102"/>
                  <a:pt x="272" y="129"/>
                </a:cubicBezTo>
                <a:cubicBezTo>
                  <a:pt x="266" y="153"/>
                  <a:pt x="257" y="138"/>
                  <a:pt x="242" y="120"/>
                </a:cubicBezTo>
                <a:cubicBezTo>
                  <a:pt x="227" y="102"/>
                  <a:pt x="245" y="78"/>
                  <a:pt x="236" y="63"/>
                </a:cubicBezTo>
                <a:cubicBezTo>
                  <a:pt x="230" y="48"/>
                  <a:pt x="202" y="69"/>
                  <a:pt x="202" y="54"/>
                </a:cubicBezTo>
                <a:cubicBezTo>
                  <a:pt x="202" y="48"/>
                  <a:pt x="209" y="42"/>
                  <a:pt x="209" y="39"/>
                </a:cubicBezTo>
                <a:cubicBezTo>
                  <a:pt x="205" y="42"/>
                  <a:pt x="202" y="42"/>
                  <a:pt x="199" y="42"/>
                </a:cubicBezTo>
                <a:cubicBezTo>
                  <a:pt x="190" y="48"/>
                  <a:pt x="184" y="66"/>
                  <a:pt x="181" y="69"/>
                </a:cubicBezTo>
                <a:cubicBezTo>
                  <a:pt x="172" y="81"/>
                  <a:pt x="193" y="78"/>
                  <a:pt x="202" y="90"/>
                </a:cubicBezTo>
                <a:cubicBezTo>
                  <a:pt x="215" y="108"/>
                  <a:pt x="224" y="120"/>
                  <a:pt x="218" y="129"/>
                </a:cubicBezTo>
                <a:cubicBezTo>
                  <a:pt x="215" y="138"/>
                  <a:pt x="178" y="129"/>
                  <a:pt x="184" y="114"/>
                </a:cubicBezTo>
                <a:cubicBezTo>
                  <a:pt x="193" y="99"/>
                  <a:pt x="187" y="96"/>
                  <a:pt x="178" y="93"/>
                </a:cubicBezTo>
                <a:cubicBezTo>
                  <a:pt x="169" y="93"/>
                  <a:pt x="169" y="105"/>
                  <a:pt x="169" y="120"/>
                </a:cubicBezTo>
                <a:cubicBezTo>
                  <a:pt x="169" y="132"/>
                  <a:pt x="145" y="135"/>
                  <a:pt x="133" y="147"/>
                </a:cubicBezTo>
                <a:cubicBezTo>
                  <a:pt x="121" y="162"/>
                  <a:pt x="142" y="174"/>
                  <a:pt x="160" y="180"/>
                </a:cubicBezTo>
                <a:cubicBezTo>
                  <a:pt x="178" y="187"/>
                  <a:pt x="166" y="156"/>
                  <a:pt x="172" y="141"/>
                </a:cubicBezTo>
                <a:cubicBezTo>
                  <a:pt x="178" y="120"/>
                  <a:pt x="199" y="138"/>
                  <a:pt x="215" y="156"/>
                </a:cubicBezTo>
                <a:cubicBezTo>
                  <a:pt x="227" y="174"/>
                  <a:pt x="248" y="199"/>
                  <a:pt x="221" y="211"/>
                </a:cubicBezTo>
                <a:cubicBezTo>
                  <a:pt x="175" y="229"/>
                  <a:pt x="157" y="250"/>
                  <a:pt x="148" y="268"/>
                </a:cubicBezTo>
                <a:cubicBezTo>
                  <a:pt x="139" y="286"/>
                  <a:pt x="148" y="295"/>
                  <a:pt x="142" y="301"/>
                </a:cubicBezTo>
                <a:cubicBezTo>
                  <a:pt x="136" y="307"/>
                  <a:pt x="136" y="298"/>
                  <a:pt x="130" y="283"/>
                </a:cubicBezTo>
                <a:cubicBezTo>
                  <a:pt x="124" y="274"/>
                  <a:pt x="103" y="274"/>
                  <a:pt x="94" y="292"/>
                </a:cubicBezTo>
                <a:cubicBezTo>
                  <a:pt x="88" y="295"/>
                  <a:pt x="88" y="304"/>
                  <a:pt x="88" y="313"/>
                </a:cubicBezTo>
                <a:cubicBezTo>
                  <a:pt x="88" y="343"/>
                  <a:pt x="109" y="304"/>
                  <a:pt x="121" y="310"/>
                </a:cubicBezTo>
                <a:cubicBezTo>
                  <a:pt x="136" y="313"/>
                  <a:pt x="109" y="316"/>
                  <a:pt x="112" y="328"/>
                </a:cubicBezTo>
                <a:cubicBezTo>
                  <a:pt x="115" y="340"/>
                  <a:pt x="133" y="322"/>
                  <a:pt x="127" y="349"/>
                </a:cubicBezTo>
                <a:cubicBezTo>
                  <a:pt x="124" y="364"/>
                  <a:pt x="148" y="352"/>
                  <a:pt x="163" y="346"/>
                </a:cubicBezTo>
                <a:cubicBezTo>
                  <a:pt x="196" y="334"/>
                  <a:pt x="221" y="389"/>
                  <a:pt x="245" y="398"/>
                </a:cubicBezTo>
                <a:cubicBezTo>
                  <a:pt x="272" y="407"/>
                  <a:pt x="281" y="413"/>
                  <a:pt x="275" y="425"/>
                </a:cubicBezTo>
                <a:cubicBezTo>
                  <a:pt x="257" y="461"/>
                  <a:pt x="221" y="485"/>
                  <a:pt x="202" y="527"/>
                </a:cubicBezTo>
                <a:cubicBezTo>
                  <a:pt x="227" y="536"/>
                  <a:pt x="257" y="539"/>
                  <a:pt x="284" y="539"/>
                </a:cubicBezTo>
                <a:cubicBezTo>
                  <a:pt x="323" y="539"/>
                  <a:pt x="356" y="533"/>
                  <a:pt x="389" y="518"/>
                </a:cubicBezTo>
                <a:close/>
                <a:moveTo>
                  <a:pt x="534" y="343"/>
                </a:moveTo>
                <a:cubicBezTo>
                  <a:pt x="528" y="343"/>
                  <a:pt x="522" y="346"/>
                  <a:pt x="519" y="346"/>
                </a:cubicBezTo>
                <a:cubicBezTo>
                  <a:pt x="504" y="340"/>
                  <a:pt x="513" y="280"/>
                  <a:pt x="492" y="283"/>
                </a:cubicBezTo>
                <a:cubicBezTo>
                  <a:pt x="483" y="286"/>
                  <a:pt x="498" y="331"/>
                  <a:pt x="519" y="355"/>
                </a:cubicBezTo>
                <a:cubicBezTo>
                  <a:pt x="522" y="358"/>
                  <a:pt x="525" y="355"/>
                  <a:pt x="531" y="355"/>
                </a:cubicBezTo>
                <a:cubicBezTo>
                  <a:pt x="531" y="352"/>
                  <a:pt x="534" y="346"/>
                  <a:pt x="534" y="343"/>
                </a:cubicBezTo>
                <a:close/>
                <a:moveTo>
                  <a:pt x="519" y="386"/>
                </a:moveTo>
                <a:cubicBezTo>
                  <a:pt x="495" y="379"/>
                  <a:pt x="477" y="434"/>
                  <a:pt x="471" y="458"/>
                </a:cubicBezTo>
                <a:cubicBezTo>
                  <a:pt x="492" y="437"/>
                  <a:pt x="507" y="413"/>
                  <a:pt x="519" y="386"/>
                </a:cubicBezTo>
                <a:close/>
                <a:moveTo>
                  <a:pt x="157" y="506"/>
                </a:moveTo>
                <a:cubicBezTo>
                  <a:pt x="160" y="482"/>
                  <a:pt x="163" y="455"/>
                  <a:pt x="157" y="452"/>
                </a:cubicBezTo>
                <a:cubicBezTo>
                  <a:pt x="136" y="434"/>
                  <a:pt x="121" y="407"/>
                  <a:pt x="142" y="379"/>
                </a:cubicBezTo>
                <a:cubicBezTo>
                  <a:pt x="145" y="376"/>
                  <a:pt x="148" y="373"/>
                  <a:pt x="148" y="367"/>
                </a:cubicBezTo>
                <a:cubicBezTo>
                  <a:pt x="151" y="358"/>
                  <a:pt x="142" y="364"/>
                  <a:pt x="127" y="364"/>
                </a:cubicBezTo>
                <a:cubicBezTo>
                  <a:pt x="112" y="364"/>
                  <a:pt x="124" y="340"/>
                  <a:pt x="94" y="337"/>
                </a:cubicBezTo>
                <a:cubicBezTo>
                  <a:pt x="64" y="334"/>
                  <a:pt x="64" y="328"/>
                  <a:pt x="61" y="310"/>
                </a:cubicBezTo>
                <a:cubicBezTo>
                  <a:pt x="61" y="292"/>
                  <a:pt x="43" y="274"/>
                  <a:pt x="28" y="271"/>
                </a:cubicBezTo>
                <a:cubicBezTo>
                  <a:pt x="28" y="274"/>
                  <a:pt x="28" y="280"/>
                  <a:pt x="28" y="283"/>
                </a:cubicBezTo>
                <a:cubicBezTo>
                  <a:pt x="28" y="379"/>
                  <a:pt x="82" y="464"/>
                  <a:pt x="157" y="506"/>
                </a:cubicBezTo>
                <a:close/>
                <a:moveTo>
                  <a:pt x="326" y="123"/>
                </a:moveTo>
                <a:cubicBezTo>
                  <a:pt x="338" y="129"/>
                  <a:pt x="350" y="120"/>
                  <a:pt x="347" y="111"/>
                </a:cubicBezTo>
                <a:cubicBezTo>
                  <a:pt x="338" y="96"/>
                  <a:pt x="311" y="105"/>
                  <a:pt x="326" y="123"/>
                </a:cubicBezTo>
                <a:close/>
                <a:moveTo>
                  <a:pt x="377" y="147"/>
                </a:moveTo>
                <a:cubicBezTo>
                  <a:pt x="386" y="147"/>
                  <a:pt x="392" y="165"/>
                  <a:pt x="389" y="174"/>
                </a:cubicBezTo>
                <a:cubicBezTo>
                  <a:pt x="383" y="193"/>
                  <a:pt x="368" y="180"/>
                  <a:pt x="365" y="168"/>
                </a:cubicBezTo>
                <a:cubicBezTo>
                  <a:pt x="365" y="156"/>
                  <a:pt x="368" y="147"/>
                  <a:pt x="377" y="147"/>
                </a:cubicBezTo>
                <a:close/>
                <a:moveTo>
                  <a:pt x="477" y="232"/>
                </a:moveTo>
                <a:cubicBezTo>
                  <a:pt x="468" y="223"/>
                  <a:pt x="471" y="211"/>
                  <a:pt x="483" y="208"/>
                </a:cubicBezTo>
                <a:cubicBezTo>
                  <a:pt x="504" y="205"/>
                  <a:pt x="531" y="226"/>
                  <a:pt x="513" y="232"/>
                </a:cubicBezTo>
                <a:cubicBezTo>
                  <a:pt x="504" y="235"/>
                  <a:pt x="489" y="235"/>
                  <a:pt x="477" y="232"/>
                </a:cubicBezTo>
                <a:close/>
                <a:moveTo>
                  <a:pt x="139" y="307"/>
                </a:moveTo>
                <a:cubicBezTo>
                  <a:pt x="148" y="307"/>
                  <a:pt x="172" y="313"/>
                  <a:pt x="178" y="319"/>
                </a:cubicBezTo>
                <a:cubicBezTo>
                  <a:pt x="184" y="328"/>
                  <a:pt x="160" y="325"/>
                  <a:pt x="145" y="319"/>
                </a:cubicBezTo>
                <a:cubicBezTo>
                  <a:pt x="136" y="316"/>
                  <a:pt x="130" y="310"/>
                  <a:pt x="139" y="30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nvGrpSpPr>
          <p:cNvPr id="2358" name="Group 2357"/>
          <p:cNvGrpSpPr/>
          <p:nvPr/>
        </p:nvGrpSpPr>
        <p:grpSpPr>
          <a:xfrm>
            <a:off x="5862317" y="1287938"/>
            <a:ext cx="1258446" cy="809871"/>
            <a:chOff x="15760700" y="1093788"/>
            <a:chExt cx="2136776" cy="1201738"/>
          </a:xfrm>
          <a:solidFill>
            <a:srgbClr val="92D050"/>
          </a:solidFill>
        </p:grpSpPr>
        <p:sp>
          <p:nvSpPr>
            <p:cNvPr id="2313" name="Freeform 2169"/>
            <p:cNvSpPr>
              <a:spLocks/>
            </p:cNvSpPr>
            <p:nvPr/>
          </p:nvSpPr>
          <p:spPr bwMode="auto">
            <a:xfrm>
              <a:off x="15779750" y="1093788"/>
              <a:ext cx="242888" cy="287338"/>
            </a:xfrm>
            <a:custGeom>
              <a:avLst/>
              <a:gdLst>
                <a:gd name="T0" fmla="*/ 52 w 65"/>
                <a:gd name="T1" fmla="*/ 76 h 76"/>
                <a:gd name="T2" fmla="*/ 52 w 65"/>
                <a:gd name="T3" fmla="*/ 32 h 76"/>
                <a:gd name="T4" fmla="*/ 53 w 65"/>
                <a:gd name="T5" fmla="*/ 15 h 76"/>
                <a:gd name="T6" fmla="*/ 52 w 65"/>
                <a:gd name="T7" fmla="*/ 15 h 76"/>
                <a:gd name="T8" fmla="*/ 50 w 65"/>
                <a:gd name="T9" fmla="*/ 27 h 76"/>
                <a:gd name="T10" fmla="*/ 39 w 65"/>
                <a:gd name="T11" fmla="*/ 76 h 76"/>
                <a:gd name="T12" fmla="*/ 26 w 65"/>
                <a:gd name="T13" fmla="*/ 76 h 76"/>
                <a:gd name="T14" fmla="*/ 14 w 65"/>
                <a:gd name="T15" fmla="*/ 28 h 76"/>
                <a:gd name="T16" fmla="*/ 12 w 65"/>
                <a:gd name="T17" fmla="*/ 15 h 76"/>
                <a:gd name="T18" fmla="*/ 12 w 65"/>
                <a:gd name="T19" fmla="*/ 15 h 76"/>
                <a:gd name="T20" fmla="*/ 12 w 65"/>
                <a:gd name="T21" fmla="*/ 36 h 76"/>
                <a:gd name="T22" fmla="*/ 12 w 65"/>
                <a:gd name="T23" fmla="*/ 76 h 76"/>
                <a:gd name="T24" fmla="*/ 0 w 65"/>
                <a:gd name="T25" fmla="*/ 76 h 76"/>
                <a:gd name="T26" fmla="*/ 0 w 65"/>
                <a:gd name="T27" fmla="*/ 0 h 76"/>
                <a:gd name="T28" fmla="*/ 21 w 65"/>
                <a:gd name="T29" fmla="*/ 0 h 76"/>
                <a:gd name="T30" fmla="*/ 31 w 65"/>
                <a:gd name="T31" fmla="*/ 46 h 76"/>
                <a:gd name="T32" fmla="*/ 33 w 65"/>
                <a:gd name="T33" fmla="*/ 58 h 76"/>
                <a:gd name="T34" fmla="*/ 33 w 65"/>
                <a:gd name="T35" fmla="*/ 58 h 76"/>
                <a:gd name="T36" fmla="*/ 34 w 65"/>
                <a:gd name="T37" fmla="*/ 55 h 76"/>
                <a:gd name="T38" fmla="*/ 35 w 65"/>
                <a:gd name="T39" fmla="*/ 46 h 76"/>
                <a:gd name="T40" fmla="*/ 45 w 65"/>
                <a:gd name="T41" fmla="*/ 0 h 76"/>
                <a:gd name="T42" fmla="*/ 65 w 65"/>
                <a:gd name="T43" fmla="*/ 0 h 76"/>
                <a:gd name="T44" fmla="*/ 65 w 65"/>
                <a:gd name="T45" fmla="*/ 76 h 76"/>
                <a:gd name="T46" fmla="*/ 52 w 65"/>
                <a:gd name="T4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76">
                  <a:moveTo>
                    <a:pt x="52" y="76"/>
                  </a:moveTo>
                  <a:cubicBezTo>
                    <a:pt x="52" y="32"/>
                    <a:pt x="52" y="32"/>
                    <a:pt x="52" y="32"/>
                  </a:cubicBezTo>
                  <a:cubicBezTo>
                    <a:pt x="52" y="28"/>
                    <a:pt x="52" y="22"/>
                    <a:pt x="53" y="15"/>
                  </a:cubicBezTo>
                  <a:cubicBezTo>
                    <a:pt x="52" y="15"/>
                    <a:pt x="52" y="15"/>
                    <a:pt x="52" y="15"/>
                  </a:cubicBezTo>
                  <a:cubicBezTo>
                    <a:pt x="52" y="18"/>
                    <a:pt x="51" y="22"/>
                    <a:pt x="50" y="27"/>
                  </a:cubicBezTo>
                  <a:cubicBezTo>
                    <a:pt x="39" y="76"/>
                    <a:pt x="39" y="76"/>
                    <a:pt x="39" y="76"/>
                  </a:cubicBezTo>
                  <a:cubicBezTo>
                    <a:pt x="26" y="76"/>
                    <a:pt x="26" y="76"/>
                    <a:pt x="26" y="76"/>
                  </a:cubicBezTo>
                  <a:cubicBezTo>
                    <a:pt x="14" y="28"/>
                    <a:pt x="14" y="28"/>
                    <a:pt x="14" y="28"/>
                  </a:cubicBezTo>
                  <a:cubicBezTo>
                    <a:pt x="12" y="15"/>
                    <a:pt x="12" y="15"/>
                    <a:pt x="12" y="15"/>
                  </a:cubicBezTo>
                  <a:cubicBezTo>
                    <a:pt x="12" y="15"/>
                    <a:pt x="12" y="15"/>
                    <a:pt x="12" y="15"/>
                  </a:cubicBezTo>
                  <a:cubicBezTo>
                    <a:pt x="12" y="22"/>
                    <a:pt x="12" y="29"/>
                    <a:pt x="12" y="36"/>
                  </a:cubicBezTo>
                  <a:cubicBezTo>
                    <a:pt x="12" y="76"/>
                    <a:pt x="12" y="76"/>
                    <a:pt x="12" y="76"/>
                  </a:cubicBezTo>
                  <a:cubicBezTo>
                    <a:pt x="0" y="76"/>
                    <a:pt x="0" y="76"/>
                    <a:pt x="0" y="76"/>
                  </a:cubicBezTo>
                  <a:cubicBezTo>
                    <a:pt x="0" y="0"/>
                    <a:pt x="0" y="0"/>
                    <a:pt x="0" y="0"/>
                  </a:cubicBezTo>
                  <a:cubicBezTo>
                    <a:pt x="21" y="0"/>
                    <a:pt x="21" y="0"/>
                    <a:pt x="21" y="0"/>
                  </a:cubicBezTo>
                  <a:cubicBezTo>
                    <a:pt x="31" y="46"/>
                    <a:pt x="31" y="46"/>
                    <a:pt x="31" y="46"/>
                  </a:cubicBezTo>
                  <a:cubicBezTo>
                    <a:pt x="32" y="51"/>
                    <a:pt x="33" y="55"/>
                    <a:pt x="33" y="58"/>
                  </a:cubicBezTo>
                  <a:cubicBezTo>
                    <a:pt x="33" y="58"/>
                    <a:pt x="33" y="58"/>
                    <a:pt x="33" y="58"/>
                  </a:cubicBezTo>
                  <a:cubicBezTo>
                    <a:pt x="34" y="55"/>
                    <a:pt x="34" y="55"/>
                    <a:pt x="34" y="55"/>
                  </a:cubicBezTo>
                  <a:cubicBezTo>
                    <a:pt x="34" y="51"/>
                    <a:pt x="35" y="48"/>
                    <a:pt x="35" y="46"/>
                  </a:cubicBezTo>
                  <a:cubicBezTo>
                    <a:pt x="45" y="0"/>
                    <a:pt x="45" y="0"/>
                    <a:pt x="45" y="0"/>
                  </a:cubicBezTo>
                  <a:cubicBezTo>
                    <a:pt x="65" y="0"/>
                    <a:pt x="65" y="0"/>
                    <a:pt x="65" y="0"/>
                  </a:cubicBezTo>
                  <a:cubicBezTo>
                    <a:pt x="65" y="76"/>
                    <a:pt x="65" y="76"/>
                    <a:pt x="65" y="76"/>
                  </a:cubicBezTo>
                  <a:lnTo>
                    <a:pt x="52"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14" name="Freeform 2170"/>
            <p:cNvSpPr>
              <a:spLocks noEditPoints="1"/>
            </p:cNvSpPr>
            <p:nvPr/>
          </p:nvSpPr>
          <p:spPr bwMode="auto">
            <a:xfrm>
              <a:off x="16060738" y="1093788"/>
              <a:ext cx="203200" cy="293688"/>
            </a:xfrm>
            <a:custGeom>
              <a:avLst/>
              <a:gdLst>
                <a:gd name="T0" fmla="*/ 27 w 54"/>
                <a:gd name="T1" fmla="*/ 78 h 78"/>
                <a:gd name="T2" fmla="*/ 7 w 54"/>
                <a:gd name="T3" fmla="*/ 68 h 78"/>
                <a:gd name="T4" fmla="*/ 0 w 54"/>
                <a:gd name="T5" fmla="*/ 40 h 78"/>
                <a:gd name="T6" fmla="*/ 7 w 54"/>
                <a:gd name="T7" fmla="*/ 11 h 78"/>
                <a:gd name="T8" fmla="*/ 27 w 54"/>
                <a:gd name="T9" fmla="*/ 0 h 78"/>
                <a:gd name="T10" fmla="*/ 47 w 54"/>
                <a:gd name="T11" fmla="*/ 10 h 78"/>
                <a:gd name="T12" fmla="*/ 54 w 54"/>
                <a:gd name="T13" fmla="*/ 39 h 78"/>
                <a:gd name="T14" fmla="*/ 47 w 54"/>
                <a:gd name="T15" fmla="*/ 68 h 78"/>
                <a:gd name="T16" fmla="*/ 27 w 54"/>
                <a:gd name="T17" fmla="*/ 78 h 78"/>
                <a:gd name="T18" fmla="*/ 27 w 54"/>
                <a:gd name="T19" fmla="*/ 13 h 78"/>
                <a:gd name="T20" fmla="*/ 15 w 54"/>
                <a:gd name="T21" fmla="*/ 39 h 78"/>
                <a:gd name="T22" fmla="*/ 27 w 54"/>
                <a:gd name="T23" fmla="*/ 66 h 78"/>
                <a:gd name="T24" fmla="*/ 36 w 54"/>
                <a:gd name="T25" fmla="*/ 59 h 78"/>
                <a:gd name="T26" fmla="*/ 39 w 54"/>
                <a:gd name="T27" fmla="*/ 40 h 78"/>
                <a:gd name="T28" fmla="*/ 27 w 54"/>
                <a:gd name="T29" fmla="*/ 1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 h="78">
                  <a:moveTo>
                    <a:pt x="27" y="78"/>
                  </a:moveTo>
                  <a:cubicBezTo>
                    <a:pt x="18" y="78"/>
                    <a:pt x="11" y="75"/>
                    <a:pt x="7" y="68"/>
                  </a:cubicBezTo>
                  <a:cubicBezTo>
                    <a:pt x="2" y="62"/>
                    <a:pt x="0" y="52"/>
                    <a:pt x="0" y="40"/>
                  </a:cubicBezTo>
                  <a:cubicBezTo>
                    <a:pt x="0" y="28"/>
                    <a:pt x="2" y="18"/>
                    <a:pt x="7" y="11"/>
                  </a:cubicBezTo>
                  <a:cubicBezTo>
                    <a:pt x="12" y="4"/>
                    <a:pt x="19" y="0"/>
                    <a:pt x="27" y="0"/>
                  </a:cubicBezTo>
                  <a:cubicBezTo>
                    <a:pt x="36" y="0"/>
                    <a:pt x="43" y="4"/>
                    <a:pt x="47" y="10"/>
                  </a:cubicBezTo>
                  <a:cubicBezTo>
                    <a:pt x="52" y="17"/>
                    <a:pt x="54" y="26"/>
                    <a:pt x="54" y="39"/>
                  </a:cubicBezTo>
                  <a:cubicBezTo>
                    <a:pt x="54" y="52"/>
                    <a:pt x="51" y="61"/>
                    <a:pt x="47" y="68"/>
                  </a:cubicBezTo>
                  <a:cubicBezTo>
                    <a:pt x="42" y="75"/>
                    <a:pt x="35" y="78"/>
                    <a:pt x="27" y="78"/>
                  </a:cubicBezTo>
                  <a:close/>
                  <a:moveTo>
                    <a:pt x="27" y="13"/>
                  </a:moveTo>
                  <a:cubicBezTo>
                    <a:pt x="19" y="13"/>
                    <a:pt x="15" y="22"/>
                    <a:pt x="15" y="39"/>
                  </a:cubicBezTo>
                  <a:cubicBezTo>
                    <a:pt x="15" y="57"/>
                    <a:pt x="19" y="66"/>
                    <a:pt x="27" y="66"/>
                  </a:cubicBezTo>
                  <a:cubicBezTo>
                    <a:pt x="31" y="66"/>
                    <a:pt x="34" y="63"/>
                    <a:pt x="36" y="59"/>
                  </a:cubicBezTo>
                  <a:cubicBezTo>
                    <a:pt x="38" y="55"/>
                    <a:pt x="39" y="48"/>
                    <a:pt x="39" y="40"/>
                  </a:cubicBezTo>
                  <a:cubicBezTo>
                    <a:pt x="39" y="22"/>
                    <a:pt x="35" y="13"/>
                    <a:pt x="27"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15" name="Freeform 2171"/>
            <p:cNvSpPr>
              <a:spLocks noEditPoints="1"/>
            </p:cNvSpPr>
            <p:nvPr/>
          </p:nvSpPr>
          <p:spPr bwMode="auto">
            <a:xfrm>
              <a:off x="16300450" y="1093788"/>
              <a:ext cx="177800" cy="287338"/>
            </a:xfrm>
            <a:custGeom>
              <a:avLst/>
              <a:gdLst>
                <a:gd name="T0" fmla="*/ 31 w 47"/>
                <a:gd name="T1" fmla="*/ 76 h 76"/>
                <a:gd name="T2" fmla="*/ 25 w 47"/>
                <a:gd name="T3" fmla="*/ 57 h 76"/>
                <a:gd name="T4" fmla="*/ 17 w 47"/>
                <a:gd name="T5" fmla="*/ 47 h 76"/>
                <a:gd name="T6" fmla="*/ 15 w 47"/>
                <a:gd name="T7" fmla="*/ 47 h 76"/>
                <a:gd name="T8" fmla="*/ 15 w 47"/>
                <a:gd name="T9" fmla="*/ 76 h 76"/>
                <a:gd name="T10" fmla="*/ 0 w 47"/>
                <a:gd name="T11" fmla="*/ 76 h 76"/>
                <a:gd name="T12" fmla="*/ 0 w 47"/>
                <a:gd name="T13" fmla="*/ 0 h 76"/>
                <a:gd name="T14" fmla="*/ 21 w 47"/>
                <a:gd name="T15" fmla="*/ 0 h 76"/>
                <a:gd name="T16" fmla="*/ 44 w 47"/>
                <a:gd name="T17" fmla="*/ 21 h 76"/>
                <a:gd name="T18" fmla="*/ 31 w 47"/>
                <a:gd name="T19" fmla="*/ 41 h 76"/>
                <a:gd name="T20" fmla="*/ 31 w 47"/>
                <a:gd name="T21" fmla="*/ 41 h 76"/>
                <a:gd name="T22" fmla="*/ 40 w 47"/>
                <a:gd name="T23" fmla="*/ 55 h 76"/>
                <a:gd name="T24" fmla="*/ 47 w 47"/>
                <a:gd name="T25" fmla="*/ 76 h 76"/>
                <a:gd name="T26" fmla="*/ 31 w 47"/>
                <a:gd name="T27" fmla="*/ 76 h 76"/>
                <a:gd name="T28" fmla="*/ 15 w 47"/>
                <a:gd name="T29" fmla="*/ 12 h 76"/>
                <a:gd name="T30" fmla="*/ 15 w 47"/>
                <a:gd name="T31" fmla="*/ 34 h 76"/>
                <a:gd name="T32" fmla="*/ 19 w 47"/>
                <a:gd name="T33" fmla="*/ 34 h 76"/>
                <a:gd name="T34" fmla="*/ 26 w 47"/>
                <a:gd name="T35" fmla="*/ 31 h 76"/>
                <a:gd name="T36" fmla="*/ 29 w 47"/>
                <a:gd name="T37" fmla="*/ 23 h 76"/>
                <a:gd name="T38" fmla="*/ 26 w 47"/>
                <a:gd name="T39" fmla="*/ 15 h 76"/>
                <a:gd name="T40" fmla="*/ 19 w 47"/>
                <a:gd name="T41" fmla="*/ 12 h 76"/>
                <a:gd name="T42" fmla="*/ 15 w 47"/>
                <a:gd name="T43" fmla="*/ 1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 h="76">
                  <a:moveTo>
                    <a:pt x="31" y="76"/>
                  </a:moveTo>
                  <a:cubicBezTo>
                    <a:pt x="25" y="57"/>
                    <a:pt x="25" y="57"/>
                    <a:pt x="25" y="57"/>
                  </a:cubicBezTo>
                  <a:cubicBezTo>
                    <a:pt x="23" y="50"/>
                    <a:pt x="20" y="47"/>
                    <a:pt x="17" y="47"/>
                  </a:cubicBezTo>
                  <a:cubicBezTo>
                    <a:pt x="15" y="47"/>
                    <a:pt x="15" y="47"/>
                    <a:pt x="15" y="47"/>
                  </a:cubicBezTo>
                  <a:cubicBezTo>
                    <a:pt x="15" y="76"/>
                    <a:pt x="15" y="76"/>
                    <a:pt x="15" y="76"/>
                  </a:cubicBezTo>
                  <a:cubicBezTo>
                    <a:pt x="0" y="76"/>
                    <a:pt x="0" y="76"/>
                    <a:pt x="0" y="76"/>
                  </a:cubicBezTo>
                  <a:cubicBezTo>
                    <a:pt x="0" y="0"/>
                    <a:pt x="0" y="0"/>
                    <a:pt x="0" y="0"/>
                  </a:cubicBezTo>
                  <a:cubicBezTo>
                    <a:pt x="21" y="0"/>
                    <a:pt x="21" y="0"/>
                    <a:pt x="21" y="0"/>
                  </a:cubicBezTo>
                  <a:cubicBezTo>
                    <a:pt x="36" y="0"/>
                    <a:pt x="44" y="7"/>
                    <a:pt x="44" y="21"/>
                  </a:cubicBezTo>
                  <a:cubicBezTo>
                    <a:pt x="44" y="31"/>
                    <a:pt x="39" y="38"/>
                    <a:pt x="31" y="41"/>
                  </a:cubicBezTo>
                  <a:cubicBezTo>
                    <a:pt x="31" y="41"/>
                    <a:pt x="31" y="41"/>
                    <a:pt x="31" y="41"/>
                  </a:cubicBezTo>
                  <a:cubicBezTo>
                    <a:pt x="35" y="43"/>
                    <a:pt x="38" y="47"/>
                    <a:pt x="40" y="55"/>
                  </a:cubicBezTo>
                  <a:cubicBezTo>
                    <a:pt x="47" y="76"/>
                    <a:pt x="47" y="76"/>
                    <a:pt x="47" y="76"/>
                  </a:cubicBezTo>
                  <a:lnTo>
                    <a:pt x="31" y="76"/>
                  </a:lnTo>
                  <a:close/>
                  <a:moveTo>
                    <a:pt x="15" y="12"/>
                  </a:moveTo>
                  <a:cubicBezTo>
                    <a:pt x="15" y="34"/>
                    <a:pt x="15" y="34"/>
                    <a:pt x="15" y="34"/>
                  </a:cubicBezTo>
                  <a:cubicBezTo>
                    <a:pt x="19" y="34"/>
                    <a:pt x="19" y="34"/>
                    <a:pt x="19" y="34"/>
                  </a:cubicBezTo>
                  <a:cubicBezTo>
                    <a:pt x="22" y="34"/>
                    <a:pt x="24" y="33"/>
                    <a:pt x="26" y="31"/>
                  </a:cubicBezTo>
                  <a:cubicBezTo>
                    <a:pt x="28" y="29"/>
                    <a:pt x="29" y="26"/>
                    <a:pt x="29" y="23"/>
                  </a:cubicBezTo>
                  <a:cubicBezTo>
                    <a:pt x="29" y="20"/>
                    <a:pt x="28" y="17"/>
                    <a:pt x="26" y="15"/>
                  </a:cubicBezTo>
                  <a:cubicBezTo>
                    <a:pt x="25" y="13"/>
                    <a:pt x="22" y="12"/>
                    <a:pt x="19" y="12"/>
                  </a:cubicBezTo>
                  <a:lnTo>
                    <a:pt x="15"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16" name="Freeform 2172"/>
            <p:cNvSpPr>
              <a:spLocks/>
            </p:cNvSpPr>
            <p:nvPr/>
          </p:nvSpPr>
          <p:spPr bwMode="auto">
            <a:xfrm>
              <a:off x="16508413" y="1093788"/>
              <a:ext cx="134938" cy="287338"/>
            </a:xfrm>
            <a:custGeom>
              <a:avLst/>
              <a:gdLst>
                <a:gd name="T0" fmla="*/ 0 w 85"/>
                <a:gd name="T1" fmla="*/ 181 h 181"/>
                <a:gd name="T2" fmla="*/ 0 w 85"/>
                <a:gd name="T3" fmla="*/ 0 h 181"/>
                <a:gd name="T4" fmla="*/ 82 w 85"/>
                <a:gd name="T5" fmla="*/ 0 h 181"/>
                <a:gd name="T6" fmla="*/ 82 w 85"/>
                <a:gd name="T7" fmla="*/ 31 h 181"/>
                <a:gd name="T8" fmla="*/ 35 w 85"/>
                <a:gd name="T9" fmla="*/ 31 h 181"/>
                <a:gd name="T10" fmla="*/ 35 w 85"/>
                <a:gd name="T11" fmla="*/ 76 h 181"/>
                <a:gd name="T12" fmla="*/ 80 w 85"/>
                <a:gd name="T13" fmla="*/ 76 h 181"/>
                <a:gd name="T14" fmla="*/ 80 w 85"/>
                <a:gd name="T15" fmla="*/ 105 h 181"/>
                <a:gd name="T16" fmla="*/ 35 w 85"/>
                <a:gd name="T17" fmla="*/ 105 h 181"/>
                <a:gd name="T18" fmla="*/ 35 w 85"/>
                <a:gd name="T19" fmla="*/ 150 h 181"/>
                <a:gd name="T20" fmla="*/ 85 w 85"/>
                <a:gd name="T21" fmla="*/ 150 h 181"/>
                <a:gd name="T22" fmla="*/ 85 w 85"/>
                <a:gd name="T23" fmla="*/ 181 h 181"/>
                <a:gd name="T24" fmla="*/ 0 w 85"/>
                <a:gd name="T25"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81">
                  <a:moveTo>
                    <a:pt x="0" y="181"/>
                  </a:moveTo>
                  <a:lnTo>
                    <a:pt x="0" y="0"/>
                  </a:lnTo>
                  <a:lnTo>
                    <a:pt x="82" y="0"/>
                  </a:lnTo>
                  <a:lnTo>
                    <a:pt x="82" y="31"/>
                  </a:lnTo>
                  <a:lnTo>
                    <a:pt x="35" y="31"/>
                  </a:lnTo>
                  <a:lnTo>
                    <a:pt x="35" y="76"/>
                  </a:lnTo>
                  <a:lnTo>
                    <a:pt x="80" y="76"/>
                  </a:lnTo>
                  <a:lnTo>
                    <a:pt x="80" y="105"/>
                  </a:lnTo>
                  <a:lnTo>
                    <a:pt x="35" y="105"/>
                  </a:lnTo>
                  <a:lnTo>
                    <a:pt x="35" y="150"/>
                  </a:lnTo>
                  <a:lnTo>
                    <a:pt x="85" y="150"/>
                  </a:lnTo>
                  <a:lnTo>
                    <a:pt x="85" y="181"/>
                  </a:lnTo>
                  <a:lnTo>
                    <a:pt x="0"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17" name="Freeform 2173"/>
            <p:cNvSpPr>
              <a:spLocks/>
            </p:cNvSpPr>
            <p:nvPr/>
          </p:nvSpPr>
          <p:spPr bwMode="auto">
            <a:xfrm>
              <a:off x="16759238" y="1093788"/>
              <a:ext cx="150813" cy="293688"/>
            </a:xfrm>
            <a:custGeom>
              <a:avLst/>
              <a:gdLst>
                <a:gd name="T0" fmla="*/ 1 w 40"/>
                <a:gd name="T1" fmla="*/ 74 h 78"/>
                <a:gd name="T2" fmla="*/ 1 w 40"/>
                <a:gd name="T3" fmla="*/ 59 h 78"/>
                <a:gd name="T4" fmla="*/ 16 w 40"/>
                <a:gd name="T5" fmla="*/ 66 h 78"/>
                <a:gd name="T6" fmla="*/ 22 w 40"/>
                <a:gd name="T7" fmla="*/ 63 h 78"/>
                <a:gd name="T8" fmla="*/ 25 w 40"/>
                <a:gd name="T9" fmla="*/ 57 h 78"/>
                <a:gd name="T10" fmla="*/ 23 w 40"/>
                <a:gd name="T11" fmla="*/ 51 h 78"/>
                <a:gd name="T12" fmla="*/ 14 w 40"/>
                <a:gd name="T13" fmla="*/ 45 h 78"/>
                <a:gd name="T14" fmla="*/ 0 w 40"/>
                <a:gd name="T15" fmla="*/ 23 h 78"/>
                <a:gd name="T16" fmla="*/ 6 w 40"/>
                <a:gd name="T17" fmla="*/ 7 h 78"/>
                <a:gd name="T18" fmla="*/ 22 w 40"/>
                <a:gd name="T19" fmla="*/ 0 h 78"/>
                <a:gd name="T20" fmla="*/ 37 w 40"/>
                <a:gd name="T21" fmla="*/ 3 h 78"/>
                <a:gd name="T22" fmla="*/ 37 w 40"/>
                <a:gd name="T23" fmla="*/ 17 h 78"/>
                <a:gd name="T24" fmla="*/ 24 w 40"/>
                <a:gd name="T25" fmla="*/ 13 h 78"/>
                <a:gd name="T26" fmla="*/ 18 w 40"/>
                <a:gd name="T27" fmla="*/ 15 h 78"/>
                <a:gd name="T28" fmla="*/ 15 w 40"/>
                <a:gd name="T29" fmla="*/ 21 h 78"/>
                <a:gd name="T30" fmla="*/ 24 w 40"/>
                <a:gd name="T31" fmla="*/ 33 h 78"/>
                <a:gd name="T32" fmla="*/ 37 w 40"/>
                <a:gd name="T33" fmla="*/ 44 h 78"/>
                <a:gd name="T34" fmla="*/ 40 w 40"/>
                <a:gd name="T35" fmla="*/ 56 h 78"/>
                <a:gd name="T36" fmla="*/ 34 w 40"/>
                <a:gd name="T37" fmla="*/ 72 h 78"/>
                <a:gd name="T38" fmla="*/ 17 w 40"/>
                <a:gd name="T39" fmla="*/ 78 h 78"/>
                <a:gd name="T40" fmla="*/ 8 w 40"/>
                <a:gd name="T41" fmla="*/ 77 h 78"/>
                <a:gd name="T42" fmla="*/ 1 w 40"/>
                <a:gd name="T43"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78">
                  <a:moveTo>
                    <a:pt x="1" y="74"/>
                  </a:moveTo>
                  <a:cubicBezTo>
                    <a:pt x="1" y="59"/>
                    <a:pt x="1" y="59"/>
                    <a:pt x="1" y="59"/>
                  </a:cubicBezTo>
                  <a:cubicBezTo>
                    <a:pt x="6" y="64"/>
                    <a:pt x="11" y="66"/>
                    <a:pt x="16" y="66"/>
                  </a:cubicBezTo>
                  <a:cubicBezTo>
                    <a:pt x="19" y="66"/>
                    <a:pt x="21" y="65"/>
                    <a:pt x="22" y="63"/>
                  </a:cubicBezTo>
                  <a:cubicBezTo>
                    <a:pt x="24" y="62"/>
                    <a:pt x="25" y="60"/>
                    <a:pt x="25" y="57"/>
                  </a:cubicBezTo>
                  <a:cubicBezTo>
                    <a:pt x="25" y="55"/>
                    <a:pt x="24" y="53"/>
                    <a:pt x="23" y="51"/>
                  </a:cubicBezTo>
                  <a:cubicBezTo>
                    <a:pt x="21" y="49"/>
                    <a:pt x="18" y="47"/>
                    <a:pt x="14" y="45"/>
                  </a:cubicBezTo>
                  <a:cubicBezTo>
                    <a:pt x="5" y="39"/>
                    <a:pt x="0" y="32"/>
                    <a:pt x="0" y="23"/>
                  </a:cubicBezTo>
                  <a:cubicBezTo>
                    <a:pt x="0" y="16"/>
                    <a:pt x="2" y="11"/>
                    <a:pt x="6" y="7"/>
                  </a:cubicBezTo>
                  <a:cubicBezTo>
                    <a:pt x="10" y="2"/>
                    <a:pt x="16" y="0"/>
                    <a:pt x="22" y="0"/>
                  </a:cubicBezTo>
                  <a:cubicBezTo>
                    <a:pt x="28" y="0"/>
                    <a:pt x="33" y="1"/>
                    <a:pt x="37" y="3"/>
                  </a:cubicBezTo>
                  <a:cubicBezTo>
                    <a:pt x="37" y="17"/>
                    <a:pt x="37" y="17"/>
                    <a:pt x="37" y="17"/>
                  </a:cubicBezTo>
                  <a:cubicBezTo>
                    <a:pt x="33" y="14"/>
                    <a:pt x="28" y="13"/>
                    <a:pt x="24" y="13"/>
                  </a:cubicBezTo>
                  <a:cubicBezTo>
                    <a:pt x="21" y="13"/>
                    <a:pt x="19" y="14"/>
                    <a:pt x="18" y="15"/>
                  </a:cubicBezTo>
                  <a:cubicBezTo>
                    <a:pt x="16" y="17"/>
                    <a:pt x="15" y="19"/>
                    <a:pt x="15" y="21"/>
                  </a:cubicBezTo>
                  <a:cubicBezTo>
                    <a:pt x="15" y="26"/>
                    <a:pt x="18" y="30"/>
                    <a:pt x="24" y="33"/>
                  </a:cubicBezTo>
                  <a:cubicBezTo>
                    <a:pt x="30" y="37"/>
                    <a:pt x="34" y="40"/>
                    <a:pt x="37" y="44"/>
                  </a:cubicBezTo>
                  <a:cubicBezTo>
                    <a:pt x="39" y="47"/>
                    <a:pt x="40" y="52"/>
                    <a:pt x="40" y="56"/>
                  </a:cubicBezTo>
                  <a:cubicBezTo>
                    <a:pt x="40" y="63"/>
                    <a:pt x="38" y="68"/>
                    <a:pt x="34" y="72"/>
                  </a:cubicBezTo>
                  <a:cubicBezTo>
                    <a:pt x="30" y="76"/>
                    <a:pt x="24" y="78"/>
                    <a:pt x="17" y="78"/>
                  </a:cubicBezTo>
                  <a:cubicBezTo>
                    <a:pt x="14" y="78"/>
                    <a:pt x="11" y="78"/>
                    <a:pt x="8" y="77"/>
                  </a:cubicBezTo>
                  <a:cubicBezTo>
                    <a:pt x="5" y="76"/>
                    <a:pt x="2" y="75"/>
                    <a:pt x="1"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18" name="Freeform 2174"/>
            <p:cNvSpPr>
              <a:spLocks/>
            </p:cNvSpPr>
            <p:nvPr/>
          </p:nvSpPr>
          <p:spPr bwMode="auto">
            <a:xfrm>
              <a:off x="16943388" y="1093788"/>
              <a:ext cx="134938" cy="287338"/>
            </a:xfrm>
            <a:custGeom>
              <a:avLst/>
              <a:gdLst>
                <a:gd name="T0" fmla="*/ 0 w 85"/>
                <a:gd name="T1" fmla="*/ 181 h 181"/>
                <a:gd name="T2" fmla="*/ 0 w 85"/>
                <a:gd name="T3" fmla="*/ 0 h 181"/>
                <a:gd name="T4" fmla="*/ 83 w 85"/>
                <a:gd name="T5" fmla="*/ 0 h 181"/>
                <a:gd name="T6" fmla="*/ 83 w 85"/>
                <a:gd name="T7" fmla="*/ 31 h 181"/>
                <a:gd name="T8" fmla="*/ 35 w 85"/>
                <a:gd name="T9" fmla="*/ 31 h 181"/>
                <a:gd name="T10" fmla="*/ 35 w 85"/>
                <a:gd name="T11" fmla="*/ 76 h 181"/>
                <a:gd name="T12" fmla="*/ 80 w 85"/>
                <a:gd name="T13" fmla="*/ 76 h 181"/>
                <a:gd name="T14" fmla="*/ 80 w 85"/>
                <a:gd name="T15" fmla="*/ 105 h 181"/>
                <a:gd name="T16" fmla="*/ 35 w 85"/>
                <a:gd name="T17" fmla="*/ 105 h 181"/>
                <a:gd name="T18" fmla="*/ 35 w 85"/>
                <a:gd name="T19" fmla="*/ 150 h 181"/>
                <a:gd name="T20" fmla="*/ 85 w 85"/>
                <a:gd name="T21" fmla="*/ 150 h 181"/>
                <a:gd name="T22" fmla="*/ 85 w 85"/>
                <a:gd name="T23" fmla="*/ 181 h 181"/>
                <a:gd name="T24" fmla="*/ 0 w 85"/>
                <a:gd name="T25"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81">
                  <a:moveTo>
                    <a:pt x="0" y="181"/>
                  </a:moveTo>
                  <a:lnTo>
                    <a:pt x="0" y="0"/>
                  </a:lnTo>
                  <a:lnTo>
                    <a:pt x="83" y="0"/>
                  </a:lnTo>
                  <a:lnTo>
                    <a:pt x="83" y="31"/>
                  </a:lnTo>
                  <a:lnTo>
                    <a:pt x="35" y="31"/>
                  </a:lnTo>
                  <a:lnTo>
                    <a:pt x="35" y="76"/>
                  </a:lnTo>
                  <a:lnTo>
                    <a:pt x="80" y="76"/>
                  </a:lnTo>
                  <a:lnTo>
                    <a:pt x="80" y="105"/>
                  </a:lnTo>
                  <a:lnTo>
                    <a:pt x="35" y="105"/>
                  </a:lnTo>
                  <a:lnTo>
                    <a:pt x="35" y="150"/>
                  </a:lnTo>
                  <a:lnTo>
                    <a:pt x="85" y="150"/>
                  </a:lnTo>
                  <a:lnTo>
                    <a:pt x="85" y="181"/>
                  </a:lnTo>
                  <a:lnTo>
                    <a:pt x="0"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19" name="Freeform 2175"/>
            <p:cNvSpPr>
              <a:spLocks noEditPoints="1"/>
            </p:cNvSpPr>
            <p:nvPr/>
          </p:nvSpPr>
          <p:spPr bwMode="auto">
            <a:xfrm>
              <a:off x="17111663" y="1093788"/>
              <a:ext cx="176213" cy="287338"/>
            </a:xfrm>
            <a:custGeom>
              <a:avLst/>
              <a:gdLst>
                <a:gd name="T0" fmla="*/ 31 w 47"/>
                <a:gd name="T1" fmla="*/ 76 h 76"/>
                <a:gd name="T2" fmla="*/ 26 w 47"/>
                <a:gd name="T3" fmla="*/ 57 h 76"/>
                <a:gd name="T4" fmla="*/ 17 w 47"/>
                <a:gd name="T5" fmla="*/ 47 h 76"/>
                <a:gd name="T6" fmla="*/ 15 w 47"/>
                <a:gd name="T7" fmla="*/ 47 h 76"/>
                <a:gd name="T8" fmla="*/ 15 w 47"/>
                <a:gd name="T9" fmla="*/ 76 h 76"/>
                <a:gd name="T10" fmla="*/ 0 w 47"/>
                <a:gd name="T11" fmla="*/ 76 h 76"/>
                <a:gd name="T12" fmla="*/ 0 w 47"/>
                <a:gd name="T13" fmla="*/ 0 h 76"/>
                <a:gd name="T14" fmla="*/ 21 w 47"/>
                <a:gd name="T15" fmla="*/ 0 h 76"/>
                <a:gd name="T16" fmla="*/ 44 w 47"/>
                <a:gd name="T17" fmla="*/ 21 h 76"/>
                <a:gd name="T18" fmla="*/ 31 w 47"/>
                <a:gd name="T19" fmla="*/ 41 h 76"/>
                <a:gd name="T20" fmla="*/ 31 w 47"/>
                <a:gd name="T21" fmla="*/ 41 h 76"/>
                <a:gd name="T22" fmla="*/ 40 w 47"/>
                <a:gd name="T23" fmla="*/ 55 h 76"/>
                <a:gd name="T24" fmla="*/ 47 w 47"/>
                <a:gd name="T25" fmla="*/ 76 h 76"/>
                <a:gd name="T26" fmla="*/ 31 w 47"/>
                <a:gd name="T27" fmla="*/ 76 h 76"/>
                <a:gd name="T28" fmla="*/ 15 w 47"/>
                <a:gd name="T29" fmla="*/ 12 h 76"/>
                <a:gd name="T30" fmla="*/ 15 w 47"/>
                <a:gd name="T31" fmla="*/ 34 h 76"/>
                <a:gd name="T32" fmla="*/ 20 w 47"/>
                <a:gd name="T33" fmla="*/ 34 h 76"/>
                <a:gd name="T34" fmla="*/ 26 w 47"/>
                <a:gd name="T35" fmla="*/ 31 h 76"/>
                <a:gd name="T36" fmla="*/ 29 w 47"/>
                <a:gd name="T37" fmla="*/ 23 h 76"/>
                <a:gd name="T38" fmla="*/ 27 w 47"/>
                <a:gd name="T39" fmla="*/ 15 h 76"/>
                <a:gd name="T40" fmla="*/ 20 w 47"/>
                <a:gd name="T41" fmla="*/ 12 h 76"/>
                <a:gd name="T42" fmla="*/ 15 w 47"/>
                <a:gd name="T43" fmla="*/ 1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 h="76">
                  <a:moveTo>
                    <a:pt x="31" y="76"/>
                  </a:moveTo>
                  <a:cubicBezTo>
                    <a:pt x="26" y="57"/>
                    <a:pt x="26" y="57"/>
                    <a:pt x="26" y="57"/>
                  </a:cubicBezTo>
                  <a:cubicBezTo>
                    <a:pt x="24" y="50"/>
                    <a:pt x="21" y="47"/>
                    <a:pt x="17" y="47"/>
                  </a:cubicBezTo>
                  <a:cubicBezTo>
                    <a:pt x="15" y="47"/>
                    <a:pt x="15" y="47"/>
                    <a:pt x="15" y="47"/>
                  </a:cubicBezTo>
                  <a:cubicBezTo>
                    <a:pt x="15" y="76"/>
                    <a:pt x="15" y="76"/>
                    <a:pt x="15" y="76"/>
                  </a:cubicBezTo>
                  <a:cubicBezTo>
                    <a:pt x="0" y="76"/>
                    <a:pt x="0" y="76"/>
                    <a:pt x="0" y="76"/>
                  </a:cubicBezTo>
                  <a:cubicBezTo>
                    <a:pt x="0" y="0"/>
                    <a:pt x="0" y="0"/>
                    <a:pt x="0" y="0"/>
                  </a:cubicBezTo>
                  <a:cubicBezTo>
                    <a:pt x="21" y="0"/>
                    <a:pt x="21" y="0"/>
                    <a:pt x="21" y="0"/>
                  </a:cubicBezTo>
                  <a:cubicBezTo>
                    <a:pt x="37" y="0"/>
                    <a:pt x="44" y="7"/>
                    <a:pt x="44" y="21"/>
                  </a:cubicBezTo>
                  <a:cubicBezTo>
                    <a:pt x="44" y="31"/>
                    <a:pt x="40" y="38"/>
                    <a:pt x="31" y="41"/>
                  </a:cubicBezTo>
                  <a:cubicBezTo>
                    <a:pt x="31" y="41"/>
                    <a:pt x="31" y="41"/>
                    <a:pt x="31" y="41"/>
                  </a:cubicBezTo>
                  <a:cubicBezTo>
                    <a:pt x="35" y="43"/>
                    <a:pt x="38" y="47"/>
                    <a:pt x="40" y="55"/>
                  </a:cubicBezTo>
                  <a:cubicBezTo>
                    <a:pt x="47" y="76"/>
                    <a:pt x="47" y="76"/>
                    <a:pt x="47" y="76"/>
                  </a:cubicBezTo>
                  <a:lnTo>
                    <a:pt x="31" y="76"/>
                  </a:lnTo>
                  <a:close/>
                  <a:moveTo>
                    <a:pt x="15" y="12"/>
                  </a:moveTo>
                  <a:cubicBezTo>
                    <a:pt x="15" y="34"/>
                    <a:pt x="15" y="34"/>
                    <a:pt x="15" y="34"/>
                  </a:cubicBezTo>
                  <a:cubicBezTo>
                    <a:pt x="20" y="34"/>
                    <a:pt x="20" y="34"/>
                    <a:pt x="20" y="34"/>
                  </a:cubicBezTo>
                  <a:cubicBezTo>
                    <a:pt x="22" y="34"/>
                    <a:pt x="25" y="33"/>
                    <a:pt x="26" y="31"/>
                  </a:cubicBezTo>
                  <a:cubicBezTo>
                    <a:pt x="28" y="29"/>
                    <a:pt x="29" y="26"/>
                    <a:pt x="29" y="23"/>
                  </a:cubicBezTo>
                  <a:cubicBezTo>
                    <a:pt x="29" y="20"/>
                    <a:pt x="28" y="17"/>
                    <a:pt x="27" y="15"/>
                  </a:cubicBezTo>
                  <a:cubicBezTo>
                    <a:pt x="25" y="13"/>
                    <a:pt x="23" y="12"/>
                    <a:pt x="20" y="12"/>
                  </a:cubicBezTo>
                  <a:lnTo>
                    <a:pt x="15"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20" name="Freeform 2176"/>
            <p:cNvSpPr>
              <a:spLocks/>
            </p:cNvSpPr>
            <p:nvPr/>
          </p:nvSpPr>
          <p:spPr bwMode="auto">
            <a:xfrm>
              <a:off x="17300575" y="1093788"/>
              <a:ext cx="201613" cy="287338"/>
            </a:xfrm>
            <a:custGeom>
              <a:avLst/>
              <a:gdLst>
                <a:gd name="T0" fmla="*/ 35 w 54"/>
                <a:gd name="T1" fmla="*/ 76 h 76"/>
                <a:gd name="T2" fmla="*/ 19 w 54"/>
                <a:gd name="T3" fmla="*/ 76 h 76"/>
                <a:gd name="T4" fmla="*/ 0 w 54"/>
                <a:gd name="T5" fmla="*/ 0 h 76"/>
                <a:gd name="T6" fmla="*/ 15 w 54"/>
                <a:gd name="T7" fmla="*/ 0 h 76"/>
                <a:gd name="T8" fmla="*/ 26 w 54"/>
                <a:gd name="T9" fmla="*/ 50 h 76"/>
                <a:gd name="T10" fmla="*/ 27 w 54"/>
                <a:gd name="T11" fmla="*/ 60 h 76"/>
                <a:gd name="T12" fmla="*/ 27 w 54"/>
                <a:gd name="T13" fmla="*/ 60 h 76"/>
                <a:gd name="T14" fmla="*/ 28 w 54"/>
                <a:gd name="T15" fmla="*/ 58 h 76"/>
                <a:gd name="T16" fmla="*/ 29 w 54"/>
                <a:gd name="T17" fmla="*/ 50 h 76"/>
                <a:gd name="T18" fmla="*/ 39 w 54"/>
                <a:gd name="T19" fmla="*/ 0 h 76"/>
                <a:gd name="T20" fmla="*/ 54 w 54"/>
                <a:gd name="T21" fmla="*/ 0 h 76"/>
                <a:gd name="T22" fmla="*/ 35 w 54"/>
                <a:gd name="T2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76">
                  <a:moveTo>
                    <a:pt x="35" y="76"/>
                  </a:moveTo>
                  <a:cubicBezTo>
                    <a:pt x="19" y="76"/>
                    <a:pt x="19" y="76"/>
                    <a:pt x="19" y="76"/>
                  </a:cubicBezTo>
                  <a:cubicBezTo>
                    <a:pt x="0" y="0"/>
                    <a:pt x="0" y="0"/>
                    <a:pt x="0" y="0"/>
                  </a:cubicBezTo>
                  <a:cubicBezTo>
                    <a:pt x="15" y="0"/>
                    <a:pt x="15" y="0"/>
                    <a:pt x="15" y="0"/>
                  </a:cubicBezTo>
                  <a:cubicBezTo>
                    <a:pt x="26" y="50"/>
                    <a:pt x="26" y="50"/>
                    <a:pt x="26" y="50"/>
                  </a:cubicBezTo>
                  <a:cubicBezTo>
                    <a:pt x="26" y="53"/>
                    <a:pt x="27" y="56"/>
                    <a:pt x="27" y="60"/>
                  </a:cubicBezTo>
                  <a:cubicBezTo>
                    <a:pt x="27" y="60"/>
                    <a:pt x="27" y="60"/>
                    <a:pt x="27" y="60"/>
                  </a:cubicBezTo>
                  <a:cubicBezTo>
                    <a:pt x="28" y="58"/>
                    <a:pt x="28" y="58"/>
                    <a:pt x="28" y="58"/>
                  </a:cubicBezTo>
                  <a:cubicBezTo>
                    <a:pt x="28" y="55"/>
                    <a:pt x="28" y="53"/>
                    <a:pt x="29" y="50"/>
                  </a:cubicBezTo>
                  <a:cubicBezTo>
                    <a:pt x="39" y="0"/>
                    <a:pt x="39" y="0"/>
                    <a:pt x="39" y="0"/>
                  </a:cubicBezTo>
                  <a:cubicBezTo>
                    <a:pt x="54" y="0"/>
                    <a:pt x="54" y="0"/>
                    <a:pt x="54" y="0"/>
                  </a:cubicBezTo>
                  <a:lnTo>
                    <a:pt x="3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21" name="Freeform 2177"/>
            <p:cNvSpPr>
              <a:spLocks/>
            </p:cNvSpPr>
            <p:nvPr/>
          </p:nvSpPr>
          <p:spPr bwMode="auto">
            <a:xfrm>
              <a:off x="17532350" y="1093788"/>
              <a:ext cx="134938" cy="287338"/>
            </a:xfrm>
            <a:custGeom>
              <a:avLst/>
              <a:gdLst>
                <a:gd name="T0" fmla="*/ 0 w 85"/>
                <a:gd name="T1" fmla="*/ 181 h 181"/>
                <a:gd name="T2" fmla="*/ 0 w 85"/>
                <a:gd name="T3" fmla="*/ 0 h 181"/>
                <a:gd name="T4" fmla="*/ 81 w 85"/>
                <a:gd name="T5" fmla="*/ 0 h 181"/>
                <a:gd name="T6" fmla="*/ 81 w 85"/>
                <a:gd name="T7" fmla="*/ 31 h 181"/>
                <a:gd name="T8" fmla="*/ 33 w 85"/>
                <a:gd name="T9" fmla="*/ 31 h 181"/>
                <a:gd name="T10" fmla="*/ 33 w 85"/>
                <a:gd name="T11" fmla="*/ 76 h 181"/>
                <a:gd name="T12" fmla="*/ 78 w 85"/>
                <a:gd name="T13" fmla="*/ 76 h 181"/>
                <a:gd name="T14" fmla="*/ 78 w 85"/>
                <a:gd name="T15" fmla="*/ 105 h 181"/>
                <a:gd name="T16" fmla="*/ 33 w 85"/>
                <a:gd name="T17" fmla="*/ 105 h 181"/>
                <a:gd name="T18" fmla="*/ 33 w 85"/>
                <a:gd name="T19" fmla="*/ 150 h 181"/>
                <a:gd name="T20" fmla="*/ 85 w 85"/>
                <a:gd name="T21" fmla="*/ 150 h 181"/>
                <a:gd name="T22" fmla="*/ 85 w 85"/>
                <a:gd name="T23" fmla="*/ 181 h 181"/>
                <a:gd name="T24" fmla="*/ 0 w 85"/>
                <a:gd name="T25"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81">
                  <a:moveTo>
                    <a:pt x="0" y="181"/>
                  </a:moveTo>
                  <a:lnTo>
                    <a:pt x="0" y="0"/>
                  </a:lnTo>
                  <a:lnTo>
                    <a:pt x="81" y="0"/>
                  </a:lnTo>
                  <a:lnTo>
                    <a:pt x="81" y="31"/>
                  </a:lnTo>
                  <a:lnTo>
                    <a:pt x="33" y="31"/>
                  </a:lnTo>
                  <a:lnTo>
                    <a:pt x="33" y="76"/>
                  </a:lnTo>
                  <a:lnTo>
                    <a:pt x="78" y="76"/>
                  </a:lnTo>
                  <a:lnTo>
                    <a:pt x="78" y="105"/>
                  </a:lnTo>
                  <a:lnTo>
                    <a:pt x="33" y="105"/>
                  </a:lnTo>
                  <a:lnTo>
                    <a:pt x="33" y="150"/>
                  </a:lnTo>
                  <a:lnTo>
                    <a:pt x="85" y="150"/>
                  </a:lnTo>
                  <a:lnTo>
                    <a:pt x="85" y="181"/>
                  </a:lnTo>
                  <a:lnTo>
                    <a:pt x="0"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22" name="Freeform 2178"/>
            <p:cNvSpPr>
              <a:spLocks noEditPoints="1"/>
            </p:cNvSpPr>
            <p:nvPr/>
          </p:nvSpPr>
          <p:spPr bwMode="auto">
            <a:xfrm>
              <a:off x="17702213" y="1093788"/>
              <a:ext cx="176213" cy="287338"/>
            </a:xfrm>
            <a:custGeom>
              <a:avLst/>
              <a:gdLst>
                <a:gd name="T0" fmla="*/ 30 w 47"/>
                <a:gd name="T1" fmla="*/ 76 h 76"/>
                <a:gd name="T2" fmla="*/ 25 w 47"/>
                <a:gd name="T3" fmla="*/ 57 h 76"/>
                <a:gd name="T4" fmla="*/ 17 w 47"/>
                <a:gd name="T5" fmla="*/ 47 h 76"/>
                <a:gd name="T6" fmla="*/ 14 w 47"/>
                <a:gd name="T7" fmla="*/ 47 h 76"/>
                <a:gd name="T8" fmla="*/ 14 w 47"/>
                <a:gd name="T9" fmla="*/ 76 h 76"/>
                <a:gd name="T10" fmla="*/ 0 w 47"/>
                <a:gd name="T11" fmla="*/ 76 h 76"/>
                <a:gd name="T12" fmla="*/ 0 w 47"/>
                <a:gd name="T13" fmla="*/ 0 h 76"/>
                <a:gd name="T14" fmla="*/ 21 w 47"/>
                <a:gd name="T15" fmla="*/ 0 h 76"/>
                <a:gd name="T16" fmla="*/ 44 w 47"/>
                <a:gd name="T17" fmla="*/ 21 h 76"/>
                <a:gd name="T18" fmla="*/ 30 w 47"/>
                <a:gd name="T19" fmla="*/ 41 h 76"/>
                <a:gd name="T20" fmla="*/ 30 w 47"/>
                <a:gd name="T21" fmla="*/ 41 h 76"/>
                <a:gd name="T22" fmla="*/ 40 w 47"/>
                <a:gd name="T23" fmla="*/ 55 h 76"/>
                <a:gd name="T24" fmla="*/ 47 w 47"/>
                <a:gd name="T25" fmla="*/ 76 h 76"/>
                <a:gd name="T26" fmla="*/ 30 w 47"/>
                <a:gd name="T27" fmla="*/ 76 h 76"/>
                <a:gd name="T28" fmla="*/ 14 w 47"/>
                <a:gd name="T29" fmla="*/ 12 h 76"/>
                <a:gd name="T30" fmla="*/ 14 w 47"/>
                <a:gd name="T31" fmla="*/ 34 h 76"/>
                <a:gd name="T32" fmla="*/ 19 w 47"/>
                <a:gd name="T33" fmla="*/ 34 h 76"/>
                <a:gd name="T34" fmla="*/ 26 w 47"/>
                <a:gd name="T35" fmla="*/ 31 h 76"/>
                <a:gd name="T36" fmla="*/ 29 w 47"/>
                <a:gd name="T37" fmla="*/ 23 h 76"/>
                <a:gd name="T38" fmla="*/ 26 w 47"/>
                <a:gd name="T39" fmla="*/ 15 h 76"/>
                <a:gd name="T40" fmla="*/ 19 w 47"/>
                <a:gd name="T41" fmla="*/ 12 h 76"/>
                <a:gd name="T42" fmla="*/ 14 w 47"/>
                <a:gd name="T43" fmla="*/ 1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 h="76">
                  <a:moveTo>
                    <a:pt x="30" y="76"/>
                  </a:moveTo>
                  <a:cubicBezTo>
                    <a:pt x="25" y="57"/>
                    <a:pt x="25" y="57"/>
                    <a:pt x="25" y="57"/>
                  </a:cubicBezTo>
                  <a:cubicBezTo>
                    <a:pt x="23" y="50"/>
                    <a:pt x="20" y="47"/>
                    <a:pt x="17" y="47"/>
                  </a:cubicBezTo>
                  <a:cubicBezTo>
                    <a:pt x="14" y="47"/>
                    <a:pt x="14" y="47"/>
                    <a:pt x="14" y="47"/>
                  </a:cubicBezTo>
                  <a:cubicBezTo>
                    <a:pt x="14" y="76"/>
                    <a:pt x="14" y="76"/>
                    <a:pt x="14" y="76"/>
                  </a:cubicBezTo>
                  <a:cubicBezTo>
                    <a:pt x="0" y="76"/>
                    <a:pt x="0" y="76"/>
                    <a:pt x="0" y="76"/>
                  </a:cubicBezTo>
                  <a:cubicBezTo>
                    <a:pt x="0" y="0"/>
                    <a:pt x="0" y="0"/>
                    <a:pt x="0" y="0"/>
                  </a:cubicBezTo>
                  <a:cubicBezTo>
                    <a:pt x="21" y="0"/>
                    <a:pt x="21" y="0"/>
                    <a:pt x="21" y="0"/>
                  </a:cubicBezTo>
                  <a:cubicBezTo>
                    <a:pt x="36" y="0"/>
                    <a:pt x="44" y="7"/>
                    <a:pt x="44" y="21"/>
                  </a:cubicBezTo>
                  <a:cubicBezTo>
                    <a:pt x="44" y="31"/>
                    <a:pt x="39" y="38"/>
                    <a:pt x="30" y="41"/>
                  </a:cubicBezTo>
                  <a:cubicBezTo>
                    <a:pt x="30" y="41"/>
                    <a:pt x="30" y="41"/>
                    <a:pt x="30" y="41"/>
                  </a:cubicBezTo>
                  <a:cubicBezTo>
                    <a:pt x="34" y="43"/>
                    <a:pt x="37" y="47"/>
                    <a:pt x="40" y="55"/>
                  </a:cubicBezTo>
                  <a:cubicBezTo>
                    <a:pt x="47" y="76"/>
                    <a:pt x="47" y="76"/>
                    <a:pt x="47" y="76"/>
                  </a:cubicBezTo>
                  <a:lnTo>
                    <a:pt x="30" y="76"/>
                  </a:lnTo>
                  <a:close/>
                  <a:moveTo>
                    <a:pt x="14" y="12"/>
                  </a:moveTo>
                  <a:cubicBezTo>
                    <a:pt x="14" y="34"/>
                    <a:pt x="14" y="34"/>
                    <a:pt x="14" y="34"/>
                  </a:cubicBezTo>
                  <a:cubicBezTo>
                    <a:pt x="19" y="34"/>
                    <a:pt x="19" y="34"/>
                    <a:pt x="19" y="34"/>
                  </a:cubicBezTo>
                  <a:cubicBezTo>
                    <a:pt x="22" y="34"/>
                    <a:pt x="24" y="33"/>
                    <a:pt x="26" y="31"/>
                  </a:cubicBezTo>
                  <a:cubicBezTo>
                    <a:pt x="28" y="29"/>
                    <a:pt x="29" y="26"/>
                    <a:pt x="29" y="23"/>
                  </a:cubicBezTo>
                  <a:cubicBezTo>
                    <a:pt x="29" y="20"/>
                    <a:pt x="28" y="17"/>
                    <a:pt x="26" y="15"/>
                  </a:cubicBezTo>
                  <a:cubicBezTo>
                    <a:pt x="24" y="13"/>
                    <a:pt x="22" y="12"/>
                    <a:pt x="19" y="12"/>
                  </a:cubicBezTo>
                  <a:lnTo>
                    <a:pt x="1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23" name="Freeform 2179"/>
            <p:cNvSpPr>
              <a:spLocks/>
            </p:cNvSpPr>
            <p:nvPr/>
          </p:nvSpPr>
          <p:spPr bwMode="auto">
            <a:xfrm>
              <a:off x="15768638" y="1433513"/>
              <a:ext cx="127000" cy="233363"/>
            </a:xfrm>
            <a:custGeom>
              <a:avLst/>
              <a:gdLst>
                <a:gd name="T0" fmla="*/ 34 w 34"/>
                <a:gd name="T1" fmla="*/ 59 h 62"/>
                <a:gd name="T2" fmla="*/ 23 w 34"/>
                <a:gd name="T3" fmla="*/ 62 h 62"/>
                <a:gd name="T4" fmla="*/ 6 w 34"/>
                <a:gd name="T5" fmla="*/ 54 h 62"/>
                <a:gd name="T6" fmla="*/ 0 w 34"/>
                <a:gd name="T7" fmla="*/ 33 h 62"/>
                <a:gd name="T8" fmla="*/ 6 w 34"/>
                <a:gd name="T9" fmla="*/ 9 h 62"/>
                <a:gd name="T10" fmla="*/ 24 w 34"/>
                <a:gd name="T11" fmla="*/ 0 h 62"/>
                <a:gd name="T12" fmla="*/ 34 w 34"/>
                <a:gd name="T13" fmla="*/ 2 h 62"/>
                <a:gd name="T14" fmla="*/ 34 w 34"/>
                <a:gd name="T15" fmla="*/ 13 h 62"/>
                <a:gd name="T16" fmla="*/ 25 w 34"/>
                <a:gd name="T17" fmla="*/ 10 h 62"/>
                <a:gd name="T18" fmla="*/ 15 w 34"/>
                <a:gd name="T19" fmla="*/ 16 h 62"/>
                <a:gd name="T20" fmla="*/ 12 w 34"/>
                <a:gd name="T21" fmla="*/ 31 h 62"/>
                <a:gd name="T22" fmla="*/ 15 w 34"/>
                <a:gd name="T23" fmla="*/ 47 h 62"/>
                <a:gd name="T24" fmla="*/ 25 w 34"/>
                <a:gd name="T25" fmla="*/ 52 h 62"/>
                <a:gd name="T26" fmla="*/ 34 w 34"/>
                <a:gd name="T27" fmla="*/ 49 h 62"/>
                <a:gd name="T28" fmla="*/ 34 w 34"/>
                <a:gd name="T29"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62">
                  <a:moveTo>
                    <a:pt x="34" y="59"/>
                  </a:moveTo>
                  <a:cubicBezTo>
                    <a:pt x="31" y="61"/>
                    <a:pt x="27" y="62"/>
                    <a:pt x="23" y="62"/>
                  </a:cubicBezTo>
                  <a:cubicBezTo>
                    <a:pt x="16" y="62"/>
                    <a:pt x="10" y="59"/>
                    <a:pt x="6" y="54"/>
                  </a:cubicBezTo>
                  <a:cubicBezTo>
                    <a:pt x="2" y="49"/>
                    <a:pt x="0" y="42"/>
                    <a:pt x="0" y="33"/>
                  </a:cubicBezTo>
                  <a:cubicBezTo>
                    <a:pt x="0" y="22"/>
                    <a:pt x="2" y="14"/>
                    <a:pt x="6" y="9"/>
                  </a:cubicBezTo>
                  <a:cubicBezTo>
                    <a:pt x="11" y="3"/>
                    <a:pt x="17" y="0"/>
                    <a:pt x="24" y="0"/>
                  </a:cubicBezTo>
                  <a:cubicBezTo>
                    <a:pt x="28" y="0"/>
                    <a:pt x="31" y="1"/>
                    <a:pt x="34" y="2"/>
                  </a:cubicBezTo>
                  <a:cubicBezTo>
                    <a:pt x="34" y="13"/>
                    <a:pt x="34" y="13"/>
                    <a:pt x="34" y="13"/>
                  </a:cubicBezTo>
                  <a:cubicBezTo>
                    <a:pt x="32" y="11"/>
                    <a:pt x="28" y="10"/>
                    <a:pt x="25" y="10"/>
                  </a:cubicBezTo>
                  <a:cubicBezTo>
                    <a:pt x="21" y="10"/>
                    <a:pt x="18" y="12"/>
                    <a:pt x="15" y="16"/>
                  </a:cubicBezTo>
                  <a:cubicBezTo>
                    <a:pt x="13" y="20"/>
                    <a:pt x="12" y="25"/>
                    <a:pt x="12" y="31"/>
                  </a:cubicBezTo>
                  <a:cubicBezTo>
                    <a:pt x="12" y="38"/>
                    <a:pt x="13" y="43"/>
                    <a:pt x="15" y="47"/>
                  </a:cubicBezTo>
                  <a:cubicBezTo>
                    <a:pt x="17" y="50"/>
                    <a:pt x="21" y="52"/>
                    <a:pt x="25" y="52"/>
                  </a:cubicBezTo>
                  <a:cubicBezTo>
                    <a:pt x="28" y="52"/>
                    <a:pt x="31" y="51"/>
                    <a:pt x="34" y="49"/>
                  </a:cubicBezTo>
                  <a:lnTo>
                    <a:pt x="34"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24" name="Freeform 2180"/>
            <p:cNvSpPr>
              <a:spLocks noEditPoints="1"/>
            </p:cNvSpPr>
            <p:nvPr/>
          </p:nvSpPr>
          <p:spPr bwMode="auto">
            <a:xfrm>
              <a:off x="15909925" y="1433513"/>
              <a:ext cx="161925" cy="233363"/>
            </a:xfrm>
            <a:custGeom>
              <a:avLst/>
              <a:gdLst>
                <a:gd name="T0" fmla="*/ 22 w 43"/>
                <a:gd name="T1" fmla="*/ 62 h 62"/>
                <a:gd name="T2" fmla="*/ 6 w 43"/>
                <a:gd name="T3" fmla="*/ 54 h 62"/>
                <a:gd name="T4" fmla="*/ 0 w 43"/>
                <a:gd name="T5" fmla="*/ 32 h 62"/>
                <a:gd name="T6" fmla="*/ 6 w 43"/>
                <a:gd name="T7" fmla="*/ 9 h 62"/>
                <a:gd name="T8" fmla="*/ 22 w 43"/>
                <a:gd name="T9" fmla="*/ 0 h 62"/>
                <a:gd name="T10" fmla="*/ 38 w 43"/>
                <a:gd name="T11" fmla="*/ 8 h 62"/>
                <a:gd name="T12" fmla="*/ 43 w 43"/>
                <a:gd name="T13" fmla="*/ 31 h 62"/>
                <a:gd name="T14" fmla="*/ 38 w 43"/>
                <a:gd name="T15" fmla="*/ 54 h 62"/>
                <a:gd name="T16" fmla="*/ 22 w 43"/>
                <a:gd name="T17" fmla="*/ 62 h 62"/>
                <a:gd name="T18" fmla="*/ 22 w 43"/>
                <a:gd name="T19" fmla="*/ 10 h 62"/>
                <a:gd name="T20" fmla="*/ 12 w 43"/>
                <a:gd name="T21" fmla="*/ 31 h 62"/>
                <a:gd name="T22" fmla="*/ 22 w 43"/>
                <a:gd name="T23" fmla="*/ 52 h 62"/>
                <a:gd name="T24" fmla="*/ 29 w 43"/>
                <a:gd name="T25" fmla="*/ 47 h 62"/>
                <a:gd name="T26" fmla="*/ 31 w 43"/>
                <a:gd name="T27" fmla="*/ 32 h 62"/>
                <a:gd name="T28" fmla="*/ 22 w 43"/>
                <a:gd name="T29" fmla="*/ 1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2">
                  <a:moveTo>
                    <a:pt x="22" y="62"/>
                  </a:moveTo>
                  <a:cubicBezTo>
                    <a:pt x="15" y="62"/>
                    <a:pt x="10" y="59"/>
                    <a:pt x="6" y="54"/>
                  </a:cubicBezTo>
                  <a:cubicBezTo>
                    <a:pt x="2" y="49"/>
                    <a:pt x="0" y="41"/>
                    <a:pt x="0" y="32"/>
                  </a:cubicBezTo>
                  <a:cubicBezTo>
                    <a:pt x="0" y="22"/>
                    <a:pt x="2" y="14"/>
                    <a:pt x="6" y="9"/>
                  </a:cubicBezTo>
                  <a:cubicBezTo>
                    <a:pt x="10" y="3"/>
                    <a:pt x="15" y="0"/>
                    <a:pt x="22" y="0"/>
                  </a:cubicBezTo>
                  <a:cubicBezTo>
                    <a:pt x="29" y="0"/>
                    <a:pt x="34" y="3"/>
                    <a:pt x="38" y="8"/>
                  </a:cubicBezTo>
                  <a:cubicBezTo>
                    <a:pt x="42" y="13"/>
                    <a:pt x="43" y="21"/>
                    <a:pt x="43" y="31"/>
                  </a:cubicBezTo>
                  <a:cubicBezTo>
                    <a:pt x="43" y="41"/>
                    <a:pt x="41" y="49"/>
                    <a:pt x="38" y="54"/>
                  </a:cubicBezTo>
                  <a:cubicBezTo>
                    <a:pt x="34" y="59"/>
                    <a:pt x="29" y="62"/>
                    <a:pt x="22" y="62"/>
                  </a:cubicBezTo>
                  <a:close/>
                  <a:moveTo>
                    <a:pt x="22" y="10"/>
                  </a:moveTo>
                  <a:cubicBezTo>
                    <a:pt x="16" y="10"/>
                    <a:pt x="12" y="17"/>
                    <a:pt x="12" y="31"/>
                  </a:cubicBezTo>
                  <a:cubicBezTo>
                    <a:pt x="12" y="45"/>
                    <a:pt x="16" y="52"/>
                    <a:pt x="22" y="52"/>
                  </a:cubicBezTo>
                  <a:cubicBezTo>
                    <a:pt x="25" y="52"/>
                    <a:pt x="27" y="50"/>
                    <a:pt x="29" y="47"/>
                  </a:cubicBezTo>
                  <a:cubicBezTo>
                    <a:pt x="31" y="43"/>
                    <a:pt x="31" y="38"/>
                    <a:pt x="31" y="32"/>
                  </a:cubicBezTo>
                  <a:cubicBezTo>
                    <a:pt x="31" y="17"/>
                    <a:pt x="28" y="10"/>
                    <a:pt x="22"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25" name="Freeform 2181"/>
            <p:cNvSpPr>
              <a:spLocks/>
            </p:cNvSpPr>
            <p:nvPr/>
          </p:nvSpPr>
          <p:spPr bwMode="auto">
            <a:xfrm>
              <a:off x="16102013" y="1436688"/>
              <a:ext cx="192088" cy="225425"/>
            </a:xfrm>
            <a:custGeom>
              <a:avLst/>
              <a:gdLst>
                <a:gd name="T0" fmla="*/ 42 w 51"/>
                <a:gd name="T1" fmla="*/ 60 h 60"/>
                <a:gd name="T2" fmla="*/ 42 w 51"/>
                <a:gd name="T3" fmla="*/ 25 h 60"/>
                <a:gd name="T4" fmla="*/ 42 w 51"/>
                <a:gd name="T5" fmla="*/ 12 h 60"/>
                <a:gd name="T6" fmla="*/ 42 w 51"/>
                <a:gd name="T7" fmla="*/ 12 h 60"/>
                <a:gd name="T8" fmla="*/ 40 w 51"/>
                <a:gd name="T9" fmla="*/ 22 h 60"/>
                <a:gd name="T10" fmla="*/ 31 w 51"/>
                <a:gd name="T11" fmla="*/ 60 h 60"/>
                <a:gd name="T12" fmla="*/ 21 w 51"/>
                <a:gd name="T13" fmla="*/ 60 h 60"/>
                <a:gd name="T14" fmla="*/ 12 w 51"/>
                <a:gd name="T15" fmla="*/ 22 h 60"/>
                <a:gd name="T16" fmla="*/ 10 w 51"/>
                <a:gd name="T17" fmla="*/ 12 h 60"/>
                <a:gd name="T18" fmla="*/ 10 w 51"/>
                <a:gd name="T19" fmla="*/ 12 h 60"/>
                <a:gd name="T20" fmla="*/ 10 w 51"/>
                <a:gd name="T21" fmla="*/ 28 h 60"/>
                <a:gd name="T22" fmla="*/ 10 w 51"/>
                <a:gd name="T23" fmla="*/ 60 h 60"/>
                <a:gd name="T24" fmla="*/ 0 w 51"/>
                <a:gd name="T25" fmla="*/ 60 h 60"/>
                <a:gd name="T26" fmla="*/ 0 w 51"/>
                <a:gd name="T27" fmla="*/ 0 h 60"/>
                <a:gd name="T28" fmla="*/ 17 w 51"/>
                <a:gd name="T29" fmla="*/ 0 h 60"/>
                <a:gd name="T30" fmla="*/ 25 w 51"/>
                <a:gd name="T31" fmla="*/ 37 h 60"/>
                <a:gd name="T32" fmla="*/ 26 w 51"/>
                <a:gd name="T33" fmla="*/ 46 h 60"/>
                <a:gd name="T34" fmla="*/ 27 w 51"/>
                <a:gd name="T35" fmla="*/ 46 h 60"/>
                <a:gd name="T36" fmla="*/ 27 w 51"/>
                <a:gd name="T37" fmla="*/ 44 h 60"/>
                <a:gd name="T38" fmla="*/ 28 w 51"/>
                <a:gd name="T39" fmla="*/ 36 h 60"/>
                <a:gd name="T40" fmla="*/ 36 w 51"/>
                <a:gd name="T41" fmla="*/ 0 h 60"/>
                <a:gd name="T42" fmla="*/ 51 w 51"/>
                <a:gd name="T43" fmla="*/ 0 h 60"/>
                <a:gd name="T44" fmla="*/ 51 w 51"/>
                <a:gd name="T45" fmla="*/ 60 h 60"/>
                <a:gd name="T46" fmla="*/ 42 w 51"/>
                <a:gd name="T4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60">
                  <a:moveTo>
                    <a:pt x="42" y="60"/>
                  </a:moveTo>
                  <a:cubicBezTo>
                    <a:pt x="42" y="25"/>
                    <a:pt x="42" y="25"/>
                    <a:pt x="42" y="25"/>
                  </a:cubicBezTo>
                  <a:cubicBezTo>
                    <a:pt x="42" y="22"/>
                    <a:pt x="42" y="18"/>
                    <a:pt x="42" y="12"/>
                  </a:cubicBezTo>
                  <a:cubicBezTo>
                    <a:pt x="42" y="12"/>
                    <a:pt x="42" y="12"/>
                    <a:pt x="42" y="12"/>
                  </a:cubicBezTo>
                  <a:cubicBezTo>
                    <a:pt x="41" y="14"/>
                    <a:pt x="41" y="18"/>
                    <a:pt x="40" y="22"/>
                  </a:cubicBezTo>
                  <a:cubicBezTo>
                    <a:pt x="31" y="60"/>
                    <a:pt x="31" y="60"/>
                    <a:pt x="31" y="60"/>
                  </a:cubicBezTo>
                  <a:cubicBezTo>
                    <a:pt x="21" y="60"/>
                    <a:pt x="21" y="60"/>
                    <a:pt x="21" y="60"/>
                  </a:cubicBezTo>
                  <a:cubicBezTo>
                    <a:pt x="12" y="22"/>
                    <a:pt x="12" y="22"/>
                    <a:pt x="12" y="22"/>
                  </a:cubicBezTo>
                  <a:cubicBezTo>
                    <a:pt x="10" y="12"/>
                    <a:pt x="10" y="12"/>
                    <a:pt x="10" y="12"/>
                  </a:cubicBezTo>
                  <a:cubicBezTo>
                    <a:pt x="10" y="12"/>
                    <a:pt x="10" y="12"/>
                    <a:pt x="10" y="12"/>
                  </a:cubicBezTo>
                  <a:cubicBezTo>
                    <a:pt x="10" y="17"/>
                    <a:pt x="10" y="23"/>
                    <a:pt x="10" y="28"/>
                  </a:cubicBezTo>
                  <a:cubicBezTo>
                    <a:pt x="10" y="60"/>
                    <a:pt x="10" y="60"/>
                    <a:pt x="10" y="60"/>
                  </a:cubicBezTo>
                  <a:cubicBezTo>
                    <a:pt x="0" y="60"/>
                    <a:pt x="0" y="60"/>
                    <a:pt x="0" y="60"/>
                  </a:cubicBezTo>
                  <a:cubicBezTo>
                    <a:pt x="0" y="0"/>
                    <a:pt x="0" y="0"/>
                    <a:pt x="0" y="0"/>
                  </a:cubicBezTo>
                  <a:cubicBezTo>
                    <a:pt x="17" y="0"/>
                    <a:pt x="17" y="0"/>
                    <a:pt x="17" y="0"/>
                  </a:cubicBezTo>
                  <a:cubicBezTo>
                    <a:pt x="25" y="37"/>
                    <a:pt x="25" y="37"/>
                    <a:pt x="25" y="37"/>
                  </a:cubicBezTo>
                  <a:cubicBezTo>
                    <a:pt x="26" y="40"/>
                    <a:pt x="26" y="43"/>
                    <a:pt x="26" y="46"/>
                  </a:cubicBezTo>
                  <a:cubicBezTo>
                    <a:pt x="27" y="46"/>
                    <a:pt x="27" y="46"/>
                    <a:pt x="27" y="46"/>
                  </a:cubicBezTo>
                  <a:cubicBezTo>
                    <a:pt x="27" y="44"/>
                    <a:pt x="27" y="44"/>
                    <a:pt x="27" y="44"/>
                  </a:cubicBezTo>
                  <a:cubicBezTo>
                    <a:pt x="27" y="40"/>
                    <a:pt x="28" y="38"/>
                    <a:pt x="28" y="36"/>
                  </a:cubicBezTo>
                  <a:cubicBezTo>
                    <a:pt x="36" y="0"/>
                    <a:pt x="36" y="0"/>
                    <a:pt x="36" y="0"/>
                  </a:cubicBezTo>
                  <a:cubicBezTo>
                    <a:pt x="51" y="0"/>
                    <a:pt x="51" y="0"/>
                    <a:pt x="51" y="0"/>
                  </a:cubicBezTo>
                  <a:cubicBezTo>
                    <a:pt x="51" y="60"/>
                    <a:pt x="51" y="60"/>
                    <a:pt x="51" y="60"/>
                  </a:cubicBezTo>
                  <a:lnTo>
                    <a:pt x="4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26" name="Freeform 2182"/>
            <p:cNvSpPr>
              <a:spLocks noEditPoints="1"/>
            </p:cNvSpPr>
            <p:nvPr/>
          </p:nvSpPr>
          <p:spPr bwMode="auto">
            <a:xfrm>
              <a:off x="16335375" y="1436688"/>
              <a:ext cx="131763" cy="225425"/>
            </a:xfrm>
            <a:custGeom>
              <a:avLst/>
              <a:gdLst>
                <a:gd name="T0" fmla="*/ 11 w 35"/>
                <a:gd name="T1" fmla="*/ 40 h 60"/>
                <a:gd name="T2" fmla="*/ 11 w 35"/>
                <a:gd name="T3" fmla="*/ 60 h 60"/>
                <a:gd name="T4" fmla="*/ 0 w 35"/>
                <a:gd name="T5" fmla="*/ 60 h 60"/>
                <a:gd name="T6" fmla="*/ 0 w 35"/>
                <a:gd name="T7" fmla="*/ 0 h 60"/>
                <a:gd name="T8" fmla="*/ 17 w 35"/>
                <a:gd name="T9" fmla="*/ 0 h 60"/>
                <a:gd name="T10" fmla="*/ 30 w 35"/>
                <a:gd name="T11" fmla="*/ 5 h 60"/>
                <a:gd name="T12" fmla="*/ 35 w 35"/>
                <a:gd name="T13" fmla="*/ 19 h 60"/>
                <a:gd name="T14" fmla="*/ 30 w 35"/>
                <a:gd name="T15" fmla="*/ 34 h 60"/>
                <a:gd name="T16" fmla="*/ 16 w 35"/>
                <a:gd name="T17" fmla="*/ 40 h 60"/>
                <a:gd name="T18" fmla="*/ 11 w 35"/>
                <a:gd name="T19" fmla="*/ 40 h 60"/>
                <a:gd name="T20" fmla="*/ 11 w 35"/>
                <a:gd name="T21" fmla="*/ 10 h 60"/>
                <a:gd name="T22" fmla="*/ 11 w 35"/>
                <a:gd name="T23" fmla="*/ 30 h 60"/>
                <a:gd name="T24" fmla="*/ 15 w 35"/>
                <a:gd name="T25" fmla="*/ 30 h 60"/>
                <a:gd name="T26" fmla="*/ 23 w 35"/>
                <a:gd name="T27" fmla="*/ 20 h 60"/>
                <a:gd name="T28" fmla="*/ 21 w 35"/>
                <a:gd name="T29" fmla="*/ 13 h 60"/>
                <a:gd name="T30" fmla="*/ 15 w 35"/>
                <a:gd name="T31" fmla="*/ 10 h 60"/>
                <a:gd name="T32" fmla="*/ 11 w 35"/>
                <a:gd name="T33" fmla="*/ 1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60">
                  <a:moveTo>
                    <a:pt x="11" y="40"/>
                  </a:moveTo>
                  <a:cubicBezTo>
                    <a:pt x="11" y="60"/>
                    <a:pt x="11" y="60"/>
                    <a:pt x="11" y="60"/>
                  </a:cubicBezTo>
                  <a:cubicBezTo>
                    <a:pt x="0" y="60"/>
                    <a:pt x="0" y="60"/>
                    <a:pt x="0" y="60"/>
                  </a:cubicBezTo>
                  <a:cubicBezTo>
                    <a:pt x="0" y="0"/>
                    <a:pt x="0" y="0"/>
                    <a:pt x="0" y="0"/>
                  </a:cubicBezTo>
                  <a:cubicBezTo>
                    <a:pt x="17" y="0"/>
                    <a:pt x="17" y="0"/>
                    <a:pt x="17" y="0"/>
                  </a:cubicBezTo>
                  <a:cubicBezTo>
                    <a:pt x="23" y="0"/>
                    <a:pt x="27" y="2"/>
                    <a:pt x="30" y="5"/>
                  </a:cubicBezTo>
                  <a:cubicBezTo>
                    <a:pt x="33" y="8"/>
                    <a:pt x="35" y="13"/>
                    <a:pt x="35" y="19"/>
                  </a:cubicBezTo>
                  <a:cubicBezTo>
                    <a:pt x="35" y="25"/>
                    <a:pt x="33" y="30"/>
                    <a:pt x="30" y="34"/>
                  </a:cubicBezTo>
                  <a:cubicBezTo>
                    <a:pt x="26" y="38"/>
                    <a:pt x="22" y="40"/>
                    <a:pt x="16" y="40"/>
                  </a:cubicBezTo>
                  <a:lnTo>
                    <a:pt x="11" y="40"/>
                  </a:lnTo>
                  <a:close/>
                  <a:moveTo>
                    <a:pt x="11" y="10"/>
                  </a:moveTo>
                  <a:cubicBezTo>
                    <a:pt x="11" y="30"/>
                    <a:pt x="11" y="30"/>
                    <a:pt x="11" y="30"/>
                  </a:cubicBezTo>
                  <a:cubicBezTo>
                    <a:pt x="15" y="30"/>
                    <a:pt x="15" y="30"/>
                    <a:pt x="15" y="30"/>
                  </a:cubicBezTo>
                  <a:cubicBezTo>
                    <a:pt x="20" y="30"/>
                    <a:pt x="23" y="26"/>
                    <a:pt x="23" y="20"/>
                  </a:cubicBezTo>
                  <a:cubicBezTo>
                    <a:pt x="23" y="17"/>
                    <a:pt x="22" y="14"/>
                    <a:pt x="21" y="13"/>
                  </a:cubicBezTo>
                  <a:cubicBezTo>
                    <a:pt x="19" y="11"/>
                    <a:pt x="17" y="10"/>
                    <a:pt x="15" y="10"/>
                  </a:cubicBezTo>
                  <a:lnTo>
                    <a:pt x="1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27" name="Freeform 2183"/>
            <p:cNvSpPr>
              <a:spLocks/>
            </p:cNvSpPr>
            <p:nvPr/>
          </p:nvSpPr>
          <p:spPr bwMode="auto">
            <a:xfrm>
              <a:off x="16492538" y="1436688"/>
              <a:ext cx="139700" cy="230188"/>
            </a:xfrm>
            <a:custGeom>
              <a:avLst/>
              <a:gdLst>
                <a:gd name="T0" fmla="*/ 37 w 37"/>
                <a:gd name="T1" fmla="*/ 35 h 61"/>
                <a:gd name="T2" fmla="*/ 18 w 37"/>
                <a:gd name="T3" fmla="*/ 61 h 61"/>
                <a:gd name="T4" fmla="*/ 0 w 37"/>
                <a:gd name="T5" fmla="*/ 35 h 61"/>
                <a:gd name="T6" fmla="*/ 0 w 37"/>
                <a:gd name="T7" fmla="*/ 0 h 61"/>
                <a:gd name="T8" fmla="*/ 11 w 37"/>
                <a:gd name="T9" fmla="*/ 0 h 61"/>
                <a:gd name="T10" fmla="*/ 11 w 37"/>
                <a:gd name="T11" fmla="*/ 37 h 61"/>
                <a:gd name="T12" fmla="*/ 18 w 37"/>
                <a:gd name="T13" fmla="*/ 51 h 61"/>
                <a:gd name="T14" fmla="*/ 24 w 37"/>
                <a:gd name="T15" fmla="*/ 48 h 61"/>
                <a:gd name="T16" fmla="*/ 25 w 37"/>
                <a:gd name="T17" fmla="*/ 37 h 61"/>
                <a:gd name="T18" fmla="*/ 25 w 37"/>
                <a:gd name="T19" fmla="*/ 0 h 61"/>
                <a:gd name="T20" fmla="*/ 37 w 37"/>
                <a:gd name="T21" fmla="*/ 0 h 61"/>
                <a:gd name="T22" fmla="*/ 37 w 37"/>
                <a:gd name="T23" fmla="*/ 3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61">
                  <a:moveTo>
                    <a:pt x="37" y="35"/>
                  </a:moveTo>
                  <a:cubicBezTo>
                    <a:pt x="37" y="52"/>
                    <a:pt x="31" y="61"/>
                    <a:pt x="18" y="61"/>
                  </a:cubicBezTo>
                  <a:cubicBezTo>
                    <a:pt x="6" y="61"/>
                    <a:pt x="0" y="53"/>
                    <a:pt x="0" y="35"/>
                  </a:cubicBezTo>
                  <a:cubicBezTo>
                    <a:pt x="0" y="0"/>
                    <a:pt x="0" y="0"/>
                    <a:pt x="0" y="0"/>
                  </a:cubicBezTo>
                  <a:cubicBezTo>
                    <a:pt x="11" y="0"/>
                    <a:pt x="11" y="0"/>
                    <a:pt x="11" y="0"/>
                  </a:cubicBezTo>
                  <a:cubicBezTo>
                    <a:pt x="11" y="37"/>
                    <a:pt x="11" y="37"/>
                    <a:pt x="11" y="37"/>
                  </a:cubicBezTo>
                  <a:cubicBezTo>
                    <a:pt x="11" y="46"/>
                    <a:pt x="14" y="51"/>
                    <a:pt x="18" y="51"/>
                  </a:cubicBezTo>
                  <a:cubicBezTo>
                    <a:pt x="21" y="51"/>
                    <a:pt x="23" y="50"/>
                    <a:pt x="24" y="48"/>
                  </a:cubicBezTo>
                  <a:cubicBezTo>
                    <a:pt x="25" y="45"/>
                    <a:pt x="25" y="42"/>
                    <a:pt x="25" y="37"/>
                  </a:cubicBezTo>
                  <a:cubicBezTo>
                    <a:pt x="25" y="0"/>
                    <a:pt x="25" y="0"/>
                    <a:pt x="25" y="0"/>
                  </a:cubicBezTo>
                  <a:cubicBezTo>
                    <a:pt x="37" y="0"/>
                    <a:pt x="37" y="0"/>
                    <a:pt x="37" y="0"/>
                  </a:cubicBezTo>
                  <a:lnTo>
                    <a:pt x="37"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28" name="Freeform 2184"/>
            <p:cNvSpPr>
              <a:spLocks/>
            </p:cNvSpPr>
            <p:nvPr/>
          </p:nvSpPr>
          <p:spPr bwMode="auto">
            <a:xfrm>
              <a:off x="16654463" y="1436688"/>
              <a:ext cx="134938" cy="225425"/>
            </a:xfrm>
            <a:custGeom>
              <a:avLst/>
              <a:gdLst>
                <a:gd name="T0" fmla="*/ 54 w 85"/>
                <a:gd name="T1" fmla="*/ 24 h 142"/>
                <a:gd name="T2" fmla="*/ 54 w 85"/>
                <a:gd name="T3" fmla="*/ 142 h 142"/>
                <a:gd name="T4" fmla="*/ 28 w 85"/>
                <a:gd name="T5" fmla="*/ 142 h 142"/>
                <a:gd name="T6" fmla="*/ 28 w 85"/>
                <a:gd name="T7" fmla="*/ 24 h 142"/>
                <a:gd name="T8" fmla="*/ 0 w 85"/>
                <a:gd name="T9" fmla="*/ 24 h 142"/>
                <a:gd name="T10" fmla="*/ 0 w 85"/>
                <a:gd name="T11" fmla="*/ 0 h 142"/>
                <a:gd name="T12" fmla="*/ 85 w 85"/>
                <a:gd name="T13" fmla="*/ 0 h 142"/>
                <a:gd name="T14" fmla="*/ 85 w 85"/>
                <a:gd name="T15" fmla="*/ 24 h 142"/>
                <a:gd name="T16" fmla="*/ 54 w 85"/>
                <a:gd name="T17"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42">
                  <a:moveTo>
                    <a:pt x="54" y="24"/>
                  </a:moveTo>
                  <a:lnTo>
                    <a:pt x="54" y="142"/>
                  </a:lnTo>
                  <a:lnTo>
                    <a:pt x="28" y="142"/>
                  </a:lnTo>
                  <a:lnTo>
                    <a:pt x="28" y="24"/>
                  </a:lnTo>
                  <a:lnTo>
                    <a:pt x="0" y="24"/>
                  </a:lnTo>
                  <a:lnTo>
                    <a:pt x="0" y="0"/>
                  </a:lnTo>
                  <a:lnTo>
                    <a:pt x="85" y="0"/>
                  </a:lnTo>
                  <a:lnTo>
                    <a:pt x="85" y="24"/>
                  </a:lnTo>
                  <a:lnTo>
                    <a:pt x="5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29" name="Freeform 2185"/>
            <p:cNvSpPr>
              <a:spLocks/>
            </p:cNvSpPr>
            <p:nvPr/>
          </p:nvSpPr>
          <p:spPr bwMode="auto">
            <a:xfrm>
              <a:off x="16811625" y="1436688"/>
              <a:ext cx="109538" cy="225425"/>
            </a:xfrm>
            <a:custGeom>
              <a:avLst/>
              <a:gdLst>
                <a:gd name="T0" fmla="*/ 0 w 69"/>
                <a:gd name="T1" fmla="*/ 142 h 142"/>
                <a:gd name="T2" fmla="*/ 0 w 69"/>
                <a:gd name="T3" fmla="*/ 0 h 142"/>
                <a:gd name="T4" fmla="*/ 66 w 69"/>
                <a:gd name="T5" fmla="*/ 0 h 142"/>
                <a:gd name="T6" fmla="*/ 66 w 69"/>
                <a:gd name="T7" fmla="*/ 24 h 142"/>
                <a:gd name="T8" fmla="*/ 28 w 69"/>
                <a:gd name="T9" fmla="*/ 24 h 142"/>
                <a:gd name="T10" fmla="*/ 28 w 69"/>
                <a:gd name="T11" fmla="*/ 59 h 142"/>
                <a:gd name="T12" fmla="*/ 64 w 69"/>
                <a:gd name="T13" fmla="*/ 59 h 142"/>
                <a:gd name="T14" fmla="*/ 64 w 69"/>
                <a:gd name="T15" fmla="*/ 83 h 142"/>
                <a:gd name="T16" fmla="*/ 28 w 69"/>
                <a:gd name="T17" fmla="*/ 83 h 142"/>
                <a:gd name="T18" fmla="*/ 28 w 69"/>
                <a:gd name="T19" fmla="*/ 119 h 142"/>
                <a:gd name="T20" fmla="*/ 69 w 69"/>
                <a:gd name="T21" fmla="*/ 119 h 142"/>
                <a:gd name="T22" fmla="*/ 69 w 69"/>
                <a:gd name="T23" fmla="*/ 142 h 142"/>
                <a:gd name="T24" fmla="*/ 0 w 69"/>
                <a:gd name="T25"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42">
                  <a:moveTo>
                    <a:pt x="0" y="142"/>
                  </a:moveTo>
                  <a:lnTo>
                    <a:pt x="0" y="0"/>
                  </a:lnTo>
                  <a:lnTo>
                    <a:pt x="66" y="0"/>
                  </a:lnTo>
                  <a:lnTo>
                    <a:pt x="66" y="24"/>
                  </a:lnTo>
                  <a:lnTo>
                    <a:pt x="28" y="24"/>
                  </a:lnTo>
                  <a:lnTo>
                    <a:pt x="28" y="59"/>
                  </a:lnTo>
                  <a:lnTo>
                    <a:pt x="64" y="59"/>
                  </a:lnTo>
                  <a:lnTo>
                    <a:pt x="64" y="83"/>
                  </a:lnTo>
                  <a:lnTo>
                    <a:pt x="28" y="83"/>
                  </a:lnTo>
                  <a:lnTo>
                    <a:pt x="28" y="119"/>
                  </a:lnTo>
                  <a:lnTo>
                    <a:pt x="69" y="119"/>
                  </a:lnTo>
                  <a:lnTo>
                    <a:pt x="69" y="142"/>
                  </a:lnTo>
                  <a:lnTo>
                    <a:pt x="0"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30" name="Freeform 2186"/>
            <p:cNvSpPr>
              <a:spLocks noEditPoints="1"/>
            </p:cNvSpPr>
            <p:nvPr/>
          </p:nvSpPr>
          <p:spPr bwMode="auto">
            <a:xfrm>
              <a:off x="17018000" y="1436688"/>
              <a:ext cx="134938" cy="225425"/>
            </a:xfrm>
            <a:custGeom>
              <a:avLst/>
              <a:gdLst>
                <a:gd name="T0" fmla="*/ 12 w 36"/>
                <a:gd name="T1" fmla="*/ 40 h 60"/>
                <a:gd name="T2" fmla="*/ 12 w 36"/>
                <a:gd name="T3" fmla="*/ 60 h 60"/>
                <a:gd name="T4" fmla="*/ 0 w 36"/>
                <a:gd name="T5" fmla="*/ 60 h 60"/>
                <a:gd name="T6" fmla="*/ 0 w 36"/>
                <a:gd name="T7" fmla="*/ 0 h 60"/>
                <a:gd name="T8" fmla="*/ 18 w 36"/>
                <a:gd name="T9" fmla="*/ 0 h 60"/>
                <a:gd name="T10" fmla="*/ 31 w 36"/>
                <a:gd name="T11" fmla="*/ 5 h 60"/>
                <a:gd name="T12" fmla="*/ 36 w 36"/>
                <a:gd name="T13" fmla="*/ 19 h 60"/>
                <a:gd name="T14" fmla="*/ 31 w 36"/>
                <a:gd name="T15" fmla="*/ 34 h 60"/>
                <a:gd name="T16" fmla="*/ 17 w 36"/>
                <a:gd name="T17" fmla="*/ 40 h 60"/>
                <a:gd name="T18" fmla="*/ 12 w 36"/>
                <a:gd name="T19" fmla="*/ 40 h 60"/>
                <a:gd name="T20" fmla="*/ 12 w 36"/>
                <a:gd name="T21" fmla="*/ 10 h 60"/>
                <a:gd name="T22" fmla="*/ 12 w 36"/>
                <a:gd name="T23" fmla="*/ 30 h 60"/>
                <a:gd name="T24" fmla="*/ 16 w 36"/>
                <a:gd name="T25" fmla="*/ 30 h 60"/>
                <a:gd name="T26" fmla="*/ 24 w 36"/>
                <a:gd name="T27" fmla="*/ 20 h 60"/>
                <a:gd name="T28" fmla="*/ 22 w 36"/>
                <a:gd name="T29" fmla="*/ 13 h 60"/>
                <a:gd name="T30" fmla="*/ 16 w 36"/>
                <a:gd name="T31" fmla="*/ 10 h 60"/>
                <a:gd name="T32" fmla="*/ 12 w 36"/>
                <a:gd name="T33" fmla="*/ 1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60">
                  <a:moveTo>
                    <a:pt x="12" y="40"/>
                  </a:moveTo>
                  <a:cubicBezTo>
                    <a:pt x="12" y="60"/>
                    <a:pt x="12" y="60"/>
                    <a:pt x="12" y="60"/>
                  </a:cubicBezTo>
                  <a:cubicBezTo>
                    <a:pt x="0" y="60"/>
                    <a:pt x="0" y="60"/>
                    <a:pt x="0" y="60"/>
                  </a:cubicBezTo>
                  <a:cubicBezTo>
                    <a:pt x="0" y="0"/>
                    <a:pt x="0" y="0"/>
                    <a:pt x="0" y="0"/>
                  </a:cubicBezTo>
                  <a:cubicBezTo>
                    <a:pt x="18" y="0"/>
                    <a:pt x="18" y="0"/>
                    <a:pt x="18" y="0"/>
                  </a:cubicBezTo>
                  <a:cubicBezTo>
                    <a:pt x="23" y="0"/>
                    <a:pt x="28" y="2"/>
                    <a:pt x="31" y="5"/>
                  </a:cubicBezTo>
                  <a:cubicBezTo>
                    <a:pt x="34" y="8"/>
                    <a:pt x="36" y="13"/>
                    <a:pt x="36" y="19"/>
                  </a:cubicBezTo>
                  <a:cubicBezTo>
                    <a:pt x="36" y="25"/>
                    <a:pt x="34" y="30"/>
                    <a:pt x="31" y="34"/>
                  </a:cubicBezTo>
                  <a:cubicBezTo>
                    <a:pt x="27" y="38"/>
                    <a:pt x="22" y="40"/>
                    <a:pt x="17" y="40"/>
                  </a:cubicBezTo>
                  <a:lnTo>
                    <a:pt x="12" y="40"/>
                  </a:lnTo>
                  <a:close/>
                  <a:moveTo>
                    <a:pt x="12" y="10"/>
                  </a:moveTo>
                  <a:cubicBezTo>
                    <a:pt x="12" y="30"/>
                    <a:pt x="12" y="30"/>
                    <a:pt x="12" y="30"/>
                  </a:cubicBezTo>
                  <a:cubicBezTo>
                    <a:pt x="16" y="30"/>
                    <a:pt x="16" y="30"/>
                    <a:pt x="16" y="30"/>
                  </a:cubicBezTo>
                  <a:cubicBezTo>
                    <a:pt x="21" y="30"/>
                    <a:pt x="24" y="26"/>
                    <a:pt x="24" y="20"/>
                  </a:cubicBezTo>
                  <a:cubicBezTo>
                    <a:pt x="24" y="17"/>
                    <a:pt x="23" y="14"/>
                    <a:pt x="22" y="13"/>
                  </a:cubicBezTo>
                  <a:cubicBezTo>
                    <a:pt x="20" y="11"/>
                    <a:pt x="18" y="10"/>
                    <a:pt x="16" y="10"/>
                  </a:cubicBezTo>
                  <a:lnTo>
                    <a:pt x="1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31" name="Freeform 2187"/>
            <p:cNvSpPr>
              <a:spLocks noEditPoints="1"/>
            </p:cNvSpPr>
            <p:nvPr/>
          </p:nvSpPr>
          <p:spPr bwMode="auto">
            <a:xfrm>
              <a:off x="17171988" y="1433513"/>
              <a:ext cx="161925" cy="233363"/>
            </a:xfrm>
            <a:custGeom>
              <a:avLst/>
              <a:gdLst>
                <a:gd name="T0" fmla="*/ 21 w 43"/>
                <a:gd name="T1" fmla="*/ 62 h 62"/>
                <a:gd name="T2" fmla="*/ 5 w 43"/>
                <a:gd name="T3" fmla="*/ 54 h 62"/>
                <a:gd name="T4" fmla="*/ 0 w 43"/>
                <a:gd name="T5" fmla="*/ 32 h 62"/>
                <a:gd name="T6" fmla="*/ 6 w 43"/>
                <a:gd name="T7" fmla="*/ 9 h 62"/>
                <a:gd name="T8" fmla="*/ 22 w 43"/>
                <a:gd name="T9" fmla="*/ 0 h 62"/>
                <a:gd name="T10" fmla="*/ 37 w 43"/>
                <a:gd name="T11" fmla="*/ 8 h 62"/>
                <a:gd name="T12" fmla="*/ 43 w 43"/>
                <a:gd name="T13" fmla="*/ 31 h 62"/>
                <a:gd name="T14" fmla="*/ 37 w 43"/>
                <a:gd name="T15" fmla="*/ 54 h 62"/>
                <a:gd name="T16" fmla="*/ 21 w 43"/>
                <a:gd name="T17" fmla="*/ 62 h 62"/>
                <a:gd name="T18" fmla="*/ 22 w 43"/>
                <a:gd name="T19" fmla="*/ 10 h 62"/>
                <a:gd name="T20" fmla="*/ 12 w 43"/>
                <a:gd name="T21" fmla="*/ 31 h 62"/>
                <a:gd name="T22" fmla="*/ 21 w 43"/>
                <a:gd name="T23" fmla="*/ 52 h 62"/>
                <a:gd name="T24" fmla="*/ 28 w 43"/>
                <a:gd name="T25" fmla="*/ 47 h 62"/>
                <a:gd name="T26" fmla="*/ 31 w 43"/>
                <a:gd name="T27" fmla="*/ 32 h 62"/>
                <a:gd name="T28" fmla="*/ 22 w 43"/>
                <a:gd name="T29" fmla="*/ 1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2">
                  <a:moveTo>
                    <a:pt x="21" y="62"/>
                  </a:moveTo>
                  <a:cubicBezTo>
                    <a:pt x="14" y="62"/>
                    <a:pt x="9" y="59"/>
                    <a:pt x="5" y="54"/>
                  </a:cubicBezTo>
                  <a:cubicBezTo>
                    <a:pt x="2" y="49"/>
                    <a:pt x="0" y="41"/>
                    <a:pt x="0" y="32"/>
                  </a:cubicBezTo>
                  <a:cubicBezTo>
                    <a:pt x="0" y="22"/>
                    <a:pt x="2" y="14"/>
                    <a:pt x="6" y="9"/>
                  </a:cubicBezTo>
                  <a:cubicBezTo>
                    <a:pt x="9" y="3"/>
                    <a:pt x="15" y="0"/>
                    <a:pt x="22" y="0"/>
                  </a:cubicBezTo>
                  <a:cubicBezTo>
                    <a:pt x="29" y="0"/>
                    <a:pt x="34" y="3"/>
                    <a:pt x="37" y="8"/>
                  </a:cubicBezTo>
                  <a:cubicBezTo>
                    <a:pt x="41" y="13"/>
                    <a:pt x="43" y="21"/>
                    <a:pt x="43" y="31"/>
                  </a:cubicBezTo>
                  <a:cubicBezTo>
                    <a:pt x="43" y="41"/>
                    <a:pt x="41" y="49"/>
                    <a:pt x="37" y="54"/>
                  </a:cubicBezTo>
                  <a:cubicBezTo>
                    <a:pt x="33" y="59"/>
                    <a:pt x="28" y="62"/>
                    <a:pt x="21" y="62"/>
                  </a:cubicBezTo>
                  <a:close/>
                  <a:moveTo>
                    <a:pt x="22" y="10"/>
                  </a:moveTo>
                  <a:cubicBezTo>
                    <a:pt x="15" y="10"/>
                    <a:pt x="12" y="17"/>
                    <a:pt x="12" y="31"/>
                  </a:cubicBezTo>
                  <a:cubicBezTo>
                    <a:pt x="12" y="45"/>
                    <a:pt x="15" y="52"/>
                    <a:pt x="21" y="52"/>
                  </a:cubicBezTo>
                  <a:cubicBezTo>
                    <a:pt x="24" y="52"/>
                    <a:pt x="27" y="50"/>
                    <a:pt x="28" y="47"/>
                  </a:cubicBezTo>
                  <a:cubicBezTo>
                    <a:pt x="30" y="43"/>
                    <a:pt x="31" y="38"/>
                    <a:pt x="31" y="32"/>
                  </a:cubicBezTo>
                  <a:cubicBezTo>
                    <a:pt x="31" y="17"/>
                    <a:pt x="28" y="10"/>
                    <a:pt x="22"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32" name="Freeform 2188"/>
            <p:cNvSpPr>
              <a:spLocks/>
            </p:cNvSpPr>
            <p:nvPr/>
          </p:nvSpPr>
          <p:spPr bwMode="auto">
            <a:xfrm>
              <a:off x="17345025" y="1436688"/>
              <a:ext cx="244475" cy="225425"/>
            </a:xfrm>
            <a:custGeom>
              <a:avLst/>
              <a:gdLst>
                <a:gd name="T0" fmla="*/ 52 w 65"/>
                <a:gd name="T1" fmla="*/ 60 h 60"/>
                <a:gd name="T2" fmla="*/ 39 w 65"/>
                <a:gd name="T3" fmla="*/ 60 h 60"/>
                <a:gd name="T4" fmla="*/ 33 w 65"/>
                <a:gd name="T5" fmla="*/ 22 h 60"/>
                <a:gd name="T6" fmla="*/ 32 w 65"/>
                <a:gd name="T7" fmla="*/ 14 h 60"/>
                <a:gd name="T8" fmla="*/ 32 w 65"/>
                <a:gd name="T9" fmla="*/ 14 h 60"/>
                <a:gd name="T10" fmla="*/ 32 w 65"/>
                <a:gd name="T11" fmla="*/ 20 h 60"/>
                <a:gd name="T12" fmla="*/ 31 w 65"/>
                <a:gd name="T13" fmla="*/ 21 h 60"/>
                <a:gd name="T14" fmla="*/ 25 w 65"/>
                <a:gd name="T15" fmla="*/ 60 h 60"/>
                <a:gd name="T16" fmla="*/ 12 w 65"/>
                <a:gd name="T17" fmla="*/ 60 h 60"/>
                <a:gd name="T18" fmla="*/ 0 w 65"/>
                <a:gd name="T19" fmla="*/ 0 h 60"/>
                <a:gd name="T20" fmla="*/ 13 w 65"/>
                <a:gd name="T21" fmla="*/ 0 h 60"/>
                <a:gd name="T22" fmla="*/ 19 w 65"/>
                <a:gd name="T23" fmla="*/ 39 h 60"/>
                <a:gd name="T24" fmla="*/ 20 w 65"/>
                <a:gd name="T25" fmla="*/ 46 h 60"/>
                <a:gd name="T26" fmla="*/ 20 w 65"/>
                <a:gd name="T27" fmla="*/ 46 h 60"/>
                <a:gd name="T28" fmla="*/ 21 w 65"/>
                <a:gd name="T29" fmla="*/ 39 h 60"/>
                <a:gd name="T30" fmla="*/ 27 w 65"/>
                <a:gd name="T31" fmla="*/ 0 h 60"/>
                <a:gd name="T32" fmla="*/ 39 w 65"/>
                <a:gd name="T33" fmla="*/ 0 h 60"/>
                <a:gd name="T34" fmla="*/ 45 w 65"/>
                <a:gd name="T35" fmla="*/ 39 h 60"/>
                <a:gd name="T36" fmla="*/ 46 w 65"/>
                <a:gd name="T37" fmla="*/ 46 h 60"/>
                <a:gd name="T38" fmla="*/ 46 w 65"/>
                <a:gd name="T39" fmla="*/ 46 h 60"/>
                <a:gd name="T40" fmla="*/ 47 w 65"/>
                <a:gd name="T41" fmla="*/ 39 h 60"/>
                <a:gd name="T42" fmla="*/ 54 w 65"/>
                <a:gd name="T43" fmla="*/ 0 h 60"/>
                <a:gd name="T44" fmla="*/ 65 w 65"/>
                <a:gd name="T45" fmla="*/ 0 h 60"/>
                <a:gd name="T46" fmla="*/ 52 w 65"/>
                <a:gd name="T4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60">
                  <a:moveTo>
                    <a:pt x="52" y="60"/>
                  </a:moveTo>
                  <a:cubicBezTo>
                    <a:pt x="39" y="60"/>
                    <a:pt x="39" y="60"/>
                    <a:pt x="39" y="60"/>
                  </a:cubicBezTo>
                  <a:cubicBezTo>
                    <a:pt x="33" y="22"/>
                    <a:pt x="33" y="22"/>
                    <a:pt x="33" y="22"/>
                  </a:cubicBezTo>
                  <a:cubicBezTo>
                    <a:pt x="33" y="19"/>
                    <a:pt x="33" y="16"/>
                    <a:pt x="32" y="14"/>
                  </a:cubicBezTo>
                  <a:cubicBezTo>
                    <a:pt x="32" y="14"/>
                    <a:pt x="32" y="14"/>
                    <a:pt x="32" y="14"/>
                  </a:cubicBezTo>
                  <a:cubicBezTo>
                    <a:pt x="32" y="16"/>
                    <a:pt x="32" y="18"/>
                    <a:pt x="32" y="20"/>
                  </a:cubicBezTo>
                  <a:cubicBezTo>
                    <a:pt x="31" y="21"/>
                    <a:pt x="31" y="21"/>
                    <a:pt x="31" y="21"/>
                  </a:cubicBezTo>
                  <a:cubicBezTo>
                    <a:pt x="25" y="60"/>
                    <a:pt x="25" y="60"/>
                    <a:pt x="25" y="60"/>
                  </a:cubicBezTo>
                  <a:cubicBezTo>
                    <a:pt x="12" y="60"/>
                    <a:pt x="12" y="60"/>
                    <a:pt x="12" y="60"/>
                  </a:cubicBezTo>
                  <a:cubicBezTo>
                    <a:pt x="0" y="0"/>
                    <a:pt x="0" y="0"/>
                    <a:pt x="0" y="0"/>
                  </a:cubicBezTo>
                  <a:cubicBezTo>
                    <a:pt x="13" y="0"/>
                    <a:pt x="13" y="0"/>
                    <a:pt x="13" y="0"/>
                  </a:cubicBezTo>
                  <a:cubicBezTo>
                    <a:pt x="19" y="39"/>
                    <a:pt x="19" y="39"/>
                    <a:pt x="19" y="39"/>
                  </a:cubicBezTo>
                  <a:cubicBezTo>
                    <a:pt x="19" y="40"/>
                    <a:pt x="19" y="42"/>
                    <a:pt x="20" y="46"/>
                  </a:cubicBezTo>
                  <a:cubicBezTo>
                    <a:pt x="20" y="46"/>
                    <a:pt x="20" y="46"/>
                    <a:pt x="20" y="46"/>
                  </a:cubicBezTo>
                  <a:cubicBezTo>
                    <a:pt x="20" y="44"/>
                    <a:pt x="21" y="41"/>
                    <a:pt x="21" y="39"/>
                  </a:cubicBezTo>
                  <a:cubicBezTo>
                    <a:pt x="27" y="0"/>
                    <a:pt x="27" y="0"/>
                    <a:pt x="27" y="0"/>
                  </a:cubicBezTo>
                  <a:cubicBezTo>
                    <a:pt x="39" y="0"/>
                    <a:pt x="39" y="0"/>
                    <a:pt x="39" y="0"/>
                  </a:cubicBezTo>
                  <a:cubicBezTo>
                    <a:pt x="45" y="39"/>
                    <a:pt x="45" y="39"/>
                    <a:pt x="45" y="39"/>
                  </a:cubicBezTo>
                  <a:cubicBezTo>
                    <a:pt x="46" y="44"/>
                    <a:pt x="46" y="46"/>
                    <a:pt x="46" y="46"/>
                  </a:cubicBezTo>
                  <a:cubicBezTo>
                    <a:pt x="46" y="46"/>
                    <a:pt x="46" y="46"/>
                    <a:pt x="46" y="46"/>
                  </a:cubicBezTo>
                  <a:cubicBezTo>
                    <a:pt x="47" y="43"/>
                    <a:pt x="47" y="41"/>
                    <a:pt x="47" y="39"/>
                  </a:cubicBezTo>
                  <a:cubicBezTo>
                    <a:pt x="54" y="0"/>
                    <a:pt x="54" y="0"/>
                    <a:pt x="54" y="0"/>
                  </a:cubicBezTo>
                  <a:cubicBezTo>
                    <a:pt x="65" y="0"/>
                    <a:pt x="65" y="0"/>
                    <a:pt x="65" y="0"/>
                  </a:cubicBezTo>
                  <a:lnTo>
                    <a:pt x="5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33" name="Freeform 2189"/>
            <p:cNvSpPr>
              <a:spLocks/>
            </p:cNvSpPr>
            <p:nvPr/>
          </p:nvSpPr>
          <p:spPr bwMode="auto">
            <a:xfrm>
              <a:off x="17606963" y="1436688"/>
              <a:ext cx="109538" cy="225425"/>
            </a:xfrm>
            <a:custGeom>
              <a:avLst/>
              <a:gdLst>
                <a:gd name="T0" fmla="*/ 0 w 69"/>
                <a:gd name="T1" fmla="*/ 142 h 142"/>
                <a:gd name="T2" fmla="*/ 0 w 69"/>
                <a:gd name="T3" fmla="*/ 0 h 142"/>
                <a:gd name="T4" fmla="*/ 67 w 69"/>
                <a:gd name="T5" fmla="*/ 0 h 142"/>
                <a:gd name="T6" fmla="*/ 67 w 69"/>
                <a:gd name="T7" fmla="*/ 24 h 142"/>
                <a:gd name="T8" fmla="*/ 29 w 69"/>
                <a:gd name="T9" fmla="*/ 24 h 142"/>
                <a:gd name="T10" fmla="*/ 29 w 69"/>
                <a:gd name="T11" fmla="*/ 59 h 142"/>
                <a:gd name="T12" fmla="*/ 64 w 69"/>
                <a:gd name="T13" fmla="*/ 59 h 142"/>
                <a:gd name="T14" fmla="*/ 64 w 69"/>
                <a:gd name="T15" fmla="*/ 83 h 142"/>
                <a:gd name="T16" fmla="*/ 29 w 69"/>
                <a:gd name="T17" fmla="*/ 83 h 142"/>
                <a:gd name="T18" fmla="*/ 29 w 69"/>
                <a:gd name="T19" fmla="*/ 119 h 142"/>
                <a:gd name="T20" fmla="*/ 69 w 69"/>
                <a:gd name="T21" fmla="*/ 119 h 142"/>
                <a:gd name="T22" fmla="*/ 69 w 69"/>
                <a:gd name="T23" fmla="*/ 142 h 142"/>
                <a:gd name="T24" fmla="*/ 0 w 69"/>
                <a:gd name="T25"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42">
                  <a:moveTo>
                    <a:pt x="0" y="142"/>
                  </a:moveTo>
                  <a:lnTo>
                    <a:pt x="0" y="0"/>
                  </a:lnTo>
                  <a:lnTo>
                    <a:pt x="67" y="0"/>
                  </a:lnTo>
                  <a:lnTo>
                    <a:pt x="67" y="24"/>
                  </a:lnTo>
                  <a:lnTo>
                    <a:pt x="29" y="24"/>
                  </a:lnTo>
                  <a:lnTo>
                    <a:pt x="29" y="59"/>
                  </a:lnTo>
                  <a:lnTo>
                    <a:pt x="64" y="59"/>
                  </a:lnTo>
                  <a:lnTo>
                    <a:pt x="64" y="83"/>
                  </a:lnTo>
                  <a:lnTo>
                    <a:pt x="29" y="83"/>
                  </a:lnTo>
                  <a:lnTo>
                    <a:pt x="29" y="119"/>
                  </a:lnTo>
                  <a:lnTo>
                    <a:pt x="69" y="119"/>
                  </a:lnTo>
                  <a:lnTo>
                    <a:pt x="69" y="142"/>
                  </a:lnTo>
                  <a:lnTo>
                    <a:pt x="0"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34" name="Freeform 2190"/>
            <p:cNvSpPr>
              <a:spLocks noEditPoints="1"/>
            </p:cNvSpPr>
            <p:nvPr/>
          </p:nvSpPr>
          <p:spPr bwMode="auto">
            <a:xfrm>
              <a:off x="17743488" y="1436688"/>
              <a:ext cx="138113" cy="225425"/>
            </a:xfrm>
            <a:custGeom>
              <a:avLst/>
              <a:gdLst>
                <a:gd name="T0" fmla="*/ 24 w 37"/>
                <a:gd name="T1" fmla="*/ 60 h 60"/>
                <a:gd name="T2" fmla="*/ 20 w 37"/>
                <a:gd name="T3" fmla="*/ 45 h 60"/>
                <a:gd name="T4" fmla="*/ 13 w 37"/>
                <a:gd name="T5" fmla="*/ 37 h 60"/>
                <a:gd name="T6" fmla="*/ 12 w 37"/>
                <a:gd name="T7" fmla="*/ 37 h 60"/>
                <a:gd name="T8" fmla="*/ 12 w 37"/>
                <a:gd name="T9" fmla="*/ 60 h 60"/>
                <a:gd name="T10" fmla="*/ 0 w 37"/>
                <a:gd name="T11" fmla="*/ 60 h 60"/>
                <a:gd name="T12" fmla="*/ 0 w 37"/>
                <a:gd name="T13" fmla="*/ 0 h 60"/>
                <a:gd name="T14" fmla="*/ 17 w 37"/>
                <a:gd name="T15" fmla="*/ 0 h 60"/>
                <a:gd name="T16" fmla="*/ 35 w 37"/>
                <a:gd name="T17" fmla="*/ 16 h 60"/>
                <a:gd name="T18" fmla="*/ 24 w 37"/>
                <a:gd name="T19" fmla="*/ 32 h 60"/>
                <a:gd name="T20" fmla="*/ 24 w 37"/>
                <a:gd name="T21" fmla="*/ 33 h 60"/>
                <a:gd name="T22" fmla="*/ 32 w 37"/>
                <a:gd name="T23" fmla="*/ 43 h 60"/>
                <a:gd name="T24" fmla="*/ 37 w 37"/>
                <a:gd name="T25" fmla="*/ 60 h 60"/>
                <a:gd name="T26" fmla="*/ 24 w 37"/>
                <a:gd name="T27" fmla="*/ 60 h 60"/>
                <a:gd name="T28" fmla="*/ 12 w 37"/>
                <a:gd name="T29" fmla="*/ 10 h 60"/>
                <a:gd name="T30" fmla="*/ 12 w 37"/>
                <a:gd name="T31" fmla="*/ 27 h 60"/>
                <a:gd name="T32" fmla="*/ 15 w 37"/>
                <a:gd name="T33" fmla="*/ 27 h 60"/>
                <a:gd name="T34" fmla="*/ 21 w 37"/>
                <a:gd name="T35" fmla="*/ 25 h 60"/>
                <a:gd name="T36" fmla="*/ 23 w 37"/>
                <a:gd name="T37" fmla="*/ 18 h 60"/>
                <a:gd name="T38" fmla="*/ 21 w 37"/>
                <a:gd name="T39" fmla="*/ 12 h 60"/>
                <a:gd name="T40" fmla="*/ 15 w 37"/>
                <a:gd name="T41" fmla="*/ 10 h 60"/>
                <a:gd name="T42" fmla="*/ 12 w 37"/>
                <a:gd name="T43" fmla="*/ 1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60">
                  <a:moveTo>
                    <a:pt x="24" y="60"/>
                  </a:moveTo>
                  <a:cubicBezTo>
                    <a:pt x="20" y="45"/>
                    <a:pt x="20" y="45"/>
                    <a:pt x="20" y="45"/>
                  </a:cubicBezTo>
                  <a:cubicBezTo>
                    <a:pt x="19" y="40"/>
                    <a:pt x="16" y="37"/>
                    <a:pt x="13" y="37"/>
                  </a:cubicBezTo>
                  <a:cubicBezTo>
                    <a:pt x="12" y="37"/>
                    <a:pt x="12" y="37"/>
                    <a:pt x="12" y="37"/>
                  </a:cubicBezTo>
                  <a:cubicBezTo>
                    <a:pt x="12" y="60"/>
                    <a:pt x="12" y="60"/>
                    <a:pt x="12" y="60"/>
                  </a:cubicBezTo>
                  <a:cubicBezTo>
                    <a:pt x="0" y="60"/>
                    <a:pt x="0" y="60"/>
                    <a:pt x="0" y="60"/>
                  </a:cubicBezTo>
                  <a:cubicBezTo>
                    <a:pt x="0" y="0"/>
                    <a:pt x="0" y="0"/>
                    <a:pt x="0" y="0"/>
                  </a:cubicBezTo>
                  <a:cubicBezTo>
                    <a:pt x="17" y="0"/>
                    <a:pt x="17" y="0"/>
                    <a:pt x="17" y="0"/>
                  </a:cubicBezTo>
                  <a:cubicBezTo>
                    <a:pt x="29" y="0"/>
                    <a:pt x="35" y="6"/>
                    <a:pt x="35" y="16"/>
                  </a:cubicBezTo>
                  <a:cubicBezTo>
                    <a:pt x="35" y="25"/>
                    <a:pt x="31" y="30"/>
                    <a:pt x="24" y="32"/>
                  </a:cubicBezTo>
                  <a:cubicBezTo>
                    <a:pt x="24" y="33"/>
                    <a:pt x="24" y="33"/>
                    <a:pt x="24" y="33"/>
                  </a:cubicBezTo>
                  <a:cubicBezTo>
                    <a:pt x="27" y="34"/>
                    <a:pt x="30" y="37"/>
                    <a:pt x="32" y="43"/>
                  </a:cubicBezTo>
                  <a:cubicBezTo>
                    <a:pt x="37" y="60"/>
                    <a:pt x="37" y="60"/>
                    <a:pt x="37" y="60"/>
                  </a:cubicBezTo>
                  <a:lnTo>
                    <a:pt x="24" y="60"/>
                  </a:lnTo>
                  <a:close/>
                  <a:moveTo>
                    <a:pt x="12" y="10"/>
                  </a:moveTo>
                  <a:cubicBezTo>
                    <a:pt x="12" y="27"/>
                    <a:pt x="12" y="27"/>
                    <a:pt x="12" y="27"/>
                  </a:cubicBezTo>
                  <a:cubicBezTo>
                    <a:pt x="15" y="27"/>
                    <a:pt x="15" y="27"/>
                    <a:pt x="15" y="27"/>
                  </a:cubicBezTo>
                  <a:cubicBezTo>
                    <a:pt x="18" y="27"/>
                    <a:pt x="19" y="26"/>
                    <a:pt x="21" y="25"/>
                  </a:cubicBezTo>
                  <a:cubicBezTo>
                    <a:pt x="22" y="23"/>
                    <a:pt x="23" y="21"/>
                    <a:pt x="23" y="18"/>
                  </a:cubicBezTo>
                  <a:cubicBezTo>
                    <a:pt x="23" y="16"/>
                    <a:pt x="22" y="14"/>
                    <a:pt x="21" y="12"/>
                  </a:cubicBezTo>
                  <a:cubicBezTo>
                    <a:pt x="20" y="11"/>
                    <a:pt x="18" y="10"/>
                    <a:pt x="15" y="10"/>
                  </a:cubicBezTo>
                  <a:lnTo>
                    <a:pt x="1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35" name="Freeform 2191"/>
            <p:cNvSpPr>
              <a:spLocks/>
            </p:cNvSpPr>
            <p:nvPr/>
          </p:nvSpPr>
          <p:spPr bwMode="auto">
            <a:xfrm>
              <a:off x="15760700" y="1719263"/>
              <a:ext cx="131763" cy="214313"/>
            </a:xfrm>
            <a:custGeom>
              <a:avLst/>
              <a:gdLst>
                <a:gd name="T0" fmla="*/ 54 w 83"/>
                <a:gd name="T1" fmla="*/ 21 h 135"/>
                <a:gd name="T2" fmla="*/ 54 w 83"/>
                <a:gd name="T3" fmla="*/ 135 h 135"/>
                <a:gd name="T4" fmla="*/ 28 w 83"/>
                <a:gd name="T5" fmla="*/ 135 h 135"/>
                <a:gd name="T6" fmla="*/ 28 w 83"/>
                <a:gd name="T7" fmla="*/ 21 h 135"/>
                <a:gd name="T8" fmla="*/ 0 w 83"/>
                <a:gd name="T9" fmla="*/ 21 h 135"/>
                <a:gd name="T10" fmla="*/ 0 w 83"/>
                <a:gd name="T11" fmla="*/ 0 h 135"/>
                <a:gd name="T12" fmla="*/ 83 w 83"/>
                <a:gd name="T13" fmla="*/ 0 h 135"/>
                <a:gd name="T14" fmla="*/ 83 w 83"/>
                <a:gd name="T15" fmla="*/ 21 h 135"/>
                <a:gd name="T16" fmla="*/ 54 w 83"/>
                <a:gd name="T17" fmla="*/ 2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135">
                  <a:moveTo>
                    <a:pt x="54" y="21"/>
                  </a:moveTo>
                  <a:lnTo>
                    <a:pt x="54" y="135"/>
                  </a:lnTo>
                  <a:lnTo>
                    <a:pt x="28" y="135"/>
                  </a:lnTo>
                  <a:lnTo>
                    <a:pt x="28" y="21"/>
                  </a:lnTo>
                  <a:lnTo>
                    <a:pt x="0" y="21"/>
                  </a:lnTo>
                  <a:lnTo>
                    <a:pt x="0" y="0"/>
                  </a:lnTo>
                  <a:lnTo>
                    <a:pt x="83" y="0"/>
                  </a:lnTo>
                  <a:lnTo>
                    <a:pt x="83" y="21"/>
                  </a:lnTo>
                  <a:lnTo>
                    <a:pt x="54"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36" name="Freeform 2192"/>
            <p:cNvSpPr>
              <a:spLocks/>
            </p:cNvSpPr>
            <p:nvPr/>
          </p:nvSpPr>
          <p:spPr bwMode="auto">
            <a:xfrm>
              <a:off x="15914688" y="1719263"/>
              <a:ext cx="138113" cy="214313"/>
            </a:xfrm>
            <a:custGeom>
              <a:avLst/>
              <a:gdLst>
                <a:gd name="T0" fmla="*/ 61 w 87"/>
                <a:gd name="T1" fmla="*/ 135 h 135"/>
                <a:gd name="T2" fmla="*/ 61 w 87"/>
                <a:gd name="T3" fmla="*/ 81 h 135"/>
                <a:gd name="T4" fmla="*/ 26 w 87"/>
                <a:gd name="T5" fmla="*/ 81 h 135"/>
                <a:gd name="T6" fmla="*/ 26 w 87"/>
                <a:gd name="T7" fmla="*/ 135 h 135"/>
                <a:gd name="T8" fmla="*/ 0 w 87"/>
                <a:gd name="T9" fmla="*/ 135 h 135"/>
                <a:gd name="T10" fmla="*/ 0 w 87"/>
                <a:gd name="T11" fmla="*/ 0 h 135"/>
                <a:gd name="T12" fmla="*/ 26 w 87"/>
                <a:gd name="T13" fmla="*/ 0 h 135"/>
                <a:gd name="T14" fmla="*/ 26 w 87"/>
                <a:gd name="T15" fmla="*/ 55 h 135"/>
                <a:gd name="T16" fmla="*/ 61 w 87"/>
                <a:gd name="T17" fmla="*/ 55 h 135"/>
                <a:gd name="T18" fmla="*/ 61 w 87"/>
                <a:gd name="T19" fmla="*/ 0 h 135"/>
                <a:gd name="T20" fmla="*/ 87 w 87"/>
                <a:gd name="T21" fmla="*/ 0 h 135"/>
                <a:gd name="T22" fmla="*/ 87 w 87"/>
                <a:gd name="T23" fmla="*/ 135 h 135"/>
                <a:gd name="T24" fmla="*/ 61 w 87"/>
                <a:gd name="T2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35">
                  <a:moveTo>
                    <a:pt x="61" y="135"/>
                  </a:moveTo>
                  <a:lnTo>
                    <a:pt x="61" y="81"/>
                  </a:lnTo>
                  <a:lnTo>
                    <a:pt x="26" y="81"/>
                  </a:lnTo>
                  <a:lnTo>
                    <a:pt x="26" y="135"/>
                  </a:lnTo>
                  <a:lnTo>
                    <a:pt x="0" y="135"/>
                  </a:lnTo>
                  <a:lnTo>
                    <a:pt x="0" y="0"/>
                  </a:lnTo>
                  <a:lnTo>
                    <a:pt x="26" y="0"/>
                  </a:lnTo>
                  <a:lnTo>
                    <a:pt x="26" y="55"/>
                  </a:lnTo>
                  <a:lnTo>
                    <a:pt x="61" y="55"/>
                  </a:lnTo>
                  <a:lnTo>
                    <a:pt x="61" y="0"/>
                  </a:lnTo>
                  <a:lnTo>
                    <a:pt x="87" y="0"/>
                  </a:lnTo>
                  <a:lnTo>
                    <a:pt x="87" y="135"/>
                  </a:lnTo>
                  <a:lnTo>
                    <a:pt x="61"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37" name="Freeform 2193"/>
            <p:cNvSpPr>
              <a:spLocks noEditPoints="1"/>
            </p:cNvSpPr>
            <p:nvPr/>
          </p:nvSpPr>
          <p:spPr bwMode="auto">
            <a:xfrm>
              <a:off x="16071850" y="1719263"/>
              <a:ext cx="165100" cy="214313"/>
            </a:xfrm>
            <a:custGeom>
              <a:avLst/>
              <a:gdLst>
                <a:gd name="T0" fmla="*/ 32 w 44"/>
                <a:gd name="T1" fmla="*/ 57 h 57"/>
                <a:gd name="T2" fmla="*/ 29 w 44"/>
                <a:gd name="T3" fmla="*/ 43 h 57"/>
                <a:gd name="T4" fmla="*/ 15 w 44"/>
                <a:gd name="T5" fmla="*/ 43 h 57"/>
                <a:gd name="T6" fmla="*/ 12 w 44"/>
                <a:gd name="T7" fmla="*/ 57 h 57"/>
                <a:gd name="T8" fmla="*/ 0 w 44"/>
                <a:gd name="T9" fmla="*/ 57 h 57"/>
                <a:gd name="T10" fmla="*/ 16 w 44"/>
                <a:gd name="T11" fmla="*/ 0 h 57"/>
                <a:gd name="T12" fmla="*/ 29 w 44"/>
                <a:gd name="T13" fmla="*/ 0 h 57"/>
                <a:gd name="T14" fmla="*/ 44 w 44"/>
                <a:gd name="T15" fmla="*/ 57 h 57"/>
                <a:gd name="T16" fmla="*/ 32 w 44"/>
                <a:gd name="T17" fmla="*/ 57 h 57"/>
                <a:gd name="T18" fmla="*/ 23 w 44"/>
                <a:gd name="T19" fmla="*/ 16 h 57"/>
                <a:gd name="T20" fmla="*/ 22 w 44"/>
                <a:gd name="T21" fmla="*/ 10 h 57"/>
                <a:gd name="T22" fmla="*/ 22 w 44"/>
                <a:gd name="T23" fmla="*/ 9 h 57"/>
                <a:gd name="T24" fmla="*/ 22 w 44"/>
                <a:gd name="T25" fmla="*/ 9 h 57"/>
                <a:gd name="T26" fmla="*/ 21 w 44"/>
                <a:gd name="T27" fmla="*/ 16 h 57"/>
                <a:gd name="T28" fmla="*/ 16 w 44"/>
                <a:gd name="T29" fmla="*/ 35 h 57"/>
                <a:gd name="T30" fmla="*/ 27 w 44"/>
                <a:gd name="T31" fmla="*/ 35 h 57"/>
                <a:gd name="T32" fmla="*/ 23 w 44"/>
                <a:gd name="T33" fmla="*/ 1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57">
                  <a:moveTo>
                    <a:pt x="32" y="57"/>
                  </a:moveTo>
                  <a:cubicBezTo>
                    <a:pt x="29" y="43"/>
                    <a:pt x="29" y="43"/>
                    <a:pt x="29" y="43"/>
                  </a:cubicBezTo>
                  <a:cubicBezTo>
                    <a:pt x="15" y="43"/>
                    <a:pt x="15" y="43"/>
                    <a:pt x="15" y="43"/>
                  </a:cubicBezTo>
                  <a:cubicBezTo>
                    <a:pt x="12" y="57"/>
                    <a:pt x="12" y="57"/>
                    <a:pt x="12" y="57"/>
                  </a:cubicBezTo>
                  <a:cubicBezTo>
                    <a:pt x="0" y="57"/>
                    <a:pt x="0" y="57"/>
                    <a:pt x="0" y="57"/>
                  </a:cubicBezTo>
                  <a:cubicBezTo>
                    <a:pt x="16" y="0"/>
                    <a:pt x="16" y="0"/>
                    <a:pt x="16" y="0"/>
                  </a:cubicBezTo>
                  <a:cubicBezTo>
                    <a:pt x="29" y="0"/>
                    <a:pt x="29" y="0"/>
                    <a:pt x="29" y="0"/>
                  </a:cubicBezTo>
                  <a:cubicBezTo>
                    <a:pt x="44" y="57"/>
                    <a:pt x="44" y="57"/>
                    <a:pt x="44" y="57"/>
                  </a:cubicBezTo>
                  <a:lnTo>
                    <a:pt x="32" y="57"/>
                  </a:lnTo>
                  <a:close/>
                  <a:moveTo>
                    <a:pt x="23" y="16"/>
                  </a:moveTo>
                  <a:cubicBezTo>
                    <a:pt x="23" y="15"/>
                    <a:pt x="23" y="13"/>
                    <a:pt x="22" y="10"/>
                  </a:cubicBezTo>
                  <a:cubicBezTo>
                    <a:pt x="22" y="10"/>
                    <a:pt x="22" y="9"/>
                    <a:pt x="22" y="9"/>
                  </a:cubicBezTo>
                  <a:cubicBezTo>
                    <a:pt x="22" y="9"/>
                    <a:pt x="22" y="9"/>
                    <a:pt x="22" y="9"/>
                  </a:cubicBezTo>
                  <a:cubicBezTo>
                    <a:pt x="21" y="12"/>
                    <a:pt x="21" y="15"/>
                    <a:pt x="21" y="16"/>
                  </a:cubicBezTo>
                  <a:cubicBezTo>
                    <a:pt x="16" y="35"/>
                    <a:pt x="16" y="35"/>
                    <a:pt x="16" y="35"/>
                  </a:cubicBezTo>
                  <a:cubicBezTo>
                    <a:pt x="27" y="35"/>
                    <a:pt x="27" y="35"/>
                    <a:pt x="27" y="35"/>
                  </a:cubicBezTo>
                  <a:lnTo>
                    <a:pt x="23"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38" name="Freeform 2194"/>
            <p:cNvSpPr>
              <a:spLocks/>
            </p:cNvSpPr>
            <p:nvPr/>
          </p:nvSpPr>
          <p:spPr bwMode="auto">
            <a:xfrm>
              <a:off x="16259175" y="1719263"/>
              <a:ext cx="139700" cy="214313"/>
            </a:xfrm>
            <a:custGeom>
              <a:avLst/>
              <a:gdLst>
                <a:gd name="T0" fmla="*/ 24 w 37"/>
                <a:gd name="T1" fmla="*/ 57 h 57"/>
                <a:gd name="T2" fmla="*/ 11 w 37"/>
                <a:gd name="T3" fmla="*/ 25 h 57"/>
                <a:gd name="T4" fmla="*/ 9 w 37"/>
                <a:gd name="T5" fmla="*/ 18 h 57"/>
                <a:gd name="T6" fmla="*/ 9 w 37"/>
                <a:gd name="T7" fmla="*/ 16 h 57"/>
                <a:gd name="T8" fmla="*/ 9 w 37"/>
                <a:gd name="T9" fmla="*/ 16 h 57"/>
                <a:gd name="T10" fmla="*/ 9 w 37"/>
                <a:gd name="T11" fmla="*/ 28 h 57"/>
                <a:gd name="T12" fmla="*/ 9 w 37"/>
                <a:gd name="T13" fmla="*/ 57 h 57"/>
                <a:gd name="T14" fmla="*/ 0 w 37"/>
                <a:gd name="T15" fmla="*/ 57 h 57"/>
                <a:gd name="T16" fmla="*/ 0 w 37"/>
                <a:gd name="T17" fmla="*/ 0 h 57"/>
                <a:gd name="T18" fmla="*/ 12 w 37"/>
                <a:gd name="T19" fmla="*/ 0 h 57"/>
                <a:gd name="T20" fmla="*/ 25 w 37"/>
                <a:gd name="T21" fmla="*/ 34 h 57"/>
                <a:gd name="T22" fmla="*/ 27 w 37"/>
                <a:gd name="T23" fmla="*/ 42 h 57"/>
                <a:gd name="T24" fmla="*/ 27 w 37"/>
                <a:gd name="T25" fmla="*/ 42 h 57"/>
                <a:gd name="T26" fmla="*/ 27 w 37"/>
                <a:gd name="T27" fmla="*/ 32 h 57"/>
                <a:gd name="T28" fmla="*/ 27 w 37"/>
                <a:gd name="T29" fmla="*/ 0 h 57"/>
                <a:gd name="T30" fmla="*/ 37 w 37"/>
                <a:gd name="T31" fmla="*/ 0 h 57"/>
                <a:gd name="T32" fmla="*/ 37 w 37"/>
                <a:gd name="T33" fmla="*/ 57 h 57"/>
                <a:gd name="T34" fmla="*/ 24 w 37"/>
                <a:gd name="T35"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 h="57">
                  <a:moveTo>
                    <a:pt x="24" y="57"/>
                  </a:moveTo>
                  <a:cubicBezTo>
                    <a:pt x="11" y="25"/>
                    <a:pt x="11" y="25"/>
                    <a:pt x="11" y="25"/>
                  </a:cubicBezTo>
                  <a:cubicBezTo>
                    <a:pt x="11" y="23"/>
                    <a:pt x="10" y="21"/>
                    <a:pt x="9" y="18"/>
                  </a:cubicBezTo>
                  <a:cubicBezTo>
                    <a:pt x="9" y="17"/>
                    <a:pt x="9" y="17"/>
                    <a:pt x="9" y="16"/>
                  </a:cubicBezTo>
                  <a:cubicBezTo>
                    <a:pt x="9" y="16"/>
                    <a:pt x="9" y="16"/>
                    <a:pt x="9" y="16"/>
                  </a:cubicBezTo>
                  <a:cubicBezTo>
                    <a:pt x="9" y="21"/>
                    <a:pt x="9" y="25"/>
                    <a:pt x="9" y="28"/>
                  </a:cubicBezTo>
                  <a:cubicBezTo>
                    <a:pt x="9" y="57"/>
                    <a:pt x="9" y="57"/>
                    <a:pt x="9" y="57"/>
                  </a:cubicBezTo>
                  <a:cubicBezTo>
                    <a:pt x="0" y="57"/>
                    <a:pt x="0" y="57"/>
                    <a:pt x="0" y="57"/>
                  </a:cubicBezTo>
                  <a:cubicBezTo>
                    <a:pt x="0" y="0"/>
                    <a:pt x="0" y="0"/>
                    <a:pt x="0" y="0"/>
                  </a:cubicBezTo>
                  <a:cubicBezTo>
                    <a:pt x="12" y="0"/>
                    <a:pt x="12" y="0"/>
                    <a:pt x="12" y="0"/>
                  </a:cubicBezTo>
                  <a:cubicBezTo>
                    <a:pt x="25" y="34"/>
                    <a:pt x="25" y="34"/>
                    <a:pt x="25" y="34"/>
                  </a:cubicBezTo>
                  <a:cubicBezTo>
                    <a:pt x="25" y="35"/>
                    <a:pt x="26" y="37"/>
                    <a:pt x="27" y="42"/>
                  </a:cubicBezTo>
                  <a:cubicBezTo>
                    <a:pt x="27" y="42"/>
                    <a:pt x="27" y="42"/>
                    <a:pt x="27" y="42"/>
                  </a:cubicBezTo>
                  <a:cubicBezTo>
                    <a:pt x="27" y="32"/>
                    <a:pt x="27" y="32"/>
                    <a:pt x="27" y="32"/>
                  </a:cubicBezTo>
                  <a:cubicBezTo>
                    <a:pt x="27" y="0"/>
                    <a:pt x="27" y="0"/>
                    <a:pt x="27" y="0"/>
                  </a:cubicBezTo>
                  <a:cubicBezTo>
                    <a:pt x="37" y="0"/>
                    <a:pt x="37" y="0"/>
                    <a:pt x="37" y="0"/>
                  </a:cubicBezTo>
                  <a:cubicBezTo>
                    <a:pt x="37" y="57"/>
                    <a:pt x="37" y="57"/>
                    <a:pt x="37" y="57"/>
                  </a:cubicBezTo>
                  <a:lnTo>
                    <a:pt x="24"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39" name="Freeform 2195"/>
            <p:cNvSpPr>
              <a:spLocks/>
            </p:cNvSpPr>
            <p:nvPr/>
          </p:nvSpPr>
          <p:spPr bwMode="auto">
            <a:xfrm>
              <a:off x="16492538" y="1719263"/>
              <a:ext cx="127000" cy="214313"/>
            </a:xfrm>
            <a:custGeom>
              <a:avLst/>
              <a:gdLst>
                <a:gd name="T0" fmla="*/ 52 w 80"/>
                <a:gd name="T1" fmla="*/ 21 h 135"/>
                <a:gd name="T2" fmla="*/ 52 w 80"/>
                <a:gd name="T3" fmla="*/ 135 h 135"/>
                <a:gd name="T4" fmla="*/ 26 w 80"/>
                <a:gd name="T5" fmla="*/ 135 h 135"/>
                <a:gd name="T6" fmla="*/ 26 w 80"/>
                <a:gd name="T7" fmla="*/ 21 h 135"/>
                <a:gd name="T8" fmla="*/ 0 w 80"/>
                <a:gd name="T9" fmla="*/ 21 h 135"/>
                <a:gd name="T10" fmla="*/ 0 w 80"/>
                <a:gd name="T11" fmla="*/ 0 h 135"/>
                <a:gd name="T12" fmla="*/ 80 w 80"/>
                <a:gd name="T13" fmla="*/ 0 h 135"/>
                <a:gd name="T14" fmla="*/ 80 w 80"/>
                <a:gd name="T15" fmla="*/ 21 h 135"/>
                <a:gd name="T16" fmla="*/ 52 w 80"/>
                <a:gd name="T17" fmla="*/ 2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35">
                  <a:moveTo>
                    <a:pt x="52" y="21"/>
                  </a:moveTo>
                  <a:lnTo>
                    <a:pt x="52" y="135"/>
                  </a:lnTo>
                  <a:lnTo>
                    <a:pt x="26" y="135"/>
                  </a:lnTo>
                  <a:lnTo>
                    <a:pt x="26" y="21"/>
                  </a:lnTo>
                  <a:lnTo>
                    <a:pt x="0" y="21"/>
                  </a:lnTo>
                  <a:lnTo>
                    <a:pt x="0" y="0"/>
                  </a:lnTo>
                  <a:lnTo>
                    <a:pt x="80" y="0"/>
                  </a:lnTo>
                  <a:lnTo>
                    <a:pt x="80" y="21"/>
                  </a:lnTo>
                  <a:lnTo>
                    <a:pt x="5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40" name="Freeform 2196"/>
            <p:cNvSpPr>
              <a:spLocks/>
            </p:cNvSpPr>
            <p:nvPr/>
          </p:nvSpPr>
          <p:spPr bwMode="auto">
            <a:xfrm>
              <a:off x="16643350" y="1719263"/>
              <a:ext cx="138113" cy="214313"/>
            </a:xfrm>
            <a:custGeom>
              <a:avLst/>
              <a:gdLst>
                <a:gd name="T0" fmla="*/ 61 w 87"/>
                <a:gd name="T1" fmla="*/ 135 h 135"/>
                <a:gd name="T2" fmla="*/ 61 w 87"/>
                <a:gd name="T3" fmla="*/ 81 h 135"/>
                <a:gd name="T4" fmla="*/ 26 w 87"/>
                <a:gd name="T5" fmla="*/ 81 h 135"/>
                <a:gd name="T6" fmla="*/ 26 w 87"/>
                <a:gd name="T7" fmla="*/ 135 h 135"/>
                <a:gd name="T8" fmla="*/ 0 w 87"/>
                <a:gd name="T9" fmla="*/ 135 h 135"/>
                <a:gd name="T10" fmla="*/ 0 w 87"/>
                <a:gd name="T11" fmla="*/ 0 h 135"/>
                <a:gd name="T12" fmla="*/ 26 w 87"/>
                <a:gd name="T13" fmla="*/ 0 h 135"/>
                <a:gd name="T14" fmla="*/ 26 w 87"/>
                <a:gd name="T15" fmla="*/ 55 h 135"/>
                <a:gd name="T16" fmla="*/ 61 w 87"/>
                <a:gd name="T17" fmla="*/ 55 h 135"/>
                <a:gd name="T18" fmla="*/ 61 w 87"/>
                <a:gd name="T19" fmla="*/ 0 h 135"/>
                <a:gd name="T20" fmla="*/ 87 w 87"/>
                <a:gd name="T21" fmla="*/ 0 h 135"/>
                <a:gd name="T22" fmla="*/ 87 w 87"/>
                <a:gd name="T23" fmla="*/ 135 h 135"/>
                <a:gd name="T24" fmla="*/ 61 w 87"/>
                <a:gd name="T2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35">
                  <a:moveTo>
                    <a:pt x="61" y="135"/>
                  </a:moveTo>
                  <a:lnTo>
                    <a:pt x="61" y="81"/>
                  </a:lnTo>
                  <a:lnTo>
                    <a:pt x="26" y="81"/>
                  </a:lnTo>
                  <a:lnTo>
                    <a:pt x="26" y="135"/>
                  </a:lnTo>
                  <a:lnTo>
                    <a:pt x="0" y="135"/>
                  </a:lnTo>
                  <a:lnTo>
                    <a:pt x="0" y="0"/>
                  </a:lnTo>
                  <a:lnTo>
                    <a:pt x="26" y="0"/>
                  </a:lnTo>
                  <a:lnTo>
                    <a:pt x="26" y="55"/>
                  </a:lnTo>
                  <a:lnTo>
                    <a:pt x="61" y="55"/>
                  </a:lnTo>
                  <a:lnTo>
                    <a:pt x="61" y="0"/>
                  </a:lnTo>
                  <a:lnTo>
                    <a:pt x="87" y="0"/>
                  </a:lnTo>
                  <a:lnTo>
                    <a:pt x="87" y="135"/>
                  </a:lnTo>
                  <a:lnTo>
                    <a:pt x="61"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41" name="Freeform 2197"/>
            <p:cNvSpPr>
              <a:spLocks/>
            </p:cNvSpPr>
            <p:nvPr/>
          </p:nvSpPr>
          <p:spPr bwMode="auto">
            <a:xfrm>
              <a:off x="16819563" y="1719263"/>
              <a:ext cx="101600" cy="214313"/>
            </a:xfrm>
            <a:custGeom>
              <a:avLst/>
              <a:gdLst>
                <a:gd name="T0" fmla="*/ 0 w 64"/>
                <a:gd name="T1" fmla="*/ 135 h 135"/>
                <a:gd name="T2" fmla="*/ 0 w 64"/>
                <a:gd name="T3" fmla="*/ 0 h 135"/>
                <a:gd name="T4" fmla="*/ 61 w 64"/>
                <a:gd name="T5" fmla="*/ 0 h 135"/>
                <a:gd name="T6" fmla="*/ 61 w 64"/>
                <a:gd name="T7" fmla="*/ 21 h 135"/>
                <a:gd name="T8" fmla="*/ 26 w 64"/>
                <a:gd name="T9" fmla="*/ 21 h 135"/>
                <a:gd name="T10" fmla="*/ 26 w 64"/>
                <a:gd name="T11" fmla="*/ 57 h 135"/>
                <a:gd name="T12" fmla="*/ 59 w 64"/>
                <a:gd name="T13" fmla="*/ 57 h 135"/>
                <a:gd name="T14" fmla="*/ 59 w 64"/>
                <a:gd name="T15" fmla="*/ 78 h 135"/>
                <a:gd name="T16" fmla="*/ 26 w 64"/>
                <a:gd name="T17" fmla="*/ 78 h 135"/>
                <a:gd name="T18" fmla="*/ 26 w 64"/>
                <a:gd name="T19" fmla="*/ 114 h 135"/>
                <a:gd name="T20" fmla="*/ 64 w 64"/>
                <a:gd name="T21" fmla="*/ 114 h 135"/>
                <a:gd name="T22" fmla="*/ 64 w 64"/>
                <a:gd name="T23" fmla="*/ 135 h 135"/>
                <a:gd name="T24" fmla="*/ 0 w 64"/>
                <a:gd name="T2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35">
                  <a:moveTo>
                    <a:pt x="0" y="135"/>
                  </a:moveTo>
                  <a:lnTo>
                    <a:pt x="0" y="0"/>
                  </a:lnTo>
                  <a:lnTo>
                    <a:pt x="61" y="0"/>
                  </a:lnTo>
                  <a:lnTo>
                    <a:pt x="61" y="21"/>
                  </a:lnTo>
                  <a:lnTo>
                    <a:pt x="26" y="21"/>
                  </a:lnTo>
                  <a:lnTo>
                    <a:pt x="26" y="57"/>
                  </a:lnTo>
                  <a:lnTo>
                    <a:pt x="59" y="57"/>
                  </a:lnTo>
                  <a:lnTo>
                    <a:pt x="59" y="78"/>
                  </a:lnTo>
                  <a:lnTo>
                    <a:pt x="26" y="78"/>
                  </a:lnTo>
                  <a:lnTo>
                    <a:pt x="26" y="114"/>
                  </a:lnTo>
                  <a:lnTo>
                    <a:pt x="64" y="114"/>
                  </a:lnTo>
                  <a:lnTo>
                    <a:pt x="64" y="135"/>
                  </a:lnTo>
                  <a:lnTo>
                    <a:pt x="0"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42" name="Freeform 2198"/>
            <p:cNvSpPr>
              <a:spLocks noEditPoints="1"/>
            </p:cNvSpPr>
            <p:nvPr/>
          </p:nvSpPr>
          <p:spPr bwMode="auto">
            <a:xfrm>
              <a:off x="17018000" y="1719263"/>
              <a:ext cx="128588" cy="214313"/>
            </a:xfrm>
            <a:custGeom>
              <a:avLst/>
              <a:gdLst>
                <a:gd name="T0" fmla="*/ 11 w 34"/>
                <a:gd name="T1" fmla="*/ 38 h 57"/>
                <a:gd name="T2" fmla="*/ 11 w 34"/>
                <a:gd name="T3" fmla="*/ 57 h 57"/>
                <a:gd name="T4" fmla="*/ 0 w 34"/>
                <a:gd name="T5" fmla="*/ 57 h 57"/>
                <a:gd name="T6" fmla="*/ 0 w 34"/>
                <a:gd name="T7" fmla="*/ 0 h 57"/>
                <a:gd name="T8" fmla="*/ 17 w 34"/>
                <a:gd name="T9" fmla="*/ 0 h 57"/>
                <a:gd name="T10" fmla="*/ 30 w 34"/>
                <a:gd name="T11" fmla="*/ 5 h 57"/>
                <a:gd name="T12" fmla="*/ 34 w 34"/>
                <a:gd name="T13" fmla="*/ 18 h 57"/>
                <a:gd name="T14" fmla="*/ 29 w 34"/>
                <a:gd name="T15" fmla="*/ 32 h 57"/>
                <a:gd name="T16" fmla="*/ 16 w 34"/>
                <a:gd name="T17" fmla="*/ 38 h 57"/>
                <a:gd name="T18" fmla="*/ 11 w 34"/>
                <a:gd name="T19" fmla="*/ 38 h 57"/>
                <a:gd name="T20" fmla="*/ 11 w 34"/>
                <a:gd name="T21" fmla="*/ 9 h 57"/>
                <a:gd name="T22" fmla="*/ 11 w 34"/>
                <a:gd name="T23" fmla="*/ 28 h 57"/>
                <a:gd name="T24" fmla="*/ 15 w 34"/>
                <a:gd name="T25" fmla="*/ 28 h 57"/>
                <a:gd name="T26" fmla="*/ 23 w 34"/>
                <a:gd name="T27" fmla="*/ 19 h 57"/>
                <a:gd name="T28" fmla="*/ 21 w 34"/>
                <a:gd name="T29" fmla="*/ 12 h 57"/>
                <a:gd name="T30" fmla="*/ 15 w 34"/>
                <a:gd name="T31" fmla="*/ 9 h 57"/>
                <a:gd name="T32" fmla="*/ 11 w 34"/>
                <a:gd name="T33" fmla="*/ 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7">
                  <a:moveTo>
                    <a:pt x="11" y="38"/>
                  </a:moveTo>
                  <a:cubicBezTo>
                    <a:pt x="11" y="57"/>
                    <a:pt x="11" y="57"/>
                    <a:pt x="11" y="57"/>
                  </a:cubicBezTo>
                  <a:cubicBezTo>
                    <a:pt x="0" y="57"/>
                    <a:pt x="0" y="57"/>
                    <a:pt x="0" y="57"/>
                  </a:cubicBezTo>
                  <a:cubicBezTo>
                    <a:pt x="0" y="0"/>
                    <a:pt x="0" y="0"/>
                    <a:pt x="0" y="0"/>
                  </a:cubicBezTo>
                  <a:cubicBezTo>
                    <a:pt x="17" y="0"/>
                    <a:pt x="17" y="0"/>
                    <a:pt x="17" y="0"/>
                  </a:cubicBezTo>
                  <a:cubicBezTo>
                    <a:pt x="22" y="0"/>
                    <a:pt x="27" y="1"/>
                    <a:pt x="30" y="5"/>
                  </a:cubicBezTo>
                  <a:cubicBezTo>
                    <a:pt x="33" y="8"/>
                    <a:pt x="34" y="12"/>
                    <a:pt x="34" y="18"/>
                  </a:cubicBezTo>
                  <a:cubicBezTo>
                    <a:pt x="34" y="24"/>
                    <a:pt x="32" y="29"/>
                    <a:pt x="29" y="32"/>
                  </a:cubicBezTo>
                  <a:cubicBezTo>
                    <a:pt x="26" y="36"/>
                    <a:pt x="21" y="38"/>
                    <a:pt x="16" y="38"/>
                  </a:cubicBezTo>
                  <a:lnTo>
                    <a:pt x="11" y="38"/>
                  </a:lnTo>
                  <a:close/>
                  <a:moveTo>
                    <a:pt x="11" y="9"/>
                  </a:moveTo>
                  <a:cubicBezTo>
                    <a:pt x="11" y="28"/>
                    <a:pt x="11" y="28"/>
                    <a:pt x="11" y="28"/>
                  </a:cubicBezTo>
                  <a:cubicBezTo>
                    <a:pt x="15" y="28"/>
                    <a:pt x="15" y="28"/>
                    <a:pt x="15" y="28"/>
                  </a:cubicBezTo>
                  <a:cubicBezTo>
                    <a:pt x="20" y="28"/>
                    <a:pt x="23" y="25"/>
                    <a:pt x="23" y="19"/>
                  </a:cubicBezTo>
                  <a:cubicBezTo>
                    <a:pt x="23" y="16"/>
                    <a:pt x="22" y="13"/>
                    <a:pt x="21" y="12"/>
                  </a:cubicBezTo>
                  <a:cubicBezTo>
                    <a:pt x="19" y="10"/>
                    <a:pt x="17" y="9"/>
                    <a:pt x="15" y="9"/>
                  </a:cubicBezTo>
                  <a:lnTo>
                    <a:pt x="11"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43" name="Freeform 2199"/>
            <p:cNvSpPr>
              <a:spLocks/>
            </p:cNvSpPr>
            <p:nvPr/>
          </p:nvSpPr>
          <p:spPr bwMode="auto">
            <a:xfrm>
              <a:off x="17171988" y="1719263"/>
              <a:ext cx="101600" cy="214313"/>
            </a:xfrm>
            <a:custGeom>
              <a:avLst/>
              <a:gdLst>
                <a:gd name="T0" fmla="*/ 0 w 64"/>
                <a:gd name="T1" fmla="*/ 135 h 135"/>
                <a:gd name="T2" fmla="*/ 0 w 64"/>
                <a:gd name="T3" fmla="*/ 0 h 135"/>
                <a:gd name="T4" fmla="*/ 26 w 64"/>
                <a:gd name="T5" fmla="*/ 0 h 135"/>
                <a:gd name="T6" fmla="*/ 26 w 64"/>
                <a:gd name="T7" fmla="*/ 114 h 135"/>
                <a:gd name="T8" fmla="*/ 64 w 64"/>
                <a:gd name="T9" fmla="*/ 114 h 135"/>
                <a:gd name="T10" fmla="*/ 64 w 64"/>
                <a:gd name="T11" fmla="*/ 135 h 135"/>
                <a:gd name="T12" fmla="*/ 0 w 64"/>
                <a:gd name="T13" fmla="*/ 135 h 135"/>
              </a:gdLst>
              <a:ahLst/>
              <a:cxnLst>
                <a:cxn ang="0">
                  <a:pos x="T0" y="T1"/>
                </a:cxn>
                <a:cxn ang="0">
                  <a:pos x="T2" y="T3"/>
                </a:cxn>
                <a:cxn ang="0">
                  <a:pos x="T4" y="T5"/>
                </a:cxn>
                <a:cxn ang="0">
                  <a:pos x="T6" y="T7"/>
                </a:cxn>
                <a:cxn ang="0">
                  <a:pos x="T8" y="T9"/>
                </a:cxn>
                <a:cxn ang="0">
                  <a:pos x="T10" y="T11"/>
                </a:cxn>
                <a:cxn ang="0">
                  <a:pos x="T12" y="T13"/>
                </a:cxn>
              </a:cxnLst>
              <a:rect l="0" t="0" r="r" b="b"/>
              <a:pathLst>
                <a:path w="64" h="135">
                  <a:moveTo>
                    <a:pt x="0" y="135"/>
                  </a:moveTo>
                  <a:lnTo>
                    <a:pt x="0" y="0"/>
                  </a:lnTo>
                  <a:lnTo>
                    <a:pt x="26" y="0"/>
                  </a:lnTo>
                  <a:lnTo>
                    <a:pt x="26" y="114"/>
                  </a:lnTo>
                  <a:lnTo>
                    <a:pt x="64" y="114"/>
                  </a:lnTo>
                  <a:lnTo>
                    <a:pt x="64" y="135"/>
                  </a:lnTo>
                  <a:lnTo>
                    <a:pt x="0"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44" name="Freeform 2200"/>
            <p:cNvSpPr>
              <a:spLocks noEditPoints="1"/>
            </p:cNvSpPr>
            <p:nvPr/>
          </p:nvSpPr>
          <p:spPr bwMode="auto">
            <a:xfrm>
              <a:off x="17287875" y="1719263"/>
              <a:ext cx="166688" cy="214313"/>
            </a:xfrm>
            <a:custGeom>
              <a:avLst/>
              <a:gdLst>
                <a:gd name="T0" fmla="*/ 32 w 44"/>
                <a:gd name="T1" fmla="*/ 57 h 57"/>
                <a:gd name="T2" fmla="*/ 29 w 44"/>
                <a:gd name="T3" fmla="*/ 43 h 57"/>
                <a:gd name="T4" fmla="*/ 15 w 44"/>
                <a:gd name="T5" fmla="*/ 43 h 57"/>
                <a:gd name="T6" fmla="*/ 11 w 44"/>
                <a:gd name="T7" fmla="*/ 57 h 57"/>
                <a:gd name="T8" fmla="*/ 0 w 44"/>
                <a:gd name="T9" fmla="*/ 57 h 57"/>
                <a:gd name="T10" fmla="*/ 16 w 44"/>
                <a:gd name="T11" fmla="*/ 0 h 57"/>
                <a:gd name="T12" fmla="*/ 29 w 44"/>
                <a:gd name="T13" fmla="*/ 0 h 57"/>
                <a:gd name="T14" fmla="*/ 44 w 44"/>
                <a:gd name="T15" fmla="*/ 57 h 57"/>
                <a:gd name="T16" fmla="*/ 32 w 44"/>
                <a:gd name="T17" fmla="*/ 57 h 57"/>
                <a:gd name="T18" fmla="*/ 23 w 44"/>
                <a:gd name="T19" fmla="*/ 16 h 57"/>
                <a:gd name="T20" fmla="*/ 22 w 44"/>
                <a:gd name="T21" fmla="*/ 10 h 57"/>
                <a:gd name="T22" fmla="*/ 22 w 44"/>
                <a:gd name="T23" fmla="*/ 9 h 57"/>
                <a:gd name="T24" fmla="*/ 22 w 44"/>
                <a:gd name="T25" fmla="*/ 9 h 57"/>
                <a:gd name="T26" fmla="*/ 21 w 44"/>
                <a:gd name="T27" fmla="*/ 16 h 57"/>
                <a:gd name="T28" fmla="*/ 16 w 44"/>
                <a:gd name="T29" fmla="*/ 35 h 57"/>
                <a:gd name="T30" fmla="*/ 27 w 44"/>
                <a:gd name="T31" fmla="*/ 35 h 57"/>
                <a:gd name="T32" fmla="*/ 23 w 44"/>
                <a:gd name="T33" fmla="*/ 1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57">
                  <a:moveTo>
                    <a:pt x="32" y="57"/>
                  </a:moveTo>
                  <a:cubicBezTo>
                    <a:pt x="29" y="43"/>
                    <a:pt x="29" y="43"/>
                    <a:pt x="29" y="43"/>
                  </a:cubicBezTo>
                  <a:cubicBezTo>
                    <a:pt x="15" y="43"/>
                    <a:pt x="15" y="43"/>
                    <a:pt x="15" y="43"/>
                  </a:cubicBezTo>
                  <a:cubicBezTo>
                    <a:pt x="11" y="57"/>
                    <a:pt x="11" y="57"/>
                    <a:pt x="11" y="57"/>
                  </a:cubicBezTo>
                  <a:cubicBezTo>
                    <a:pt x="0" y="57"/>
                    <a:pt x="0" y="57"/>
                    <a:pt x="0" y="57"/>
                  </a:cubicBezTo>
                  <a:cubicBezTo>
                    <a:pt x="16" y="0"/>
                    <a:pt x="16" y="0"/>
                    <a:pt x="16" y="0"/>
                  </a:cubicBezTo>
                  <a:cubicBezTo>
                    <a:pt x="29" y="0"/>
                    <a:pt x="29" y="0"/>
                    <a:pt x="29" y="0"/>
                  </a:cubicBezTo>
                  <a:cubicBezTo>
                    <a:pt x="44" y="57"/>
                    <a:pt x="44" y="57"/>
                    <a:pt x="44" y="57"/>
                  </a:cubicBezTo>
                  <a:lnTo>
                    <a:pt x="32" y="57"/>
                  </a:lnTo>
                  <a:close/>
                  <a:moveTo>
                    <a:pt x="23" y="16"/>
                  </a:moveTo>
                  <a:cubicBezTo>
                    <a:pt x="23" y="15"/>
                    <a:pt x="23" y="13"/>
                    <a:pt x="22" y="10"/>
                  </a:cubicBezTo>
                  <a:cubicBezTo>
                    <a:pt x="22" y="10"/>
                    <a:pt x="22" y="9"/>
                    <a:pt x="22" y="9"/>
                  </a:cubicBezTo>
                  <a:cubicBezTo>
                    <a:pt x="22" y="9"/>
                    <a:pt x="22" y="9"/>
                    <a:pt x="22" y="9"/>
                  </a:cubicBezTo>
                  <a:cubicBezTo>
                    <a:pt x="21" y="12"/>
                    <a:pt x="21" y="15"/>
                    <a:pt x="21" y="16"/>
                  </a:cubicBezTo>
                  <a:cubicBezTo>
                    <a:pt x="16" y="35"/>
                    <a:pt x="16" y="35"/>
                    <a:pt x="16" y="35"/>
                  </a:cubicBezTo>
                  <a:cubicBezTo>
                    <a:pt x="27" y="35"/>
                    <a:pt x="27" y="35"/>
                    <a:pt x="27" y="35"/>
                  </a:cubicBezTo>
                  <a:lnTo>
                    <a:pt x="23"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45" name="Freeform 2201"/>
            <p:cNvSpPr>
              <a:spLocks/>
            </p:cNvSpPr>
            <p:nvPr/>
          </p:nvSpPr>
          <p:spPr bwMode="auto">
            <a:xfrm>
              <a:off x="17472025" y="1719263"/>
              <a:ext cx="139700" cy="214313"/>
            </a:xfrm>
            <a:custGeom>
              <a:avLst/>
              <a:gdLst>
                <a:gd name="T0" fmla="*/ 25 w 37"/>
                <a:gd name="T1" fmla="*/ 57 h 57"/>
                <a:gd name="T2" fmla="*/ 12 w 37"/>
                <a:gd name="T3" fmla="*/ 25 h 57"/>
                <a:gd name="T4" fmla="*/ 10 w 37"/>
                <a:gd name="T5" fmla="*/ 18 h 57"/>
                <a:gd name="T6" fmla="*/ 10 w 37"/>
                <a:gd name="T7" fmla="*/ 16 h 57"/>
                <a:gd name="T8" fmla="*/ 9 w 37"/>
                <a:gd name="T9" fmla="*/ 16 h 57"/>
                <a:gd name="T10" fmla="*/ 10 w 37"/>
                <a:gd name="T11" fmla="*/ 28 h 57"/>
                <a:gd name="T12" fmla="*/ 10 w 37"/>
                <a:gd name="T13" fmla="*/ 57 h 57"/>
                <a:gd name="T14" fmla="*/ 0 w 37"/>
                <a:gd name="T15" fmla="*/ 57 h 57"/>
                <a:gd name="T16" fmla="*/ 0 w 37"/>
                <a:gd name="T17" fmla="*/ 0 h 57"/>
                <a:gd name="T18" fmla="*/ 13 w 37"/>
                <a:gd name="T19" fmla="*/ 0 h 57"/>
                <a:gd name="T20" fmla="*/ 26 w 37"/>
                <a:gd name="T21" fmla="*/ 34 h 57"/>
                <a:gd name="T22" fmla="*/ 28 w 37"/>
                <a:gd name="T23" fmla="*/ 42 h 57"/>
                <a:gd name="T24" fmla="*/ 28 w 37"/>
                <a:gd name="T25" fmla="*/ 42 h 57"/>
                <a:gd name="T26" fmla="*/ 28 w 37"/>
                <a:gd name="T27" fmla="*/ 32 h 57"/>
                <a:gd name="T28" fmla="*/ 28 w 37"/>
                <a:gd name="T29" fmla="*/ 0 h 57"/>
                <a:gd name="T30" fmla="*/ 37 w 37"/>
                <a:gd name="T31" fmla="*/ 0 h 57"/>
                <a:gd name="T32" fmla="*/ 37 w 37"/>
                <a:gd name="T33" fmla="*/ 57 h 57"/>
                <a:gd name="T34" fmla="*/ 25 w 37"/>
                <a:gd name="T35"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 h="57">
                  <a:moveTo>
                    <a:pt x="25" y="57"/>
                  </a:moveTo>
                  <a:cubicBezTo>
                    <a:pt x="12" y="25"/>
                    <a:pt x="12" y="25"/>
                    <a:pt x="12" y="25"/>
                  </a:cubicBezTo>
                  <a:cubicBezTo>
                    <a:pt x="12" y="23"/>
                    <a:pt x="11" y="21"/>
                    <a:pt x="10" y="18"/>
                  </a:cubicBezTo>
                  <a:cubicBezTo>
                    <a:pt x="10" y="17"/>
                    <a:pt x="10" y="17"/>
                    <a:pt x="10" y="16"/>
                  </a:cubicBezTo>
                  <a:cubicBezTo>
                    <a:pt x="9" y="16"/>
                    <a:pt x="9" y="16"/>
                    <a:pt x="9" y="16"/>
                  </a:cubicBezTo>
                  <a:cubicBezTo>
                    <a:pt x="10" y="21"/>
                    <a:pt x="10" y="25"/>
                    <a:pt x="10" y="28"/>
                  </a:cubicBezTo>
                  <a:cubicBezTo>
                    <a:pt x="10" y="57"/>
                    <a:pt x="10" y="57"/>
                    <a:pt x="10" y="57"/>
                  </a:cubicBezTo>
                  <a:cubicBezTo>
                    <a:pt x="0" y="57"/>
                    <a:pt x="0" y="57"/>
                    <a:pt x="0" y="57"/>
                  </a:cubicBezTo>
                  <a:cubicBezTo>
                    <a:pt x="0" y="0"/>
                    <a:pt x="0" y="0"/>
                    <a:pt x="0" y="0"/>
                  </a:cubicBezTo>
                  <a:cubicBezTo>
                    <a:pt x="13" y="0"/>
                    <a:pt x="13" y="0"/>
                    <a:pt x="13" y="0"/>
                  </a:cubicBezTo>
                  <a:cubicBezTo>
                    <a:pt x="26" y="34"/>
                    <a:pt x="26" y="34"/>
                    <a:pt x="26" y="34"/>
                  </a:cubicBezTo>
                  <a:cubicBezTo>
                    <a:pt x="26" y="35"/>
                    <a:pt x="27" y="37"/>
                    <a:pt x="28" y="42"/>
                  </a:cubicBezTo>
                  <a:cubicBezTo>
                    <a:pt x="28" y="42"/>
                    <a:pt x="28" y="42"/>
                    <a:pt x="28" y="42"/>
                  </a:cubicBezTo>
                  <a:cubicBezTo>
                    <a:pt x="28" y="32"/>
                    <a:pt x="28" y="32"/>
                    <a:pt x="28" y="32"/>
                  </a:cubicBezTo>
                  <a:cubicBezTo>
                    <a:pt x="28" y="0"/>
                    <a:pt x="28" y="0"/>
                    <a:pt x="28" y="0"/>
                  </a:cubicBezTo>
                  <a:cubicBezTo>
                    <a:pt x="37" y="0"/>
                    <a:pt x="37" y="0"/>
                    <a:pt x="37" y="0"/>
                  </a:cubicBezTo>
                  <a:cubicBezTo>
                    <a:pt x="37" y="57"/>
                    <a:pt x="37" y="57"/>
                    <a:pt x="37" y="57"/>
                  </a:cubicBezTo>
                  <a:lnTo>
                    <a:pt x="25"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46" name="Freeform 2202"/>
            <p:cNvSpPr>
              <a:spLocks/>
            </p:cNvSpPr>
            <p:nvPr/>
          </p:nvSpPr>
          <p:spPr bwMode="auto">
            <a:xfrm>
              <a:off x="17648238" y="1719263"/>
              <a:ext cx="106363" cy="214313"/>
            </a:xfrm>
            <a:custGeom>
              <a:avLst/>
              <a:gdLst>
                <a:gd name="T0" fmla="*/ 0 w 67"/>
                <a:gd name="T1" fmla="*/ 135 h 135"/>
                <a:gd name="T2" fmla="*/ 0 w 67"/>
                <a:gd name="T3" fmla="*/ 0 h 135"/>
                <a:gd name="T4" fmla="*/ 64 w 67"/>
                <a:gd name="T5" fmla="*/ 0 h 135"/>
                <a:gd name="T6" fmla="*/ 64 w 67"/>
                <a:gd name="T7" fmla="*/ 21 h 135"/>
                <a:gd name="T8" fmla="*/ 27 w 67"/>
                <a:gd name="T9" fmla="*/ 21 h 135"/>
                <a:gd name="T10" fmla="*/ 27 w 67"/>
                <a:gd name="T11" fmla="*/ 57 h 135"/>
                <a:gd name="T12" fmla="*/ 62 w 67"/>
                <a:gd name="T13" fmla="*/ 57 h 135"/>
                <a:gd name="T14" fmla="*/ 62 w 67"/>
                <a:gd name="T15" fmla="*/ 78 h 135"/>
                <a:gd name="T16" fmla="*/ 27 w 67"/>
                <a:gd name="T17" fmla="*/ 78 h 135"/>
                <a:gd name="T18" fmla="*/ 27 w 67"/>
                <a:gd name="T19" fmla="*/ 114 h 135"/>
                <a:gd name="T20" fmla="*/ 67 w 67"/>
                <a:gd name="T21" fmla="*/ 114 h 135"/>
                <a:gd name="T22" fmla="*/ 67 w 67"/>
                <a:gd name="T23" fmla="*/ 135 h 135"/>
                <a:gd name="T24" fmla="*/ 0 w 67"/>
                <a:gd name="T2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35">
                  <a:moveTo>
                    <a:pt x="0" y="135"/>
                  </a:moveTo>
                  <a:lnTo>
                    <a:pt x="0" y="0"/>
                  </a:lnTo>
                  <a:lnTo>
                    <a:pt x="64" y="0"/>
                  </a:lnTo>
                  <a:lnTo>
                    <a:pt x="64" y="21"/>
                  </a:lnTo>
                  <a:lnTo>
                    <a:pt x="27" y="21"/>
                  </a:lnTo>
                  <a:lnTo>
                    <a:pt x="27" y="57"/>
                  </a:lnTo>
                  <a:lnTo>
                    <a:pt x="62" y="57"/>
                  </a:lnTo>
                  <a:lnTo>
                    <a:pt x="62" y="78"/>
                  </a:lnTo>
                  <a:lnTo>
                    <a:pt x="27" y="78"/>
                  </a:lnTo>
                  <a:lnTo>
                    <a:pt x="27" y="114"/>
                  </a:lnTo>
                  <a:lnTo>
                    <a:pt x="67" y="114"/>
                  </a:lnTo>
                  <a:lnTo>
                    <a:pt x="67" y="135"/>
                  </a:lnTo>
                  <a:lnTo>
                    <a:pt x="0"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47" name="Freeform 2203"/>
            <p:cNvSpPr>
              <a:spLocks/>
            </p:cNvSpPr>
            <p:nvPr/>
          </p:nvSpPr>
          <p:spPr bwMode="auto">
            <a:xfrm>
              <a:off x="17765713" y="1719263"/>
              <a:ext cx="131763" cy="214313"/>
            </a:xfrm>
            <a:custGeom>
              <a:avLst/>
              <a:gdLst>
                <a:gd name="T0" fmla="*/ 54 w 83"/>
                <a:gd name="T1" fmla="*/ 21 h 135"/>
                <a:gd name="T2" fmla="*/ 54 w 83"/>
                <a:gd name="T3" fmla="*/ 135 h 135"/>
                <a:gd name="T4" fmla="*/ 28 w 83"/>
                <a:gd name="T5" fmla="*/ 135 h 135"/>
                <a:gd name="T6" fmla="*/ 28 w 83"/>
                <a:gd name="T7" fmla="*/ 21 h 135"/>
                <a:gd name="T8" fmla="*/ 0 w 83"/>
                <a:gd name="T9" fmla="*/ 21 h 135"/>
                <a:gd name="T10" fmla="*/ 0 w 83"/>
                <a:gd name="T11" fmla="*/ 0 h 135"/>
                <a:gd name="T12" fmla="*/ 83 w 83"/>
                <a:gd name="T13" fmla="*/ 0 h 135"/>
                <a:gd name="T14" fmla="*/ 83 w 83"/>
                <a:gd name="T15" fmla="*/ 21 h 135"/>
                <a:gd name="T16" fmla="*/ 54 w 83"/>
                <a:gd name="T17" fmla="*/ 2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135">
                  <a:moveTo>
                    <a:pt x="54" y="21"/>
                  </a:moveTo>
                  <a:lnTo>
                    <a:pt x="54" y="135"/>
                  </a:lnTo>
                  <a:lnTo>
                    <a:pt x="28" y="135"/>
                  </a:lnTo>
                  <a:lnTo>
                    <a:pt x="28" y="21"/>
                  </a:lnTo>
                  <a:lnTo>
                    <a:pt x="0" y="21"/>
                  </a:lnTo>
                  <a:lnTo>
                    <a:pt x="0" y="0"/>
                  </a:lnTo>
                  <a:lnTo>
                    <a:pt x="83" y="0"/>
                  </a:lnTo>
                  <a:lnTo>
                    <a:pt x="83" y="21"/>
                  </a:lnTo>
                  <a:lnTo>
                    <a:pt x="54"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48" name="Freeform 2204"/>
            <p:cNvSpPr>
              <a:spLocks/>
            </p:cNvSpPr>
            <p:nvPr/>
          </p:nvSpPr>
          <p:spPr bwMode="auto">
            <a:xfrm>
              <a:off x="15779750" y="1990725"/>
              <a:ext cx="184150" cy="304800"/>
            </a:xfrm>
            <a:custGeom>
              <a:avLst/>
              <a:gdLst>
                <a:gd name="T0" fmla="*/ 49 w 49"/>
                <a:gd name="T1" fmla="*/ 46 h 81"/>
                <a:gd name="T2" fmla="*/ 25 w 49"/>
                <a:gd name="T3" fmla="*/ 81 h 81"/>
                <a:gd name="T4" fmla="*/ 0 w 49"/>
                <a:gd name="T5" fmla="*/ 46 h 81"/>
                <a:gd name="T6" fmla="*/ 0 w 49"/>
                <a:gd name="T7" fmla="*/ 0 h 81"/>
                <a:gd name="T8" fmla="*/ 15 w 49"/>
                <a:gd name="T9" fmla="*/ 0 h 81"/>
                <a:gd name="T10" fmla="*/ 15 w 49"/>
                <a:gd name="T11" fmla="*/ 48 h 81"/>
                <a:gd name="T12" fmla="*/ 25 w 49"/>
                <a:gd name="T13" fmla="*/ 67 h 81"/>
                <a:gd name="T14" fmla="*/ 32 w 49"/>
                <a:gd name="T15" fmla="*/ 63 h 81"/>
                <a:gd name="T16" fmla="*/ 34 w 49"/>
                <a:gd name="T17" fmla="*/ 49 h 81"/>
                <a:gd name="T18" fmla="*/ 34 w 49"/>
                <a:gd name="T19" fmla="*/ 0 h 81"/>
                <a:gd name="T20" fmla="*/ 49 w 49"/>
                <a:gd name="T21" fmla="*/ 0 h 81"/>
                <a:gd name="T22" fmla="*/ 49 w 49"/>
                <a:gd name="T23" fmla="*/ 4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81">
                  <a:moveTo>
                    <a:pt x="49" y="46"/>
                  </a:moveTo>
                  <a:cubicBezTo>
                    <a:pt x="49" y="69"/>
                    <a:pt x="41" y="81"/>
                    <a:pt x="25" y="81"/>
                  </a:cubicBezTo>
                  <a:cubicBezTo>
                    <a:pt x="8" y="81"/>
                    <a:pt x="0" y="69"/>
                    <a:pt x="0" y="46"/>
                  </a:cubicBezTo>
                  <a:cubicBezTo>
                    <a:pt x="0" y="0"/>
                    <a:pt x="0" y="0"/>
                    <a:pt x="0" y="0"/>
                  </a:cubicBezTo>
                  <a:cubicBezTo>
                    <a:pt x="15" y="0"/>
                    <a:pt x="15" y="0"/>
                    <a:pt x="15" y="0"/>
                  </a:cubicBezTo>
                  <a:cubicBezTo>
                    <a:pt x="15" y="48"/>
                    <a:pt x="15" y="48"/>
                    <a:pt x="15" y="48"/>
                  </a:cubicBezTo>
                  <a:cubicBezTo>
                    <a:pt x="15" y="61"/>
                    <a:pt x="18" y="67"/>
                    <a:pt x="25" y="67"/>
                  </a:cubicBezTo>
                  <a:cubicBezTo>
                    <a:pt x="28" y="67"/>
                    <a:pt x="31" y="66"/>
                    <a:pt x="32" y="63"/>
                  </a:cubicBezTo>
                  <a:cubicBezTo>
                    <a:pt x="33" y="60"/>
                    <a:pt x="34" y="55"/>
                    <a:pt x="34" y="49"/>
                  </a:cubicBezTo>
                  <a:cubicBezTo>
                    <a:pt x="34" y="0"/>
                    <a:pt x="34" y="0"/>
                    <a:pt x="34" y="0"/>
                  </a:cubicBezTo>
                  <a:cubicBezTo>
                    <a:pt x="49" y="0"/>
                    <a:pt x="49" y="0"/>
                    <a:pt x="49" y="0"/>
                  </a:cubicBezTo>
                  <a:lnTo>
                    <a:pt x="49"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49" name="Freeform 2205"/>
            <p:cNvSpPr>
              <a:spLocks/>
            </p:cNvSpPr>
            <p:nvPr/>
          </p:nvSpPr>
          <p:spPr bwMode="auto">
            <a:xfrm>
              <a:off x="16000413" y="1985963"/>
              <a:ext cx="158750" cy="309563"/>
            </a:xfrm>
            <a:custGeom>
              <a:avLst/>
              <a:gdLst>
                <a:gd name="T0" fmla="*/ 1 w 42"/>
                <a:gd name="T1" fmla="*/ 77 h 82"/>
                <a:gd name="T2" fmla="*/ 1 w 42"/>
                <a:gd name="T3" fmla="*/ 62 h 82"/>
                <a:gd name="T4" fmla="*/ 17 w 42"/>
                <a:gd name="T5" fmla="*/ 68 h 82"/>
                <a:gd name="T6" fmla="*/ 24 w 42"/>
                <a:gd name="T7" fmla="*/ 66 h 82"/>
                <a:gd name="T8" fmla="*/ 26 w 42"/>
                <a:gd name="T9" fmla="*/ 59 h 82"/>
                <a:gd name="T10" fmla="*/ 24 w 42"/>
                <a:gd name="T11" fmla="*/ 53 h 82"/>
                <a:gd name="T12" fmla="*/ 15 w 42"/>
                <a:gd name="T13" fmla="*/ 46 h 82"/>
                <a:gd name="T14" fmla="*/ 0 w 42"/>
                <a:gd name="T15" fmla="*/ 23 h 82"/>
                <a:gd name="T16" fmla="*/ 7 w 42"/>
                <a:gd name="T17" fmla="*/ 6 h 82"/>
                <a:gd name="T18" fmla="*/ 23 w 42"/>
                <a:gd name="T19" fmla="*/ 0 h 82"/>
                <a:gd name="T20" fmla="*/ 39 w 42"/>
                <a:gd name="T21" fmla="*/ 3 h 82"/>
                <a:gd name="T22" fmla="*/ 39 w 42"/>
                <a:gd name="T23" fmla="*/ 17 h 82"/>
                <a:gd name="T24" fmla="*/ 25 w 42"/>
                <a:gd name="T25" fmla="*/ 13 h 82"/>
                <a:gd name="T26" fmla="*/ 19 w 42"/>
                <a:gd name="T27" fmla="*/ 15 h 82"/>
                <a:gd name="T28" fmla="*/ 16 w 42"/>
                <a:gd name="T29" fmla="*/ 22 h 82"/>
                <a:gd name="T30" fmla="*/ 26 w 42"/>
                <a:gd name="T31" fmla="*/ 34 h 82"/>
                <a:gd name="T32" fmla="*/ 38 w 42"/>
                <a:gd name="T33" fmla="*/ 45 h 82"/>
                <a:gd name="T34" fmla="*/ 42 w 42"/>
                <a:gd name="T35" fmla="*/ 58 h 82"/>
                <a:gd name="T36" fmla="*/ 36 w 42"/>
                <a:gd name="T37" fmla="*/ 75 h 82"/>
                <a:gd name="T38" fmla="*/ 18 w 42"/>
                <a:gd name="T39" fmla="*/ 82 h 82"/>
                <a:gd name="T40" fmla="*/ 8 w 42"/>
                <a:gd name="T41" fmla="*/ 80 h 82"/>
                <a:gd name="T42" fmla="*/ 1 w 42"/>
                <a:gd name="T43" fmla="*/ 7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82">
                  <a:moveTo>
                    <a:pt x="1" y="77"/>
                  </a:moveTo>
                  <a:cubicBezTo>
                    <a:pt x="1" y="62"/>
                    <a:pt x="1" y="62"/>
                    <a:pt x="1" y="62"/>
                  </a:cubicBezTo>
                  <a:cubicBezTo>
                    <a:pt x="7" y="66"/>
                    <a:pt x="12" y="68"/>
                    <a:pt x="17" y="68"/>
                  </a:cubicBezTo>
                  <a:cubicBezTo>
                    <a:pt x="20" y="68"/>
                    <a:pt x="22" y="67"/>
                    <a:pt x="24" y="66"/>
                  </a:cubicBezTo>
                  <a:cubicBezTo>
                    <a:pt x="25" y="64"/>
                    <a:pt x="26" y="62"/>
                    <a:pt x="26" y="59"/>
                  </a:cubicBezTo>
                  <a:cubicBezTo>
                    <a:pt x="26" y="57"/>
                    <a:pt x="25" y="55"/>
                    <a:pt x="24" y="53"/>
                  </a:cubicBezTo>
                  <a:cubicBezTo>
                    <a:pt x="22" y="51"/>
                    <a:pt x="19" y="49"/>
                    <a:pt x="15" y="46"/>
                  </a:cubicBezTo>
                  <a:cubicBezTo>
                    <a:pt x="5" y="41"/>
                    <a:pt x="0" y="33"/>
                    <a:pt x="0" y="23"/>
                  </a:cubicBezTo>
                  <a:cubicBezTo>
                    <a:pt x="0" y="16"/>
                    <a:pt x="2" y="10"/>
                    <a:pt x="7" y="6"/>
                  </a:cubicBezTo>
                  <a:cubicBezTo>
                    <a:pt x="11" y="2"/>
                    <a:pt x="16" y="0"/>
                    <a:pt x="23" y="0"/>
                  </a:cubicBezTo>
                  <a:cubicBezTo>
                    <a:pt x="29" y="0"/>
                    <a:pt x="34" y="1"/>
                    <a:pt x="39" y="3"/>
                  </a:cubicBezTo>
                  <a:cubicBezTo>
                    <a:pt x="39" y="17"/>
                    <a:pt x="39" y="17"/>
                    <a:pt x="39" y="17"/>
                  </a:cubicBezTo>
                  <a:cubicBezTo>
                    <a:pt x="34" y="14"/>
                    <a:pt x="30" y="13"/>
                    <a:pt x="25" y="13"/>
                  </a:cubicBezTo>
                  <a:cubicBezTo>
                    <a:pt x="22" y="13"/>
                    <a:pt x="20" y="14"/>
                    <a:pt x="19" y="15"/>
                  </a:cubicBezTo>
                  <a:cubicBezTo>
                    <a:pt x="17" y="17"/>
                    <a:pt x="16" y="19"/>
                    <a:pt x="16" y="22"/>
                  </a:cubicBezTo>
                  <a:cubicBezTo>
                    <a:pt x="16" y="26"/>
                    <a:pt x="19" y="31"/>
                    <a:pt x="26" y="34"/>
                  </a:cubicBezTo>
                  <a:cubicBezTo>
                    <a:pt x="32" y="38"/>
                    <a:pt x="36" y="41"/>
                    <a:pt x="38" y="45"/>
                  </a:cubicBezTo>
                  <a:cubicBezTo>
                    <a:pt x="41" y="49"/>
                    <a:pt x="42" y="53"/>
                    <a:pt x="42" y="58"/>
                  </a:cubicBezTo>
                  <a:cubicBezTo>
                    <a:pt x="42" y="65"/>
                    <a:pt x="40" y="71"/>
                    <a:pt x="36" y="75"/>
                  </a:cubicBezTo>
                  <a:cubicBezTo>
                    <a:pt x="32" y="79"/>
                    <a:pt x="26" y="82"/>
                    <a:pt x="18" y="82"/>
                  </a:cubicBezTo>
                  <a:cubicBezTo>
                    <a:pt x="15" y="82"/>
                    <a:pt x="12" y="81"/>
                    <a:pt x="8" y="80"/>
                  </a:cubicBezTo>
                  <a:cubicBezTo>
                    <a:pt x="5" y="79"/>
                    <a:pt x="2" y="78"/>
                    <a:pt x="1"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50" name="Freeform 2206"/>
            <p:cNvSpPr>
              <a:spLocks/>
            </p:cNvSpPr>
            <p:nvPr/>
          </p:nvSpPr>
          <p:spPr bwMode="auto">
            <a:xfrm>
              <a:off x="16195675" y="1990725"/>
              <a:ext cx="142875" cy="296863"/>
            </a:xfrm>
            <a:custGeom>
              <a:avLst/>
              <a:gdLst>
                <a:gd name="T0" fmla="*/ 0 w 90"/>
                <a:gd name="T1" fmla="*/ 187 h 187"/>
                <a:gd name="T2" fmla="*/ 0 w 90"/>
                <a:gd name="T3" fmla="*/ 0 h 187"/>
                <a:gd name="T4" fmla="*/ 85 w 90"/>
                <a:gd name="T5" fmla="*/ 0 h 187"/>
                <a:gd name="T6" fmla="*/ 85 w 90"/>
                <a:gd name="T7" fmla="*/ 31 h 187"/>
                <a:gd name="T8" fmla="*/ 36 w 90"/>
                <a:gd name="T9" fmla="*/ 31 h 187"/>
                <a:gd name="T10" fmla="*/ 36 w 90"/>
                <a:gd name="T11" fmla="*/ 78 h 187"/>
                <a:gd name="T12" fmla="*/ 83 w 90"/>
                <a:gd name="T13" fmla="*/ 78 h 187"/>
                <a:gd name="T14" fmla="*/ 83 w 90"/>
                <a:gd name="T15" fmla="*/ 109 h 187"/>
                <a:gd name="T16" fmla="*/ 36 w 90"/>
                <a:gd name="T17" fmla="*/ 109 h 187"/>
                <a:gd name="T18" fmla="*/ 36 w 90"/>
                <a:gd name="T19" fmla="*/ 156 h 187"/>
                <a:gd name="T20" fmla="*/ 90 w 90"/>
                <a:gd name="T21" fmla="*/ 156 h 187"/>
                <a:gd name="T22" fmla="*/ 90 w 90"/>
                <a:gd name="T23" fmla="*/ 187 h 187"/>
                <a:gd name="T24" fmla="*/ 0 w 90"/>
                <a:gd name="T2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0" h="187">
                  <a:moveTo>
                    <a:pt x="0" y="187"/>
                  </a:moveTo>
                  <a:lnTo>
                    <a:pt x="0" y="0"/>
                  </a:lnTo>
                  <a:lnTo>
                    <a:pt x="85" y="0"/>
                  </a:lnTo>
                  <a:lnTo>
                    <a:pt x="85" y="31"/>
                  </a:lnTo>
                  <a:lnTo>
                    <a:pt x="36" y="31"/>
                  </a:lnTo>
                  <a:lnTo>
                    <a:pt x="36" y="78"/>
                  </a:lnTo>
                  <a:lnTo>
                    <a:pt x="83" y="78"/>
                  </a:lnTo>
                  <a:lnTo>
                    <a:pt x="83" y="109"/>
                  </a:lnTo>
                  <a:lnTo>
                    <a:pt x="36" y="109"/>
                  </a:lnTo>
                  <a:lnTo>
                    <a:pt x="36" y="156"/>
                  </a:lnTo>
                  <a:lnTo>
                    <a:pt x="90" y="156"/>
                  </a:lnTo>
                  <a:lnTo>
                    <a:pt x="90" y="187"/>
                  </a:lnTo>
                  <a:lnTo>
                    <a:pt x="0"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51" name="Freeform 2207"/>
            <p:cNvSpPr>
              <a:spLocks noEditPoints="1"/>
            </p:cNvSpPr>
            <p:nvPr/>
          </p:nvSpPr>
          <p:spPr bwMode="auto">
            <a:xfrm>
              <a:off x="16371888" y="1990725"/>
              <a:ext cx="203200" cy="296863"/>
            </a:xfrm>
            <a:custGeom>
              <a:avLst/>
              <a:gdLst>
                <a:gd name="T0" fmla="*/ 0 w 54"/>
                <a:gd name="T1" fmla="*/ 79 h 79"/>
                <a:gd name="T2" fmla="*/ 0 w 54"/>
                <a:gd name="T3" fmla="*/ 0 h 79"/>
                <a:gd name="T4" fmla="*/ 21 w 54"/>
                <a:gd name="T5" fmla="*/ 0 h 79"/>
                <a:gd name="T6" fmla="*/ 54 w 54"/>
                <a:gd name="T7" fmla="*/ 39 h 79"/>
                <a:gd name="T8" fmla="*/ 46 w 54"/>
                <a:gd name="T9" fmla="*/ 68 h 79"/>
                <a:gd name="T10" fmla="*/ 21 w 54"/>
                <a:gd name="T11" fmla="*/ 79 h 79"/>
                <a:gd name="T12" fmla="*/ 0 w 54"/>
                <a:gd name="T13" fmla="*/ 79 h 79"/>
                <a:gd name="T14" fmla="*/ 15 w 54"/>
                <a:gd name="T15" fmla="*/ 13 h 79"/>
                <a:gd name="T16" fmla="*/ 15 w 54"/>
                <a:gd name="T17" fmla="*/ 66 h 79"/>
                <a:gd name="T18" fmla="*/ 22 w 54"/>
                <a:gd name="T19" fmla="*/ 66 h 79"/>
                <a:gd name="T20" fmla="*/ 34 w 54"/>
                <a:gd name="T21" fmla="*/ 59 h 79"/>
                <a:gd name="T22" fmla="*/ 38 w 54"/>
                <a:gd name="T23" fmla="*/ 39 h 79"/>
                <a:gd name="T24" fmla="*/ 34 w 54"/>
                <a:gd name="T25" fmla="*/ 20 h 79"/>
                <a:gd name="T26" fmla="*/ 21 w 54"/>
                <a:gd name="T27" fmla="*/ 13 h 79"/>
                <a:gd name="T28" fmla="*/ 15 w 54"/>
                <a:gd name="T29" fmla="*/ 1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 h="79">
                  <a:moveTo>
                    <a:pt x="0" y="79"/>
                  </a:moveTo>
                  <a:cubicBezTo>
                    <a:pt x="0" y="0"/>
                    <a:pt x="0" y="0"/>
                    <a:pt x="0" y="0"/>
                  </a:cubicBezTo>
                  <a:cubicBezTo>
                    <a:pt x="21" y="0"/>
                    <a:pt x="21" y="0"/>
                    <a:pt x="21" y="0"/>
                  </a:cubicBezTo>
                  <a:cubicBezTo>
                    <a:pt x="43" y="0"/>
                    <a:pt x="54" y="13"/>
                    <a:pt x="54" y="39"/>
                  </a:cubicBezTo>
                  <a:cubicBezTo>
                    <a:pt x="54" y="51"/>
                    <a:pt x="51" y="61"/>
                    <a:pt x="46" y="68"/>
                  </a:cubicBezTo>
                  <a:cubicBezTo>
                    <a:pt x="40" y="76"/>
                    <a:pt x="32" y="79"/>
                    <a:pt x="21" y="79"/>
                  </a:cubicBezTo>
                  <a:lnTo>
                    <a:pt x="0" y="79"/>
                  </a:lnTo>
                  <a:close/>
                  <a:moveTo>
                    <a:pt x="15" y="13"/>
                  </a:moveTo>
                  <a:cubicBezTo>
                    <a:pt x="15" y="66"/>
                    <a:pt x="15" y="66"/>
                    <a:pt x="15" y="66"/>
                  </a:cubicBezTo>
                  <a:cubicBezTo>
                    <a:pt x="22" y="66"/>
                    <a:pt x="22" y="66"/>
                    <a:pt x="22" y="66"/>
                  </a:cubicBezTo>
                  <a:cubicBezTo>
                    <a:pt x="27" y="66"/>
                    <a:pt x="31" y="64"/>
                    <a:pt x="34" y="59"/>
                  </a:cubicBezTo>
                  <a:cubicBezTo>
                    <a:pt x="37" y="54"/>
                    <a:pt x="38" y="47"/>
                    <a:pt x="38" y="39"/>
                  </a:cubicBezTo>
                  <a:cubicBezTo>
                    <a:pt x="38" y="31"/>
                    <a:pt x="37" y="24"/>
                    <a:pt x="34" y="20"/>
                  </a:cubicBezTo>
                  <a:cubicBezTo>
                    <a:pt x="31" y="15"/>
                    <a:pt x="27" y="13"/>
                    <a:pt x="21" y="13"/>
                  </a:cubicBezTo>
                  <a:lnTo>
                    <a:pt x="15"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52" name="Rectangle 2208"/>
            <p:cNvSpPr>
              <a:spLocks noChangeArrowheads="1"/>
            </p:cNvSpPr>
            <p:nvPr/>
          </p:nvSpPr>
          <p:spPr bwMode="auto">
            <a:xfrm>
              <a:off x="16714788" y="1990725"/>
              <a:ext cx="55563" cy="296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53" name="Freeform 2209"/>
            <p:cNvSpPr>
              <a:spLocks/>
            </p:cNvSpPr>
            <p:nvPr/>
          </p:nvSpPr>
          <p:spPr bwMode="auto">
            <a:xfrm>
              <a:off x="16822738" y="1990725"/>
              <a:ext cx="187325" cy="296863"/>
            </a:xfrm>
            <a:custGeom>
              <a:avLst/>
              <a:gdLst>
                <a:gd name="T0" fmla="*/ 33 w 50"/>
                <a:gd name="T1" fmla="*/ 79 h 79"/>
                <a:gd name="T2" fmla="*/ 16 w 50"/>
                <a:gd name="T3" fmla="*/ 34 h 79"/>
                <a:gd name="T4" fmla="*/ 13 w 50"/>
                <a:gd name="T5" fmla="*/ 25 h 79"/>
                <a:gd name="T6" fmla="*/ 12 w 50"/>
                <a:gd name="T7" fmla="*/ 22 h 79"/>
                <a:gd name="T8" fmla="*/ 12 w 50"/>
                <a:gd name="T9" fmla="*/ 22 h 79"/>
                <a:gd name="T10" fmla="*/ 12 w 50"/>
                <a:gd name="T11" fmla="*/ 39 h 79"/>
                <a:gd name="T12" fmla="*/ 12 w 50"/>
                <a:gd name="T13" fmla="*/ 79 h 79"/>
                <a:gd name="T14" fmla="*/ 0 w 50"/>
                <a:gd name="T15" fmla="*/ 79 h 79"/>
                <a:gd name="T16" fmla="*/ 0 w 50"/>
                <a:gd name="T17" fmla="*/ 0 h 79"/>
                <a:gd name="T18" fmla="*/ 17 w 50"/>
                <a:gd name="T19" fmla="*/ 0 h 79"/>
                <a:gd name="T20" fmla="*/ 34 w 50"/>
                <a:gd name="T21" fmla="*/ 46 h 79"/>
                <a:gd name="T22" fmla="*/ 38 w 50"/>
                <a:gd name="T23" fmla="*/ 58 h 79"/>
                <a:gd name="T24" fmla="*/ 38 w 50"/>
                <a:gd name="T25" fmla="*/ 58 h 79"/>
                <a:gd name="T26" fmla="*/ 38 w 50"/>
                <a:gd name="T27" fmla="*/ 45 h 79"/>
                <a:gd name="T28" fmla="*/ 38 w 50"/>
                <a:gd name="T29" fmla="*/ 0 h 79"/>
                <a:gd name="T30" fmla="*/ 50 w 50"/>
                <a:gd name="T31" fmla="*/ 0 h 79"/>
                <a:gd name="T32" fmla="*/ 50 w 50"/>
                <a:gd name="T33" fmla="*/ 79 h 79"/>
                <a:gd name="T34" fmla="*/ 33 w 50"/>
                <a:gd name="T3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79">
                  <a:moveTo>
                    <a:pt x="33" y="79"/>
                  </a:moveTo>
                  <a:cubicBezTo>
                    <a:pt x="16" y="34"/>
                    <a:pt x="16" y="34"/>
                    <a:pt x="16" y="34"/>
                  </a:cubicBezTo>
                  <a:cubicBezTo>
                    <a:pt x="15" y="32"/>
                    <a:pt x="14" y="29"/>
                    <a:pt x="13" y="25"/>
                  </a:cubicBezTo>
                  <a:cubicBezTo>
                    <a:pt x="13" y="24"/>
                    <a:pt x="12" y="23"/>
                    <a:pt x="12" y="22"/>
                  </a:cubicBezTo>
                  <a:cubicBezTo>
                    <a:pt x="12" y="22"/>
                    <a:pt x="12" y="22"/>
                    <a:pt x="12" y="22"/>
                  </a:cubicBezTo>
                  <a:cubicBezTo>
                    <a:pt x="12" y="29"/>
                    <a:pt x="12" y="34"/>
                    <a:pt x="12" y="39"/>
                  </a:cubicBezTo>
                  <a:cubicBezTo>
                    <a:pt x="12" y="79"/>
                    <a:pt x="12" y="79"/>
                    <a:pt x="12" y="79"/>
                  </a:cubicBezTo>
                  <a:cubicBezTo>
                    <a:pt x="0" y="79"/>
                    <a:pt x="0" y="79"/>
                    <a:pt x="0" y="79"/>
                  </a:cubicBezTo>
                  <a:cubicBezTo>
                    <a:pt x="0" y="0"/>
                    <a:pt x="0" y="0"/>
                    <a:pt x="0" y="0"/>
                  </a:cubicBezTo>
                  <a:cubicBezTo>
                    <a:pt x="17" y="0"/>
                    <a:pt x="17" y="0"/>
                    <a:pt x="17" y="0"/>
                  </a:cubicBezTo>
                  <a:cubicBezTo>
                    <a:pt x="34" y="46"/>
                    <a:pt x="34" y="46"/>
                    <a:pt x="34" y="46"/>
                  </a:cubicBezTo>
                  <a:cubicBezTo>
                    <a:pt x="35" y="48"/>
                    <a:pt x="36" y="51"/>
                    <a:pt x="38" y="58"/>
                  </a:cubicBezTo>
                  <a:cubicBezTo>
                    <a:pt x="38" y="58"/>
                    <a:pt x="38" y="58"/>
                    <a:pt x="38" y="58"/>
                  </a:cubicBezTo>
                  <a:cubicBezTo>
                    <a:pt x="38" y="45"/>
                    <a:pt x="38" y="45"/>
                    <a:pt x="38" y="45"/>
                  </a:cubicBezTo>
                  <a:cubicBezTo>
                    <a:pt x="38" y="0"/>
                    <a:pt x="38" y="0"/>
                    <a:pt x="38" y="0"/>
                  </a:cubicBezTo>
                  <a:cubicBezTo>
                    <a:pt x="50" y="0"/>
                    <a:pt x="50" y="0"/>
                    <a:pt x="50" y="0"/>
                  </a:cubicBezTo>
                  <a:cubicBezTo>
                    <a:pt x="50" y="79"/>
                    <a:pt x="50" y="79"/>
                    <a:pt x="50" y="79"/>
                  </a:cubicBezTo>
                  <a:lnTo>
                    <a:pt x="33"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54" name="Freeform 2210"/>
            <p:cNvSpPr>
              <a:spLocks/>
            </p:cNvSpPr>
            <p:nvPr/>
          </p:nvSpPr>
          <p:spPr bwMode="auto">
            <a:xfrm>
              <a:off x="17160875" y="1982788"/>
              <a:ext cx="146050" cy="304800"/>
            </a:xfrm>
            <a:custGeom>
              <a:avLst/>
              <a:gdLst>
                <a:gd name="T0" fmla="*/ 0 w 92"/>
                <a:gd name="T1" fmla="*/ 192 h 192"/>
                <a:gd name="T2" fmla="*/ 0 w 92"/>
                <a:gd name="T3" fmla="*/ 166 h 192"/>
                <a:gd name="T4" fmla="*/ 31 w 92"/>
                <a:gd name="T5" fmla="*/ 166 h 192"/>
                <a:gd name="T6" fmla="*/ 31 w 92"/>
                <a:gd name="T7" fmla="*/ 36 h 192"/>
                <a:gd name="T8" fmla="*/ 0 w 92"/>
                <a:gd name="T9" fmla="*/ 45 h 192"/>
                <a:gd name="T10" fmla="*/ 0 w 92"/>
                <a:gd name="T11" fmla="*/ 17 h 192"/>
                <a:gd name="T12" fmla="*/ 64 w 92"/>
                <a:gd name="T13" fmla="*/ 0 h 192"/>
                <a:gd name="T14" fmla="*/ 64 w 92"/>
                <a:gd name="T15" fmla="*/ 166 h 192"/>
                <a:gd name="T16" fmla="*/ 92 w 92"/>
                <a:gd name="T17" fmla="*/ 166 h 192"/>
                <a:gd name="T18" fmla="*/ 92 w 92"/>
                <a:gd name="T19" fmla="*/ 192 h 192"/>
                <a:gd name="T20" fmla="*/ 0 w 92"/>
                <a:gd name="T21"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92">
                  <a:moveTo>
                    <a:pt x="0" y="192"/>
                  </a:moveTo>
                  <a:lnTo>
                    <a:pt x="0" y="166"/>
                  </a:lnTo>
                  <a:lnTo>
                    <a:pt x="31" y="166"/>
                  </a:lnTo>
                  <a:lnTo>
                    <a:pt x="31" y="36"/>
                  </a:lnTo>
                  <a:lnTo>
                    <a:pt x="0" y="45"/>
                  </a:lnTo>
                  <a:lnTo>
                    <a:pt x="0" y="17"/>
                  </a:lnTo>
                  <a:lnTo>
                    <a:pt x="64" y="0"/>
                  </a:lnTo>
                  <a:lnTo>
                    <a:pt x="64" y="166"/>
                  </a:lnTo>
                  <a:lnTo>
                    <a:pt x="92" y="166"/>
                  </a:lnTo>
                  <a:lnTo>
                    <a:pt x="92" y="192"/>
                  </a:lnTo>
                  <a:lnTo>
                    <a:pt x="0"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55" name="Freeform 2211"/>
            <p:cNvSpPr>
              <a:spLocks noEditPoints="1"/>
            </p:cNvSpPr>
            <p:nvPr/>
          </p:nvSpPr>
          <p:spPr bwMode="auto">
            <a:xfrm>
              <a:off x="17337088" y="1985963"/>
              <a:ext cx="165100" cy="304800"/>
            </a:xfrm>
            <a:custGeom>
              <a:avLst/>
              <a:gdLst>
                <a:gd name="T0" fmla="*/ 4 w 44"/>
                <a:gd name="T1" fmla="*/ 79 h 81"/>
                <a:gd name="T2" fmla="*/ 4 w 44"/>
                <a:gd name="T3" fmla="*/ 66 h 81"/>
                <a:gd name="T4" fmla="*/ 15 w 44"/>
                <a:gd name="T5" fmla="*/ 70 h 81"/>
                <a:gd name="T6" fmla="*/ 30 w 44"/>
                <a:gd name="T7" fmla="*/ 44 h 81"/>
                <a:gd name="T8" fmla="*/ 30 w 44"/>
                <a:gd name="T9" fmla="*/ 44 h 81"/>
                <a:gd name="T10" fmla="*/ 17 w 44"/>
                <a:gd name="T11" fmla="*/ 52 h 81"/>
                <a:gd name="T12" fmla="*/ 4 w 44"/>
                <a:gd name="T13" fmla="*/ 46 h 81"/>
                <a:gd name="T14" fmla="*/ 0 w 44"/>
                <a:gd name="T15" fmla="*/ 29 h 81"/>
                <a:gd name="T16" fmla="*/ 6 w 44"/>
                <a:gd name="T17" fmla="*/ 8 h 81"/>
                <a:gd name="T18" fmla="*/ 22 w 44"/>
                <a:gd name="T19" fmla="*/ 0 h 81"/>
                <a:gd name="T20" fmla="*/ 38 w 44"/>
                <a:gd name="T21" fmla="*/ 9 h 81"/>
                <a:gd name="T22" fmla="*/ 44 w 44"/>
                <a:gd name="T23" fmla="*/ 37 h 81"/>
                <a:gd name="T24" fmla="*/ 37 w 44"/>
                <a:gd name="T25" fmla="*/ 70 h 81"/>
                <a:gd name="T26" fmla="*/ 17 w 44"/>
                <a:gd name="T27" fmla="*/ 81 h 81"/>
                <a:gd name="T28" fmla="*/ 4 w 44"/>
                <a:gd name="T29" fmla="*/ 79 h 81"/>
                <a:gd name="T30" fmla="*/ 21 w 44"/>
                <a:gd name="T31" fmla="*/ 11 h 81"/>
                <a:gd name="T32" fmla="*/ 16 w 44"/>
                <a:gd name="T33" fmla="*/ 15 h 81"/>
                <a:gd name="T34" fmla="*/ 14 w 44"/>
                <a:gd name="T35" fmla="*/ 26 h 81"/>
                <a:gd name="T36" fmla="*/ 16 w 44"/>
                <a:gd name="T37" fmla="*/ 37 h 81"/>
                <a:gd name="T38" fmla="*/ 21 w 44"/>
                <a:gd name="T39" fmla="*/ 40 h 81"/>
                <a:gd name="T40" fmla="*/ 27 w 44"/>
                <a:gd name="T41" fmla="*/ 37 h 81"/>
                <a:gd name="T42" fmla="*/ 29 w 44"/>
                <a:gd name="T43" fmla="*/ 27 h 81"/>
                <a:gd name="T44" fmla="*/ 27 w 44"/>
                <a:gd name="T45" fmla="*/ 16 h 81"/>
                <a:gd name="T46" fmla="*/ 21 w 44"/>
                <a:gd name="T47" fmla="*/ 1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81">
                  <a:moveTo>
                    <a:pt x="4" y="79"/>
                  </a:moveTo>
                  <a:cubicBezTo>
                    <a:pt x="4" y="66"/>
                    <a:pt x="4" y="66"/>
                    <a:pt x="4" y="66"/>
                  </a:cubicBezTo>
                  <a:cubicBezTo>
                    <a:pt x="7" y="68"/>
                    <a:pt x="11" y="70"/>
                    <a:pt x="15" y="70"/>
                  </a:cubicBezTo>
                  <a:cubicBezTo>
                    <a:pt x="25" y="70"/>
                    <a:pt x="30" y="61"/>
                    <a:pt x="30" y="44"/>
                  </a:cubicBezTo>
                  <a:cubicBezTo>
                    <a:pt x="30" y="44"/>
                    <a:pt x="30" y="44"/>
                    <a:pt x="30" y="44"/>
                  </a:cubicBezTo>
                  <a:cubicBezTo>
                    <a:pt x="27" y="50"/>
                    <a:pt x="23" y="52"/>
                    <a:pt x="17" y="52"/>
                  </a:cubicBezTo>
                  <a:cubicBezTo>
                    <a:pt x="12" y="52"/>
                    <a:pt x="8" y="50"/>
                    <a:pt x="4" y="46"/>
                  </a:cubicBezTo>
                  <a:cubicBezTo>
                    <a:pt x="1" y="42"/>
                    <a:pt x="0" y="36"/>
                    <a:pt x="0" y="29"/>
                  </a:cubicBezTo>
                  <a:cubicBezTo>
                    <a:pt x="0" y="20"/>
                    <a:pt x="2" y="13"/>
                    <a:pt x="6" y="8"/>
                  </a:cubicBezTo>
                  <a:cubicBezTo>
                    <a:pt x="10" y="2"/>
                    <a:pt x="15" y="0"/>
                    <a:pt x="22" y="0"/>
                  </a:cubicBezTo>
                  <a:cubicBezTo>
                    <a:pt x="29" y="0"/>
                    <a:pt x="34" y="3"/>
                    <a:pt x="38" y="9"/>
                  </a:cubicBezTo>
                  <a:cubicBezTo>
                    <a:pt x="42" y="15"/>
                    <a:pt x="44" y="24"/>
                    <a:pt x="44" y="37"/>
                  </a:cubicBezTo>
                  <a:cubicBezTo>
                    <a:pt x="44" y="52"/>
                    <a:pt x="42" y="63"/>
                    <a:pt x="37" y="70"/>
                  </a:cubicBezTo>
                  <a:cubicBezTo>
                    <a:pt x="32" y="78"/>
                    <a:pt x="26" y="81"/>
                    <a:pt x="17" y="81"/>
                  </a:cubicBezTo>
                  <a:cubicBezTo>
                    <a:pt x="12" y="81"/>
                    <a:pt x="8" y="81"/>
                    <a:pt x="4" y="79"/>
                  </a:cubicBezTo>
                  <a:close/>
                  <a:moveTo>
                    <a:pt x="21" y="11"/>
                  </a:moveTo>
                  <a:cubicBezTo>
                    <a:pt x="19" y="11"/>
                    <a:pt x="17" y="13"/>
                    <a:pt x="16" y="15"/>
                  </a:cubicBezTo>
                  <a:cubicBezTo>
                    <a:pt x="15" y="18"/>
                    <a:pt x="14" y="21"/>
                    <a:pt x="14" y="26"/>
                  </a:cubicBezTo>
                  <a:cubicBezTo>
                    <a:pt x="14" y="31"/>
                    <a:pt x="15" y="34"/>
                    <a:pt x="16" y="37"/>
                  </a:cubicBezTo>
                  <a:cubicBezTo>
                    <a:pt x="18" y="39"/>
                    <a:pt x="19" y="40"/>
                    <a:pt x="21" y="40"/>
                  </a:cubicBezTo>
                  <a:cubicBezTo>
                    <a:pt x="24" y="40"/>
                    <a:pt x="25" y="39"/>
                    <a:pt x="27" y="37"/>
                  </a:cubicBezTo>
                  <a:cubicBezTo>
                    <a:pt x="28" y="34"/>
                    <a:pt x="29" y="31"/>
                    <a:pt x="29" y="27"/>
                  </a:cubicBezTo>
                  <a:cubicBezTo>
                    <a:pt x="29" y="22"/>
                    <a:pt x="28" y="19"/>
                    <a:pt x="27" y="16"/>
                  </a:cubicBezTo>
                  <a:cubicBezTo>
                    <a:pt x="25" y="13"/>
                    <a:pt x="24" y="11"/>
                    <a:pt x="2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56" name="Freeform 2212"/>
            <p:cNvSpPr>
              <a:spLocks noEditPoints="1"/>
            </p:cNvSpPr>
            <p:nvPr/>
          </p:nvSpPr>
          <p:spPr bwMode="auto">
            <a:xfrm>
              <a:off x="17524413" y="1985963"/>
              <a:ext cx="169863" cy="304800"/>
            </a:xfrm>
            <a:custGeom>
              <a:avLst/>
              <a:gdLst>
                <a:gd name="T0" fmla="*/ 4 w 45"/>
                <a:gd name="T1" fmla="*/ 79 h 81"/>
                <a:gd name="T2" fmla="*/ 4 w 45"/>
                <a:gd name="T3" fmla="*/ 66 h 81"/>
                <a:gd name="T4" fmla="*/ 16 w 45"/>
                <a:gd name="T5" fmla="*/ 70 h 81"/>
                <a:gd name="T6" fmla="*/ 31 w 45"/>
                <a:gd name="T7" fmla="*/ 44 h 81"/>
                <a:gd name="T8" fmla="*/ 31 w 45"/>
                <a:gd name="T9" fmla="*/ 44 h 81"/>
                <a:gd name="T10" fmla="*/ 18 w 45"/>
                <a:gd name="T11" fmla="*/ 52 h 81"/>
                <a:gd name="T12" fmla="*/ 5 w 45"/>
                <a:gd name="T13" fmla="*/ 46 h 81"/>
                <a:gd name="T14" fmla="*/ 0 w 45"/>
                <a:gd name="T15" fmla="*/ 29 h 81"/>
                <a:gd name="T16" fmla="*/ 6 w 45"/>
                <a:gd name="T17" fmla="*/ 8 h 81"/>
                <a:gd name="T18" fmla="*/ 23 w 45"/>
                <a:gd name="T19" fmla="*/ 0 h 81"/>
                <a:gd name="T20" fmla="*/ 39 w 45"/>
                <a:gd name="T21" fmla="*/ 9 h 81"/>
                <a:gd name="T22" fmla="*/ 45 w 45"/>
                <a:gd name="T23" fmla="*/ 37 h 81"/>
                <a:gd name="T24" fmla="*/ 38 w 45"/>
                <a:gd name="T25" fmla="*/ 70 h 81"/>
                <a:gd name="T26" fmla="*/ 17 w 45"/>
                <a:gd name="T27" fmla="*/ 81 h 81"/>
                <a:gd name="T28" fmla="*/ 4 w 45"/>
                <a:gd name="T29" fmla="*/ 79 h 81"/>
                <a:gd name="T30" fmla="*/ 22 w 45"/>
                <a:gd name="T31" fmla="*/ 11 h 81"/>
                <a:gd name="T32" fmla="*/ 17 w 45"/>
                <a:gd name="T33" fmla="*/ 15 h 81"/>
                <a:gd name="T34" fmla="*/ 15 w 45"/>
                <a:gd name="T35" fmla="*/ 26 h 81"/>
                <a:gd name="T36" fmla="*/ 17 w 45"/>
                <a:gd name="T37" fmla="*/ 37 h 81"/>
                <a:gd name="T38" fmla="*/ 22 w 45"/>
                <a:gd name="T39" fmla="*/ 40 h 81"/>
                <a:gd name="T40" fmla="*/ 28 w 45"/>
                <a:gd name="T41" fmla="*/ 37 h 81"/>
                <a:gd name="T42" fmla="*/ 30 w 45"/>
                <a:gd name="T43" fmla="*/ 27 h 81"/>
                <a:gd name="T44" fmla="*/ 28 w 45"/>
                <a:gd name="T45" fmla="*/ 16 h 81"/>
                <a:gd name="T46" fmla="*/ 22 w 45"/>
                <a:gd name="T47" fmla="*/ 1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 h="81">
                  <a:moveTo>
                    <a:pt x="4" y="79"/>
                  </a:moveTo>
                  <a:cubicBezTo>
                    <a:pt x="4" y="66"/>
                    <a:pt x="4" y="66"/>
                    <a:pt x="4" y="66"/>
                  </a:cubicBezTo>
                  <a:cubicBezTo>
                    <a:pt x="8" y="68"/>
                    <a:pt x="11" y="70"/>
                    <a:pt x="16" y="70"/>
                  </a:cubicBezTo>
                  <a:cubicBezTo>
                    <a:pt x="25" y="70"/>
                    <a:pt x="31" y="61"/>
                    <a:pt x="31" y="44"/>
                  </a:cubicBezTo>
                  <a:cubicBezTo>
                    <a:pt x="31" y="44"/>
                    <a:pt x="31" y="44"/>
                    <a:pt x="31" y="44"/>
                  </a:cubicBezTo>
                  <a:cubicBezTo>
                    <a:pt x="28" y="50"/>
                    <a:pt x="23" y="52"/>
                    <a:pt x="18" y="52"/>
                  </a:cubicBezTo>
                  <a:cubicBezTo>
                    <a:pt x="13" y="52"/>
                    <a:pt x="9" y="50"/>
                    <a:pt x="5" y="46"/>
                  </a:cubicBezTo>
                  <a:cubicBezTo>
                    <a:pt x="2" y="42"/>
                    <a:pt x="0" y="36"/>
                    <a:pt x="0" y="29"/>
                  </a:cubicBezTo>
                  <a:cubicBezTo>
                    <a:pt x="0" y="20"/>
                    <a:pt x="2" y="13"/>
                    <a:pt x="6" y="8"/>
                  </a:cubicBezTo>
                  <a:cubicBezTo>
                    <a:pt x="10" y="2"/>
                    <a:pt x="16" y="0"/>
                    <a:pt x="23" y="0"/>
                  </a:cubicBezTo>
                  <a:cubicBezTo>
                    <a:pt x="30" y="0"/>
                    <a:pt x="35" y="3"/>
                    <a:pt x="39" y="9"/>
                  </a:cubicBezTo>
                  <a:cubicBezTo>
                    <a:pt x="43" y="15"/>
                    <a:pt x="45" y="24"/>
                    <a:pt x="45" y="37"/>
                  </a:cubicBezTo>
                  <a:cubicBezTo>
                    <a:pt x="45" y="52"/>
                    <a:pt x="43" y="63"/>
                    <a:pt x="38" y="70"/>
                  </a:cubicBezTo>
                  <a:cubicBezTo>
                    <a:pt x="33" y="78"/>
                    <a:pt x="26" y="81"/>
                    <a:pt x="17" y="81"/>
                  </a:cubicBezTo>
                  <a:cubicBezTo>
                    <a:pt x="13" y="81"/>
                    <a:pt x="8" y="81"/>
                    <a:pt x="4" y="79"/>
                  </a:cubicBezTo>
                  <a:close/>
                  <a:moveTo>
                    <a:pt x="22" y="11"/>
                  </a:moveTo>
                  <a:cubicBezTo>
                    <a:pt x="20" y="11"/>
                    <a:pt x="18" y="13"/>
                    <a:pt x="17" y="15"/>
                  </a:cubicBezTo>
                  <a:cubicBezTo>
                    <a:pt x="16" y="18"/>
                    <a:pt x="15" y="21"/>
                    <a:pt x="15" y="26"/>
                  </a:cubicBezTo>
                  <a:cubicBezTo>
                    <a:pt x="15" y="31"/>
                    <a:pt x="16" y="34"/>
                    <a:pt x="17" y="37"/>
                  </a:cubicBezTo>
                  <a:cubicBezTo>
                    <a:pt x="18" y="39"/>
                    <a:pt x="20" y="40"/>
                    <a:pt x="22" y="40"/>
                  </a:cubicBezTo>
                  <a:cubicBezTo>
                    <a:pt x="24" y="40"/>
                    <a:pt x="26" y="39"/>
                    <a:pt x="28" y="37"/>
                  </a:cubicBezTo>
                  <a:cubicBezTo>
                    <a:pt x="29" y="34"/>
                    <a:pt x="30" y="31"/>
                    <a:pt x="30" y="27"/>
                  </a:cubicBezTo>
                  <a:cubicBezTo>
                    <a:pt x="30" y="22"/>
                    <a:pt x="29" y="19"/>
                    <a:pt x="28" y="16"/>
                  </a:cubicBezTo>
                  <a:cubicBezTo>
                    <a:pt x="26" y="13"/>
                    <a:pt x="24" y="11"/>
                    <a:pt x="2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sp>
          <p:nvSpPr>
            <p:cNvPr id="2357" name="Freeform 2213"/>
            <p:cNvSpPr>
              <a:spLocks noEditPoints="1"/>
            </p:cNvSpPr>
            <p:nvPr/>
          </p:nvSpPr>
          <p:spPr bwMode="auto">
            <a:xfrm>
              <a:off x="17716500" y="1985963"/>
              <a:ext cx="168275" cy="304800"/>
            </a:xfrm>
            <a:custGeom>
              <a:avLst/>
              <a:gdLst>
                <a:gd name="T0" fmla="*/ 4 w 45"/>
                <a:gd name="T1" fmla="*/ 79 h 81"/>
                <a:gd name="T2" fmla="*/ 4 w 45"/>
                <a:gd name="T3" fmla="*/ 66 h 81"/>
                <a:gd name="T4" fmla="*/ 15 w 45"/>
                <a:gd name="T5" fmla="*/ 70 h 81"/>
                <a:gd name="T6" fmla="*/ 31 w 45"/>
                <a:gd name="T7" fmla="*/ 44 h 81"/>
                <a:gd name="T8" fmla="*/ 30 w 45"/>
                <a:gd name="T9" fmla="*/ 44 h 81"/>
                <a:gd name="T10" fmla="*/ 17 w 45"/>
                <a:gd name="T11" fmla="*/ 52 h 81"/>
                <a:gd name="T12" fmla="*/ 5 w 45"/>
                <a:gd name="T13" fmla="*/ 46 h 81"/>
                <a:gd name="T14" fmla="*/ 0 w 45"/>
                <a:gd name="T15" fmla="*/ 29 h 81"/>
                <a:gd name="T16" fmla="*/ 6 w 45"/>
                <a:gd name="T17" fmla="*/ 8 h 81"/>
                <a:gd name="T18" fmla="*/ 22 w 45"/>
                <a:gd name="T19" fmla="*/ 0 h 81"/>
                <a:gd name="T20" fmla="*/ 39 w 45"/>
                <a:gd name="T21" fmla="*/ 9 h 81"/>
                <a:gd name="T22" fmla="*/ 45 w 45"/>
                <a:gd name="T23" fmla="*/ 37 h 81"/>
                <a:gd name="T24" fmla="*/ 38 w 45"/>
                <a:gd name="T25" fmla="*/ 70 h 81"/>
                <a:gd name="T26" fmla="*/ 17 w 45"/>
                <a:gd name="T27" fmla="*/ 81 h 81"/>
                <a:gd name="T28" fmla="*/ 4 w 45"/>
                <a:gd name="T29" fmla="*/ 79 h 81"/>
                <a:gd name="T30" fmla="*/ 22 w 45"/>
                <a:gd name="T31" fmla="*/ 11 h 81"/>
                <a:gd name="T32" fmla="*/ 17 w 45"/>
                <a:gd name="T33" fmla="*/ 15 h 81"/>
                <a:gd name="T34" fmla="*/ 15 w 45"/>
                <a:gd name="T35" fmla="*/ 26 h 81"/>
                <a:gd name="T36" fmla="*/ 17 w 45"/>
                <a:gd name="T37" fmla="*/ 37 h 81"/>
                <a:gd name="T38" fmla="*/ 22 w 45"/>
                <a:gd name="T39" fmla="*/ 40 h 81"/>
                <a:gd name="T40" fmla="*/ 27 w 45"/>
                <a:gd name="T41" fmla="*/ 37 h 81"/>
                <a:gd name="T42" fmla="*/ 29 w 45"/>
                <a:gd name="T43" fmla="*/ 27 h 81"/>
                <a:gd name="T44" fmla="*/ 27 w 45"/>
                <a:gd name="T45" fmla="*/ 16 h 81"/>
                <a:gd name="T46" fmla="*/ 22 w 45"/>
                <a:gd name="T47" fmla="*/ 1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 h="81">
                  <a:moveTo>
                    <a:pt x="4" y="79"/>
                  </a:moveTo>
                  <a:cubicBezTo>
                    <a:pt x="4" y="66"/>
                    <a:pt x="4" y="66"/>
                    <a:pt x="4" y="66"/>
                  </a:cubicBezTo>
                  <a:cubicBezTo>
                    <a:pt x="7" y="68"/>
                    <a:pt x="11" y="70"/>
                    <a:pt x="15" y="70"/>
                  </a:cubicBezTo>
                  <a:cubicBezTo>
                    <a:pt x="25" y="70"/>
                    <a:pt x="30" y="61"/>
                    <a:pt x="31" y="44"/>
                  </a:cubicBezTo>
                  <a:cubicBezTo>
                    <a:pt x="30" y="44"/>
                    <a:pt x="30" y="44"/>
                    <a:pt x="30" y="44"/>
                  </a:cubicBezTo>
                  <a:cubicBezTo>
                    <a:pt x="28" y="50"/>
                    <a:pt x="23" y="52"/>
                    <a:pt x="17" y="52"/>
                  </a:cubicBezTo>
                  <a:cubicBezTo>
                    <a:pt x="12" y="52"/>
                    <a:pt x="8" y="50"/>
                    <a:pt x="5" y="46"/>
                  </a:cubicBezTo>
                  <a:cubicBezTo>
                    <a:pt x="2" y="42"/>
                    <a:pt x="0" y="36"/>
                    <a:pt x="0" y="29"/>
                  </a:cubicBezTo>
                  <a:cubicBezTo>
                    <a:pt x="0" y="20"/>
                    <a:pt x="2" y="13"/>
                    <a:pt x="6" y="8"/>
                  </a:cubicBezTo>
                  <a:cubicBezTo>
                    <a:pt x="10" y="2"/>
                    <a:pt x="16" y="0"/>
                    <a:pt x="22" y="0"/>
                  </a:cubicBezTo>
                  <a:cubicBezTo>
                    <a:pt x="29" y="0"/>
                    <a:pt x="35" y="3"/>
                    <a:pt x="39" y="9"/>
                  </a:cubicBezTo>
                  <a:cubicBezTo>
                    <a:pt x="43" y="15"/>
                    <a:pt x="45" y="24"/>
                    <a:pt x="45" y="37"/>
                  </a:cubicBezTo>
                  <a:cubicBezTo>
                    <a:pt x="45" y="52"/>
                    <a:pt x="42" y="63"/>
                    <a:pt x="38" y="70"/>
                  </a:cubicBezTo>
                  <a:cubicBezTo>
                    <a:pt x="33" y="78"/>
                    <a:pt x="26" y="81"/>
                    <a:pt x="17" y="81"/>
                  </a:cubicBezTo>
                  <a:cubicBezTo>
                    <a:pt x="13" y="81"/>
                    <a:pt x="8" y="81"/>
                    <a:pt x="4" y="79"/>
                  </a:cubicBezTo>
                  <a:close/>
                  <a:moveTo>
                    <a:pt x="22" y="11"/>
                  </a:moveTo>
                  <a:cubicBezTo>
                    <a:pt x="20" y="11"/>
                    <a:pt x="18" y="13"/>
                    <a:pt x="17" y="15"/>
                  </a:cubicBezTo>
                  <a:cubicBezTo>
                    <a:pt x="15" y="18"/>
                    <a:pt x="15" y="21"/>
                    <a:pt x="15" y="26"/>
                  </a:cubicBezTo>
                  <a:cubicBezTo>
                    <a:pt x="15" y="31"/>
                    <a:pt x="15" y="34"/>
                    <a:pt x="17" y="37"/>
                  </a:cubicBezTo>
                  <a:cubicBezTo>
                    <a:pt x="18" y="39"/>
                    <a:pt x="20" y="40"/>
                    <a:pt x="22" y="40"/>
                  </a:cubicBezTo>
                  <a:cubicBezTo>
                    <a:pt x="24" y="40"/>
                    <a:pt x="26" y="39"/>
                    <a:pt x="27" y="37"/>
                  </a:cubicBezTo>
                  <a:cubicBezTo>
                    <a:pt x="29" y="34"/>
                    <a:pt x="29" y="31"/>
                    <a:pt x="29" y="27"/>
                  </a:cubicBezTo>
                  <a:cubicBezTo>
                    <a:pt x="29" y="22"/>
                    <a:pt x="29" y="19"/>
                    <a:pt x="27" y="16"/>
                  </a:cubicBezTo>
                  <a:cubicBezTo>
                    <a:pt x="26" y="13"/>
                    <a:pt x="24" y="11"/>
                    <a:pt x="2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67680"/>
              <a:endParaRPr lang="en-US" sz="1400">
                <a:solidFill>
                  <a:srgbClr val="FFFFFF"/>
                </a:solidFill>
              </a:endParaRPr>
            </a:p>
          </p:txBody>
        </p:sp>
      </p:grpSp>
      <p:sp>
        <p:nvSpPr>
          <p:cNvPr id="2363" name="Rectangle 2362"/>
          <p:cNvSpPr/>
          <p:nvPr/>
        </p:nvSpPr>
        <p:spPr>
          <a:xfrm>
            <a:off x="5852044" y="593255"/>
            <a:ext cx="4514850" cy="174193"/>
          </a:xfrm>
          <a:prstGeom prst="rect">
            <a:avLst/>
          </a:prstGeom>
          <a:pattFill prst="dkUpDiag">
            <a:fgClr>
              <a:srgbClr val="00B0F0"/>
            </a:fgClr>
            <a:bgClr>
              <a:schemeClr val="bg1"/>
            </a:bgClr>
          </a:pattFill>
          <a:ln w="9525" cap="flat" cmpd="sng" algn="ctr">
            <a:noFill/>
            <a:prstDash val="sysDash"/>
          </a:ln>
          <a:effectLst/>
        </p:spPr>
        <p:txBody>
          <a:bodyPr lIns="182799" tIns="64005" rIns="91400" bIns="64005" rtlCol="0" anchor="b" anchorCtr="0"/>
          <a:lstStyle/>
          <a:p>
            <a:pPr algn="r" defTabSz="1218398"/>
            <a:endParaRPr lang="en-US" sz="1400" dirty="0">
              <a:solidFill>
                <a:srgbClr val="FFFFFF">
                  <a:alpha val="99000"/>
                </a:srgbClr>
              </a:solidFill>
              <a:ea typeface="Segoe UI" pitchFamily="34" charset="0"/>
              <a:cs typeface="Segoe UI" pitchFamily="34" charset="0"/>
            </a:endParaRPr>
          </a:p>
        </p:txBody>
      </p:sp>
      <p:cxnSp>
        <p:nvCxnSpPr>
          <p:cNvPr id="2364" name="Straight Connector 2363"/>
          <p:cNvCxnSpPr/>
          <p:nvPr/>
        </p:nvCxnSpPr>
        <p:spPr>
          <a:xfrm>
            <a:off x="5852044" y="464645"/>
            <a:ext cx="4514850" cy="0"/>
          </a:xfrm>
          <a:prstGeom prst="line">
            <a:avLst/>
          </a:prstGeom>
          <a:noFill/>
          <a:ln w="9525" cap="flat" cmpd="sng" algn="ctr">
            <a:solidFill>
              <a:schemeClr val="bg1">
                <a:lumMod val="75000"/>
              </a:schemeClr>
            </a:solidFill>
            <a:prstDash val="sysDash"/>
          </a:ln>
          <a:effectLst/>
        </p:spPr>
      </p:cxnSp>
      <p:cxnSp>
        <p:nvCxnSpPr>
          <p:cNvPr id="2365" name="Straight Connector 2364"/>
          <p:cNvCxnSpPr/>
          <p:nvPr/>
        </p:nvCxnSpPr>
        <p:spPr>
          <a:xfrm>
            <a:off x="5838803" y="3429587"/>
            <a:ext cx="4572000" cy="0"/>
          </a:xfrm>
          <a:prstGeom prst="line">
            <a:avLst/>
          </a:prstGeom>
          <a:noFill/>
          <a:ln w="9525" cap="flat" cmpd="sng" algn="ctr">
            <a:solidFill>
              <a:schemeClr val="bg1">
                <a:lumMod val="75000"/>
              </a:schemeClr>
            </a:solidFill>
            <a:prstDash val="sysDash"/>
          </a:ln>
          <a:effectLst/>
        </p:spPr>
      </p:cxnSp>
      <p:pic>
        <p:nvPicPr>
          <p:cNvPr id="2093" name="Picture 209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09822" y="6248400"/>
            <a:ext cx="1905778" cy="457200"/>
          </a:xfrm>
          <a:prstGeom prst="rect">
            <a:avLst/>
          </a:prstGeom>
        </p:spPr>
      </p:pic>
    </p:spTree>
    <p:extLst>
      <p:ext uri="{BB962C8B-B14F-4D97-AF65-F5344CB8AC3E}">
        <p14:creationId xmlns:p14="http://schemas.microsoft.com/office/powerpoint/2010/main" val="25703112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a:t>
            </a:r>
            <a:r>
              <a:rPr lang="en-US" dirty="0" smtClean="0">
                <a:solidFill>
                  <a:srgbClr val="00B0F0"/>
                </a:solidFill>
              </a:rPr>
              <a:t>Scenarios</a:t>
            </a:r>
            <a:endParaRPr lang="en-US" dirty="0">
              <a:solidFill>
                <a:srgbClr val="00B0F0"/>
              </a:solidFill>
            </a:endParaRPr>
          </a:p>
        </p:txBody>
      </p:sp>
      <p:sp>
        <p:nvSpPr>
          <p:cNvPr id="3" name="Content Placeholder 2"/>
          <p:cNvSpPr>
            <a:spLocks noGrp="1"/>
          </p:cNvSpPr>
          <p:nvPr>
            <p:ph type="body" sz="quarter" idx="10"/>
          </p:nvPr>
        </p:nvSpPr>
        <p:spPr>
          <a:xfrm>
            <a:off x="1327971" y="1447800"/>
            <a:ext cx="5617029" cy="2639184"/>
          </a:xfrm>
        </p:spPr>
        <p:txBody>
          <a:bodyPr/>
          <a:lstStyle/>
          <a:p>
            <a:pPr>
              <a:lnSpc>
                <a:spcPct val="100000"/>
              </a:lnSpc>
            </a:pPr>
            <a:r>
              <a:rPr lang="en-US" sz="2400" dirty="0">
                <a:solidFill>
                  <a:srgbClr val="00B0F0">
                    <a:alpha val="99000"/>
                  </a:srgbClr>
                </a:solidFill>
                <a:ea typeface="Segoe UI" pitchFamily="34" charset="0"/>
                <a:cs typeface="Segoe UI" pitchFamily="34" charset="0"/>
              </a:rPr>
              <a:t>Ideal for Applications Needing:</a:t>
            </a:r>
          </a:p>
          <a:p>
            <a:pPr lvl="1">
              <a:lnSpc>
                <a:spcPct val="100000"/>
              </a:lnSpc>
            </a:pPr>
            <a:r>
              <a:rPr lang="en-US" sz="4000" dirty="0">
                <a:latin typeface="Segoe UI Light" pitchFamily="34" charset="0"/>
              </a:rPr>
              <a:t>Scalability</a:t>
            </a:r>
          </a:p>
          <a:p>
            <a:pPr lvl="1">
              <a:lnSpc>
                <a:spcPct val="100000"/>
              </a:lnSpc>
            </a:pPr>
            <a:r>
              <a:rPr lang="en-US" sz="4000" dirty="0">
                <a:latin typeface="Segoe UI Light" pitchFamily="34" charset="0"/>
              </a:rPr>
              <a:t>Availability</a:t>
            </a:r>
          </a:p>
          <a:p>
            <a:pPr lvl="1">
              <a:lnSpc>
                <a:spcPct val="100000"/>
              </a:lnSpc>
            </a:pPr>
            <a:r>
              <a:rPr lang="en-US" sz="4000" dirty="0">
                <a:latin typeface="Segoe UI Light" pitchFamily="34" charset="0"/>
              </a:rPr>
              <a:t>Fault Tolerance</a:t>
            </a:r>
          </a:p>
          <a:p>
            <a:pPr lvl="1">
              <a:lnSpc>
                <a:spcPct val="100000"/>
              </a:lnSpc>
            </a:pPr>
            <a:endParaRPr lang="en-US" dirty="0" smtClean="0"/>
          </a:p>
        </p:txBody>
      </p:sp>
      <p:pic>
        <p:nvPicPr>
          <p:cNvPr id="1026" name="Picture 2" descr="C:\Users\jonahs\Work Documents\Windows Azure Dot Com\03_Designs\Website Dyno Awesome\cut images\IMG_checkitoff.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9" y="3952876"/>
            <a:ext cx="2809875" cy="2905125"/>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2"/>
          <p:cNvSpPr txBox="1">
            <a:spLocks/>
          </p:cNvSpPr>
          <p:nvPr/>
        </p:nvSpPr>
        <p:spPr>
          <a:xfrm>
            <a:off x="6502872" y="1447800"/>
            <a:ext cx="5486400" cy="3562514"/>
          </a:xfrm>
          <a:prstGeom prst="rect">
            <a:avLst/>
          </a:prstGeom>
        </p:spPr>
        <p:txBody>
          <a:bodyPr vert="horz" wrap="square" lIns="0" tIns="0" rIns="0" bIns="0" rtlCol="0">
            <a:spAutoFit/>
          </a:bodyPr>
          <a:lstStyle>
            <a:lvl1pPr marL="3175" indent="0" algn="l" defTabSz="914325"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25" rtl="0" eaLnBrk="1" latinLnBrk="0" hangingPunct="1">
              <a:lnSpc>
                <a:spcPct val="90000"/>
              </a:lnSpc>
              <a:spcBef>
                <a:spcPts val="0"/>
              </a:spcBef>
              <a:buSzPct val="80000"/>
              <a:buFont typeface="Arial" pitchFamily="34" charset="0"/>
              <a:buNone/>
              <a:defRPr sz="2000" kern="1200" spc="-51" baseline="0">
                <a:gradFill>
                  <a:gsLst>
                    <a:gs pos="0">
                      <a:srgbClr val="595959"/>
                    </a:gs>
                    <a:gs pos="86000">
                      <a:srgbClr val="595959"/>
                    </a:gs>
                  </a:gsLst>
                  <a:lin ang="5400000" scaled="0"/>
                </a:gradFill>
                <a:latin typeface="+mn-lt"/>
                <a:ea typeface="+mn-ea"/>
                <a:cs typeface="+mn-cs"/>
              </a:defRPr>
            </a:lvl2pPr>
            <a:lvl3pPr marL="1258784" indent="-403191" algn="l" defTabSz="914325" rtl="0" eaLnBrk="1" latinLnBrk="0" hangingPunct="1">
              <a:lnSpc>
                <a:spcPct val="90000"/>
              </a:lnSpc>
              <a:spcBef>
                <a:spcPct val="20000"/>
              </a:spcBef>
              <a:buSzPct val="80000"/>
              <a:buFontTx/>
              <a:buBlip>
                <a:blip r:embed="rId3"/>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828" indent="-346046" algn="l" defTabSz="914325" rtl="0" eaLnBrk="1" latinLnBrk="0" hangingPunct="1">
              <a:lnSpc>
                <a:spcPct val="90000"/>
              </a:lnSpc>
              <a:spcBef>
                <a:spcPct val="20000"/>
              </a:spcBef>
              <a:buSzPct val="80000"/>
              <a:buFontTx/>
              <a:buBlip>
                <a:blip r:embed="rId3"/>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351" indent="-336522" algn="l" defTabSz="914325" rtl="0" eaLnBrk="1" latinLnBrk="0" hangingPunct="1">
              <a:lnSpc>
                <a:spcPct val="90000"/>
              </a:lnSpc>
              <a:spcBef>
                <a:spcPct val="20000"/>
              </a:spcBef>
              <a:buSzPct val="80000"/>
              <a:buFontTx/>
              <a:buBlip>
                <a:blip r:embed="rId3"/>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2400" dirty="0">
                <a:solidFill>
                  <a:srgbClr val="00B0F0">
                    <a:alpha val="99000"/>
                  </a:srgbClr>
                </a:solidFill>
                <a:ea typeface="Segoe UI" pitchFamily="34" charset="0"/>
                <a:cs typeface="Segoe UI" pitchFamily="34" charset="0"/>
              </a:rPr>
              <a:t>Common Application Uses:</a:t>
            </a:r>
          </a:p>
          <a:p>
            <a:pPr lvl="1">
              <a:lnSpc>
                <a:spcPct val="100000"/>
              </a:lnSpc>
            </a:pPr>
            <a:r>
              <a:rPr lang="en-US" sz="4000" dirty="0">
                <a:latin typeface="Segoe UI Light" pitchFamily="34" charset="0"/>
              </a:rPr>
              <a:t>Web Sites</a:t>
            </a:r>
          </a:p>
          <a:p>
            <a:pPr lvl="1">
              <a:lnSpc>
                <a:spcPct val="100000"/>
              </a:lnSpc>
            </a:pPr>
            <a:r>
              <a:rPr lang="en-US" sz="4000" dirty="0">
                <a:latin typeface="Segoe UI Light" pitchFamily="34" charset="0"/>
              </a:rPr>
              <a:t>Compute Intensive apps</a:t>
            </a:r>
          </a:p>
          <a:p>
            <a:pPr lvl="1">
              <a:lnSpc>
                <a:spcPct val="100000"/>
              </a:lnSpc>
            </a:pPr>
            <a:r>
              <a:rPr lang="en-US" sz="4000" dirty="0">
                <a:latin typeface="Segoe UI Light" pitchFamily="34" charset="0"/>
              </a:rPr>
              <a:t>Device Applications</a:t>
            </a:r>
          </a:p>
          <a:p>
            <a:pPr lvl="1">
              <a:lnSpc>
                <a:spcPct val="100000"/>
              </a:lnSpc>
            </a:pPr>
            <a:r>
              <a:rPr lang="en-US" sz="4000" dirty="0">
                <a:latin typeface="Segoe UI Light" pitchFamily="34" charset="0"/>
              </a:rPr>
              <a:t>Web APIs</a:t>
            </a:r>
          </a:p>
          <a:p>
            <a:pPr lvl="1">
              <a:lnSpc>
                <a:spcPct val="100000"/>
              </a:lnSpc>
            </a:pPr>
            <a:r>
              <a:rPr lang="en-US" sz="4000" dirty="0">
                <a:latin typeface="Segoe UI Light" pitchFamily="34" charset="0"/>
              </a:rPr>
              <a:t>Social Games</a:t>
            </a:r>
          </a:p>
        </p:txBody>
      </p:sp>
    </p:spTree>
    <p:extLst>
      <p:ext uri="{BB962C8B-B14F-4D97-AF65-F5344CB8AC3E}">
        <p14:creationId xmlns:p14="http://schemas.microsoft.com/office/powerpoint/2010/main" val="1482952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a:xfrm>
            <a:off x="4863767" y="265148"/>
            <a:ext cx="2237868" cy="212365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nSpc>
                <a:spcPct val="100000"/>
              </a:lnSpc>
            </a:pPr>
            <a:r>
              <a:rPr sz="13800" dirty="0">
                <a:solidFill>
                  <a:srgbClr val="5F5F5F">
                    <a:alpha val="99000"/>
                  </a:srgbClr>
                </a:solidFill>
              </a:rPr>
              <a:t>89</a:t>
            </a:r>
          </a:p>
        </p:txBody>
      </p:sp>
      <p:sp>
        <p:nvSpPr>
          <p:cNvPr id="5" name="TextBox 4"/>
          <p:cNvSpPr txBox="1"/>
          <p:nvPr/>
        </p:nvSpPr>
        <p:spPr>
          <a:xfrm>
            <a:off x="302633" y="177802"/>
            <a:ext cx="1933575" cy="6724918"/>
          </a:xfrm>
          <a:prstGeom prst="rect">
            <a:avLst/>
          </a:prstGeom>
          <a:noFill/>
        </p:spPr>
        <p:txBody>
          <a:bodyPr wrap="square" lIns="0" tIns="0" rIns="0" bIns="0" rtlCol="0">
            <a:spAutoFit/>
          </a:bodyPr>
          <a:lstStyle/>
          <a:p>
            <a:pPr algn="r" defTabSz="1625032"/>
            <a:r>
              <a:rPr lang="en-US" sz="1900" dirty="0">
                <a:solidFill>
                  <a:srgbClr val="00AEEF">
                    <a:alpha val="99000"/>
                  </a:srgbClr>
                </a:solidFill>
              </a:rPr>
              <a:t>Australia</a:t>
            </a:r>
          </a:p>
          <a:p>
            <a:pPr algn="r" defTabSz="1625032"/>
            <a:r>
              <a:rPr lang="en-US" sz="1900" dirty="0">
                <a:solidFill>
                  <a:srgbClr val="00AEEF">
                    <a:alpha val="99000"/>
                  </a:srgbClr>
                </a:solidFill>
              </a:rPr>
              <a:t>Austria</a:t>
            </a:r>
          </a:p>
          <a:p>
            <a:pPr algn="r" defTabSz="1625032"/>
            <a:r>
              <a:rPr lang="en-US" sz="1900" dirty="0">
                <a:solidFill>
                  <a:srgbClr val="00AEEF">
                    <a:alpha val="99000"/>
                  </a:srgbClr>
                </a:solidFill>
              </a:rPr>
              <a:t>Belgium</a:t>
            </a:r>
          </a:p>
          <a:p>
            <a:pPr algn="r" defTabSz="1625032"/>
            <a:r>
              <a:rPr lang="en-US" sz="1900" dirty="0">
                <a:solidFill>
                  <a:srgbClr val="00AEEF">
                    <a:alpha val="99000"/>
                  </a:srgbClr>
                </a:solidFill>
              </a:rPr>
              <a:t>Brazil</a:t>
            </a:r>
          </a:p>
          <a:p>
            <a:pPr algn="r" defTabSz="1625032"/>
            <a:r>
              <a:rPr lang="en-US" sz="1900" dirty="0">
                <a:solidFill>
                  <a:srgbClr val="00AEEF">
                    <a:alpha val="99000"/>
                  </a:srgbClr>
                </a:solidFill>
              </a:rPr>
              <a:t>Canada</a:t>
            </a:r>
          </a:p>
          <a:p>
            <a:pPr algn="r" defTabSz="1625032"/>
            <a:r>
              <a:rPr lang="en-US" sz="1900" dirty="0">
                <a:solidFill>
                  <a:srgbClr val="00AEEF">
                    <a:alpha val="99000"/>
                  </a:srgbClr>
                </a:solidFill>
              </a:rPr>
              <a:t>Chile</a:t>
            </a:r>
          </a:p>
          <a:p>
            <a:pPr algn="r" defTabSz="1625032"/>
            <a:r>
              <a:rPr lang="en-US" sz="1900" dirty="0">
                <a:solidFill>
                  <a:srgbClr val="00AEEF">
                    <a:alpha val="99000"/>
                  </a:srgbClr>
                </a:solidFill>
              </a:rPr>
              <a:t>Colombia</a:t>
            </a:r>
          </a:p>
          <a:p>
            <a:pPr algn="r" defTabSz="1625032"/>
            <a:r>
              <a:rPr lang="en-US" sz="1900" dirty="0">
                <a:solidFill>
                  <a:srgbClr val="00AEEF">
                    <a:alpha val="99000"/>
                  </a:srgbClr>
                </a:solidFill>
              </a:rPr>
              <a:t>Costa Rica</a:t>
            </a:r>
          </a:p>
          <a:p>
            <a:pPr algn="r" defTabSz="1625032"/>
            <a:r>
              <a:rPr lang="en-US" sz="1900" dirty="0">
                <a:solidFill>
                  <a:srgbClr val="00AEEF">
                    <a:alpha val="99000"/>
                  </a:srgbClr>
                </a:solidFill>
              </a:rPr>
              <a:t>Cyprus</a:t>
            </a:r>
          </a:p>
          <a:p>
            <a:pPr algn="r" defTabSz="1625032"/>
            <a:r>
              <a:rPr lang="en-US" sz="1900" dirty="0">
                <a:solidFill>
                  <a:srgbClr val="00AEEF">
                    <a:alpha val="99000"/>
                  </a:srgbClr>
                </a:solidFill>
              </a:rPr>
              <a:t>Czech Republic</a:t>
            </a:r>
          </a:p>
          <a:p>
            <a:pPr algn="r" defTabSz="1625032"/>
            <a:r>
              <a:rPr lang="en-US" sz="1900" dirty="0">
                <a:solidFill>
                  <a:srgbClr val="00AEEF">
                    <a:alpha val="99000"/>
                  </a:srgbClr>
                </a:solidFill>
              </a:rPr>
              <a:t>Denmark</a:t>
            </a:r>
          </a:p>
          <a:p>
            <a:pPr algn="r" defTabSz="1625032"/>
            <a:r>
              <a:rPr lang="en-US" sz="1900" dirty="0">
                <a:solidFill>
                  <a:srgbClr val="00AEEF">
                    <a:alpha val="99000"/>
                  </a:srgbClr>
                </a:solidFill>
              </a:rPr>
              <a:t>Finland</a:t>
            </a:r>
          </a:p>
          <a:p>
            <a:pPr algn="r" defTabSz="1625032"/>
            <a:r>
              <a:rPr lang="en-US" sz="1900" dirty="0">
                <a:solidFill>
                  <a:srgbClr val="00AEEF">
                    <a:alpha val="99000"/>
                  </a:srgbClr>
                </a:solidFill>
              </a:rPr>
              <a:t>France</a:t>
            </a:r>
          </a:p>
          <a:p>
            <a:pPr algn="r" defTabSz="1625032"/>
            <a:r>
              <a:rPr lang="en-US" sz="1900" dirty="0">
                <a:solidFill>
                  <a:srgbClr val="00AEEF">
                    <a:alpha val="99000"/>
                  </a:srgbClr>
                </a:solidFill>
              </a:rPr>
              <a:t>Germany</a:t>
            </a:r>
          </a:p>
          <a:p>
            <a:pPr algn="r" defTabSz="1625032"/>
            <a:r>
              <a:rPr lang="en-US" sz="1900" dirty="0">
                <a:solidFill>
                  <a:srgbClr val="00AEEF">
                    <a:alpha val="99000"/>
                  </a:srgbClr>
                </a:solidFill>
              </a:rPr>
              <a:t>Greece</a:t>
            </a:r>
          </a:p>
          <a:p>
            <a:pPr algn="r" defTabSz="1625032"/>
            <a:r>
              <a:rPr lang="en-US" sz="1900" dirty="0">
                <a:solidFill>
                  <a:srgbClr val="00AEEF">
                    <a:alpha val="99000"/>
                  </a:srgbClr>
                </a:solidFill>
              </a:rPr>
              <a:t>Hong Kong</a:t>
            </a:r>
          </a:p>
          <a:p>
            <a:pPr algn="r" defTabSz="1625032"/>
            <a:r>
              <a:rPr lang="en-US" sz="1900" dirty="0">
                <a:solidFill>
                  <a:srgbClr val="00AEEF">
                    <a:alpha val="99000"/>
                  </a:srgbClr>
                </a:solidFill>
              </a:rPr>
              <a:t>Hungary</a:t>
            </a:r>
          </a:p>
          <a:p>
            <a:pPr algn="r" defTabSz="1625032"/>
            <a:r>
              <a:rPr lang="en-US" sz="1900" dirty="0">
                <a:solidFill>
                  <a:srgbClr val="00AEEF">
                    <a:alpha val="99000"/>
                  </a:srgbClr>
                </a:solidFill>
              </a:rPr>
              <a:t>India</a:t>
            </a:r>
          </a:p>
          <a:p>
            <a:pPr algn="r" defTabSz="1625032"/>
            <a:r>
              <a:rPr lang="en-US" sz="1900" dirty="0">
                <a:solidFill>
                  <a:srgbClr val="00AEEF">
                    <a:alpha val="99000"/>
                  </a:srgbClr>
                </a:solidFill>
              </a:rPr>
              <a:t>Ireland</a:t>
            </a:r>
          </a:p>
          <a:p>
            <a:pPr algn="r" defTabSz="1625032"/>
            <a:r>
              <a:rPr lang="en-US" sz="1900" dirty="0">
                <a:solidFill>
                  <a:srgbClr val="00AEEF">
                    <a:alpha val="99000"/>
                  </a:srgbClr>
                </a:solidFill>
              </a:rPr>
              <a:t>Israel</a:t>
            </a:r>
          </a:p>
          <a:p>
            <a:pPr algn="r" defTabSz="1625032"/>
            <a:r>
              <a:rPr lang="en-US" sz="1900" dirty="0">
                <a:solidFill>
                  <a:srgbClr val="00AEEF">
                    <a:alpha val="99000"/>
                  </a:srgbClr>
                </a:solidFill>
              </a:rPr>
              <a:t>Italy</a:t>
            </a:r>
          </a:p>
          <a:p>
            <a:pPr algn="r" defTabSz="1625032"/>
            <a:r>
              <a:rPr lang="en-US" sz="1900" dirty="0">
                <a:solidFill>
                  <a:srgbClr val="00AEEF">
                    <a:alpha val="99000"/>
                  </a:srgbClr>
                </a:solidFill>
              </a:rPr>
              <a:t>Japan</a:t>
            </a:r>
          </a:p>
          <a:p>
            <a:pPr algn="r" defTabSz="1625032"/>
            <a:r>
              <a:rPr lang="en-US" sz="1900" dirty="0">
                <a:solidFill>
                  <a:srgbClr val="00AEEF">
                    <a:alpha val="99000"/>
                  </a:srgbClr>
                </a:solidFill>
              </a:rPr>
              <a:t>Korea</a:t>
            </a:r>
          </a:p>
        </p:txBody>
      </p:sp>
      <p:sp>
        <p:nvSpPr>
          <p:cNvPr id="6" name="TextBox 5"/>
          <p:cNvSpPr txBox="1"/>
          <p:nvPr/>
        </p:nvSpPr>
        <p:spPr>
          <a:xfrm>
            <a:off x="2405174" y="177804"/>
            <a:ext cx="1849152" cy="6724918"/>
          </a:xfrm>
          <a:prstGeom prst="rect">
            <a:avLst/>
          </a:prstGeom>
          <a:noFill/>
        </p:spPr>
        <p:txBody>
          <a:bodyPr wrap="square" lIns="0" tIns="0" rIns="0" bIns="0" rtlCol="0">
            <a:spAutoFit/>
          </a:bodyPr>
          <a:lstStyle/>
          <a:p>
            <a:pPr algn="r" defTabSz="1625032"/>
            <a:r>
              <a:rPr lang="en-US" sz="1900" dirty="0">
                <a:solidFill>
                  <a:srgbClr val="00AEEF">
                    <a:alpha val="99000"/>
                  </a:srgbClr>
                </a:solidFill>
              </a:rPr>
              <a:t>Luxembourg</a:t>
            </a:r>
          </a:p>
          <a:p>
            <a:pPr algn="r" defTabSz="1625032"/>
            <a:r>
              <a:rPr lang="en-US" sz="1900" dirty="0">
                <a:solidFill>
                  <a:srgbClr val="00AEEF">
                    <a:alpha val="99000"/>
                  </a:srgbClr>
                </a:solidFill>
              </a:rPr>
              <a:t>Malaysia</a:t>
            </a:r>
            <a:endParaRPr lang="en-US" sz="1400" dirty="0">
              <a:solidFill>
                <a:srgbClr val="00AEEF">
                  <a:alpha val="99000"/>
                </a:srgbClr>
              </a:solidFill>
            </a:endParaRPr>
          </a:p>
          <a:p>
            <a:pPr algn="r" defTabSz="1625032"/>
            <a:r>
              <a:rPr lang="en-US" sz="1900" dirty="0">
                <a:solidFill>
                  <a:srgbClr val="00AEEF">
                    <a:alpha val="99000"/>
                  </a:srgbClr>
                </a:solidFill>
              </a:rPr>
              <a:t>Mexico</a:t>
            </a:r>
          </a:p>
          <a:p>
            <a:pPr algn="r" defTabSz="1625032"/>
            <a:r>
              <a:rPr lang="en-US" sz="1900" dirty="0">
                <a:solidFill>
                  <a:srgbClr val="00AEEF">
                    <a:alpha val="99000"/>
                  </a:srgbClr>
                </a:solidFill>
              </a:rPr>
              <a:t>Netherlands</a:t>
            </a:r>
          </a:p>
          <a:p>
            <a:pPr algn="r" defTabSz="1625032"/>
            <a:r>
              <a:rPr lang="en-US" sz="1900" dirty="0">
                <a:solidFill>
                  <a:srgbClr val="00AEEF">
                    <a:alpha val="99000"/>
                  </a:srgbClr>
                </a:solidFill>
              </a:rPr>
              <a:t>New Zealand</a:t>
            </a:r>
          </a:p>
          <a:p>
            <a:pPr algn="r" defTabSz="1625032"/>
            <a:r>
              <a:rPr lang="en-US" sz="1900" dirty="0">
                <a:solidFill>
                  <a:srgbClr val="00AEEF">
                    <a:alpha val="99000"/>
                  </a:srgbClr>
                </a:solidFill>
              </a:rPr>
              <a:t>Norway</a:t>
            </a:r>
          </a:p>
          <a:p>
            <a:pPr algn="r" defTabSz="1625032"/>
            <a:r>
              <a:rPr lang="en-US" sz="1900" dirty="0">
                <a:solidFill>
                  <a:srgbClr val="00AEEF">
                    <a:alpha val="99000"/>
                  </a:srgbClr>
                </a:solidFill>
              </a:rPr>
              <a:t>Peru</a:t>
            </a:r>
          </a:p>
          <a:p>
            <a:pPr algn="r" defTabSz="1625032"/>
            <a:r>
              <a:rPr lang="en-US" sz="1900" dirty="0">
                <a:solidFill>
                  <a:srgbClr val="00AEEF">
                    <a:alpha val="99000"/>
                  </a:srgbClr>
                </a:solidFill>
              </a:rPr>
              <a:t>Philippines</a:t>
            </a:r>
          </a:p>
          <a:p>
            <a:pPr algn="r" defTabSz="1625032"/>
            <a:r>
              <a:rPr lang="en-US" sz="1900" dirty="0">
                <a:solidFill>
                  <a:srgbClr val="00AEEF">
                    <a:alpha val="99000"/>
                  </a:srgbClr>
                </a:solidFill>
              </a:rPr>
              <a:t>Poland</a:t>
            </a:r>
          </a:p>
          <a:p>
            <a:pPr algn="r" defTabSz="1625032"/>
            <a:r>
              <a:rPr lang="en-US" sz="1900" dirty="0">
                <a:solidFill>
                  <a:srgbClr val="00AEEF">
                    <a:alpha val="99000"/>
                  </a:srgbClr>
                </a:solidFill>
              </a:rPr>
              <a:t>Portugal</a:t>
            </a:r>
          </a:p>
          <a:p>
            <a:pPr algn="r" defTabSz="1625032"/>
            <a:r>
              <a:rPr lang="en-US" sz="1900" dirty="0">
                <a:solidFill>
                  <a:srgbClr val="00AEEF">
                    <a:alpha val="99000"/>
                  </a:srgbClr>
                </a:solidFill>
              </a:rPr>
              <a:t>Puerto Rico</a:t>
            </a:r>
          </a:p>
          <a:p>
            <a:pPr algn="r" defTabSz="1625032"/>
            <a:r>
              <a:rPr lang="en-US" sz="1900" dirty="0">
                <a:solidFill>
                  <a:srgbClr val="00AEEF">
                    <a:alpha val="99000"/>
                  </a:srgbClr>
                </a:solidFill>
              </a:rPr>
              <a:t>Romania</a:t>
            </a:r>
          </a:p>
          <a:p>
            <a:pPr algn="r" defTabSz="1625032"/>
            <a:r>
              <a:rPr lang="en-US" sz="1900" dirty="0">
                <a:solidFill>
                  <a:srgbClr val="00AEEF">
                    <a:alpha val="99000"/>
                  </a:srgbClr>
                </a:solidFill>
              </a:rPr>
              <a:t>Russia</a:t>
            </a:r>
          </a:p>
          <a:p>
            <a:pPr algn="r" defTabSz="1625032"/>
            <a:r>
              <a:rPr lang="en-US" sz="1900" dirty="0">
                <a:solidFill>
                  <a:srgbClr val="00AEEF">
                    <a:alpha val="99000"/>
                  </a:srgbClr>
                </a:solidFill>
              </a:rPr>
              <a:t>Singapore</a:t>
            </a:r>
          </a:p>
          <a:p>
            <a:pPr algn="r" defTabSz="1625032"/>
            <a:r>
              <a:rPr lang="en-US" sz="1900" dirty="0">
                <a:solidFill>
                  <a:srgbClr val="00AEEF">
                    <a:alpha val="99000"/>
                  </a:srgbClr>
                </a:solidFill>
              </a:rPr>
              <a:t>Spain</a:t>
            </a:r>
          </a:p>
          <a:p>
            <a:pPr algn="r" defTabSz="1625032"/>
            <a:r>
              <a:rPr lang="en-US" sz="1900" dirty="0">
                <a:solidFill>
                  <a:srgbClr val="00AEEF">
                    <a:alpha val="99000"/>
                  </a:srgbClr>
                </a:solidFill>
              </a:rPr>
              <a:t>Sweden</a:t>
            </a:r>
          </a:p>
          <a:p>
            <a:pPr algn="r" defTabSz="1625032"/>
            <a:r>
              <a:rPr lang="en-US" sz="1900" dirty="0">
                <a:solidFill>
                  <a:srgbClr val="00AEEF">
                    <a:alpha val="99000"/>
                  </a:srgbClr>
                </a:solidFill>
              </a:rPr>
              <a:t>Switzerland</a:t>
            </a:r>
          </a:p>
          <a:p>
            <a:pPr algn="r" defTabSz="1625032"/>
            <a:r>
              <a:rPr lang="en-US" sz="1900" dirty="0">
                <a:solidFill>
                  <a:srgbClr val="00AEEF">
                    <a:alpha val="99000"/>
                  </a:srgbClr>
                </a:solidFill>
              </a:rPr>
              <a:t>Trinidad &amp; Tobago</a:t>
            </a:r>
          </a:p>
          <a:p>
            <a:pPr algn="r" defTabSz="1625032"/>
            <a:r>
              <a:rPr lang="en-US" sz="1900" dirty="0">
                <a:solidFill>
                  <a:srgbClr val="00AEEF">
                    <a:alpha val="99000"/>
                  </a:srgbClr>
                </a:solidFill>
              </a:rPr>
              <a:t>UK</a:t>
            </a:r>
          </a:p>
          <a:p>
            <a:pPr algn="r" defTabSz="1625032"/>
            <a:r>
              <a:rPr lang="en-US" sz="1900" dirty="0">
                <a:solidFill>
                  <a:srgbClr val="00AEEF">
                    <a:alpha val="99000"/>
                  </a:srgbClr>
                </a:solidFill>
              </a:rPr>
              <a:t>United States</a:t>
            </a:r>
          </a:p>
          <a:p>
            <a:pPr algn="r" defTabSz="1625032"/>
            <a:r>
              <a:rPr lang="en-US" sz="1900" dirty="0">
                <a:solidFill>
                  <a:srgbClr val="00AEEF">
                    <a:alpha val="99000"/>
                  </a:srgbClr>
                </a:solidFill>
              </a:rPr>
              <a:t>New Countries:</a:t>
            </a:r>
          </a:p>
          <a:p>
            <a:pPr algn="r" defTabSz="1625032"/>
            <a:r>
              <a:rPr lang="en-US" sz="1900" dirty="0">
                <a:solidFill>
                  <a:srgbClr val="00AEEF">
                    <a:alpha val="99000"/>
                  </a:srgbClr>
                </a:solidFill>
              </a:rPr>
              <a:t>Algeria</a:t>
            </a:r>
          </a:p>
        </p:txBody>
      </p:sp>
      <p:sp>
        <p:nvSpPr>
          <p:cNvPr id="7" name="TextBox 6"/>
          <p:cNvSpPr txBox="1"/>
          <p:nvPr/>
        </p:nvSpPr>
        <p:spPr>
          <a:xfrm>
            <a:off x="4254327" y="2442029"/>
            <a:ext cx="1824185" cy="4385816"/>
          </a:xfrm>
          <a:prstGeom prst="rect">
            <a:avLst/>
          </a:prstGeom>
          <a:noFill/>
        </p:spPr>
        <p:txBody>
          <a:bodyPr wrap="square" lIns="0" tIns="0" rIns="0" bIns="0" rtlCol="0">
            <a:spAutoFit/>
          </a:bodyPr>
          <a:lstStyle/>
          <a:p>
            <a:pPr algn="r" defTabSz="1625032"/>
            <a:r>
              <a:rPr lang="en-US" sz="1900" dirty="0">
                <a:solidFill>
                  <a:srgbClr val="00AEEF">
                    <a:alpha val="99000"/>
                  </a:srgbClr>
                </a:solidFill>
              </a:rPr>
              <a:t>Argentina</a:t>
            </a:r>
          </a:p>
          <a:p>
            <a:pPr algn="r" defTabSz="1625032"/>
            <a:r>
              <a:rPr lang="en-US" sz="1900" dirty="0">
                <a:solidFill>
                  <a:srgbClr val="00AEEF">
                    <a:alpha val="99000"/>
                  </a:srgbClr>
                </a:solidFill>
              </a:rPr>
              <a:t>Belarus</a:t>
            </a:r>
          </a:p>
          <a:p>
            <a:pPr algn="r" defTabSz="1625032"/>
            <a:r>
              <a:rPr lang="en-US" sz="1900" dirty="0">
                <a:solidFill>
                  <a:srgbClr val="00AEEF">
                    <a:alpha val="99000"/>
                  </a:srgbClr>
                </a:solidFill>
              </a:rPr>
              <a:t>Bulgaria</a:t>
            </a:r>
          </a:p>
          <a:p>
            <a:pPr algn="r" defTabSz="1625032"/>
            <a:r>
              <a:rPr lang="en-US" sz="1900" dirty="0">
                <a:solidFill>
                  <a:srgbClr val="00AEEF">
                    <a:alpha val="99000"/>
                  </a:srgbClr>
                </a:solidFill>
              </a:rPr>
              <a:t>Croatia</a:t>
            </a:r>
          </a:p>
          <a:p>
            <a:pPr algn="r" defTabSz="1625032"/>
            <a:r>
              <a:rPr lang="en-US" sz="1900" dirty="0">
                <a:solidFill>
                  <a:srgbClr val="00AEEF">
                    <a:alpha val="99000"/>
                  </a:srgbClr>
                </a:solidFill>
              </a:rPr>
              <a:t>Dominican Rep</a:t>
            </a:r>
          </a:p>
          <a:p>
            <a:pPr algn="r" defTabSz="1625032"/>
            <a:r>
              <a:rPr lang="en-US" sz="1900" dirty="0">
                <a:solidFill>
                  <a:srgbClr val="00AEEF">
                    <a:alpha val="99000"/>
                  </a:srgbClr>
                </a:solidFill>
              </a:rPr>
              <a:t>Ecuador</a:t>
            </a:r>
          </a:p>
          <a:p>
            <a:pPr algn="r" defTabSz="1625032"/>
            <a:r>
              <a:rPr lang="en-US" sz="1900" dirty="0">
                <a:solidFill>
                  <a:srgbClr val="00AEEF">
                    <a:alpha val="99000"/>
                  </a:srgbClr>
                </a:solidFill>
              </a:rPr>
              <a:t>Egypt</a:t>
            </a:r>
          </a:p>
          <a:p>
            <a:pPr algn="r" defTabSz="1625032"/>
            <a:r>
              <a:rPr lang="en-US" sz="1900" dirty="0">
                <a:solidFill>
                  <a:srgbClr val="00AEEF">
                    <a:alpha val="99000"/>
                  </a:srgbClr>
                </a:solidFill>
              </a:rPr>
              <a:t>El Salvador</a:t>
            </a:r>
          </a:p>
          <a:p>
            <a:pPr algn="r" defTabSz="1625032"/>
            <a:r>
              <a:rPr lang="en-US" sz="1900" dirty="0">
                <a:solidFill>
                  <a:srgbClr val="00AEEF">
                    <a:alpha val="99000"/>
                  </a:srgbClr>
                </a:solidFill>
              </a:rPr>
              <a:t>Estonia</a:t>
            </a:r>
          </a:p>
          <a:p>
            <a:pPr algn="r" defTabSz="1625032"/>
            <a:r>
              <a:rPr lang="en-US" sz="1900" dirty="0">
                <a:solidFill>
                  <a:srgbClr val="00AEEF">
                    <a:alpha val="99000"/>
                  </a:srgbClr>
                </a:solidFill>
              </a:rPr>
              <a:t>Guatemala</a:t>
            </a:r>
          </a:p>
          <a:p>
            <a:pPr algn="r" defTabSz="1625032"/>
            <a:r>
              <a:rPr lang="en-US" sz="1900" dirty="0">
                <a:solidFill>
                  <a:srgbClr val="00AEEF">
                    <a:alpha val="99000"/>
                  </a:srgbClr>
                </a:solidFill>
              </a:rPr>
              <a:t>Iceland</a:t>
            </a:r>
          </a:p>
          <a:p>
            <a:pPr algn="r" defTabSz="1625032"/>
            <a:r>
              <a:rPr lang="en-US" sz="1900" dirty="0">
                <a:solidFill>
                  <a:srgbClr val="00AEEF">
                    <a:alpha val="99000"/>
                  </a:srgbClr>
                </a:solidFill>
              </a:rPr>
              <a:t>Indonesia</a:t>
            </a:r>
          </a:p>
          <a:p>
            <a:pPr algn="r" defTabSz="1625032"/>
            <a:r>
              <a:rPr lang="en-US" sz="1900" dirty="0">
                <a:solidFill>
                  <a:srgbClr val="00AEEF">
                    <a:alpha val="99000"/>
                  </a:srgbClr>
                </a:solidFill>
              </a:rPr>
              <a:t>Jordan</a:t>
            </a:r>
          </a:p>
          <a:p>
            <a:pPr algn="r" defTabSz="1625032"/>
            <a:r>
              <a:rPr lang="en-US" sz="1900" dirty="0">
                <a:solidFill>
                  <a:srgbClr val="00AEEF">
                    <a:alpha val="99000"/>
                  </a:srgbClr>
                </a:solidFill>
              </a:rPr>
              <a:t>Kazakhstan</a:t>
            </a:r>
          </a:p>
          <a:p>
            <a:pPr algn="r" defTabSz="1625032"/>
            <a:r>
              <a:rPr lang="en-US" sz="1900" dirty="0">
                <a:solidFill>
                  <a:srgbClr val="00AEEF">
                    <a:alpha val="99000"/>
                  </a:srgbClr>
                </a:solidFill>
              </a:rPr>
              <a:t>Kenya</a:t>
            </a:r>
          </a:p>
        </p:txBody>
      </p:sp>
      <p:sp>
        <p:nvSpPr>
          <p:cNvPr id="8" name="TextBox 7"/>
          <p:cNvSpPr txBox="1"/>
          <p:nvPr/>
        </p:nvSpPr>
        <p:spPr>
          <a:xfrm>
            <a:off x="6078512" y="2442028"/>
            <a:ext cx="1824185" cy="4385816"/>
          </a:xfrm>
          <a:prstGeom prst="rect">
            <a:avLst/>
          </a:prstGeom>
          <a:noFill/>
        </p:spPr>
        <p:txBody>
          <a:bodyPr wrap="square" lIns="0" tIns="0" rIns="0" bIns="0" rtlCol="0">
            <a:spAutoFit/>
          </a:bodyPr>
          <a:lstStyle/>
          <a:p>
            <a:pPr algn="r" defTabSz="1625032"/>
            <a:r>
              <a:rPr lang="en-US" sz="1900" dirty="0">
                <a:solidFill>
                  <a:srgbClr val="00AEEF">
                    <a:alpha val="99000"/>
                  </a:srgbClr>
                </a:solidFill>
              </a:rPr>
              <a:t>Kuwait</a:t>
            </a:r>
          </a:p>
          <a:p>
            <a:pPr algn="r" defTabSz="1625032"/>
            <a:r>
              <a:rPr lang="en-US" sz="1900" dirty="0">
                <a:solidFill>
                  <a:srgbClr val="00AEEF">
                    <a:alpha val="99000"/>
                  </a:srgbClr>
                </a:solidFill>
              </a:rPr>
              <a:t>Latvia</a:t>
            </a:r>
          </a:p>
          <a:p>
            <a:pPr algn="r" defTabSz="1625032"/>
            <a:r>
              <a:rPr lang="en-US" sz="1900" dirty="0">
                <a:solidFill>
                  <a:srgbClr val="00AEEF">
                    <a:alpha val="99000"/>
                  </a:srgbClr>
                </a:solidFill>
              </a:rPr>
              <a:t>Liechtenstein</a:t>
            </a:r>
          </a:p>
          <a:p>
            <a:pPr algn="r" defTabSz="1625032"/>
            <a:r>
              <a:rPr lang="en-US" sz="1900" dirty="0">
                <a:solidFill>
                  <a:srgbClr val="00AEEF">
                    <a:alpha val="99000"/>
                  </a:srgbClr>
                </a:solidFill>
              </a:rPr>
              <a:t>Lithuania</a:t>
            </a:r>
          </a:p>
          <a:p>
            <a:pPr algn="r" defTabSz="1625032"/>
            <a:r>
              <a:rPr lang="en-US" sz="1900" dirty="0">
                <a:solidFill>
                  <a:srgbClr val="00AEEF">
                    <a:alpha val="99000"/>
                  </a:srgbClr>
                </a:solidFill>
              </a:rPr>
              <a:t>Macedonia</a:t>
            </a:r>
          </a:p>
          <a:p>
            <a:pPr algn="r" defTabSz="1625032"/>
            <a:r>
              <a:rPr lang="en-US" sz="1900" dirty="0">
                <a:solidFill>
                  <a:srgbClr val="00AEEF">
                    <a:alpha val="99000"/>
                  </a:srgbClr>
                </a:solidFill>
              </a:rPr>
              <a:t>Malta</a:t>
            </a:r>
          </a:p>
          <a:p>
            <a:pPr algn="r" defTabSz="1625032"/>
            <a:r>
              <a:rPr lang="en-US" sz="1900" dirty="0">
                <a:solidFill>
                  <a:srgbClr val="00AEEF">
                    <a:alpha val="99000"/>
                  </a:srgbClr>
                </a:solidFill>
              </a:rPr>
              <a:t>Montenegro</a:t>
            </a:r>
          </a:p>
          <a:p>
            <a:pPr algn="r" defTabSz="1625032"/>
            <a:r>
              <a:rPr lang="en-US" sz="1900" dirty="0">
                <a:solidFill>
                  <a:srgbClr val="00AEEF">
                    <a:alpha val="99000"/>
                  </a:srgbClr>
                </a:solidFill>
              </a:rPr>
              <a:t>Morocco</a:t>
            </a:r>
          </a:p>
          <a:p>
            <a:pPr algn="r" defTabSz="1625032"/>
            <a:r>
              <a:rPr lang="en-US" sz="1900" dirty="0">
                <a:solidFill>
                  <a:srgbClr val="00AEEF">
                    <a:alpha val="99000"/>
                  </a:srgbClr>
                </a:solidFill>
              </a:rPr>
              <a:t>Azerbaijan</a:t>
            </a:r>
          </a:p>
          <a:p>
            <a:pPr algn="r" defTabSz="1625032"/>
            <a:r>
              <a:rPr lang="en-US" sz="1900" dirty="0">
                <a:solidFill>
                  <a:srgbClr val="00AEEF">
                    <a:alpha val="99000"/>
                  </a:srgbClr>
                </a:solidFill>
              </a:rPr>
              <a:t>Nigeria</a:t>
            </a:r>
          </a:p>
          <a:p>
            <a:pPr algn="r" defTabSz="1625032"/>
            <a:r>
              <a:rPr lang="en-US" sz="1900" dirty="0">
                <a:solidFill>
                  <a:srgbClr val="00AEEF">
                    <a:alpha val="99000"/>
                  </a:srgbClr>
                </a:solidFill>
              </a:rPr>
              <a:t>Oman</a:t>
            </a:r>
          </a:p>
          <a:p>
            <a:pPr algn="r" defTabSz="1625032"/>
            <a:r>
              <a:rPr lang="en-US" sz="1900" dirty="0">
                <a:solidFill>
                  <a:srgbClr val="00AEEF">
                    <a:alpha val="99000"/>
                  </a:srgbClr>
                </a:solidFill>
              </a:rPr>
              <a:t>Pakistan</a:t>
            </a:r>
          </a:p>
          <a:p>
            <a:pPr algn="r" defTabSz="1625032"/>
            <a:r>
              <a:rPr lang="en-US" sz="1900" dirty="0">
                <a:solidFill>
                  <a:srgbClr val="00AEEF">
                    <a:alpha val="99000"/>
                  </a:srgbClr>
                </a:solidFill>
              </a:rPr>
              <a:t>Panama</a:t>
            </a:r>
          </a:p>
          <a:p>
            <a:pPr algn="r" defTabSz="1625032"/>
            <a:r>
              <a:rPr lang="en-US" sz="1900" dirty="0">
                <a:solidFill>
                  <a:srgbClr val="00AEEF">
                    <a:alpha val="99000"/>
                  </a:srgbClr>
                </a:solidFill>
              </a:rPr>
              <a:t>Paraguay</a:t>
            </a:r>
          </a:p>
          <a:p>
            <a:pPr algn="r" defTabSz="1625032"/>
            <a:r>
              <a:rPr lang="en-US" sz="1900" dirty="0">
                <a:solidFill>
                  <a:srgbClr val="00AEEF">
                    <a:alpha val="99000"/>
                  </a:srgbClr>
                </a:solidFill>
              </a:rPr>
              <a:t>Qatar</a:t>
            </a:r>
          </a:p>
        </p:txBody>
      </p:sp>
      <p:sp>
        <p:nvSpPr>
          <p:cNvPr id="9" name="TextBox 8"/>
          <p:cNvSpPr txBox="1"/>
          <p:nvPr/>
        </p:nvSpPr>
        <p:spPr>
          <a:xfrm>
            <a:off x="7924325" y="2442028"/>
            <a:ext cx="1878879" cy="4385816"/>
          </a:xfrm>
          <a:prstGeom prst="rect">
            <a:avLst/>
          </a:prstGeom>
          <a:noFill/>
        </p:spPr>
        <p:txBody>
          <a:bodyPr wrap="square" lIns="0" tIns="0" rIns="0" bIns="0" rtlCol="0">
            <a:spAutoFit/>
          </a:bodyPr>
          <a:lstStyle/>
          <a:p>
            <a:pPr algn="r" defTabSz="1625032"/>
            <a:r>
              <a:rPr lang="en-US" sz="1900" dirty="0">
                <a:solidFill>
                  <a:srgbClr val="00AEEF">
                    <a:alpha val="99000"/>
                  </a:srgbClr>
                </a:solidFill>
              </a:rPr>
              <a:t>Saudi Arabia</a:t>
            </a:r>
          </a:p>
          <a:p>
            <a:pPr algn="r" defTabSz="1625032"/>
            <a:r>
              <a:rPr lang="en-US" sz="1900" dirty="0">
                <a:solidFill>
                  <a:srgbClr val="00AEEF">
                    <a:alpha val="99000"/>
                  </a:srgbClr>
                </a:solidFill>
              </a:rPr>
              <a:t>Serbia</a:t>
            </a:r>
          </a:p>
          <a:p>
            <a:pPr algn="r" defTabSz="1625032"/>
            <a:r>
              <a:rPr lang="en-US" sz="1900" dirty="0">
                <a:solidFill>
                  <a:srgbClr val="00AEEF">
                    <a:alpha val="99000"/>
                  </a:srgbClr>
                </a:solidFill>
              </a:rPr>
              <a:t>Slovakia</a:t>
            </a:r>
          </a:p>
          <a:p>
            <a:pPr algn="r" defTabSz="1625032"/>
            <a:r>
              <a:rPr lang="en-US" sz="1900" dirty="0">
                <a:solidFill>
                  <a:srgbClr val="00AEEF">
                    <a:alpha val="99000"/>
                  </a:srgbClr>
                </a:solidFill>
              </a:rPr>
              <a:t>Slovenia</a:t>
            </a:r>
          </a:p>
          <a:p>
            <a:pPr algn="r" defTabSz="1625032"/>
            <a:r>
              <a:rPr lang="en-US" sz="1900" dirty="0">
                <a:solidFill>
                  <a:srgbClr val="00AEEF">
                    <a:alpha val="99000"/>
                  </a:srgbClr>
                </a:solidFill>
              </a:rPr>
              <a:t>South Africa</a:t>
            </a:r>
          </a:p>
          <a:p>
            <a:pPr algn="r" defTabSz="1625032"/>
            <a:r>
              <a:rPr lang="en-US" sz="1900" dirty="0">
                <a:solidFill>
                  <a:srgbClr val="00AEEF">
                    <a:alpha val="99000"/>
                  </a:srgbClr>
                </a:solidFill>
              </a:rPr>
              <a:t>Sri Lanka</a:t>
            </a:r>
          </a:p>
          <a:p>
            <a:pPr algn="r" defTabSz="1625032"/>
            <a:r>
              <a:rPr lang="en-US" sz="1900" dirty="0">
                <a:solidFill>
                  <a:srgbClr val="00AEEF">
                    <a:alpha val="99000"/>
                  </a:srgbClr>
                </a:solidFill>
              </a:rPr>
              <a:t>Taiwan</a:t>
            </a:r>
          </a:p>
          <a:p>
            <a:pPr algn="r" defTabSz="1625032"/>
            <a:r>
              <a:rPr lang="en-US" sz="1900" dirty="0">
                <a:solidFill>
                  <a:srgbClr val="00AEEF">
                    <a:alpha val="99000"/>
                  </a:srgbClr>
                </a:solidFill>
              </a:rPr>
              <a:t>Thailand</a:t>
            </a:r>
          </a:p>
          <a:p>
            <a:pPr algn="r" defTabSz="1625032"/>
            <a:r>
              <a:rPr lang="en-US" sz="1900" dirty="0">
                <a:solidFill>
                  <a:srgbClr val="00AEEF">
                    <a:alpha val="99000"/>
                  </a:srgbClr>
                </a:solidFill>
              </a:rPr>
              <a:t>Tunisia</a:t>
            </a:r>
          </a:p>
          <a:p>
            <a:pPr algn="r" defTabSz="1625032"/>
            <a:r>
              <a:rPr lang="en-US" sz="1900" dirty="0">
                <a:solidFill>
                  <a:srgbClr val="00AEEF">
                    <a:alpha val="99000"/>
                  </a:srgbClr>
                </a:solidFill>
              </a:rPr>
              <a:t>Turkey</a:t>
            </a:r>
          </a:p>
          <a:p>
            <a:pPr algn="r" defTabSz="1625032"/>
            <a:r>
              <a:rPr lang="en-US" sz="1900" dirty="0">
                <a:solidFill>
                  <a:srgbClr val="00AEEF">
                    <a:alpha val="99000"/>
                  </a:srgbClr>
                </a:solidFill>
              </a:rPr>
              <a:t>UAE</a:t>
            </a:r>
          </a:p>
          <a:p>
            <a:pPr algn="r" defTabSz="1625032"/>
            <a:r>
              <a:rPr lang="en-US" sz="1900" dirty="0">
                <a:solidFill>
                  <a:srgbClr val="00AEEF">
                    <a:alpha val="99000"/>
                  </a:srgbClr>
                </a:solidFill>
              </a:rPr>
              <a:t>Ukraine</a:t>
            </a:r>
          </a:p>
          <a:p>
            <a:pPr algn="r" defTabSz="1625032"/>
            <a:r>
              <a:rPr lang="en-US" sz="1900" dirty="0">
                <a:solidFill>
                  <a:srgbClr val="00AEEF">
                    <a:alpha val="99000"/>
                  </a:srgbClr>
                </a:solidFill>
              </a:rPr>
              <a:t>Uruguay</a:t>
            </a:r>
          </a:p>
          <a:p>
            <a:pPr algn="r" defTabSz="1625032"/>
            <a:r>
              <a:rPr lang="en-US" sz="1900" dirty="0">
                <a:solidFill>
                  <a:srgbClr val="00AEEF">
                    <a:alpha val="99000"/>
                  </a:srgbClr>
                </a:solidFill>
              </a:rPr>
              <a:t>Venezuela</a:t>
            </a:r>
          </a:p>
          <a:p>
            <a:pPr algn="r" defTabSz="1625032"/>
            <a:r>
              <a:rPr lang="en-US" sz="1900" dirty="0">
                <a:solidFill>
                  <a:srgbClr val="00AEEF">
                    <a:alpha val="99000"/>
                  </a:srgbClr>
                </a:solidFill>
              </a:rPr>
              <a:t>Bahrain</a:t>
            </a:r>
            <a:endParaRPr lang="en-US" sz="1400" dirty="0">
              <a:solidFill>
                <a:srgbClr val="00AEEF">
                  <a:alpha val="99000"/>
                </a:srgbClr>
              </a:solidFill>
            </a:endParaRPr>
          </a:p>
        </p:txBody>
      </p:sp>
      <p:sp>
        <p:nvSpPr>
          <p:cNvPr id="2" name="Rectangle 1"/>
          <p:cNvSpPr/>
          <p:nvPr/>
        </p:nvSpPr>
        <p:spPr>
          <a:xfrm>
            <a:off x="6812775" y="603702"/>
            <a:ext cx="3717860" cy="1446550"/>
          </a:xfrm>
          <a:prstGeom prst="rect">
            <a:avLst/>
          </a:prstGeom>
        </p:spPr>
        <p:txBody>
          <a:bodyPr wrap="square">
            <a:spAutoFit/>
          </a:bodyPr>
          <a:lstStyle/>
          <a:p>
            <a:pPr defTabSz="1218987"/>
            <a:r>
              <a:rPr lang="en-US" sz="4400" dirty="0">
                <a:solidFill>
                  <a:srgbClr val="5F5F5F">
                    <a:alpha val="99000"/>
                  </a:srgbClr>
                </a:solidFill>
                <a:latin typeface="Segoe UI Light"/>
              </a:rPr>
              <a:t>countries and territories</a:t>
            </a:r>
          </a:p>
        </p:txBody>
      </p:sp>
    </p:spTree>
    <p:extLst>
      <p:ext uri="{BB962C8B-B14F-4D97-AF65-F5344CB8AC3E}">
        <p14:creationId xmlns:p14="http://schemas.microsoft.com/office/powerpoint/2010/main" val="2564227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15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6" grpId="0"/>
      <p:bldP spid="7" grpId="0"/>
      <p:bldP spid="8" grpId="0"/>
      <p:bldP spid="9" grpId="0"/>
      <p:bldP spid="2" grpId="0"/>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80283" y="2506525"/>
            <a:ext cx="10237787" cy="1994392"/>
          </a:xfrm>
        </p:spPr>
        <p:txBody>
          <a:bodyPr/>
          <a:lstStyle/>
          <a:p>
            <a:r>
              <a:rPr lang="en-US" dirty="0" smtClean="0">
                <a:gradFill>
                  <a:gsLst>
                    <a:gs pos="1250">
                      <a:srgbClr val="FFFFFF"/>
                    </a:gs>
                    <a:gs pos="100000">
                      <a:srgbClr val="FFFFFF"/>
                    </a:gs>
                  </a:gsLst>
                  <a:lin ang="5400000" scaled="0"/>
                </a:gradFill>
              </a:rPr>
              <a:t>Using Azure </a:t>
            </a:r>
            <a:br>
              <a:rPr lang="en-US" dirty="0" smtClean="0">
                <a:gradFill>
                  <a:gsLst>
                    <a:gs pos="1250">
                      <a:srgbClr val="FFFFFF"/>
                    </a:gs>
                    <a:gs pos="100000">
                      <a:srgbClr val="FFFFFF"/>
                    </a:gs>
                  </a:gsLst>
                  <a:lin ang="5400000" scaled="0"/>
                </a:gradFill>
              </a:rPr>
            </a:br>
            <a:r>
              <a:rPr lang="en-US" dirty="0" smtClean="0">
                <a:gradFill>
                  <a:gsLst>
                    <a:gs pos="1250">
                      <a:srgbClr val="FFFFFF"/>
                    </a:gs>
                    <a:gs pos="100000">
                      <a:srgbClr val="FFFFFF"/>
                    </a:gs>
                  </a:gsLst>
                  <a:lin ang="5400000" scaled="0"/>
                </a:gradFill>
              </a:rPr>
              <a:t>Management Studio</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38268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3009050"/>
            <a:ext cx="10237787" cy="997196"/>
          </a:xfrm>
        </p:spPr>
        <p:txBody>
          <a:bodyPr/>
          <a:lstStyle/>
          <a:p>
            <a:r>
              <a:rPr lang="en-US" dirty="0" smtClean="0">
                <a:gradFill>
                  <a:gsLst>
                    <a:gs pos="1250">
                      <a:srgbClr val="FFFFFF"/>
                    </a:gs>
                    <a:gs pos="100000">
                      <a:srgbClr val="FFFFFF"/>
                    </a:gs>
                  </a:gsLst>
                  <a:lin ang="5400000" scaled="0"/>
                </a:gradFill>
              </a:rPr>
              <a:t>Using zud.io</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620495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3009050"/>
            <a:ext cx="10237787" cy="997196"/>
          </a:xfrm>
        </p:spPr>
        <p:txBody>
          <a:bodyPr/>
          <a:lstStyle/>
          <a:p>
            <a:r>
              <a:rPr lang="en-US" dirty="0" smtClean="0">
                <a:gradFill>
                  <a:gsLst>
                    <a:gs pos="1250">
                      <a:srgbClr val="FFFFFF"/>
                    </a:gs>
                    <a:gs pos="100000">
                      <a:srgbClr val="FFFFFF"/>
                    </a:gs>
                  </a:gsLst>
                  <a:lin ang="5400000" scaled="0"/>
                </a:gradFill>
              </a:rPr>
              <a:t>Using CDS</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13288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80283" y="2506525"/>
            <a:ext cx="10237787" cy="1994392"/>
          </a:xfrm>
        </p:spPr>
        <p:txBody>
          <a:bodyPr/>
          <a:lstStyle/>
          <a:p>
            <a:r>
              <a:rPr lang="en-US" dirty="0" smtClean="0">
                <a:gradFill>
                  <a:gsLst>
                    <a:gs pos="1250">
                      <a:srgbClr val="FFFFFF"/>
                    </a:gs>
                    <a:gs pos="100000">
                      <a:srgbClr val="FFFFFF"/>
                    </a:gs>
                  </a:gsLst>
                  <a:lin ang="5400000" scaled="0"/>
                </a:gradFill>
              </a:rPr>
              <a:t>HOL + Video:</a:t>
            </a:r>
            <a:br>
              <a:rPr lang="en-US" dirty="0" smtClean="0">
                <a:gradFill>
                  <a:gsLst>
                    <a:gs pos="1250">
                      <a:srgbClr val="FFFFFF"/>
                    </a:gs>
                    <a:gs pos="100000">
                      <a:srgbClr val="FFFFFF"/>
                    </a:gs>
                  </a:gsLst>
                  <a:lin ang="5400000" scaled="0"/>
                </a:gradFill>
              </a:rPr>
            </a:br>
            <a:r>
              <a:rPr lang="en-US" dirty="0" smtClean="0">
                <a:gradFill>
                  <a:gsLst>
                    <a:gs pos="1250">
                      <a:srgbClr val="FFFFFF"/>
                    </a:gs>
                    <a:gs pos="100000">
                      <a:srgbClr val="FFFFFF"/>
                    </a:gs>
                  </a:gsLst>
                  <a:lin ang="5400000" scaled="0"/>
                </a:gradFill>
              </a:rPr>
              <a:t>Fetch Climate</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74681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36901" y="2702860"/>
            <a:ext cx="11151917" cy="757131"/>
          </a:xfrm>
        </p:spPr>
        <p:txBody>
          <a:bodyPr/>
          <a:lstStyle/>
          <a:p>
            <a:r>
              <a:rPr lang="en-US" dirty="0" smtClean="0"/>
              <a:t>http://fetchclimate2.cloudapp.net</a:t>
            </a:r>
            <a:endParaRPr lang="en-GB" dirty="0"/>
          </a:p>
        </p:txBody>
      </p:sp>
    </p:spTree>
    <p:extLst>
      <p:ext uri="{BB962C8B-B14F-4D97-AF65-F5344CB8AC3E}">
        <p14:creationId xmlns:p14="http://schemas.microsoft.com/office/powerpoint/2010/main" val="3032388597"/>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26" y="31848"/>
            <a:ext cx="12182337" cy="7899678"/>
          </a:xfrm>
          <a:prstGeom prst="rect">
            <a:avLst/>
          </a:prstGeom>
        </p:spPr>
      </p:pic>
      <p:sp>
        <p:nvSpPr>
          <p:cNvPr id="2" name="Title 1"/>
          <p:cNvSpPr>
            <a:spLocks noGrp="1"/>
          </p:cNvSpPr>
          <p:nvPr>
            <p:ph type="ctrTitle" idx="4294967295"/>
          </p:nvPr>
        </p:nvSpPr>
        <p:spPr>
          <a:xfrm>
            <a:off x="1589" y="1431925"/>
            <a:ext cx="8372475" cy="1358900"/>
          </a:xfrm>
          <a:solidFill>
            <a:srgbClr val="0D0D0D">
              <a:alpha val="34902"/>
            </a:srgbClr>
          </a:solidFill>
        </p:spPr>
        <p:txBody>
          <a:bodyPr vert="horz" wrap="square" lIns="91379" tIns="91379" rIns="91379" bIns="45690" rtlCol="0" anchor="ctr">
            <a:noAutofit/>
          </a:bodyPr>
          <a:lstStyle/>
          <a:p>
            <a:r>
              <a:rPr lang="en-US" sz="4997" b="1" dirty="0">
                <a:solidFill>
                  <a:schemeClr val="bg1"/>
                </a:solidFill>
              </a:rPr>
              <a:t>Weather Forecast </a:t>
            </a:r>
            <a:br>
              <a:rPr lang="en-US" sz="4997" b="1" dirty="0">
                <a:solidFill>
                  <a:schemeClr val="bg1"/>
                </a:solidFill>
              </a:rPr>
            </a:br>
            <a:r>
              <a:rPr lang="en-US" sz="4997" b="1" dirty="0">
                <a:solidFill>
                  <a:schemeClr val="bg1"/>
                </a:solidFill>
              </a:rPr>
              <a:t>Computation  as a Service</a:t>
            </a:r>
            <a:r>
              <a:rPr lang="en-US" sz="4997" dirty="0">
                <a:gradFill>
                  <a:gsLst>
                    <a:gs pos="0">
                      <a:schemeClr val="bg1"/>
                    </a:gs>
                    <a:gs pos="100000">
                      <a:schemeClr val="bg1"/>
                    </a:gs>
                  </a:gsLst>
                  <a:lin ang="5400000" scaled="0"/>
                </a:gradFill>
              </a:rPr>
              <a:t/>
            </a:r>
            <a:br>
              <a:rPr lang="en-US" sz="4997" dirty="0">
                <a:gradFill>
                  <a:gsLst>
                    <a:gs pos="0">
                      <a:schemeClr val="bg1"/>
                    </a:gs>
                    <a:gs pos="100000">
                      <a:schemeClr val="bg1"/>
                    </a:gs>
                  </a:gsLst>
                  <a:lin ang="5400000" scaled="0"/>
                </a:gradFill>
              </a:rPr>
            </a:br>
            <a:endParaRPr lang="en-US" sz="4997" dirty="0">
              <a:solidFill>
                <a:schemeClr val="bg1"/>
              </a:solidFill>
            </a:endParaRPr>
          </a:p>
        </p:txBody>
      </p:sp>
      <p:grpSp>
        <p:nvGrpSpPr>
          <p:cNvPr id="3" name="Group 2"/>
          <p:cNvGrpSpPr/>
          <p:nvPr/>
        </p:nvGrpSpPr>
        <p:grpSpPr>
          <a:xfrm>
            <a:off x="5626" y="2868890"/>
            <a:ext cx="12180751" cy="4088373"/>
            <a:chOff x="-1" y="2766916"/>
            <a:chExt cx="12188826" cy="4091084"/>
          </a:xfrm>
        </p:grpSpPr>
        <p:sp>
          <p:nvSpPr>
            <p:cNvPr id="16" name="Rectangle 15"/>
            <p:cNvSpPr/>
            <p:nvPr/>
          </p:nvSpPr>
          <p:spPr bwMode="auto">
            <a:xfrm>
              <a:off x="-1" y="3052493"/>
              <a:ext cx="12188826" cy="3805507"/>
            </a:xfrm>
            <a:prstGeom prst="rect">
              <a:avLst/>
            </a:prstGeom>
            <a:solidFill>
              <a:srgbClr val="000000">
                <a:alpha val="54902"/>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75" tIns="45688" rIns="91375" bIns="45688" numCol="1" rtlCol="0" anchor="ctr" anchorCtr="0" compatLnSpc="1">
              <a:prstTxWarp prst="textNoShape">
                <a:avLst/>
              </a:prstTxWarp>
            </a:bodyPr>
            <a:lstStyle/>
            <a:p>
              <a:pPr algn="ctr" defTabSz="913463" fontAlgn="base">
                <a:spcBef>
                  <a:spcPct val="0"/>
                </a:spcBef>
                <a:spcAft>
                  <a:spcPct val="0"/>
                </a:spcAft>
              </a:pPr>
              <a:endParaRPr lang="en-US" sz="1998" dirty="0">
                <a:gradFill>
                  <a:gsLst>
                    <a:gs pos="0">
                      <a:srgbClr val="FFFFFF"/>
                    </a:gs>
                    <a:gs pos="100000">
                      <a:srgbClr val="FFFFFF"/>
                    </a:gs>
                  </a:gsLst>
                  <a:lin ang="5400000" scaled="0"/>
                </a:gradFill>
              </a:endParaRPr>
            </a:p>
          </p:txBody>
        </p:sp>
        <p:sp>
          <p:nvSpPr>
            <p:cNvPr id="6" name="TextBox 5"/>
            <p:cNvSpPr txBox="1"/>
            <p:nvPr/>
          </p:nvSpPr>
          <p:spPr>
            <a:xfrm>
              <a:off x="701392" y="2766916"/>
              <a:ext cx="6012872" cy="830778"/>
            </a:xfrm>
            <a:prstGeom prst="rect">
              <a:avLst/>
            </a:prstGeom>
            <a:noFill/>
          </p:spPr>
          <p:txBody>
            <a:bodyPr wrap="square" lIns="0" tIns="0" rIns="0" bIns="0" rtlCol="0">
              <a:spAutoFit/>
            </a:bodyPr>
            <a:lstStyle/>
            <a:p>
              <a:pPr defTabSz="1218987"/>
              <a:r>
                <a:rPr lang="en-US" sz="5395" spc="-70" dirty="0">
                  <a:gradFill>
                    <a:gsLst>
                      <a:gs pos="0">
                        <a:srgbClr val="FFFFFF"/>
                      </a:gs>
                      <a:gs pos="100000">
                        <a:srgbClr val="FFFFFF"/>
                      </a:gs>
                    </a:gsLst>
                    <a:lin ang="5400000" scaled="0"/>
                  </a:gradFill>
                  <a:latin typeface="Segoe UI Light"/>
                </a:rPr>
                <a:t>Benefits</a:t>
              </a:r>
            </a:p>
          </p:txBody>
        </p:sp>
        <p:sp>
          <p:nvSpPr>
            <p:cNvPr id="10" name="Rectangle 9"/>
            <p:cNvSpPr/>
            <p:nvPr/>
          </p:nvSpPr>
          <p:spPr bwMode="auto">
            <a:xfrm>
              <a:off x="701392" y="3614292"/>
              <a:ext cx="3531233" cy="290151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18793" tIns="82242" rIns="91375" bIns="45688" numCol="1" rtlCol="0" anchor="t" anchorCtr="0" compatLnSpc="1">
              <a:prstTxWarp prst="textNoShape">
                <a:avLst/>
              </a:prstTxWarp>
            </a:bodyPr>
            <a:lstStyle/>
            <a:p>
              <a:pPr defTabSz="913463" fontAlgn="base">
                <a:spcBef>
                  <a:spcPct val="0"/>
                </a:spcBef>
                <a:spcAft>
                  <a:spcPts val="600"/>
                </a:spcAft>
              </a:pPr>
              <a:r>
                <a:rPr lang="en-US" sz="2198" dirty="0">
                  <a:gradFill>
                    <a:gsLst>
                      <a:gs pos="0">
                        <a:srgbClr val="FFFFFF"/>
                      </a:gs>
                      <a:gs pos="100000">
                        <a:srgbClr val="FFFFFF"/>
                      </a:gs>
                    </a:gsLst>
                    <a:lin ang="5400000" scaled="0"/>
                  </a:gradFill>
                </a:rPr>
                <a:t>Overview</a:t>
              </a:r>
              <a:endParaRPr lang="en-US" sz="2198" dirty="0">
                <a:solidFill>
                  <a:srgbClr val="00AEEF"/>
                </a:solidFill>
              </a:endParaRPr>
            </a:p>
            <a:p>
              <a:pPr marL="285551" indent="-285551" defTabSz="913463" fontAlgn="base">
                <a:lnSpc>
                  <a:spcPts val="2098"/>
                </a:lnSpc>
                <a:spcBef>
                  <a:spcPct val="0"/>
                </a:spcBef>
                <a:spcAft>
                  <a:spcPct val="0"/>
                </a:spcAft>
                <a:buFont typeface="Arial" pitchFamily="34" charset="0"/>
                <a:buChar char="•"/>
              </a:pPr>
              <a:r>
                <a:rPr lang="pt-BR" sz="1798" dirty="0">
                  <a:gradFill>
                    <a:gsLst>
                      <a:gs pos="0">
                        <a:srgbClr val="FFFFFF"/>
                      </a:gs>
                      <a:gs pos="100000">
                        <a:srgbClr val="FFFFFF"/>
                      </a:gs>
                    </a:gsLst>
                    <a:lin ang="5400000" scaled="0"/>
                  </a:gradFill>
                </a:rPr>
                <a:t>Acutal National Weather service modeling Code containing 15 groups of complex Tools</a:t>
              </a:r>
            </a:p>
            <a:p>
              <a:pPr marL="285551" indent="-285551" defTabSz="913463" fontAlgn="base">
                <a:lnSpc>
                  <a:spcPts val="2098"/>
                </a:lnSpc>
                <a:spcBef>
                  <a:spcPct val="0"/>
                </a:spcBef>
                <a:spcAft>
                  <a:spcPct val="0"/>
                </a:spcAft>
                <a:buFont typeface="Arial" pitchFamily="34" charset="0"/>
                <a:buChar char="•"/>
              </a:pPr>
              <a:r>
                <a:rPr lang="pt-BR" sz="1798" dirty="0">
                  <a:gradFill>
                    <a:gsLst>
                      <a:gs pos="0">
                        <a:srgbClr val="FFFFFF"/>
                      </a:gs>
                      <a:gs pos="100000">
                        <a:srgbClr val="FFFFFF"/>
                      </a:gs>
                    </a:gsLst>
                    <a:lin ang="5400000" scaled="0"/>
                  </a:gradFill>
                </a:rPr>
                <a:t>Utilizes a Platform as a Service (PaaS)</a:t>
              </a:r>
              <a:endParaRPr lang="en-US" sz="1798" dirty="0">
                <a:gradFill>
                  <a:gsLst>
                    <a:gs pos="0">
                      <a:srgbClr val="FFFFFF"/>
                    </a:gs>
                    <a:gs pos="100000">
                      <a:srgbClr val="FFFFFF"/>
                    </a:gs>
                  </a:gsLst>
                  <a:lin ang="5400000" scaled="0"/>
                </a:gradFill>
              </a:endParaRPr>
            </a:p>
            <a:p>
              <a:pPr marL="285551" indent="-285551" defTabSz="913463" fontAlgn="base">
                <a:lnSpc>
                  <a:spcPts val="2098"/>
                </a:lnSpc>
                <a:spcBef>
                  <a:spcPct val="0"/>
                </a:spcBef>
                <a:spcAft>
                  <a:spcPct val="0"/>
                </a:spcAft>
                <a:buFont typeface="Arial" pitchFamily="34" charset="0"/>
                <a:buChar char="•"/>
              </a:pPr>
              <a:r>
                <a:rPr lang="en-US" sz="1798" dirty="0">
                  <a:gradFill>
                    <a:gsLst>
                      <a:gs pos="0">
                        <a:srgbClr val="FFFFFF"/>
                      </a:gs>
                      <a:gs pos="100000">
                        <a:srgbClr val="FFFFFF"/>
                      </a:gs>
                    </a:gsLst>
                    <a:lin ang="5400000" scaled="0"/>
                  </a:gradFill>
                </a:rPr>
                <a:t>Initialization Data from NOAA</a:t>
              </a:r>
            </a:p>
            <a:p>
              <a:pPr marL="285551" indent="-285551" defTabSz="913463" fontAlgn="base">
                <a:lnSpc>
                  <a:spcPts val="2098"/>
                </a:lnSpc>
                <a:spcBef>
                  <a:spcPct val="0"/>
                </a:spcBef>
                <a:spcAft>
                  <a:spcPct val="0"/>
                </a:spcAft>
                <a:buFont typeface="Arial" pitchFamily="34" charset="0"/>
                <a:buChar char="•"/>
              </a:pPr>
              <a:r>
                <a:rPr lang="en-US" sz="1798" dirty="0">
                  <a:gradFill>
                    <a:gsLst>
                      <a:gs pos="0">
                        <a:srgbClr val="FFFFFF"/>
                      </a:gs>
                      <a:gs pos="100000">
                        <a:srgbClr val="FFFFFF"/>
                      </a:gs>
                    </a:gsLst>
                    <a:lin ang="5400000" scaled="0"/>
                  </a:gradFill>
                </a:rPr>
                <a:t>Uses Bing Maps for visualization</a:t>
              </a:r>
            </a:p>
          </p:txBody>
        </p:sp>
        <p:sp>
          <p:nvSpPr>
            <p:cNvPr id="20" name="Rectangle 19"/>
            <p:cNvSpPr/>
            <p:nvPr/>
          </p:nvSpPr>
          <p:spPr bwMode="auto">
            <a:xfrm>
              <a:off x="4376045" y="3614292"/>
              <a:ext cx="3579038" cy="290151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18793" tIns="82242" rIns="91375" bIns="45688" numCol="1" rtlCol="0" anchor="t" anchorCtr="0" compatLnSpc="1">
              <a:prstTxWarp prst="textNoShape">
                <a:avLst/>
              </a:prstTxWarp>
            </a:bodyPr>
            <a:lstStyle/>
            <a:p>
              <a:pPr defTabSz="913463" fontAlgn="base">
                <a:spcBef>
                  <a:spcPct val="0"/>
                </a:spcBef>
                <a:spcAft>
                  <a:spcPts val="600"/>
                </a:spcAft>
              </a:pPr>
              <a:r>
                <a:rPr lang="en-US" sz="2398" dirty="0">
                  <a:gradFill>
                    <a:gsLst>
                      <a:gs pos="0">
                        <a:srgbClr val="FFFFFF"/>
                      </a:gs>
                      <a:gs pos="100000">
                        <a:srgbClr val="FFFFFF"/>
                      </a:gs>
                    </a:gsLst>
                    <a:lin ang="5400000" scaled="0"/>
                  </a:gradFill>
                </a:rPr>
                <a:t>Detailed Forecast</a:t>
              </a:r>
              <a:endParaRPr lang="en-US" sz="1998" dirty="0">
                <a:gradFill>
                  <a:gsLst>
                    <a:gs pos="0">
                      <a:srgbClr val="FFFFFF"/>
                    </a:gs>
                    <a:gs pos="100000">
                      <a:srgbClr val="FFFFFF"/>
                    </a:gs>
                  </a:gsLst>
                  <a:lin ang="5400000" scaled="0"/>
                </a:gradFill>
              </a:endParaRPr>
            </a:p>
            <a:p>
              <a:pPr marL="285551" indent="-285551" defTabSz="1218987">
                <a:buFont typeface="Arial" pitchFamily="34" charset="0"/>
                <a:buChar char="•"/>
              </a:pPr>
              <a:r>
                <a:rPr lang="en-US" sz="1798" dirty="0">
                  <a:gradFill>
                    <a:gsLst>
                      <a:gs pos="0">
                        <a:srgbClr val="FFFFFF"/>
                      </a:gs>
                      <a:gs pos="100000">
                        <a:srgbClr val="FFFFFF"/>
                      </a:gs>
                    </a:gsLst>
                    <a:lin ang="5400000" scaled="0"/>
                  </a:gradFill>
                </a:rPr>
                <a:t>Anyone will have the capability run a forecast</a:t>
              </a:r>
            </a:p>
            <a:p>
              <a:pPr marL="285551" indent="-285551" defTabSz="1218987">
                <a:buFont typeface="Arial" pitchFamily="34" charset="0"/>
                <a:buChar char="•"/>
              </a:pPr>
              <a:r>
                <a:rPr lang="en-US" sz="1798" dirty="0">
                  <a:gradFill>
                    <a:gsLst>
                      <a:gs pos="0">
                        <a:srgbClr val="FFFFFF"/>
                      </a:gs>
                      <a:gs pos="100000">
                        <a:srgbClr val="FFFFFF"/>
                      </a:gs>
                    </a:gsLst>
                    <a:lin ang="5400000" scaled="0"/>
                  </a:gradFill>
                </a:rPr>
                <a:t>The easiest &amp; affordable way to deploy an HPC Cluster</a:t>
              </a:r>
            </a:p>
            <a:p>
              <a:pPr marL="285551" indent="-285551" defTabSz="1218987">
                <a:buFont typeface="Arial" pitchFamily="34" charset="0"/>
                <a:buChar char="•"/>
              </a:pPr>
              <a:r>
                <a:rPr lang="en-US" sz="1798" dirty="0">
                  <a:gradFill>
                    <a:gsLst>
                      <a:gs pos="0">
                        <a:srgbClr val="FFFFFF"/>
                      </a:gs>
                      <a:gs pos="100000">
                        <a:srgbClr val="FFFFFF"/>
                      </a:gs>
                    </a:gsLst>
                    <a:lin ang="5400000" scaled="0"/>
                  </a:gradFill>
                </a:rPr>
                <a:t>Conveniently Sharing simulation Data in the cloud</a:t>
              </a:r>
            </a:p>
          </p:txBody>
        </p:sp>
        <p:sp>
          <p:nvSpPr>
            <p:cNvPr id="21" name="Rectangle 20"/>
            <p:cNvSpPr/>
            <p:nvPr/>
          </p:nvSpPr>
          <p:spPr bwMode="auto">
            <a:xfrm>
              <a:off x="8112179" y="3614292"/>
              <a:ext cx="3467727" cy="290151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18793" tIns="82242" rIns="91375" bIns="45688" numCol="1" rtlCol="0" anchor="t" anchorCtr="0" compatLnSpc="1">
              <a:prstTxWarp prst="textNoShape">
                <a:avLst/>
              </a:prstTxWarp>
            </a:bodyPr>
            <a:lstStyle/>
            <a:p>
              <a:pPr defTabSz="913463" fontAlgn="base">
                <a:spcBef>
                  <a:spcPct val="0"/>
                </a:spcBef>
                <a:spcAft>
                  <a:spcPts val="600"/>
                </a:spcAft>
              </a:pPr>
              <a:r>
                <a:rPr lang="en-US" sz="2198" dirty="0">
                  <a:gradFill>
                    <a:gsLst>
                      <a:gs pos="0">
                        <a:srgbClr val="FFFFFF"/>
                      </a:gs>
                      <a:gs pos="100000">
                        <a:srgbClr val="FFFFFF"/>
                      </a:gs>
                    </a:gsLst>
                    <a:lin ang="5400000" scaled="0"/>
                  </a:gradFill>
                </a:rPr>
                <a:t>Details:</a:t>
              </a:r>
            </a:p>
            <a:p>
              <a:pPr marL="336076" indent="-336076" defTabSz="913463" fontAlgn="base">
                <a:spcBef>
                  <a:spcPct val="0"/>
                </a:spcBef>
                <a:spcAft>
                  <a:spcPts val="600"/>
                </a:spcAft>
                <a:buFont typeface="Arial" panose="020B0604020202020204" pitchFamily="34" charset="0"/>
                <a:buChar char="•"/>
              </a:pPr>
              <a:r>
                <a:rPr lang="en-US" sz="2198" dirty="0">
                  <a:gradFill>
                    <a:gsLst>
                      <a:gs pos="0">
                        <a:srgbClr val="FFFFFF"/>
                      </a:gs>
                      <a:gs pos="100000">
                        <a:srgbClr val="FFFFFF"/>
                      </a:gs>
                    </a:gsLst>
                    <a:lin ang="5400000" scaled="0"/>
                  </a:gradFill>
                </a:rPr>
                <a:t>1500 simulations ran over 1 year</a:t>
              </a:r>
            </a:p>
            <a:p>
              <a:pPr marL="285551" indent="-285551" defTabSz="1218987">
                <a:buFont typeface="Arial" pitchFamily="34" charset="0"/>
                <a:buChar char="•"/>
              </a:pPr>
              <a:r>
                <a:rPr lang="en-US" sz="1798" dirty="0">
                  <a:gradFill>
                    <a:gsLst>
                      <a:gs pos="0">
                        <a:srgbClr val="FFFFFF"/>
                      </a:gs>
                      <a:gs pos="100000">
                        <a:srgbClr val="FFFFFF"/>
                      </a:gs>
                    </a:gsLst>
                    <a:lin ang="5400000" scaled="0"/>
                  </a:gradFill>
                </a:rPr>
                <a:t>1 city 180km x 180km  takes 7 hours on 1 Extra-large instance for a 3 day forecast</a:t>
              </a:r>
            </a:p>
            <a:p>
              <a:pPr marL="285551" indent="-285551" defTabSz="1218987">
                <a:buFont typeface="Arial" pitchFamily="34" charset="0"/>
                <a:buChar char="•"/>
              </a:pPr>
              <a:r>
                <a:rPr lang="en-US" sz="1798" dirty="0">
                  <a:gradFill>
                    <a:gsLst>
                      <a:gs pos="0">
                        <a:srgbClr val="FFFFFF"/>
                      </a:gs>
                      <a:gs pos="100000">
                        <a:srgbClr val="FFFFFF"/>
                      </a:gs>
                    </a:gsLst>
                    <a:lin ang="5400000" scaled="0"/>
                  </a:gradFill>
                </a:rPr>
                <a:t>100 cities on 100 Extra-large instance still takes 7 hours</a:t>
              </a:r>
            </a:p>
            <a:p>
              <a:pPr marL="285551" indent="-285551" defTabSz="1218987">
                <a:buFont typeface="Arial" pitchFamily="34" charset="0"/>
                <a:buChar char="•"/>
              </a:pPr>
              <a:r>
                <a:rPr lang="en-US" sz="1798" dirty="0">
                  <a:gradFill>
                    <a:gsLst>
                      <a:gs pos="0">
                        <a:srgbClr val="FFFFFF"/>
                      </a:gs>
                      <a:gs pos="100000">
                        <a:srgbClr val="FFFFFF"/>
                      </a:gs>
                    </a:gsLst>
                    <a:lin ang="5400000" scaled="0"/>
                  </a:gradFill>
                  <a:hlinkClick r:id="rId4"/>
                </a:rPr>
                <a:t>http://aka.ms/oljnt2</a:t>
              </a:r>
              <a:r>
                <a:rPr lang="en-US" sz="1798" dirty="0">
                  <a:gradFill>
                    <a:gsLst>
                      <a:gs pos="0">
                        <a:srgbClr val="FFFFFF"/>
                      </a:gs>
                      <a:gs pos="100000">
                        <a:srgbClr val="FFFFFF"/>
                      </a:gs>
                    </a:gsLst>
                    <a:lin ang="5400000" scaled="0"/>
                  </a:gradFill>
                </a:rPr>
                <a:t> </a:t>
              </a:r>
            </a:p>
            <a:p>
              <a:pPr marL="285551" indent="-285551" defTabSz="1218987">
                <a:buFont typeface="Arial" pitchFamily="34" charset="0"/>
                <a:buChar char="•"/>
              </a:pPr>
              <a:endParaRPr lang="en-US" sz="1798" dirty="0">
                <a:gradFill>
                  <a:gsLst>
                    <a:gs pos="0">
                      <a:srgbClr val="FFFFFF"/>
                    </a:gs>
                    <a:gs pos="100000">
                      <a:srgbClr val="FFFFFF"/>
                    </a:gs>
                  </a:gsLst>
                  <a:lin ang="5400000" scaled="0"/>
                </a:gradFill>
              </a:endParaRPr>
            </a:p>
          </p:txBody>
        </p:sp>
      </p:grpSp>
      <p:sp>
        <p:nvSpPr>
          <p:cNvPr id="4" name="TextBox 3"/>
          <p:cNvSpPr txBox="1"/>
          <p:nvPr/>
        </p:nvSpPr>
        <p:spPr>
          <a:xfrm>
            <a:off x="7361350" y="2560248"/>
            <a:ext cx="3814592" cy="374568"/>
          </a:xfrm>
          <a:prstGeom prst="rect">
            <a:avLst/>
          </a:prstGeom>
          <a:solidFill>
            <a:schemeClr val="accent1"/>
          </a:solidFill>
        </p:spPr>
        <p:txBody>
          <a:bodyPr wrap="square" rtlCol="0">
            <a:spAutoFit/>
          </a:bodyPr>
          <a:lstStyle/>
          <a:p>
            <a:pPr algn="ctr" defTabSz="1218987"/>
            <a:r>
              <a:rPr lang="en-US" sz="1798" dirty="0">
                <a:solidFill>
                  <a:srgbClr val="DDDDDD"/>
                </a:solidFill>
                <a:hlinkClick r:id="rId5"/>
              </a:rPr>
              <a:t>http://weatherservice.cloudapp.net</a:t>
            </a:r>
            <a:endParaRPr lang="en-US" sz="1798" dirty="0">
              <a:solidFill>
                <a:srgbClr val="DDDDDD"/>
              </a:solidFill>
            </a:endParaRPr>
          </a:p>
        </p:txBody>
      </p:sp>
      <p:pic>
        <p:nvPicPr>
          <p:cNvPr id="12" name="Picture 2"/>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 r="30484" b="-3934"/>
          <a:stretch/>
        </p:blipFill>
        <p:spPr bwMode="auto">
          <a:xfrm>
            <a:off x="7053308" y="1246483"/>
            <a:ext cx="4608530" cy="6630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286261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lstStyle/>
          <a:p>
            <a:endParaRPr lang="en-US"/>
          </a:p>
        </p:txBody>
      </p:sp>
      <p:sp>
        <p:nvSpPr>
          <p:cNvPr id="9" name="Text Placeholder 8"/>
          <p:cNvSpPr>
            <a:spLocks noGrp="1"/>
          </p:cNvSpPr>
          <p:nvPr>
            <p:ph type="body" sz="quarter" idx="11"/>
          </p:nvPr>
        </p:nvSpPr>
        <p:spPr>
          <a:xfrm>
            <a:off x="519249" y="4612342"/>
            <a:ext cx="5455754" cy="332399"/>
          </a:xfrm>
        </p:spPr>
        <p:txBody>
          <a:bodyPr/>
          <a:lstStyle/>
          <a:p>
            <a:endParaRPr lang="en-US"/>
          </a:p>
        </p:txBody>
      </p:sp>
      <p:pic>
        <p:nvPicPr>
          <p:cNvPr id="4" name="Picture 3"/>
          <p:cNvPicPr>
            <a:picLocks noChangeAspect="1"/>
          </p:cNvPicPr>
          <p:nvPr/>
        </p:nvPicPr>
        <p:blipFill>
          <a:blip r:embed="rId3"/>
          <a:stretch>
            <a:fillRect/>
          </a:stretch>
        </p:blipFill>
        <p:spPr>
          <a:xfrm>
            <a:off x="-113454" y="-149314"/>
            <a:ext cx="12301417" cy="8047338"/>
          </a:xfrm>
          <a:prstGeom prst="rect">
            <a:avLst/>
          </a:prstGeom>
        </p:spPr>
      </p:pic>
      <p:grpSp>
        <p:nvGrpSpPr>
          <p:cNvPr id="5" name="Group 4"/>
          <p:cNvGrpSpPr/>
          <p:nvPr/>
        </p:nvGrpSpPr>
        <p:grpSpPr>
          <a:xfrm>
            <a:off x="5626" y="3001978"/>
            <a:ext cx="12180751" cy="3802986"/>
            <a:chOff x="-1" y="3052493"/>
            <a:chExt cx="12188826" cy="3805507"/>
          </a:xfrm>
        </p:grpSpPr>
        <p:sp>
          <p:nvSpPr>
            <p:cNvPr id="6" name="Rectangle 5"/>
            <p:cNvSpPr/>
            <p:nvPr/>
          </p:nvSpPr>
          <p:spPr bwMode="auto">
            <a:xfrm>
              <a:off x="-1" y="3052493"/>
              <a:ext cx="12188826" cy="3805507"/>
            </a:xfrm>
            <a:prstGeom prst="rect">
              <a:avLst/>
            </a:prstGeom>
            <a:solidFill>
              <a:srgbClr val="000000">
                <a:alpha val="54902"/>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75" tIns="45688" rIns="91375" bIns="45688" numCol="1" rtlCol="0" anchor="ctr" anchorCtr="0" compatLnSpc="1">
              <a:prstTxWarp prst="textNoShape">
                <a:avLst/>
              </a:prstTxWarp>
            </a:bodyPr>
            <a:lstStyle/>
            <a:p>
              <a:pPr algn="ctr" defTabSz="913463" fontAlgn="base">
                <a:spcBef>
                  <a:spcPct val="0"/>
                </a:spcBef>
                <a:spcAft>
                  <a:spcPct val="0"/>
                </a:spcAft>
              </a:pPr>
              <a:endParaRPr lang="en-US" sz="1998" dirty="0">
                <a:gradFill>
                  <a:gsLst>
                    <a:gs pos="0">
                      <a:srgbClr val="FFFFFF"/>
                    </a:gs>
                    <a:gs pos="100000">
                      <a:srgbClr val="FFFFFF"/>
                    </a:gs>
                  </a:gsLst>
                  <a:lin ang="5400000" scaled="0"/>
                </a:gradFill>
              </a:endParaRPr>
            </a:p>
          </p:txBody>
        </p:sp>
        <p:sp>
          <p:nvSpPr>
            <p:cNvPr id="7" name="TextBox 6"/>
            <p:cNvSpPr txBox="1"/>
            <p:nvPr/>
          </p:nvSpPr>
          <p:spPr>
            <a:xfrm>
              <a:off x="363634" y="3234262"/>
              <a:ext cx="6012872" cy="830777"/>
            </a:xfrm>
            <a:prstGeom prst="rect">
              <a:avLst/>
            </a:prstGeom>
            <a:noFill/>
          </p:spPr>
          <p:txBody>
            <a:bodyPr wrap="square" lIns="0" tIns="0" rIns="0" bIns="0" rtlCol="0">
              <a:spAutoFit/>
            </a:bodyPr>
            <a:lstStyle/>
            <a:p>
              <a:pPr defTabSz="1218987"/>
              <a:endParaRPr lang="en-US" sz="5395" spc="-70" dirty="0">
                <a:gradFill>
                  <a:gsLst>
                    <a:gs pos="0">
                      <a:srgbClr val="FFFFFF"/>
                    </a:gs>
                    <a:gs pos="100000">
                      <a:srgbClr val="FFFFFF"/>
                    </a:gs>
                  </a:gsLst>
                  <a:lin ang="5400000" scaled="0"/>
                </a:gradFill>
                <a:latin typeface="Segoe UI Light"/>
              </a:endParaRPr>
            </a:p>
          </p:txBody>
        </p:sp>
      </p:gr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r="5676"/>
          <a:stretch/>
        </p:blipFill>
        <p:spPr>
          <a:xfrm>
            <a:off x="403010" y="3654664"/>
            <a:ext cx="3848626" cy="2384011"/>
          </a:xfrm>
          <a:prstGeom prst="rect">
            <a:avLst/>
          </a:prstGeom>
        </p:spPr>
      </p:pic>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93495" y="3670042"/>
            <a:ext cx="3078368" cy="2388068"/>
          </a:xfrm>
          <a:prstGeom prst="rect">
            <a:avLst/>
          </a:prstGeom>
        </p:spPr>
      </p:pic>
      <p:pic>
        <p:nvPicPr>
          <p:cNvPr id="13" name="Picture 12"/>
          <p:cNvPicPr>
            <a:picLocks noChangeAspect="1"/>
          </p:cNvPicPr>
          <p:nvPr/>
        </p:nvPicPr>
        <p:blipFill rotWithShape="1">
          <a:blip r:embed="rId6"/>
          <a:srcRect b="15317"/>
          <a:stretch/>
        </p:blipFill>
        <p:spPr>
          <a:xfrm>
            <a:off x="8127066" y="3693319"/>
            <a:ext cx="3573270" cy="2306696"/>
          </a:xfrm>
          <a:prstGeom prst="rect">
            <a:avLst/>
          </a:prstGeom>
        </p:spPr>
      </p:pic>
      <p:sp>
        <p:nvSpPr>
          <p:cNvPr id="14" name="TextBox 13"/>
          <p:cNvSpPr txBox="1"/>
          <p:nvPr/>
        </p:nvSpPr>
        <p:spPr>
          <a:xfrm>
            <a:off x="3756939" y="6418328"/>
            <a:ext cx="3814592" cy="374568"/>
          </a:xfrm>
          <a:prstGeom prst="rect">
            <a:avLst/>
          </a:prstGeom>
          <a:solidFill>
            <a:schemeClr val="accent1"/>
          </a:solidFill>
        </p:spPr>
        <p:txBody>
          <a:bodyPr wrap="square" rtlCol="0">
            <a:spAutoFit/>
          </a:bodyPr>
          <a:lstStyle/>
          <a:p>
            <a:pPr algn="ctr" defTabSz="1218987"/>
            <a:r>
              <a:rPr lang="en-US" sz="1798" dirty="0">
                <a:solidFill>
                  <a:srgbClr val="DDDDDD"/>
                </a:solidFill>
                <a:hlinkClick r:id="rId7"/>
              </a:rPr>
              <a:t>http://weatherservice.cloudapp.net</a:t>
            </a:r>
            <a:endParaRPr lang="en-US" sz="1798" dirty="0">
              <a:solidFill>
                <a:srgbClr val="DDDDDD"/>
              </a:solidFill>
            </a:endParaRPr>
          </a:p>
        </p:txBody>
      </p:sp>
    </p:spTree>
    <p:extLst>
      <p:ext uri="{BB962C8B-B14F-4D97-AF65-F5344CB8AC3E}">
        <p14:creationId xmlns:p14="http://schemas.microsoft.com/office/powerpoint/2010/main" val="16548031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25191" y="895"/>
          <a:ext cx="119062" cy="158709"/>
        </p:xfrm>
        <a:graphic>
          <a:graphicData uri="http://schemas.openxmlformats.org/presentationml/2006/ole">
            <mc:AlternateContent xmlns:mc="http://schemas.openxmlformats.org/markup-compatibility/2006">
              <mc:Choice xmlns:v="urn:schemas-microsoft-com:vml" Requires="v">
                <p:oleObj spid="_x0000_s55304"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25191" y="895"/>
                        <a:ext cx="119062" cy="158709"/>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625509" y="386219"/>
            <a:ext cx="7016309" cy="747702"/>
          </a:xfrm>
        </p:spPr>
        <p:txBody>
          <a:bodyPr/>
          <a:lstStyle/>
          <a:p>
            <a:r>
              <a:rPr lang="en-US" dirty="0" smtClean="0"/>
              <a:t>WRF Service Architecture</a:t>
            </a:r>
            <a:endParaRPr lang="en-US" dirty="0"/>
          </a:p>
        </p:txBody>
      </p:sp>
      <p:sp>
        <p:nvSpPr>
          <p:cNvPr id="5" name="Rectangle 4"/>
          <p:cNvSpPr/>
          <p:nvPr>
            <p:custDataLst>
              <p:tags r:id="rId4"/>
            </p:custDataLst>
          </p:nvPr>
        </p:nvSpPr>
        <p:spPr bwMode="auto">
          <a:xfrm>
            <a:off x="2010003" y="1527815"/>
            <a:ext cx="2236556" cy="3473815"/>
          </a:xfrm>
          <a:prstGeom prst="rect">
            <a:avLst/>
          </a:prstGeom>
          <a:solidFill>
            <a:schemeClr val="accent4"/>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t" anchorCtr="0" compatLnSpc="1">
            <a:prstTxWarp prst="textNoShape">
              <a:avLst/>
            </a:prstTxWarp>
            <a:noAutofit/>
          </a:bodyPr>
          <a:lstStyle/>
          <a:p>
            <a:pPr defTabSz="822162" fontAlgn="base">
              <a:spcBef>
                <a:spcPct val="0"/>
              </a:spcBef>
              <a:spcAft>
                <a:spcPct val="0"/>
              </a:spcAft>
            </a:pPr>
            <a:r>
              <a:rPr lang="en-US" sz="2399" b="1" dirty="0">
                <a:ln>
                  <a:solidFill>
                    <a:srgbClr val="FFFFFF">
                      <a:alpha val="0"/>
                    </a:srgbClr>
                  </a:solidFill>
                </a:ln>
                <a:solidFill>
                  <a:srgbClr val="FFFFFF">
                    <a:alpha val="99000"/>
                  </a:srgbClr>
                </a:solidFill>
              </a:rPr>
              <a:t>Forecast Front End</a:t>
            </a:r>
          </a:p>
        </p:txBody>
      </p:sp>
      <p:sp>
        <p:nvSpPr>
          <p:cNvPr id="8" name="Rectangle 7"/>
          <p:cNvSpPr/>
          <p:nvPr>
            <p:custDataLst>
              <p:tags r:id="rId5"/>
            </p:custDataLst>
          </p:nvPr>
        </p:nvSpPr>
        <p:spPr bwMode="auto">
          <a:xfrm>
            <a:off x="5632826" y="1528634"/>
            <a:ext cx="1920240" cy="2285405"/>
          </a:xfrm>
          <a:prstGeom prst="rect">
            <a:avLst/>
          </a:prstGeom>
          <a:solidFill>
            <a:schemeClr val="accent2">
              <a:lumMod val="7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t" anchorCtr="0" compatLnSpc="1">
            <a:prstTxWarp prst="textNoShape">
              <a:avLst/>
            </a:prstTxWarp>
            <a:noAutofit/>
          </a:bodyPr>
          <a:lstStyle/>
          <a:p>
            <a:pPr defTabSz="822162" fontAlgn="base">
              <a:spcBef>
                <a:spcPct val="0"/>
              </a:spcBef>
              <a:spcAft>
                <a:spcPct val="0"/>
              </a:spcAft>
            </a:pPr>
            <a:r>
              <a:rPr lang="en-US" sz="2399" dirty="0">
                <a:ln>
                  <a:solidFill>
                    <a:srgbClr val="FFFFFF">
                      <a:alpha val="0"/>
                    </a:srgbClr>
                  </a:solidFill>
                </a:ln>
                <a:solidFill>
                  <a:srgbClr val="FFFFFF">
                    <a:alpha val="99000"/>
                  </a:srgbClr>
                </a:solidFill>
              </a:rPr>
              <a:t>Compute Worker</a:t>
            </a:r>
          </a:p>
        </p:txBody>
      </p:sp>
      <p:sp>
        <p:nvSpPr>
          <p:cNvPr id="9" name="Rectangle 8"/>
          <p:cNvSpPr/>
          <p:nvPr>
            <p:custDataLst>
              <p:tags r:id="rId6"/>
            </p:custDataLst>
          </p:nvPr>
        </p:nvSpPr>
        <p:spPr bwMode="auto">
          <a:xfrm>
            <a:off x="5632826" y="3925187"/>
            <a:ext cx="1920240" cy="369232"/>
          </a:xfrm>
          <a:prstGeom prst="rect">
            <a:avLst/>
          </a:prstGeom>
          <a:solidFill>
            <a:schemeClr val="accent2">
              <a:lumMod val="7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t" anchorCtr="0" compatLnSpc="1">
            <a:prstTxWarp prst="textNoShape">
              <a:avLst/>
            </a:prstTxWarp>
            <a:noAutofit/>
          </a:bodyPr>
          <a:lstStyle/>
          <a:p>
            <a:pPr defTabSz="822162" fontAlgn="base">
              <a:spcBef>
                <a:spcPct val="0"/>
              </a:spcBef>
              <a:spcAft>
                <a:spcPct val="0"/>
              </a:spcAft>
            </a:pPr>
            <a:r>
              <a:rPr lang="en-US" sz="1620" dirty="0">
                <a:ln>
                  <a:solidFill>
                    <a:srgbClr val="FFFFFF">
                      <a:alpha val="0"/>
                    </a:srgbClr>
                  </a:solidFill>
                </a:ln>
                <a:solidFill>
                  <a:srgbClr val="FFFFFF">
                    <a:alpha val="99000"/>
                  </a:srgbClr>
                </a:solidFill>
              </a:rPr>
              <a:t>Compute Worker</a:t>
            </a:r>
          </a:p>
        </p:txBody>
      </p:sp>
      <p:sp>
        <p:nvSpPr>
          <p:cNvPr id="10" name="Rectangle 9"/>
          <p:cNvSpPr/>
          <p:nvPr>
            <p:custDataLst>
              <p:tags r:id="rId7"/>
            </p:custDataLst>
          </p:nvPr>
        </p:nvSpPr>
        <p:spPr bwMode="auto">
          <a:xfrm>
            <a:off x="5632826" y="4405568"/>
            <a:ext cx="1920240" cy="369232"/>
          </a:xfrm>
          <a:prstGeom prst="rect">
            <a:avLst/>
          </a:prstGeom>
          <a:solidFill>
            <a:schemeClr val="accent2">
              <a:lumMod val="7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t" anchorCtr="0" compatLnSpc="1">
            <a:prstTxWarp prst="textNoShape">
              <a:avLst/>
            </a:prstTxWarp>
            <a:noAutofit/>
          </a:bodyPr>
          <a:lstStyle/>
          <a:p>
            <a:pPr defTabSz="822162" fontAlgn="base">
              <a:spcBef>
                <a:spcPct val="0"/>
              </a:spcBef>
              <a:spcAft>
                <a:spcPct val="0"/>
              </a:spcAft>
            </a:pPr>
            <a:r>
              <a:rPr lang="en-US" sz="1620" dirty="0">
                <a:ln>
                  <a:solidFill>
                    <a:srgbClr val="FFFFFF">
                      <a:alpha val="0"/>
                    </a:srgbClr>
                  </a:solidFill>
                </a:ln>
                <a:solidFill>
                  <a:srgbClr val="FFFFFF">
                    <a:alpha val="99000"/>
                  </a:srgbClr>
                </a:solidFill>
              </a:rPr>
              <a:t>Compute Worker</a:t>
            </a:r>
          </a:p>
        </p:txBody>
      </p:sp>
      <p:sp>
        <p:nvSpPr>
          <p:cNvPr id="11" name="Rectangle 10"/>
          <p:cNvSpPr/>
          <p:nvPr>
            <p:custDataLst>
              <p:tags r:id="rId8"/>
            </p:custDataLst>
          </p:nvPr>
        </p:nvSpPr>
        <p:spPr bwMode="auto">
          <a:xfrm>
            <a:off x="5632826" y="4885948"/>
            <a:ext cx="1920240" cy="369232"/>
          </a:xfrm>
          <a:prstGeom prst="rect">
            <a:avLst/>
          </a:prstGeom>
          <a:solidFill>
            <a:schemeClr val="accent2">
              <a:lumMod val="7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t" anchorCtr="0" compatLnSpc="1">
            <a:prstTxWarp prst="textNoShape">
              <a:avLst/>
            </a:prstTxWarp>
            <a:noAutofit/>
          </a:bodyPr>
          <a:lstStyle/>
          <a:p>
            <a:pPr defTabSz="822162" fontAlgn="base">
              <a:spcBef>
                <a:spcPct val="0"/>
              </a:spcBef>
              <a:spcAft>
                <a:spcPct val="0"/>
              </a:spcAft>
            </a:pPr>
            <a:r>
              <a:rPr lang="en-US" sz="1620" dirty="0">
                <a:ln>
                  <a:solidFill>
                    <a:srgbClr val="FFFFFF">
                      <a:alpha val="0"/>
                    </a:srgbClr>
                  </a:solidFill>
                </a:ln>
                <a:solidFill>
                  <a:srgbClr val="FFFFFF">
                    <a:alpha val="99000"/>
                  </a:srgbClr>
                </a:solidFill>
              </a:rPr>
              <a:t>Compute Worker</a:t>
            </a:r>
          </a:p>
        </p:txBody>
      </p:sp>
      <p:sp>
        <p:nvSpPr>
          <p:cNvPr id="12" name="Rectangle 11"/>
          <p:cNvSpPr/>
          <p:nvPr>
            <p:custDataLst>
              <p:tags r:id="rId9"/>
            </p:custDataLst>
          </p:nvPr>
        </p:nvSpPr>
        <p:spPr bwMode="auto">
          <a:xfrm>
            <a:off x="5632826" y="5366329"/>
            <a:ext cx="1920240" cy="369232"/>
          </a:xfrm>
          <a:prstGeom prst="rect">
            <a:avLst/>
          </a:prstGeom>
          <a:solidFill>
            <a:schemeClr val="accent2">
              <a:lumMod val="7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t" anchorCtr="0" compatLnSpc="1">
            <a:prstTxWarp prst="textNoShape">
              <a:avLst/>
            </a:prstTxWarp>
            <a:noAutofit/>
          </a:bodyPr>
          <a:lstStyle/>
          <a:p>
            <a:pPr defTabSz="822162" fontAlgn="base">
              <a:spcBef>
                <a:spcPct val="0"/>
              </a:spcBef>
              <a:spcAft>
                <a:spcPct val="0"/>
              </a:spcAft>
            </a:pPr>
            <a:r>
              <a:rPr lang="en-US" sz="1620" dirty="0">
                <a:ln>
                  <a:solidFill>
                    <a:srgbClr val="FFFFFF">
                      <a:alpha val="0"/>
                    </a:srgbClr>
                  </a:solidFill>
                </a:ln>
                <a:solidFill>
                  <a:srgbClr val="FFFFFF">
                    <a:alpha val="99000"/>
                  </a:srgbClr>
                </a:solidFill>
              </a:rPr>
              <a:t>Compute Worker</a:t>
            </a:r>
          </a:p>
        </p:txBody>
      </p:sp>
      <p:sp>
        <p:nvSpPr>
          <p:cNvPr id="14" name="Rectangle 13"/>
          <p:cNvSpPr/>
          <p:nvPr>
            <p:custDataLst>
              <p:tags r:id="rId10"/>
            </p:custDataLst>
          </p:nvPr>
        </p:nvSpPr>
        <p:spPr bwMode="auto">
          <a:xfrm>
            <a:off x="2918217" y="3925187"/>
            <a:ext cx="965819" cy="91055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b" anchorCtr="0" compatLnSpc="1">
            <a:prstTxWarp prst="textNoShape">
              <a:avLst/>
            </a:prstTxWarp>
            <a:noAutofit/>
          </a:bodyPr>
          <a:lstStyle/>
          <a:p>
            <a:pPr defTabSz="822162" fontAlgn="base">
              <a:spcBef>
                <a:spcPct val="0"/>
              </a:spcBef>
              <a:spcAft>
                <a:spcPct val="0"/>
              </a:spcAft>
            </a:pPr>
            <a:r>
              <a:rPr lang="en-US" sz="1400" dirty="0">
                <a:ln>
                  <a:solidFill>
                    <a:srgbClr val="FFFFFF">
                      <a:alpha val="0"/>
                    </a:srgbClr>
                  </a:solidFill>
                </a:ln>
                <a:solidFill>
                  <a:srgbClr val="FFFFFF"/>
                </a:solidFill>
              </a:rPr>
              <a:t>Windows Azure Scheduler</a:t>
            </a:r>
          </a:p>
        </p:txBody>
      </p:sp>
      <p:sp>
        <p:nvSpPr>
          <p:cNvPr id="16" name="Rectangle 15"/>
          <p:cNvSpPr/>
          <p:nvPr/>
        </p:nvSpPr>
        <p:spPr>
          <a:xfrm>
            <a:off x="2617558" y="5224423"/>
            <a:ext cx="2215094" cy="707446"/>
          </a:xfrm>
          <a:prstGeom prst="rect">
            <a:avLst/>
          </a:prstGeom>
        </p:spPr>
        <p:txBody>
          <a:bodyPr wrap="none">
            <a:spAutoFit/>
          </a:bodyPr>
          <a:lstStyle/>
          <a:p>
            <a:pPr defTabSz="822162" fontAlgn="base">
              <a:spcBef>
                <a:spcPct val="0"/>
              </a:spcBef>
              <a:spcAft>
                <a:spcPct val="0"/>
              </a:spcAft>
            </a:pPr>
            <a:r>
              <a:rPr lang="en-US" sz="1999" dirty="0">
                <a:ln>
                  <a:solidFill>
                    <a:srgbClr val="FFFFFF">
                      <a:alpha val="0"/>
                    </a:srgbClr>
                  </a:solidFill>
                </a:ln>
                <a:solidFill>
                  <a:srgbClr val="292929"/>
                </a:solidFill>
              </a:rPr>
              <a:t>Consistent HPC</a:t>
            </a:r>
          </a:p>
          <a:p>
            <a:pPr defTabSz="822162" fontAlgn="base">
              <a:spcBef>
                <a:spcPct val="0"/>
              </a:spcBef>
              <a:spcAft>
                <a:spcPct val="0"/>
              </a:spcAft>
            </a:pPr>
            <a:r>
              <a:rPr lang="en-US" sz="1999" dirty="0">
                <a:ln>
                  <a:solidFill>
                    <a:srgbClr val="FFFFFF">
                      <a:alpha val="0"/>
                    </a:srgbClr>
                  </a:solidFill>
                </a:ln>
                <a:solidFill>
                  <a:srgbClr val="292929"/>
                </a:solidFill>
              </a:rPr>
              <a:t>Job Scheduler API</a:t>
            </a:r>
          </a:p>
        </p:txBody>
      </p:sp>
      <p:sp>
        <p:nvSpPr>
          <p:cNvPr id="18" name="Rectangle 17"/>
          <p:cNvSpPr/>
          <p:nvPr>
            <p:custDataLst>
              <p:tags r:id="rId11"/>
            </p:custDataLst>
          </p:nvPr>
        </p:nvSpPr>
        <p:spPr bwMode="auto">
          <a:xfrm>
            <a:off x="5735697" y="2028249"/>
            <a:ext cx="1714499" cy="4570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ctr" anchorCtr="0" compatLnSpc="1">
            <a:prstTxWarp prst="textNoShape">
              <a:avLst/>
            </a:prstTxWarp>
            <a:noAutofit/>
          </a:bodyPr>
          <a:lstStyle/>
          <a:p>
            <a:pPr defTabSz="822162" fontAlgn="base">
              <a:spcBef>
                <a:spcPct val="0"/>
              </a:spcBef>
              <a:spcAft>
                <a:spcPct val="0"/>
              </a:spcAft>
            </a:pPr>
            <a:r>
              <a:rPr lang="en-US" sz="2399" dirty="0">
                <a:ln>
                  <a:solidFill>
                    <a:srgbClr val="FFFFFF">
                      <a:alpha val="0"/>
                    </a:srgbClr>
                  </a:solidFill>
                </a:ln>
                <a:solidFill>
                  <a:srgbClr val="FFFFFF"/>
                </a:solidFill>
              </a:rPr>
              <a:t>Node Manager</a:t>
            </a:r>
          </a:p>
        </p:txBody>
      </p:sp>
      <p:sp>
        <p:nvSpPr>
          <p:cNvPr id="19" name="Rectangle 18"/>
          <p:cNvSpPr/>
          <p:nvPr>
            <p:custDataLst>
              <p:tags r:id="rId12"/>
            </p:custDataLst>
          </p:nvPr>
        </p:nvSpPr>
        <p:spPr bwMode="auto">
          <a:xfrm>
            <a:off x="5735697" y="2591981"/>
            <a:ext cx="1714499" cy="109699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71" tIns="41135" rIns="82271" bIns="41135" numCol="1" rtlCol="0" anchor="ctr" anchorCtr="0" compatLnSpc="1">
            <a:prstTxWarp prst="textNoShape">
              <a:avLst/>
            </a:prstTxWarp>
            <a:noAutofit/>
          </a:bodyPr>
          <a:lstStyle/>
          <a:p>
            <a:pPr algn="ctr" defTabSz="822162" fontAlgn="base">
              <a:spcBef>
                <a:spcPct val="0"/>
              </a:spcBef>
              <a:spcAft>
                <a:spcPct val="0"/>
              </a:spcAft>
            </a:pPr>
            <a:r>
              <a:rPr lang="en-US" sz="2399" dirty="0">
                <a:ln>
                  <a:solidFill>
                    <a:srgbClr val="FFFFFF">
                      <a:alpha val="0"/>
                    </a:srgbClr>
                  </a:solidFill>
                </a:ln>
                <a:solidFill>
                  <a:srgbClr val="595959">
                    <a:alpha val="99000"/>
                  </a:srgbClr>
                </a:solidFill>
              </a:rPr>
              <a:t>HPC Weather</a:t>
            </a:r>
          </a:p>
          <a:p>
            <a:pPr algn="ctr" defTabSz="822162" fontAlgn="base">
              <a:spcBef>
                <a:spcPct val="0"/>
              </a:spcBef>
              <a:spcAft>
                <a:spcPct val="0"/>
              </a:spcAft>
            </a:pPr>
            <a:r>
              <a:rPr lang="en-US" sz="2399" dirty="0">
                <a:ln>
                  <a:solidFill>
                    <a:srgbClr val="FFFFFF">
                      <a:alpha val="0"/>
                    </a:srgbClr>
                  </a:solidFill>
                </a:ln>
                <a:solidFill>
                  <a:srgbClr val="595959">
                    <a:alpha val="99000"/>
                  </a:srgbClr>
                </a:solidFill>
              </a:rPr>
              <a:t>Application</a:t>
            </a:r>
          </a:p>
        </p:txBody>
      </p:sp>
      <p:cxnSp>
        <p:nvCxnSpPr>
          <p:cNvPr id="24" name="Straight Arrow Connector 23"/>
          <p:cNvCxnSpPr>
            <a:stCxn id="14" idx="3"/>
            <a:endCxn id="8" idx="1"/>
          </p:cNvCxnSpPr>
          <p:nvPr/>
        </p:nvCxnSpPr>
        <p:spPr>
          <a:xfrm flipV="1">
            <a:off x="3884037" y="2671336"/>
            <a:ext cx="1748789" cy="1709130"/>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4" idx="3"/>
            <a:endCxn id="9" idx="1"/>
          </p:cNvCxnSpPr>
          <p:nvPr/>
        </p:nvCxnSpPr>
        <p:spPr>
          <a:xfrm flipV="1">
            <a:off x="3884037" y="4109804"/>
            <a:ext cx="1748789" cy="270663"/>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endCxn id="10" idx="1"/>
          </p:cNvCxnSpPr>
          <p:nvPr/>
        </p:nvCxnSpPr>
        <p:spPr>
          <a:xfrm>
            <a:off x="3905345" y="4380467"/>
            <a:ext cx="1727480" cy="209718"/>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4" idx="3"/>
            <a:endCxn id="11" idx="1"/>
          </p:cNvCxnSpPr>
          <p:nvPr/>
        </p:nvCxnSpPr>
        <p:spPr>
          <a:xfrm>
            <a:off x="3884037" y="4380468"/>
            <a:ext cx="1748789" cy="690099"/>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14" idx="3"/>
            <a:endCxn id="12" idx="1"/>
          </p:cNvCxnSpPr>
          <p:nvPr/>
        </p:nvCxnSpPr>
        <p:spPr>
          <a:xfrm>
            <a:off x="3884037" y="4380466"/>
            <a:ext cx="1748789" cy="1170480"/>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flipV="1">
            <a:off x="2324597" y="4273075"/>
            <a:ext cx="607232" cy="138926"/>
          </a:xfrm>
          <a:prstGeom prst="line">
            <a:avLst/>
          </a:prstGeom>
          <a:ln w="19050">
            <a:solidFill>
              <a:schemeClr val="bg1">
                <a:lumMod val="50000"/>
              </a:schemeClr>
            </a:solidFill>
            <a:tailEnd type="oval"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H="1">
            <a:off x="2644236" y="2966934"/>
            <a:ext cx="54284" cy="659646"/>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1343250" y="2661199"/>
            <a:ext cx="683530" cy="0"/>
          </a:xfrm>
          <a:prstGeom prst="line">
            <a:avLst/>
          </a:prstGeom>
          <a:ln w="19050">
            <a:solidFill>
              <a:schemeClr val="bg1">
                <a:lumMod val="50000"/>
              </a:schemeClr>
            </a:solidFill>
            <a:tailEnd type="oval" w="lg" len="lg"/>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618534" y="1655655"/>
            <a:ext cx="588209" cy="1015681"/>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Elbow Connector 49"/>
          <p:cNvCxnSpPr>
            <a:stCxn id="16" idx="1"/>
          </p:cNvCxnSpPr>
          <p:nvPr/>
        </p:nvCxnSpPr>
        <p:spPr>
          <a:xfrm rot="10800000">
            <a:off x="2310995" y="4405576"/>
            <a:ext cx="306565" cy="1172572"/>
          </a:xfrm>
          <a:prstGeom prst="bentConnector2">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pic>
        <p:nvPicPr>
          <p:cNvPr id="30" name="Picture 1" descr="Description: cid:image001.png@01CC5606.C1A7BD90"/>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227662" y="2088284"/>
            <a:ext cx="1751360" cy="1096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30"/>
          <p:cNvPicPr>
            <a:picLocks noChangeAspect="1"/>
          </p:cNvPicPr>
          <p:nvPr/>
        </p:nvPicPr>
        <p:blipFill rotWithShape="1">
          <a:blip r:embed="rId18" cstate="screen">
            <a:extLst>
              <a:ext uri="{28A0092B-C50C-407E-A947-70E740481C1C}">
                <a14:useLocalDpi xmlns:a14="http://schemas.microsoft.com/office/drawing/2010/main"/>
              </a:ext>
            </a:extLst>
          </a:blip>
          <a:srcRect b="12551"/>
          <a:stretch/>
        </p:blipFill>
        <p:spPr>
          <a:xfrm>
            <a:off x="1979319" y="3332055"/>
            <a:ext cx="925589" cy="1059245"/>
          </a:xfrm>
          <a:prstGeom prst="rect">
            <a:avLst/>
          </a:prstGeom>
        </p:spPr>
      </p:pic>
      <p:sp>
        <p:nvSpPr>
          <p:cNvPr id="37" name="TextBox 36"/>
          <p:cNvSpPr txBox="1"/>
          <p:nvPr/>
        </p:nvSpPr>
        <p:spPr>
          <a:xfrm>
            <a:off x="2079263" y="3374179"/>
            <a:ext cx="866693" cy="830781"/>
          </a:xfrm>
          <a:prstGeom prst="rect">
            <a:avLst/>
          </a:prstGeom>
          <a:noFill/>
        </p:spPr>
        <p:txBody>
          <a:bodyPr wrap="square" rtlCol="0">
            <a:spAutoFit/>
          </a:bodyPr>
          <a:lstStyle/>
          <a:p>
            <a:pPr defTabSz="1218987"/>
            <a:r>
              <a:rPr lang="en-US" sz="1600" dirty="0">
                <a:solidFill>
                  <a:srgbClr val="292929"/>
                </a:solidFill>
              </a:rPr>
              <a:t>Azure Table storage</a:t>
            </a:r>
          </a:p>
        </p:txBody>
      </p:sp>
      <p:sp>
        <p:nvSpPr>
          <p:cNvPr id="49" name="Flowchart: Magnetic Disk 48"/>
          <p:cNvSpPr/>
          <p:nvPr/>
        </p:nvSpPr>
        <p:spPr>
          <a:xfrm>
            <a:off x="9490117" y="4107362"/>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defTabSz="1218987"/>
            <a:endParaRPr lang="en-US" sz="3198" dirty="0">
              <a:solidFill>
                <a:srgbClr val="FFFFFF"/>
              </a:solidFill>
            </a:endParaRPr>
          </a:p>
        </p:txBody>
      </p:sp>
      <p:sp>
        <p:nvSpPr>
          <p:cNvPr id="51" name="Flowchart: Magnetic Disk 50"/>
          <p:cNvSpPr/>
          <p:nvPr/>
        </p:nvSpPr>
        <p:spPr>
          <a:xfrm>
            <a:off x="9490118" y="3227907"/>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defTabSz="1218987"/>
            <a:endParaRPr lang="en-US" sz="3198" dirty="0">
              <a:solidFill>
                <a:srgbClr val="FFFFFF"/>
              </a:solidFill>
            </a:endParaRPr>
          </a:p>
        </p:txBody>
      </p:sp>
      <p:sp>
        <p:nvSpPr>
          <p:cNvPr id="52" name="Flowchart: Magnetic Disk 51"/>
          <p:cNvSpPr/>
          <p:nvPr/>
        </p:nvSpPr>
        <p:spPr>
          <a:xfrm>
            <a:off x="9490118" y="2348451"/>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defTabSz="1218987"/>
            <a:r>
              <a:rPr lang="en-US" sz="3198" dirty="0">
                <a:solidFill>
                  <a:srgbClr val="FFFFFF"/>
                </a:solidFill>
              </a:rPr>
              <a:t>Front end</a:t>
            </a:r>
          </a:p>
        </p:txBody>
      </p:sp>
      <p:sp>
        <p:nvSpPr>
          <p:cNvPr id="53" name="Flowchart: Magnetic Disk 52"/>
          <p:cNvSpPr/>
          <p:nvPr/>
        </p:nvSpPr>
        <p:spPr>
          <a:xfrm>
            <a:off x="9109314" y="4259209"/>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defTabSz="1218987"/>
            <a:endParaRPr lang="en-US" sz="3198" dirty="0">
              <a:solidFill>
                <a:srgbClr val="FFFFFF"/>
              </a:solidFill>
            </a:endParaRPr>
          </a:p>
        </p:txBody>
      </p:sp>
      <p:sp>
        <p:nvSpPr>
          <p:cNvPr id="54" name="Flowchart: Magnetic Disk 53"/>
          <p:cNvSpPr/>
          <p:nvPr/>
        </p:nvSpPr>
        <p:spPr>
          <a:xfrm>
            <a:off x="9109315" y="3379752"/>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defTabSz="1218987"/>
            <a:endParaRPr lang="en-US" sz="3198" dirty="0">
              <a:solidFill>
                <a:srgbClr val="FFFFFF"/>
              </a:solidFill>
            </a:endParaRPr>
          </a:p>
        </p:txBody>
      </p:sp>
      <p:sp>
        <p:nvSpPr>
          <p:cNvPr id="55" name="Flowchart: Magnetic Disk 54"/>
          <p:cNvSpPr/>
          <p:nvPr/>
        </p:nvSpPr>
        <p:spPr>
          <a:xfrm>
            <a:off x="9109315" y="2500296"/>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defTabSz="1218987"/>
            <a:r>
              <a:rPr lang="en-US" sz="3198" dirty="0">
                <a:solidFill>
                  <a:srgbClr val="FFFFFF"/>
                </a:solidFill>
              </a:rPr>
              <a:t>Front end</a:t>
            </a:r>
          </a:p>
        </p:txBody>
      </p:sp>
      <p:sp>
        <p:nvSpPr>
          <p:cNvPr id="56" name="Flowchart: Magnetic Disk 55"/>
          <p:cNvSpPr/>
          <p:nvPr/>
        </p:nvSpPr>
        <p:spPr>
          <a:xfrm>
            <a:off x="8728512" y="4412001"/>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defTabSz="1218987"/>
            <a:r>
              <a:rPr lang="en-US" sz="2399" dirty="0">
                <a:solidFill>
                  <a:srgbClr val="FFFFFF"/>
                </a:solidFill>
              </a:rPr>
              <a:t>Stream Layer</a:t>
            </a:r>
          </a:p>
        </p:txBody>
      </p:sp>
      <p:sp>
        <p:nvSpPr>
          <p:cNvPr id="57" name="Flowchart: Magnetic Disk 56"/>
          <p:cNvSpPr/>
          <p:nvPr/>
        </p:nvSpPr>
        <p:spPr>
          <a:xfrm>
            <a:off x="8728514" y="3532546"/>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defTabSz="1218987"/>
            <a:r>
              <a:rPr lang="en-US" sz="2399" dirty="0">
                <a:solidFill>
                  <a:srgbClr val="FFFFFF"/>
                </a:solidFill>
              </a:rPr>
              <a:t>Partition Layer</a:t>
            </a:r>
          </a:p>
        </p:txBody>
      </p:sp>
      <p:sp>
        <p:nvSpPr>
          <p:cNvPr id="58" name="Flowchart: Magnetic Disk 57"/>
          <p:cNvSpPr/>
          <p:nvPr/>
        </p:nvSpPr>
        <p:spPr>
          <a:xfrm>
            <a:off x="8728512" y="2648211"/>
            <a:ext cx="1641804" cy="1427672"/>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0" tIns="45689" rIns="91380" bIns="45689" rtlCol="0" anchor="ctr"/>
          <a:lstStyle/>
          <a:p>
            <a:pPr algn="ctr" defTabSz="1218987"/>
            <a:r>
              <a:rPr lang="en-US" sz="2799" b="1" dirty="0">
                <a:solidFill>
                  <a:srgbClr val="0071BC">
                    <a:lumMod val="60000"/>
                    <a:lumOff val="40000"/>
                  </a:srgbClr>
                </a:solidFill>
              </a:rPr>
              <a:t>Azure</a:t>
            </a:r>
          </a:p>
          <a:p>
            <a:pPr algn="ctr" defTabSz="1218987"/>
            <a:r>
              <a:rPr lang="en-US" sz="2799" b="1" dirty="0">
                <a:solidFill>
                  <a:srgbClr val="0071BC">
                    <a:lumMod val="60000"/>
                    <a:lumOff val="40000"/>
                  </a:srgbClr>
                </a:solidFill>
              </a:rPr>
              <a:t>Storage </a:t>
            </a:r>
            <a:r>
              <a:rPr lang="en-US" sz="2999" dirty="0">
                <a:solidFill>
                  <a:srgbClr val="FFFFFF"/>
                </a:solidFill>
              </a:rPr>
              <a:t>Front end</a:t>
            </a:r>
          </a:p>
          <a:p>
            <a:pPr algn="ctr" defTabSz="1218987"/>
            <a:endParaRPr lang="en-US" sz="2999" dirty="0">
              <a:solidFill>
                <a:srgbClr val="FFFFFF"/>
              </a:solidFill>
            </a:endParaRPr>
          </a:p>
        </p:txBody>
      </p:sp>
      <p:cxnSp>
        <p:nvCxnSpPr>
          <p:cNvPr id="61" name="Straight Arrow Connector 60"/>
          <p:cNvCxnSpPr/>
          <p:nvPr/>
        </p:nvCxnSpPr>
        <p:spPr>
          <a:xfrm>
            <a:off x="7706828" y="4655580"/>
            <a:ext cx="934991" cy="15236"/>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a:off x="7706827" y="5070564"/>
            <a:ext cx="934991" cy="15236"/>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7693091" y="5490579"/>
            <a:ext cx="934991" cy="15236"/>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a:off x="7706827" y="4212638"/>
            <a:ext cx="934991" cy="15236"/>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5" name="Freeform 6"/>
          <p:cNvSpPr>
            <a:spLocks/>
          </p:cNvSpPr>
          <p:nvPr/>
        </p:nvSpPr>
        <p:spPr bwMode="auto">
          <a:xfrm>
            <a:off x="9339689" y="94688"/>
            <a:ext cx="2850724" cy="177233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t" anchorCtr="0" compatLnSpc="1">
            <a:prstTxWarp prst="textNoShape">
              <a:avLst/>
            </a:prstTxWarp>
          </a:bodyPr>
          <a:lstStyle/>
          <a:p>
            <a:pPr algn="ctr" defTabSz="913514" fontAlgn="base">
              <a:spcBef>
                <a:spcPct val="0"/>
              </a:spcBef>
              <a:spcAft>
                <a:spcPct val="0"/>
              </a:spcAft>
            </a:pPr>
            <a:endParaRPr lang="en-US" sz="2399" dirty="0">
              <a:ln>
                <a:solidFill>
                  <a:srgbClr val="FFFFFF">
                    <a:alpha val="0"/>
                  </a:srgbClr>
                </a:solidFill>
              </a:ln>
              <a:solidFill>
                <a:srgbClr val="595959"/>
              </a:solidFill>
              <a:latin typeface="Segoe UI Light" pitchFamily="34" charset="0"/>
            </a:endParaRPr>
          </a:p>
          <a:p>
            <a:pPr algn="ctr" defTabSz="913514" fontAlgn="base">
              <a:spcBef>
                <a:spcPct val="0"/>
              </a:spcBef>
              <a:spcAft>
                <a:spcPct val="0"/>
              </a:spcAft>
            </a:pPr>
            <a:endParaRPr lang="en-US" sz="2399" dirty="0">
              <a:ln>
                <a:solidFill>
                  <a:srgbClr val="FFFFFF">
                    <a:alpha val="0"/>
                  </a:srgbClr>
                </a:solidFill>
              </a:ln>
              <a:solidFill>
                <a:srgbClr val="595959"/>
              </a:solidFill>
              <a:latin typeface="Segoe UI Light" pitchFamily="34" charset="0"/>
            </a:endParaRPr>
          </a:p>
          <a:p>
            <a:pPr algn="ctr" defTabSz="913514" fontAlgn="base">
              <a:spcBef>
                <a:spcPct val="0"/>
              </a:spcBef>
              <a:spcAft>
                <a:spcPct val="0"/>
              </a:spcAft>
            </a:pPr>
            <a:r>
              <a:rPr lang="en-US" sz="3199" dirty="0">
                <a:ln>
                  <a:solidFill>
                    <a:srgbClr val="FFFFFF">
                      <a:alpha val="0"/>
                    </a:srgbClr>
                  </a:solidFill>
                </a:ln>
                <a:solidFill>
                  <a:srgbClr val="595959"/>
                </a:solidFill>
                <a:latin typeface="Segoe UI Light" pitchFamily="34" charset="0"/>
              </a:rPr>
              <a:t>NOAA</a:t>
            </a:r>
          </a:p>
          <a:p>
            <a:pPr algn="ctr" defTabSz="913514" fontAlgn="base">
              <a:spcBef>
                <a:spcPct val="0"/>
              </a:spcBef>
              <a:spcAft>
                <a:spcPct val="0"/>
              </a:spcAft>
            </a:pPr>
            <a:r>
              <a:rPr lang="en-US" sz="3199" dirty="0">
                <a:ln>
                  <a:solidFill>
                    <a:srgbClr val="FFFFFF">
                      <a:alpha val="0"/>
                    </a:srgbClr>
                  </a:solidFill>
                </a:ln>
                <a:solidFill>
                  <a:srgbClr val="595959"/>
                </a:solidFill>
                <a:latin typeface="Segoe UI Light" pitchFamily="34" charset="0"/>
              </a:rPr>
              <a:t>Data Source</a:t>
            </a:r>
          </a:p>
        </p:txBody>
      </p:sp>
      <p:cxnSp>
        <p:nvCxnSpPr>
          <p:cNvPr id="66" name="Straight Arrow Connector 65"/>
          <p:cNvCxnSpPr/>
          <p:nvPr/>
        </p:nvCxnSpPr>
        <p:spPr>
          <a:xfrm flipH="1">
            <a:off x="7633898" y="1655654"/>
            <a:ext cx="1753350" cy="1343062"/>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pic>
        <p:nvPicPr>
          <p:cNvPr id="70" name="Picture 69"/>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588" y="980856"/>
            <a:ext cx="1149284" cy="665044"/>
          </a:xfrm>
          <a:prstGeom prst="rect">
            <a:avLst/>
          </a:prstGeom>
        </p:spPr>
      </p:pic>
    </p:spTree>
    <p:extLst>
      <p:ext uri="{BB962C8B-B14F-4D97-AF65-F5344CB8AC3E}">
        <p14:creationId xmlns:p14="http://schemas.microsoft.com/office/powerpoint/2010/main" val="30835007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3"/>
                                        </p:tgtEl>
                                        <p:attrNameLst>
                                          <p:attrName>style.visibility</p:attrName>
                                        </p:attrNameLst>
                                      </p:cBhvr>
                                      <p:to>
                                        <p:strVal val="visible"/>
                                      </p:to>
                                    </p:set>
                                  </p:childTnLst>
                                </p:cTn>
                              </p:par>
                            </p:childTnLst>
                          </p:cTn>
                        </p:par>
                        <p:par>
                          <p:cTn id="19" fill="hold">
                            <p:stCondLst>
                              <p:cond delay="0"/>
                            </p:stCondLst>
                            <p:childTnLst>
                              <p:par>
                                <p:cTn id="20" presetID="1" presetClass="entr" presetSubtype="0" fill="hold" grpId="0" nodeType="afterEffect">
                                  <p:stCondLst>
                                    <p:cond delay="0"/>
                                  </p:stCondLst>
                                  <p:childTnLst>
                                    <p:set>
                                      <p:cBhvr>
                                        <p:cTn id="21" dur="1" fill="hold">
                                          <p:stCondLst>
                                            <p:cond delay="0"/>
                                          </p:stCondLst>
                                        </p:cTn>
                                        <p:tgtEl>
                                          <p:spTgt spid="52"/>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1" grpId="0" animBg="1"/>
      <p:bldP spid="52" grpId="0" animBg="1"/>
      <p:bldP spid="53" grpId="0" animBg="1"/>
      <p:bldP spid="54" grpId="0" animBg="1"/>
      <p:bldP spid="55" grpId="0" animBg="1"/>
      <p:bldP spid="56" grpId="0" animBg="1"/>
      <p:bldP spid="57" grpId="0" animBg="1"/>
      <p:bldP spid="5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IQAIKJuo2k6GRIHbLthNZ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tQjwjFT.eEefM8sBfZZ4P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DrDVOVFoe0KWi.3aarzT9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qIdGUlJ8p0GgQmQgA8eBt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VFJ3hxq5xEOPHRu64zOLa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tctymIyq_ESs26mqSFC9P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PBLNIkNuVkGyVW2bywfzQ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HFguGGyvZEausYRnUaZ_A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vfMX1k2tukqROmaxHI1TK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Qvs68KRxCUiLb0O.7lRmm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EMfafZAalUicwuQPN4bWu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1ONeUhoiekqBEzayDAR4z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2yVgRbqSykyrgB5QhE1yj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ihwtAvKUpEuXNHtQ.aaak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zTds6kVNU0qwgrGXSa0rw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0gxVlCSAUUCzKxllMGUA8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HIwv8AsdE0.4FEwioXB7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8CWE0Nnn0a2QI.2ommRh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vwSh_t5Ly0W7MZOYFPhtV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yf5Dwhlio0.flO6yrYYJ7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ub9jjKE9gEuy6cd0OVcou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ea5cZaZsYEu7kahjEl4Ac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BZIebz58Ik67u6Wp0FgM8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yOeavHyEKUusv9vyBALbk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ujpJhWRfZ0.ByoBynT6zx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mYYOnBonUWG5PJUBbgZ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0OrS_RRAf0W1gzHf9Txdi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7VdsSUw900OQvx93pY12u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NhkkJI9fakuoEpy4Li_VR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S.RrktgfeU.rAXWto2bOp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p3JJzPFUkk.0HnZbBb.LP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pNeMJqU3pE2koKjuKOooT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1c7YoYduL0e57GjzlP7BC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3irCAFD16E2bgFO.5DUQw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oUihWfG9LU2h9mRU7HczP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bnAIRKxNc06.ceVI4it9L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B5vYWA5hw0WTcBjQVF5PY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XfRUx9MgjEGKLUUj_2FhP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AEZkUBY1IECodHNdC9HrV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sv94_A.TOUu23bk55dClE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86m.6zbyOUaPnmseX0TR8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86m.6zbyOUaPnmseX0TR8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Z4.cuRvKBUy.44KjBtK6t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zwD.N5Y6QkKilOBYQGbd3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AgF2sgjS4UuyKBkf2pKY3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6Q2by9wHWUS8hmnL2hW4c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AgF2sgjS4UuyKBkf2pKY3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QBgcYF31kUmbt8_aNAG2C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UcTdOtJBH0GEuSHihX6Wz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UcTdOtJBH0GEuSHihX6Wz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rMr6Q.vVfU2Msd7JUZli6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BLRNW28yek.d03qtT8zOB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aXNCofoySUiRWJxe8uRvg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Sn.vgFI5LUi0uMfjd1L77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aXNCofoySUiRWJxe8uRvg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Sn.vgFI5LUi0uMfjd1L77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ed_HikKs2E2Ug4D7baxD6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m5M4bJheUUekRQkOHswtD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s0UtaVdhyUaHue11OGxKr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p1jF8hSFSU2g3k_gqPc97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fx0IXsFV.Eaoo7NkA3nTN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UxQJxIM7a0CtfJJ_ddX2h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2rhPUd1rhUSERP7I3u4R3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fRFeEVAOkUS0kAQref_pq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SMbvsdDM.EuG22r.A9Vi6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CdunaklVTEu3N0NIh67Q9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00JPYyv8cUCt4BIt2DHd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5ZdwR7pLR06.h_FwluaZr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6Ii_0WG8e0a1oH76sZjZT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iVKAnNyOLkie_ea1wu_lI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xyxZVb.FZku3PuAF66zJe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5hrR8p8OhEKZuO8vSqNdD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n1zzElNDjkeyjEsJVB2p8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yVn0niqzO0CVL.dbmtMk9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rwX2jGYR7k.L1tu9oAKa4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qUBzNEPw3EqEuY0X4BP6M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VObX5acboEi0sBZxDSSW.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vnkgy4dm2E.yx8kun71He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zpX8HAZTNUa1eDJnfY02L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iV_15PI.u0mcy0ksW2gI1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kV4mXx5FlUmGaqsSK8VUZ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zAyTNTu34ESOuWkvej0vt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if3gLbDsSE2CXpZywMv4I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oOAgR4FaiEKcs3rMZ6Um8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CXtoFK.IIEiJZ4GVcgmlt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Ua8ErTtd6U.xTCfbrM9Dk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EtacC3LD9USk.ltWICwmI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Wb7NN1v8v0OhpMUEX7DBd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Gc5W9ITbhkC5pf.mVuP8i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4ainzpCWg0uaHvzFChOW8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RtO8cBFPz0yhN7v9nbBzq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uwdK_Rd25UmBS517A6J3w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NOWjL4PpxUmrHqZXTyRzZ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llujQQfP1UOTuSLGR_Xzx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DOqfPgE300ew2qXnzT8f8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x8SHrx0_0KtYAbNkLnK2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F8HsoGmK2kSvSMPaC_yDe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_kDDQqb2zEWhuE2h91ZqN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8m.19kQiIEC2WLj1Qm2V0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IupMnlK2N06_xmm0KsR.8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NuB7CjtaRUCvuhVCDfO0E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OZnb.XwuqkyecwSeAjyO.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CeNXgYUVMk6hiCh3kNVf3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AgDUVrCh8kSIA7YiPPxY9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wjVp5njrA0qTh1zRxtkEL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YshJUF94JEuHHWs7J46SM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EA2XaHdxtE2xIEMQer8w4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lPpSvaQXuEeNdDBgmgwSL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4rNvJhtF.0W_sHNKd1ZS2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REk2ZeCLUkKaxcOMsHFqT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iOX.tnc6KEuYWtNTKdh0A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0Z1jVoknLEiasPpOvW0Jf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mg13KLxCYkKIlqC1BGzo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IEoKKZZA60ehS32PAdv53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V.Smxyz.vE6wQqdhKuD_k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O2UVRMoIV02jSJOaYIBez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22FpLbzkwEaq0bwhtYhqjg"/>
</p:tagLst>
</file>

<file path=ppt/tags/tag241.xml><?xml version="1.0" encoding="utf-8"?>
<p:tagLst xmlns:a="http://schemas.openxmlformats.org/drawingml/2006/main" xmlns:r="http://schemas.openxmlformats.org/officeDocument/2006/relationships" xmlns:p="http://schemas.openxmlformats.org/presentationml/2006/main">
  <p:tag name="MT_TILE" val="YES"/>
</p:tagLst>
</file>

<file path=ppt/tags/tag242.xml><?xml version="1.0" encoding="utf-8"?>
<p:tagLst xmlns:a="http://schemas.openxmlformats.org/drawingml/2006/main" xmlns:r="http://schemas.openxmlformats.org/officeDocument/2006/relationships" xmlns:p="http://schemas.openxmlformats.org/presentationml/2006/main">
  <p:tag name="MT_TILE" val="YES"/>
</p:tagLst>
</file>

<file path=ppt/tags/tag243.xml><?xml version="1.0" encoding="utf-8"?>
<p:tagLst xmlns:a="http://schemas.openxmlformats.org/drawingml/2006/main" xmlns:r="http://schemas.openxmlformats.org/officeDocument/2006/relationships" xmlns:p="http://schemas.openxmlformats.org/presentationml/2006/main">
  <p:tag name="MT_TILE" val="YES"/>
</p:tagLst>
</file>

<file path=ppt/tags/tag244.xml><?xml version="1.0" encoding="utf-8"?>
<p:tagLst xmlns:a="http://schemas.openxmlformats.org/drawingml/2006/main" xmlns:r="http://schemas.openxmlformats.org/officeDocument/2006/relationships" xmlns:p="http://schemas.openxmlformats.org/presentationml/2006/main">
  <p:tag name="MT_TILE" val="YES"/>
</p:tagLst>
</file>

<file path=ppt/tags/tag245.xml><?xml version="1.0" encoding="utf-8"?>
<p:tagLst xmlns:a="http://schemas.openxmlformats.org/drawingml/2006/main" xmlns:r="http://schemas.openxmlformats.org/officeDocument/2006/relationships" xmlns:p="http://schemas.openxmlformats.org/presentationml/2006/main">
  <p:tag name="MT_TILE" val="YES"/>
</p:tagLst>
</file>

<file path=ppt/tags/tag246.xml><?xml version="1.0" encoding="utf-8"?>
<p:tagLst xmlns:a="http://schemas.openxmlformats.org/drawingml/2006/main" xmlns:r="http://schemas.openxmlformats.org/officeDocument/2006/relationships" xmlns:p="http://schemas.openxmlformats.org/presentationml/2006/main">
  <p:tag name="MT_TILE" val="YES"/>
</p:tagLst>
</file>

<file path=ppt/tags/tag247.xml><?xml version="1.0" encoding="utf-8"?>
<p:tagLst xmlns:a="http://schemas.openxmlformats.org/drawingml/2006/main" xmlns:r="http://schemas.openxmlformats.org/officeDocument/2006/relationships" xmlns:p="http://schemas.openxmlformats.org/presentationml/2006/main">
  <p:tag name="MT_TILE" val="YES"/>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wr7q.4iZjkOgIWH6Uw8Bs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WRbko6g3KEuu48itS7jj1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UhEfJ0OEUyV.ti2e6BkJ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aNNLVtoYe02f10lz0Wu67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UJ.J2to3hUaF8gJKvv5Km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KJ1.EFvKn0yN88BLzPrIH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sOSXgRYWUuG8Urmf51bv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ZTqFClCPiUOX3eAEKdb9Y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pUBMnsC5EkSibpt8tHO4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xywXz88RTUCJi7XGQw_hD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eYmJsV9A70yWGtcl7.Npv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US_hPSJ40eZ4DFctBWik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9LDiOFjpKkSWytBgiHjcm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rMesjBLmkC9z0iMtTvzB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Of6ic1BLhEOZRHY9vzdPV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eLN9MH8Q0C35hr5IDnaM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3pWkjWIsECFSPcMYQq2Q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JfBRWqKMc0idFhiSQVlKm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31uslV5RUUKFa7jI9eis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_pKIraBLyUimPGEmvin3D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SOtmRPJYDEmXuiYyKw5bD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tONjqEDgUCfmSRIp.sg2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sem81md41keRrXVPIYRUQ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4w7zzrcsy0SKvIdd4Uj1Y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UZZUklck0im3O5wYm3xB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nIS.fyaglUStkBo8vPVgc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5ZuYbwBhnk2mVa4KfNYqp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xPbi3D46VEa69ua1v_QYo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eW501GfLqEmiYsB8jaMsY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A4MOKUzKqUSqR3za.u4tL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lV1FJqTBUEG38z8aNsUsX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paiOTkoka06k9eytrbek_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9Y4QeKAuiUGSXlYPeNoug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ox3Qp9UFEuO2zpCpi6o6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_oOBIKWV0WpBQipM0WR8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qNcV7BhkhE2rG7wXmQHUm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Crc.p_A1iE6Et2i27jMwu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ouiYs8l9jk2pY6W2WFAchQ"/>
</p:tagLst>
</file>

<file path=ppt/theme/_rels/theme10.xml.rels><?xml version="1.0" encoding="UTF-8" standalone="yes"?>
<Relationships xmlns="http://schemas.openxmlformats.org/package/2006/relationships"><Relationship Id="rId1" Type="http://schemas.openxmlformats.org/officeDocument/2006/relationships/image" Target="../media/image14.png"/></Relationships>
</file>

<file path=ppt/theme/_rels/theme11.xml.rels><?xml version="1.0" encoding="UTF-8" standalone="yes"?>
<Relationships xmlns="http://schemas.openxmlformats.org/package/2006/relationships"><Relationship Id="rId1" Type="http://schemas.openxmlformats.org/officeDocument/2006/relationships/image" Target="../media/image14.png"/></Relationships>
</file>

<file path=ppt/theme/_rels/theme16.xml.rels><?xml version="1.0" encoding="UTF-8" standalone="yes"?>
<Relationships xmlns="http://schemas.openxmlformats.org/package/2006/relationships"><Relationship Id="rId1" Type="http://schemas.openxmlformats.org/officeDocument/2006/relationships/image" Target="../media/image14.png"/></Relationships>
</file>

<file path=ppt/theme/_rels/theme17.xml.rels><?xml version="1.0" encoding="UTF-8" standalone="yes"?>
<Relationships xmlns="http://schemas.openxmlformats.org/package/2006/relationships"><Relationship Id="rId1" Type="http://schemas.openxmlformats.org/officeDocument/2006/relationships/image" Target="../media/image14.png"/></Relationships>
</file>

<file path=ppt/theme/_rels/theme18.xml.rels><?xml version="1.0" encoding="UTF-8" standalone="yes"?>
<Relationships xmlns="http://schemas.openxmlformats.org/package/2006/relationships"><Relationship Id="rId1" Type="http://schemas.openxmlformats.org/officeDocument/2006/relationships/image" Target="../media/image14.png"/></Relationships>
</file>

<file path=ppt/theme/_rels/theme19.xml.rels><?xml version="1.0" encoding="UTF-8" standalone="yes"?>
<Relationships xmlns="http://schemas.openxmlformats.org/package/2006/relationships"><Relationship Id="rId1" Type="http://schemas.openxmlformats.org/officeDocument/2006/relationships/image" Target="../media/image14.png"/></Relationships>
</file>

<file path=ppt/theme/_rels/theme20.xml.rels><?xml version="1.0" encoding="UTF-8" standalone="yes"?>
<Relationships xmlns="http://schemas.openxmlformats.org/package/2006/relationships"><Relationship Id="rId1" Type="http://schemas.openxmlformats.org/officeDocument/2006/relationships/image" Target="../media/image14.png"/></Relationships>
</file>

<file path=ppt/theme/_rels/theme21.xml.rels><?xml version="1.0" encoding="UTF-8" standalone="yes"?>
<Relationships xmlns="http://schemas.openxmlformats.org/package/2006/relationships"><Relationship Id="rId1" Type="http://schemas.openxmlformats.org/officeDocument/2006/relationships/image" Target="../media/image14.png"/></Relationships>
</file>

<file path=ppt/theme/_rels/theme22.xml.rels><?xml version="1.0" encoding="UTF-8" standalone="yes"?>
<Relationships xmlns="http://schemas.openxmlformats.org/package/2006/relationships"><Relationship Id="rId1" Type="http://schemas.openxmlformats.org/officeDocument/2006/relationships/image" Target="../media/image14.png"/></Relationships>
</file>

<file path=ppt/theme/_rels/theme23.xml.rels><?xml version="1.0" encoding="UTF-8" standalone="yes"?>
<Relationships xmlns="http://schemas.openxmlformats.org/package/2006/relationships"><Relationship Id="rId1" Type="http://schemas.openxmlformats.org/officeDocument/2006/relationships/image" Target="../media/image14.png"/></Relationships>
</file>

<file path=ppt/theme/_rels/theme24.xml.rels><?xml version="1.0" encoding="UTF-8" standalone="yes"?>
<Relationships xmlns="http://schemas.openxmlformats.org/package/2006/relationships"><Relationship Id="rId1" Type="http://schemas.openxmlformats.org/officeDocument/2006/relationships/image" Target="../media/image14.png"/></Relationships>
</file>

<file path=ppt/theme/_rels/theme25.xml.rels><?xml version="1.0" encoding="UTF-8" standalone="yes"?>
<Relationships xmlns="http://schemas.openxmlformats.org/package/2006/relationships"><Relationship Id="rId1" Type="http://schemas.openxmlformats.org/officeDocument/2006/relationships/image" Target="../media/image14.png"/></Relationships>
</file>

<file path=ppt/theme/_rels/theme26.xml.rels><?xml version="1.0" encoding="UTF-8" standalone="yes"?>
<Relationships xmlns="http://schemas.openxmlformats.org/package/2006/relationships"><Relationship Id="rId1" Type="http://schemas.openxmlformats.org/officeDocument/2006/relationships/image" Target="../media/image14.png"/></Relationships>
</file>

<file path=ppt/theme/_rels/theme28.xml.rels><?xml version="1.0" encoding="UTF-8" standalone="yes"?>
<Relationships xmlns="http://schemas.openxmlformats.org/package/2006/relationships"><Relationship Id="rId1" Type="http://schemas.openxmlformats.org/officeDocument/2006/relationships/image" Target="../media/image14.png"/></Relationships>
</file>

<file path=ppt/theme/_rels/theme29.xml.rels><?xml version="1.0" encoding="UTF-8" standalone="yes"?>
<Relationships xmlns="http://schemas.openxmlformats.org/package/2006/relationships"><Relationship Id="rId1" Type="http://schemas.openxmlformats.org/officeDocument/2006/relationships/image" Target="../media/image14.png"/></Relationships>
</file>

<file path=ppt/theme/_rels/theme30.xml.rels><?xml version="1.0" encoding="UTF-8" standalone="yes"?>
<Relationships xmlns="http://schemas.openxmlformats.org/package/2006/relationships"><Relationship Id="rId1" Type="http://schemas.openxmlformats.org/officeDocument/2006/relationships/image" Target="../media/image14.png"/></Relationships>
</file>

<file path=ppt/theme/_rels/theme31.xml.rels><?xml version="1.0" encoding="UTF-8" standalone="yes"?>
<Relationships xmlns="http://schemas.openxmlformats.org/package/2006/relationships"><Relationship Id="rId1" Type="http://schemas.openxmlformats.org/officeDocument/2006/relationships/image" Target="../media/image14.png"/></Relationships>
</file>

<file path=ppt/theme/_rels/theme32.xml.rels><?xml version="1.0" encoding="UTF-8" standalone="yes"?>
<Relationships xmlns="http://schemas.openxmlformats.org/package/2006/relationships"><Relationship Id="rId1" Type="http://schemas.openxmlformats.org/officeDocument/2006/relationships/image" Target="../media/image14.png"/></Relationships>
</file>

<file path=ppt/theme/_rels/theme33.xml.rels><?xml version="1.0" encoding="UTF-8" standalone="yes"?>
<Relationships xmlns="http://schemas.openxmlformats.org/package/2006/relationships"><Relationship Id="rId1" Type="http://schemas.openxmlformats.org/officeDocument/2006/relationships/image" Target="../media/image14.png"/></Relationships>
</file>

<file path=ppt/theme/_rels/theme34.xml.rels><?xml version="1.0" encoding="UTF-8" standalone="yes"?>
<Relationships xmlns="http://schemas.openxmlformats.org/package/2006/relationships"><Relationship Id="rId1" Type="http://schemas.openxmlformats.org/officeDocument/2006/relationships/image" Target="../media/image14.png"/></Relationships>
</file>

<file path=ppt/theme/_rels/theme35.xml.rels><?xml version="1.0" encoding="UTF-8" standalone="yes"?>
<Relationships xmlns="http://schemas.openxmlformats.org/package/2006/relationships"><Relationship Id="rId1" Type="http://schemas.openxmlformats.org/officeDocument/2006/relationships/image" Target="../media/image14.png"/></Relationships>
</file>

<file path=ppt/theme/_rels/theme37.xml.rels><?xml version="1.0" encoding="UTF-8" standalone="yes"?>
<Relationships xmlns="http://schemas.openxmlformats.org/package/2006/relationships"><Relationship Id="rId1" Type="http://schemas.openxmlformats.org/officeDocument/2006/relationships/image" Target="../media/image14.png"/></Relationships>
</file>

<file path=ppt/theme/_rels/theme38.xml.rels><?xml version="1.0" encoding="UTF-8" standalone="yes"?>
<Relationships xmlns="http://schemas.openxmlformats.org/package/2006/relationships"><Relationship Id="rId1" Type="http://schemas.openxmlformats.org/officeDocument/2006/relationships/image" Target="../media/image14.png"/></Relationships>
</file>

<file path=ppt/theme/_rels/theme42.xml.rels><?xml version="1.0" encoding="UTF-8" standalone="yes"?>
<Relationships xmlns="http://schemas.openxmlformats.org/package/2006/relationships"><Relationship Id="rId1" Type="http://schemas.openxmlformats.org/officeDocument/2006/relationships/image" Target="../media/image14.png"/></Relationships>
</file>

<file path=ppt/theme/_rels/theme5.xml.rels><?xml version="1.0" encoding="UTF-8" standalone="yes"?>
<Relationships xmlns="http://schemas.openxmlformats.org/package/2006/relationships"><Relationship Id="rId1" Type="http://schemas.openxmlformats.org/officeDocument/2006/relationships/image" Target="../media/image14.png"/></Relationships>
</file>

<file path=ppt/theme/_rels/theme6.xml.rels><?xml version="1.0" encoding="UTF-8" standalone="yes"?>
<Relationships xmlns="http://schemas.openxmlformats.org/package/2006/relationships"><Relationship Id="rId1" Type="http://schemas.openxmlformats.org/officeDocument/2006/relationships/image" Target="../media/image14.png"/></Relationships>
</file>

<file path=ppt/theme/_rels/theme7.xml.rels><?xml version="1.0" encoding="UTF-8" standalone="yes"?>
<Relationships xmlns="http://schemas.openxmlformats.org/package/2006/relationships"><Relationship Id="rId1" Type="http://schemas.openxmlformats.org/officeDocument/2006/relationships/image" Target="../media/image14.png"/></Relationships>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_rels/theme9.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3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3.xml><?xml version="1.0" encoding="utf-8"?>
<a:theme xmlns:a="http://schemas.openxmlformats.org/drawingml/2006/main" name="4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4.xml><?xml version="1.0" encoding="utf-8"?>
<a:theme xmlns:a="http://schemas.openxmlformats.org/drawingml/2006/main" name="5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5.xml><?xml version="1.0" encoding="utf-8"?>
<a:theme xmlns:a="http://schemas.openxmlformats.org/drawingml/2006/main" name="6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6.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7.xml><?xml version="1.0" encoding="utf-8"?>
<a:theme xmlns:a="http://schemas.openxmlformats.org/drawingml/2006/main" name="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8.xml><?xml version="1.0" encoding="utf-8"?>
<a:theme xmlns:a="http://schemas.openxmlformats.org/drawingml/2006/main" name="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0.xml><?xml version="1.0" encoding="utf-8"?>
<a:theme xmlns:a="http://schemas.openxmlformats.org/drawingml/2006/main" name="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1.xml><?xml version="1.0" encoding="utf-8"?>
<a:theme xmlns:a="http://schemas.openxmlformats.org/drawingml/2006/main" name="1_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2.xml><?xml version="1.0" encoding="utf-8"?>
<a:theme xmlns:a="http://schemas.openxmlformats.org/drawingml/2006/main" name="1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3.xml><?xml version="1.0" encoding="utf-8"?>
<a:theme xmlns:a="http://schemas.openxmlformats.org/drawingml/2006/main" name="2_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4.xml><?xml version="1.0" encoding="utf-8"?>
<a:theme xmlns:a="http://schemas.openxmlformats.org/drawingml/2006/main" name="1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5.xml><?xml version="1.0" encoding="utf-8"?>
<a:theme xmlns:a="http://schemas.openxmlformats.org/drawingml/2006/main" name="1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6.xml><?xml version="1.0" encoding="utf-8"?>
<a:theme xmlns:a="http://schemas.openxmlformats.org/drawingml/2006/main" name="1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7.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28.xml><?xml version="1.0" encoding="utf-8"?>
<a:theme xmlns:a="http://schemas.openxmlformats.org/drawingml/2006/main" name="1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9.xml><?xml version="1.0" encoding="utf-8"?>
<a:theme xmlns:a="http://schemas.openxmlformats.org/drawingml/2006/main" name="1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0.xml><?xml version="1.0" encoding="utf-8"?>
<a:theme xmlns:a="http://schemas.openxmlformats.org/drawingml/2006/main" name="1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1.xml><?xml version="1.0" encoding="utf-8"?>
<a:theme xmlns:a="http://schemas.openxmlformats.org/drawingml/2006/main" name="1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2.xml><?xml version="1.0" encoding="utf-8"?>
<a:theme xmlns:a="http://schemas.openxmlformats.org/drawingml/2006/main" name="1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3.xml><?xml version="1.0" encoding="utf-8"?>
<a:theme xmlns:a="http://schemas.openxmlformats.org/drawingml/2006/main" name="2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4.xml><?xml version="1.0" encoding="utf-8"?>
<a:theme xmlns:a="http://schemas.openxmlformats.org/drawingml/2006/main" name="1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5.xml><?xml version="1.0" encoding="utf-8"?>
<a:theme xmlns:a="http://schemas.openxmlformats.org/drawingml/2006/main" name="2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ts val="200"/>
          </a:spcBef>
          <a:spcAft>
            <a:spcPct val="0"/>
          </a:spcAft>
          <a:defRPr sz="2800" dirty="0" smtClean="0">
            <a:ln>
              <a:solidFill>
                <a:schemeClr val="bg1">
                  <a:alpha val="0"/>
                </a:schemeClr>
              </a:solidFill>
            </a:ln>
            <a:solidFill>
              <a:schemeClr val="bg1"/>
            </a:soli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6.xml><?xml version="1.0" encoding="utf-8"?>
<a:theme xmlns:a="http://schemas.openxmlformats.org/drawingml/2006/main" name="7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7.xml><?xml version="1.0" encoding="utf-8"?>
<a:theme xmlns:a="http://schemas.openxmlformats.org/drawingml/2006/main" name="2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8.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9.xml><?xml version="1.0" encoding="utf-8"?>
<a:theme xmlns:a="http://schemas.openxmlformats.org/drawingml/2006/main" name="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4.xml><?xml version="1.0" encoding="utf-8"?>
<a:theme xmlns:a="http://schemas.openxmlformats.org/drawingml/2006/main" name="2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0.xml><?xml version="1.0" encoding="utf-8"?>
<a:theme xmlns:a="http://schemas.openxmlformats.org/drawingml/2006/main" name="2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lnSpc>
            <a:spcPct val="90000"/>
          </a:lnSpc>
          <a:spcBef>
            <a:spcPct val="20000"/>
          </a:spcBef>
          <a:buSzPct val="80000"/>
          <a:defRPr dirty="0" smtClean="0">
            <a:solidFill>
              <a:schemeClr val="tx1">
                <a:lumMod val="90000"/>
                <a:lumOff val="10000"/>
                <a:alpha val="99000"/>
              </a:schemeClr>
            </a:solidFill>
          </a:defRPr>
        </a:defPPr>
      </a:lstStyle>
    </a:txDef>
  </a:objectDefaults>
  <a:extraClrSchemeLst/>
</a:theme>
</file>

<file path=ppt/theme/theme41.xml><?xml version="1.0" encoding="utf-8"?>
<a:theme xmlns:a="http://schemas.openxmlformats.org/drawingml/2006/main" name="2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lnSpc>
            <a:spcPct val="90000"/>
          </a:lnSpc>
          <a:spcBef>
            <a:spcPct val="20000"/>
          </a:spcBef>
          <a:buSzPct val="80000"/>
          <a:defRPr dirty="0" smtClean="0">
            <a:solidFill>
              <a:schemeClr val="tx1">
                <a:lumMod val="90000"/>
                <a:lumOff val="10000"/>
                <a:alpha val="99000"/>
              </a:schemeClr>
            </a:solidFill>
          </a:defRPr>
        </a:defPPr>
      </a:lstStyle>
    </a:txDef>
  </a:objectDefaults>
  <a:extraClrSchemeLst/>
</a:theme>
</file>

<file path=ppt/theme/theme42.xml><?xml version="1.0" encoding="utf-8"?>
<a:theme xmlns:a="http://schemas.openxmlformats.org/drawingml/2006/main" name="2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620</TotalTime>
  <Words>12159</Words>
  <Application>Microsoft Office PowerPoint</Application>
  <PresentationFormat>Widescreen</PresentationFormat>
  <Paragraphs>1986</Paragraphs>
  <Slides>113</Slides>
  <Notes>97</Notes>
  <HiddenSlides>1</HiddenSlides>
  <MMClips>0</MMClips>
  <ScaleCrop>false</ScaleCrop>
  <HeadingPairs>
    <vt:vector size="8" baseType="variant">
      <vt:variant>
        <vt:lpstr>Fonts Used</vt:lpstr>
      </vt:variant>
      <vt:variant>
        <vt:i4>12</vt:i4>
      </vt:variant>
      <vt:variant>
        <vt:lpstr>Theme</vt:lpstr>
      </vt:variant>
      <vt:variant>
        <vt:i4>42</vt:i4>
      </vt:variant>
      <vt:variant>
        <vt:lpstr>Embedded OLE Servers</vt:lpstr>
      </vt:variant>
      <vt:variant>
        <vt:i4>1</vt:i4>
      </vt:variant>
      <vt:variant>
        <vt:lpstr>Slide Titles</vt:lpstr>
      </vt:variant>
      <vt:variant>
        <vt:i4>113</vt:i4>
      </vt:variant>
    </vt:vector>
  </HeadingPairs>
  <TitlesOfParts>
    <vt:vector size="168" baseType="lpstr">
      <vt:lpstr>Arial</vt:lpstr>
      <vt:lpstr>Calibri</vt:lpstr>
      <vt:lpstr>Consolas</vt:lpstr>
      <vt:lpstr>Kozuka Gothic Pro R</vt:lpstr>
      <vt:lpstr>Segoe Condensed</vt:lpstr>
      <vt:lpstr>Segoe Light</vt:lpstr>
      <vt:lpstr>Segoe Semibold</vt:lpstr>
      <vt:lpstr>Segoe UI</vt:lpstr>
      <vt:lpstr>Segoe UI Light</vt:lpstr>
      <vt:lpstr>Segoe UI Semibold</vt:lpstr>
      <vt:lpstr>Wingdings</vt:lpstr>
      <vt:lpstr>Wingdings 3</vt:lpstr>
      <vt:lpstr>Windows_Azure_DevCamp_16x9_Template - FINAL2</vt:lpstr>
      <vt:lpstr>1_Windows_Azure_DevCamp_16x9_Template - FINAL2</vt:lpstr>
      <vt:lpstr>1_Accent Color Transition Slides</vt:lpstr>
      <vt:lpstr>2_Windows_Azure_DevCamp_16x9_Template - FINAL2</vt:lpstr>
      <vt:lpstr>MS1444_Windows Azure Template 16x9_r08b</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6_MS1444_Windows Azure Template 16x9_r08b</vt:lpstr>
      <vt:lpstr>3_Windows_Azure_DevCamp_16x9_Template - FINAL2</vt:lpstr>
      <vt:lpstr>4_Windows_Azure_DevCamp_16x9_Template - FINAL2</vt:lpstr>
      <vt:lpstr>5_Windows_Azure_DevCamp_16x9_Template - FINAL2</vt:lpstr>
      <vt:lpstr>6_Windows_Azure_DevCamp_16x9_Template - FINAL2</vt:lpstr>
      <vt:lpstr>MS1444_Windows Azure Template 16x9_r08a</vt:lpstr>
      <vt:lpstr>7_MS1444_Windows Azure Template 16x9_r08b</vt:lpstr>
      <vt:lpstr>WindowsAzureTemplate16x9</vt:lpstr>
      <vt:lpstr>8_MS1444_Windows Azure Template 16x9_r08b</vt:lpstr>
      <vt:lpstr>9_MS1444_Windows Azure Template 16x9_r08b</vt:lpstr>
      <vt:lpstr>1_WindowsAzureTemplate16x9</vt:lpstr>
      <vt:lpstr>10_MS1444_Windows Azure Template 16x9_r08b</vt:lpstr>
      <vt:lpstr>2_WindowsAzureTemplate16x9</vt:lpstr>
      <vt:lpstr>11_MS1444_Windows Azure Template 16x9_r08b</vt:lpstr>
      <vt:lpstr>12_MS1444_Windows Azure Template 16x9_r08b</vt:lpstr>
      <vt:lpstr>13_MS1444_Windows Azure Template 16x9_r08b</vt:lpstr>
      <vt:lpstr>White with Consolas font for code slides</vt:lpstr>
      <vt:lpstr>14_MS1444_Windows Azure Template 16x9_r08b</vt:lpstr>
      <vt:lpstr>15_MS1444_Windows Azure Template 16x9_r08b</vt:lpstr>
      <vt:lpstr>16_MS1444_Windows Azure Template 16x9_r08b</vt:lpstr>
      <vt:lpstr>17_MS1444_Windows Azure Template 16x9_r08b</vt:lpstr>
      <vt:lpstr>18_MS1444_Windows Azure Template 16x9_r08b</vt:lpstr>
      <vt:lpstr>2_MS1444_Windows Azure Template 16x9_r08a</vt:lpstr>
      <vt:lpstr>19_MS1444_Windows Azure Template 16x9_r08b</vt:lpstr>
      <vt:lpstr>20_MS1444_Windows Azure Template 16x9_r08b</vt:lpstr>
      <vt:lpstr>7_Windows_Azure_DevCamp_16x9_Template - FINAL2</vt:lpstr>
      <vt:lpstr>21_MS1444_Windows Azure Template 16x9_r08b</vt:lpstr>
      <vt:lpstr>1_MS1444_Windows Azure Template 16x9_r08a</vt:lpstr>
      <vt:lpstr>Metro_Template_Light_16x9</vt:lpstr>
      <vt:lpstr>22_MS1444_Windows Azure Template 16x9_r08b</vt:lpstr>
      <vt:lpstr>23_MS1444_Windows Azure Template 16x9_r08b</vt:lpstr>
      <vt:lpstr>24_MS1444_Windows Azure Template 16x9_r08b</vt:lpstr>
      <vt:lpstr>think-cell Slide</vt:lpstr>
      <vt:lpstr>Overview of Windows Azure Services</vt:lpstr>
      <vt:lpstr>Introduction</vt:lpstr>
      <vt:lpstr>PowerPoint Presentation</vt:lpstr>
      <vt:lpstr>Agenda</vt:lpstr>
      <vt:lpstr>PowerPoint Presentation</vt:lpstr>
      <vt:lpstr>Today’s Transformation – Cloud</vt:lpstr>
      <vt:lpstr>IT Continuum</vt:lpstr>
      <vt:lpstr>Microsoft On The Internet</vt:lpstr>
      <vt:lpstr>Windows Azure </vt:lpstr>
      <vt:lpstr>The Microsoft Cloud</vt:lpstr>
      <vt:lpstr>Inside a Microsoft Data Center</vt:lpstr>
      <vt:lpstr>Cloud Computing Patterns</vt:lpstr>
      <vt:lpstr>PowerPoint Presentation</vt:lpstr>
      <vt:lpstr>Leverage Parallel Operations</vt:lpstr>
      <vt:lpstr>Datacenter Network Architecture</vt:lpstr>
      <vt:lpstr>PowerPoint Presentation</vt:lpstr>
      <vt:lpstr>Cloud Services</vt:lpstr>
      <vt:lpstr>PowerPoint Presentation</vt:lpstr>
      <vt:lpstr>What is a Cloud Service?</vt:lpstr>
      <vt:lpstr>What Can It Run?</vt:lpstr>
      <vt:lpstr>Roles and Instances</vt:lpstr>
      <vt:lpstr>Roles and Instances Example Hosted Service configuration with a single web role and a single worker role</vt:lpstr>
      <vt:lpstr>Fault Domains</vt:lpstr>
      <vt:lpstr>Upgrade Domains</vt:lpstr>
      <vt:lpstr>Roles and Instances Example role with nine virtual machines distributed across three fault domains</vt:lpstr>
      <vt:lpstr>The High Scale Application Archetype Windows Azure provides a ‘pay-as-you-go’ scale out application platform</vt:lpstr>
      <vt:lpstr>Windows Azure SDKs and Tools</vt:lpstr>
      <vt:lpstr>Windows Azure for .Net Developers</vt:lpstr>
      <vt:lpstr>Role Programming Model</vt:lpstr>
      <vt:lpstr>Role Lifecycle</vt:lpstr>
      <vt:lpstr>Worker Role Patterns</vt:lpstr>
      <vt:lpstr>Web Role</vt:lpstr>
      <vt:lpstr>Understanding Packaging and Config</vt:lpstr>
      <vt:lpstr>Service Definition</vt:lpstr>
      <vt:lpstr>Service Definition</vt:lpstr>
      <vt:lpstr>Service Configuration</vt:lpstr>
      <vt:lpstr>Service Configuration</vt:lpstr>
      <vt:lpstr>Custom Role Entry Points</vt:lpstr>
      <vt:lpstr>Custom Role Entry Points</vt:lpstr>
      <vt:lpstr>Choosing Your VM Size</vt:lpstr>
      <vt:lpstr>Networking in Windows Azure</vt:lpstr>
      <vt:lpstr>Networking in Windows Azure (cont.)</vt:lpstr>
      <vt:lpstr>Local Storage</vt:lpstr>
      <vt:lpstr>Local Storage</vt:lpstr>
      <vt:lpstr>Configuration Values</vt:lpstr>
      <vt:lpstr>Upgrading Your Application</vt:lpstr>
      <vt:lpstr>VIP Swap</vt:lpstr>
      <vt:lpstr>Windows Azure Diagnostics</vt:lpstr>
      <vt:lpstr>Windows Azure Service Architecture</vt:lpstr>
      <vt:lpstr>Deploying a web application</vt:lpstr>
      <vt:lpstr>PowerPoint Presentation</vt:lpstr>
      <vt:lpstr>PowerPoint Presentation</vt:lpstr>
      <vt:lpstr>A Server Is Not A Machine</vt:lpstr>
      <vt:lpstr>How It Works</vt:lpstr>
      <vt:lpstr>The Basics</vt:lpstr>
      <vt:lpstr>Server Provisioning</vt:lpstr>
      <vt:lpstr>There Are Two  Ways To Secure  A Database:</vt:lpstr>
      <vt:lpstr>Database Benefits</vt:lpstr>
      <vt:lpstr>SQL Database Firewall</vt:lpstr>
      <vt:lpstr>Application Connectivity</vt:lpstr>
      <vt:lpstr>SQL Reporting</vt:lpstr>
      <vt:lpstr>SQL Data Sync</vt:lpstr>
      <vt:lpstr>SQL Federation</vt:lpstr>
      <vt:lpstr>SQL Database Architecture</vt:lpstr>
      <vt:lpstr>PowerPoint Presentation</vt:lpstr>
      <vt:lpstr>Deploying a Sql  Database</vt:lpstr>
      <vt:lpstr>PowerPoint Presentation</vt:lpstr>
      <vt:lpstr>PowerPoint Presentation</vt:lpstr>
      <vt:lpstr>PowerPoint Presentation</vt:lpstr>
      <vt:lpstr>PowerPoint Presentation</vt:lpstr>
      <vt:lpstr>PowerPoint Presentation</vt:lpstr>
      <vt:lpstr>PowerPoint Presentation</vt:lpstr>
      <vt:lpstr>What is Windows Azure Mobile Services?</vt:lpstr>
      <vt:lpstr>Key Scenarios</vt:lpstr>
      <vt:lpstr>Server Logic</vt:lpstr>
      <vt:lpstr>Push Notification Lifecycle Overview</vt:lpstr>
      <vt:lpstr>Push Notifications</vt:lpstr>
      <vt:lpstr>Scheduler</vt:lpstr>
      <vt:lpstr>Mobile Services on Windows 8</vt:lpstr>
      <vt:lpstr>PowerPoint Presentation</vt:lpstr>
      <vt:lpstr>PowerPoint Presentation</vt:lpstr>
      <vt:lpstr>Claims-Based Identity</vt:lpstr>
      <vt:lpstr>Active Directory Access Control</vt:lpstr>
      <vt:lpstr>Authenticating Users from Web and Social Providers</vt:lpstr>
      <vt:lpstr>Authenticating Users from Web and Social Providers</vt:lpstr>
      <vt:lpstr>PowerPoint Presentation</vt:lpstr>
      <vt:lpstr>PowerPoint Presentation</vt:lpstr>
      <vt:lpstr>Application building blocks</vt:lpstr>
      <vt:lpstr>PowerPoint Presentation</vt:lpstr>
      <vt:lpstr>Windows Azure Scenarios</vt:lpstr>
      <vt:lpstr>PowerPoint Presentation</vt:lpstr>
      <vt:lpstr>Using Azure  Management Studio</vt:lpstr>
      <vt:lpstr>Using zud.io</vt:lpstr>
      <vt:lpstr>Using CDS</vt:lpstr>
      <vt:lpstr>HOL + Video: Fetch Climate</vt:lpstr>
      <vt:lpstr>http://fetchclimate2.cloudapp.net</vt:lpstr>
      <vt:lpstr>Weather Forecast  Computation  as a Service </vt:lpstr>
      <vt:lpstr>PowerPoint Presentation</vt:lpstr>
      <vt:lpstr>WRF Service Architecture</vt:lpstr>
      <vt:lpstr>PowerPoint Presentation</vt:lpstr>
      <vt:lpstr>PowerPoint Presentation</vt:lpstr>
      <vt:lpstr>PowerPoint Presentation</vt:lpstr>
      <vt:lpstr>PowerPoint Presentation</vt:lpstr>
      <vt:lpstr>PowerPoint Presentation</vt:lpstr>
      <vt:lpstr>HeatMap: 5 Compute Nodes running at 100%</vt:lpstr>
      <vt:lpstr>Heat Map: Scaling to 96 cores</vt:lpstr>
      <vt:lpstr>PowerPoint Presentation</vt:lpstr>
      <vt:lpstr>PowerPoint Presentation</vt:lpstr>
      <vt:lpstr>Processing Steps</vt:lpstr>
      <vt:lpstr>Pre-Processing</vt:lpstr>
      <vt:lpstr>Process steps for Bing Map overlay</vt:lpstr>
      <vt:lpstr>Weather Demo</vt:lpstr>
      <vt:lpstr>Question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Richard Conway</cp:lastModifiedBy>
  <cp:revision>33</cp:revision>
  <dcterms:created xsi:type="dcterms:W3CDTF">2013-08-21T10:51:45Z</dcterms:created>
  <dcterms:modified xsi:type="dcterms:W3CDTF">2013-09-16T14:09:29Z</dcterms:modified>
</cp:coreProperties>
</file>